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notesSlides/notesSlide11.xml" ContentType="application/vnd.openxmlformats-officedocument.presentationml.notesSlide+xml"/>
  <Override PartName="/ppt/tags/tag20.xml" ContentType="application/vnd.openxmlformats-officedocument.presentationml.tags+xml"/>
  <Override PartName="/ppt/notesSlides/notesSlide12.xml" ContentType="application/vnd.openxmlformats-officedocument.presentationml.notesSlide+xml"/>
  <Override PartName="/ppt/tags/tag21.xml" ContentType="application/vnd.openxmlformats-officedocument.presentationml.tags+xml"/>
  <Override PartName="/ppt/notesSlides/notesSlide13.xml" ContentType="application/vnd.openxmlformats-officedocument.presentationml.notesSlide+xml"/>
  <Override PartName="/ppt/tags/tag22.xml" ContentType="application/vnd.openxmlformats-officedocument.presentationml.tags+xml"/>
  <Override PartName="/ppt/notesSlides/notesSlide14.xml" ContentType="application/vnd.openxmlformats-officedocument.presentationml.notesSlide+xml"/>
  <Override PartName="/ppt/tags/tag23.xml" ContentType="application/vnd.openxmlformats-officedocument.presentationml.tags+xml"/>
  <Override PartName="/ppt/notesSlides/notesSlide15.xml" ContentType="application/vnd.openxmlformats-officedocument.presentationml.notesSlide+xml"/>
  <Override PartName="/ppt/tags/tag24.xml" ContentType="application/vnd.openxmlformats-officedocument.presentationml.tags+xml"/>
  <Override PartName="/ppt/notesSlides/notesSlide16.xml" ContentType="application/vnd.openxmlformats-officedocument.presentationml.notesSlide+xml"/>
  <Override PartName="/ppt/tags/tag25.xml" ContentType="application/vnd.openxmlformats-officedocument.presentationml.tags+xml"/>
  <Override PartName="/ppt/notesSlides/notesSlide17.xml" ContentType="application/vnd.openxmlformats-officedocument.presentationml.notesSlide+xml"/>
  <Override PartName="/ppt/tags/tag26.xml" ContentType="application/vnd.openxmlformats-officedocument.presentationml.tags+xml"/>
  <Override PartName="/ppt/notesSlides/notesSlide18.xml" ContentType="application/vnd.openxmlformats-officedocument.presentationml.notesSlide+xml"/>
  <Override PartName="/ppt/tags/tag27.xml" ContentType="application/vnd.openxmlformats-officedocument.presentationml.tags+xml"/>
  <Override PartName="/ppt/notesSlides/notesSlide19.xml" ContentType="application/vnd.openxmlformats-officedocument.presentationml.notesSlide+xml"/>
  <Override PartName="/ppt/tags/tag28.xml" ContentType="application/vnd.openxmlformats-officedocument.presentationml.tags+xml"/>
  <Override PartName="/ppt/notesSlides/notesSlide20.xml" ContentType="application/vnd.openxmlformats-officedocument.presentationml.notesSlide+xml"/>
  <Override PartName="/ppt/tags/tag29.xml" ContentType="application/vnd.openxmlformats-officedocument.presentationml.tags+xml"/>
  <Override PartName="/ppt/notesSlides/notesSlide21.xml" ContentType="application/vnd.openxmlformats-officedocument.presentationml.notesSlide+xml"/>
  <Override PartName="/ppt/tags/tag30.xml" ContentType="application/vnd.openxmlformats-officedocument.presentationml.tags+xml"/>
  <Override PartName="/ppt/notesSlides/notesSlide22.xml" ContentType="application/vnd.openxmlformats-officedocument.presentationml.notesSlide+xml"/>
  <Override PartName="/ppt/tags/tag31.xml" ContentType="application/vnd.openxmlformats-officedocument.presentationml.tags+xml"/>
  <Override PartName="/ppt/notesSlides/notesSlide23.xml" ContentType="application/vnd.openxmlformats-officedocument.presentationml.notesSlide+xml"/>
  <Override PartName="/ppt/tags/tag32.xml" ContentType="application/vnd.openxmlformats-officedocument.presentationml.tags+xml"/>
  <Override PartName="/ppt/notesSlides/notesSlide24.xml" ContentType="application/vnd.openxmlformats-officedocument.presentationml.notesSlide+xml"/>
  <Override PartName="/ppt/tags/tag33.xml" ContentType="application/vnd.openxmlformats-officedocument.presentationml.tags+xml"/>
  <Override PartName="/ppt/notesSlides/notesSlide25.xml" ContentType="application/vnd.openxmlformats-officedocument.presentationml.notesSlide+xml"/>
  <Override PartName="/ppt/tags/tag34.xml" ContentType="application/vnd.openxmlformats-officedocument.presentationml.tags+xml"/>
  <Override PartName="/ppt/notesSlides/notesSlide26.xml" ContentType="application/vnd.openxmlformats-officedocument.presentationml.notesSlide+xml"/>
  <Override PartName="/ppt/tags/tag35.xml" ContentType="application/vnd.openxmlformats-officedocument.presentationml.tags+xml"/>
  <Override PartName="/ppt/notesSlides/notesSlide27.xml" ContentType="application/vnd.openxmlformats-officedocument.presentationml.notesSlide+xml"/>
  <Override PartName="/ppt/tags/tag36.xml" ContentType="application/vnd.openxmlformats-officedocument.presentationml.tags+xml"/>
  <Override PartName="/ppt/notesSlides/notesSlide28.xml" ContentType="application/vnd.openxmlformats-officedocument.presentationml.notesSlide+xml"/>
  <Override PartName="/ppt/tags/tag37.xml" ContentType="application/vnd.openxmlformats-officedocument.presentationml.tags+xml"/>
  <Override PartName="/ppt/notesSlides/notesSlide29.xml" ContentType="application/vnd.openxmlformats-officedocument.presentationml.notesSlide+xml"/>
  <Override PartName="/ppt/tags/tag38.xml" ContentType="application/vnd.openxmlformats-officedocument.presentationml.tags+xml"/>
  <Override PartName="/ppt/notesSlides/notesSlide30.xml" ContentType="application/vnd.openxmlformats-officedocument.presentationml.notesSlide+xml"/>
  <Override PartName="/ppt/tags/tag39.xml" ContentType="application/vnd.openxmlformats-officedocument.presentationml.tags+xml"/>
  <Override PartName="/ppt/notesSlides/notesSlide31.xml" ContentType="application/vnd.openxmlformats-officedocument.presentationml.notesSlide+xml"/>
  <Override PartName="/ppt/tags/tag40.xml" ContentType="application/vnd.openxmlformats-officedocument.presentationml.tags+xml"/>
  <Override PartName="/ppt/notesSlides/notesSlide32.xml" ContentType="application/vnd.openxmlformats-officedocument.presentationml.notesSlide+xml"/>
  <Override PartName="/ppt/tags/tag41.xml" ContentType="application/vnd.openxmlformats-officedocument.presentationml.tags+xml"/>
  <Override PartName="/ppt/notesSlides/notesSlide33.xml" ContentType="application/vnd.openxmlformats-officedocument.presentationml.notesSlide+xml"/>
  <Override PartName="/ppt/tags/tag42.xml" ContentType="application/vnd.openxmlformats-officedocument.presentationml.tags+xml"/>
  <Override PartName="/ppt/notesSlides/notesSlide34.xml" ContentType="application/vnd.openxmlformats-officedocument.presentationml.notesSlide+xml"/>
  <Override PartName="/ppt/tags/tag43.xml" ContentType="application/vnd.openxmlformats-officedocument.presentationml.tags+xml"/>
  <Override PartName="/ppt/notesSlides/notesSlide35.xml" ContentType="application/vnd.openxmlformats-officedocument.presentationml.notesSlide+xml"/>
  <Override PartName="/ppt/tags/tag44.xml" ContentType="application/vnd.openxmlformats-officedocument.presentationml.tags+xml"/>
  <Override PartName="/ppt/notesSlides/notesSlide36.xml" ContentType="application/vnd.openxmlformats-officedocument.presentationml.notesSlide+xml"/>
  <Override PartName="/ppt/tags/tag45.xml" ContentType="application/vnd.openxmlformats-officedocument.presentationml.tags+xml"/>
  <Override PartName="/ppt/notesSlides/notesSlide37.xml" ContentType="application/vnd.openxmlformats-officedocument.presentationml.notesSlide+xml"/>
  <Override PartName="/ppt/tags/tag46.xml" ContentType="application/vnd.openxmlformats-officedocument.presentationml.tags+xml"/>
  <Override PartName="/ppt/notesSlides/notesSlide38.xml" ContentType="application/vnd.openxmlformats-officedocument.presentationml.notesSlide+xml"/>
  <Override PartName="/ppt/tags/tag47.xml" ContentType="application/vnd.openxmlformats-officedocument.presentationml.tags+xml"/>
  <Override PartName="/ppt/notesSlides/notesSlide39.xml" ContentType="application/vnd.openxmlformats-officedocument.presentationml.notesSlide+xml"/>
  <Override PartName="/ppt/tags/tag48.xml" ContentType="application/vnd.openxmlformats-officedocument.presentationml.tags+xml"/>
  <Override PartName="/ppt/notesSlides/notesSlide40.xml" ContentType="application/vnd.openxmlformats-officedocument.presentationml.notesSlide+xml"/>
  <Override PartName="/ppt/tags/tag49.xml" ContentType="application/vnd.openxmlformats-officedocument.presentationml.tags+xml"/>
  <Override PartName="/ppt/notesSlides/notesSlide41.xml" ContentType="application/vnd.openxmlformats-officedocument.presentationml.notesSlide+xml"/>
  <Override PartName="/ppt/tags/tag50.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23" r:id="rId4"/>
  </p:sldMasterIdLst>
  <p:notesMasterIdLst>
    <p:notesMasterId r:id="rId52"/>
  </p:notesMasterIdLst>
  <p:handoutMasterIdLst>
    <p:handoutMasterId r:id="rId53"/>
  </p:handoutMasterIdLst>
  <p:sldIdLst>
    <p:sldId id="2147482026" r:id="rId5"/>
    <p:sldId id="2147482025" r:id="rId6"/>
    <p:sldId id="769" r:id="rId7"/>
    <p:sldId id="925" r:id="rId8"/>
    <p:sldId id="450" r:id="rId9"/>
    <p:sldId id="924" r:id="rId10"/>
    <p:sldId id="906" r:id="rId11"/>
    <p:sldId id="927" r:id="rId12"/>
    <p:sldId id="899" r:id="rId13"/>
    <p:sldId id="900" r:id="rId14"/>
    <p:sldId id="903" r:id="rId15"/>
    <p:sldId id="904" r:id="rId16"/>
    <p:sldId id="905" r:id="rId17"/>
    <p:sldId id="926" r:id="rId18"/>
    <p:sldId id="908" r:id="rId19"/>
    <p:sldId id="909" r:id="rId20"/>
    <p:sldId id="928" r:id="rId21"/>
    <p:sldId id="954" r:id="rId22"/>
    <p:sldId id="931" r:id="rId23"/>
    <p:sldId id="911" r:id="rId24"/>
    <p:sldId id="914" r:id="rId25"/>
    <p:sldId id="915" r:id="rId26"/>
    <p:sldId id="916" r:id="rId27"/>
    <p:sldId id="918" r:id="rId28"/>
    <p:sldId id="917" r:id="rId29"/>
    <p:sldId id="919" r:id="rId30"/>
    <p:sldId id="921" r:id="rId31"/>
    <p:sldId id="920" r:id="rId32"/>
    <p:sldId id="922" r:id="rId33"/>
    <p:sldId id="933" r:id="rId34"/>
    <p:sldId id="934" r:id="rId35"/>
    <p:sldId id="935" r:id="rId36"/>
    <p:sldId id="937" r:id="rId37"/>
    <p:sldId id="936" r:id="rId38"/>
    <p:sldId id="938" r:id="rId39"/>
    <p:sldId id="939" r:id="rId40"/>
    <p:sldId id="940" r:id="rId41"/>
    <p:sldId id="941" r:id="rId42"/>
    <p:sldId id="942" r:id="rId43"/>
    <p:sldId id="963" r:id="rId44"/>
    <p:sldId id="964" r:id="rId45"/>
    <p:sldId id="960" r:id="rId46"/>
    <p:sldId id="945" r:id="rId47"/>
    <p:sldId id="946" r:id="rId48"/>
    <p:sldId id="950" r:id="rId49"/>
    <p:sldId id="953" r:id="rId50"/>
    <p:sldId id="952" r:id="rId51"/>
  </p:sldIdLst>
  <p:sldSz cx="12192000" cy="6858000"/>
  <p:notesSz cx="6858000" cy="9144000"/>
  <p:custDataLst>
    <p:tags r:id="rId54"/>
  </p:custDataLst>
  <p:defaultTextStyle>
    <a:defPPr rtl="0">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A24BC19-97EB-72DD-ADE2-04832C3AB4AA}" name="Ramona Daukste (LV)" initials="RD(" userId="S::ramona.daukste@pwc.com::cb110d71-928f-4029-96c9-9e7c32e592fe" providerId="AD"/>
  <p188:author id="{90456D42-69BA-FA00-84FF-970E8159E349}" name="Annemarija Apine (LV)" initials="AA(" userId="S::annemarija.apine@pwc.com::546f5c59-3b8d-47fd-b739-a8fadc631053" providerId="AD"/>
  <p188:author id="{6C60D3CE-0911-E382-B5F7-D4118947E6C4}" name="Sindija Kirsteine (LV)" initials="SK(" userId="S::sindija.kirsteine@pwc.com::5f25501a-2215-4bb3-9d9c-8d1484ffa7c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D6E8"/>
    <a:srgbClr val="D18D85"/>
    <a:srgbClr val="A4A3B2"/>
    <a:srgbClr val="D0CFD7"/>
    <a:srgbClr val="A8192D"/>
    <a:srgbClr val="0060D7"/>
    <a:srgbClr val="175D2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52FAFB-594E-4D81-BBEF-423CF8B3AC49}" v="486" dt="2024-07-08T11:51:38.458"/>
    <p1510:client id="{9C8BDFA5-C646-278C-7FF7-F2BD98C06A2B}" v="1" dt="2024-07-08T15:20:40.643"/>
    <p1510:client id="{F1EA5DD1-37F8-BEA1-83A9-0E0893886880}" v="1" dt="2024-07-08T06:27:31.60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32" autoAdjust="0"/>
    <p:restoredTop sz="94660"/>
  </p:normalViewPr>
  <p:slideViewPr>
    <p:cSldViewPr snapToGrid="0">
      <p:cViewPr varScale="1">
        <p:scale>
          <a:sx n="86" d="100"/>
          <a:sy n="86" d="100"/>
        </p:scale>
        <p:origin x="466" y="6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 Target="slides/slide1.xml"/><Relationship Id="rId61" Type="http://schemas.microsoft.com/office/2018/10/relationships/authors" Target="author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microsoft.com/office/2016/11/relationships/changesInfo" Target="changesInfos/changesInfo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 Id="rId60"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mona Daukste (LV)" userId="cb110d71-928f-4029-96c9-9e7c32e592fe" providerId="ADAL" clId="{94A07C31-1F07-4017-B324-4EA15E8EE33B}"/>
    <pc:docChg chg="">
      <pc:chgData name="Ramona Daukste (LV)" userId="cb110d71-928f-4029-96c9-9e7c32e592fe" providerId="ADAL" clId="{94A07C31-1F07-4017-B324-4EA15E8EE33B}" dt="2024-03-04T14:52:29.260" v="7"/>
      <pc:docMkLst>
        <pc:docMk/>
      </pc:docMkLst>
      <pc:sldChg chg="modCm">
        <pc:chgData name="Ramona Daukste (LV)" userId="cb110d71-928f-4029-96c9-9e7c32e592fe" providerId="ADAL" clId="{94A07C31-1F07-4017-B324-4EA15E8EE33B}" dt="2024-03-04T11:37:40.663" v="0"/>
        <pc:sldMkLst>
          <pc:docMk/>
          <pc:sldMk cId="817197616" sldId="332"/>
        </pc:sldMkLst>
        <pc:extLst>
          <p:ext xmlns:p="http://schemas.openxmlformats.org/presentationml/2006/main" uri="{D6D511B9-2390-475A-947B-AFAB55BFBCF1}">
            <pc226:cmChg xmlns:pc226="http://schemas.microsoft.com/office/powerpoint/2022/06/main/command" chg="">
              <pc226:chgData name="Ramona Daukste (LV)" userId="cb110d71-928f-4029-96c9-9e7c32e592fe" providerId="ADAL" clId="{94A07C31-1F07-4017-B324-4EA15E8EE33B}" dt="2024-03-04T11:37:40.663" v="0"/>
              <pc2:cmMkLst xmlns:pc2="http://schemas.microsoft.com/office/powerpoint/2019/9/main/command">
                <pc:docMk/>
                <pc:sldMk cId="817197616" sldId="332"/>
                <pc2:cmMk id="{2A26C7E2-A8DA-4B24-952F-5705AD58D1EA}"/>
              </pc2:cmMkLst>
              <pc226:cmRplyChg chg="add">
                <pc226:chgData name="Ramona Daukste (LV)" userId="cb110d71-928f-4029-96c9-9e7c32e592fe" providerId="ADAL" clId="{94A07C31-1F07-4017-B324-4EA15E8EE33B}" dt="2024-03-04T11:37:40.663" v="0"/>
                <pc2:cmRplyMkLst xmlns:pc2="http://schemas.microsoft.com/office/powerpoint/2019/9/main/command">
                  <pc:docMk/>
                  <pc:sldMk cId="817197616" sldId="332"/>
                  <pc2:cmMk id="{2A26C7E2-A8DA-4B24-952F-5705AD58D1EA}"/>
                  <pc2:cmRplyMk id="{15697054-EEDC-4EDD-86DC-5A09AB6F4D9F}"/>
                </pc2:cmRplyMkLst>
              </pc226:cmRplyChg>
            </pc226:cmChg>
          </p:ext>
        </pc:extLst>
      </pc:sldChg>
      <pc:sldChg chg="addCm delCm modCm">
        <pc:chgData name="Ramona Daukste (LV)" userId="cb110d71-928f-4029-96c9-9e7c32e592fe" providerId="ADAL" clId="{94A07C31-1F07-4017-B324-4EA15E8EE33B}" dt="2024-03-04T11:44:30.150" v="4"/>
        <pc:sldMkLst>
          <pc:docMk/>
          <pc:sldMk cId="2067837237" sldId="899"/>
        </pc:sldMkLst>
        <pc:extLst>
          <p:ext xmlns:p="http://schemas.openxmlformats.org/presentationml/2006/main" uri="{D6D511B9-2390-475A-947B-AFAB55BFBCF1}">
            <pc226:cmChg xmlns:pc226="http://schemas.microsoft.com/office/powerpoint/2022/06/main/command" chg="add del">
              <pc226:chgData name="Ramona Daukste (LV)" userId="cb110d71-928f-4029-96c9-9e7c32e592fe" providerId="ADAL" clId="{94A07C31-1F07-4017-B324-4EA15E8EE33B}" dt="2024-03-04T11:41:53.123" v="2"/>
              <pc2:cmMkLst xmlns:pc2="http://schemas.microsoft.com/office/powerpoint/2019/9/main/command">
                <pc:docMk/>
                <pc:sldMk cId="2067837237" sldId="899"/>
                <pc2:cmMk id="{983BD659-C6FA-4C45-BA7C-ACBB1FE3D052}"/>
              </pc2:cmMkLst>
            </pc226:cmChg>
            <pc226:cmChg xmlns:pc226="http://schemas.microsoft.com/office/powerpoint/2022/06/main/command" chg="add">
              <pc226:chgData name="Ramona Daukste (LV)" userId="cb110d71-928f-4029-96c9-9e7c32e592fe" providerId="ADAL" clId="{94A07C31-1F07-4017-B324-4EA15E8EE33B}" dt="2024-03-04T11:44:30.150" v="4"/>
              <pc2:cmMkLst xmlns:pc2="http://schemas.microsoft.com/office/powerpoint/2019/9/main/command">
                <pc:docMk/>
                <pc:sldMk cId="2067837237" sldId="899"/>
                <pc2:cmMk id="{CE1513BC-B112-49D4-AE42-231DAE7C0B41}"/>
              </pc2:cmMkLst>
              <pc226:cmRplyChg chg="add">
                <pc226:chgData name="Ramona Daukste (LV)" userId="cb110d71-928f-4029-96c9-9e7c32e592fe" providerId="ADAL" clId="{94A07C31-1F07-4017-B324-4EA15E8EE33B}" dt="2024-03-04T11:44:30.150" v="4"/>
                <pc2:cmRplyMkLst xmlns:pc2="http://schemas.microsoft.com/office/powerpoint/2019/9/main/command">
                  <pc:docMk/>
                  <pc:sldMk cId="2067837237" sldId="899"/>
                  <pc2:cmMk id="{CE1513BC-B112-49D4-AE42-231DAE7C0B41}"/>
                  <pc2:cmRplyMk id="{489D26DA-1656-4AC6-AE75-656CC3EE028A}"/>
                </pc2:cmRplyMkLst>
              </pc226:cmRplyChg>
            </pc226:cmChg>
          </p:ext>
        </pc:extLst>
      </pc:sldChg>
      <pc:sldChg chg="addCm">
        <pc:chgData name="Ramona Daukste (LV)" userId="cb110d71-928f-4029-96c9-9e7c32e592fe" providerId="ADAL" clId="{94A07C31-1F07-4017-B324-4EA15E8EE33B}" dt="2024-03-04T14:51:21.180" v="6"/>
        <pc:sldMkLst>
          <pc:docMk/>
          <pc:sldMk cId="2603595337" sldId="945"/>
        </pc:sldMkLst>
        <pc:extLst>
          <p:ext xmlns:p="http://schemas.openxmlformats.org/presentationml/2006/main" uri="{D6D511B9-2390-475A-947B-AFAB55BFBCF1}">
            <pc226:cmChg xmlns:pc226="http://schemas.microsoft.com/office/powerpoint/2022/06/main/command" chg="add">
              <pc226:chgData name="Ramona Daukste (LV)" userId="cb110d71-928f-4029-96c9-9e7c32e592fe" providerId="ADAL" clId="{94A07C31-1F07-4017-B324-4EA15E8EE33B}" dt="2024-03-04T14:51:21.180" v="6"/>
              <pc2:cmMkLst xmlns:pc2="http://schemas.microsoft.com/office/powerpoint/2019/9/main/command">
                <pc:docMk/>
                <pc:sldMk cId="2603595337" sldId="945"/>
                <pc2:cmMk id="{4554295C-C573-4900-ADF3-493984DC3EF2}"/>
              </pc2:cmMkLst>
            </pc226:cmChg>
          </p:ext>
        </pc:extLst>
      </pc:sldChg>
      <pc:sldChg chg="addCm">
        <pc:chgData name="Ramona Daukste (LV)" userId="cb110d71-928f-4029-96c9-9e7c32e592fe" providerId="ADAL" clId="{94A07C31-1F07-4017-B324-4EA15E8EE33B}" dt="2024-03-04T14:52:29.260" v="7"/>
        <pc:sldMkLst>
          <pc:docMk/>
          <pc:sldMk cId="3488828484" sldId="946"/>
        </pc:sldMkLst>
        <pc:extLst>
          <p:ext xmlns:p="http://schemas.openxmlformats.org/presentationml/2006/main" uri="{D6D511B9-2390-475A-947B-AFAB55BFBCF1}">
            <pc226:cmChg xmlns:pc226="http://schemas.microsoft.com/office/powerpoint/2022/06/main/command" chg="add">
              <pc226:chgData name="Ramona Daukste (LV)" userId="cb110d71-928f-4029-96c9-9e7c32e592fe" providerId="ADAL" clId="{94A07C31-1F07-4017-B324-4EA15E8EE33B}" dt="2024-03-04T14:52:29.260" v="7"/>
              <pc2:cmMkLst xmlns:pc2="http://schemas.microsoft.com/office/powerpoint/2019/9/main/command">
                <pc:docMk/>
                <pc:sldMk cId="3488828484" sldId="946"/>
                <pc2:cmMk id="{AC23C74C-3720-4878-B4F8-7C07253CC342}"/>
              </pc2:cmMkLst>
            </pc226:cmChg>
          </p:ext>
        </pc:extLst>
      </pc:sldChg>
      <pc:sldChg chg="modCm">
        <pc:chgData name="Ramona Daukste (LV)" userId="cb110d71-928f-4029-96c9-9e7c32e592fe" providerId="ADAL" clId="{94A07C31-1F07-4017-B324-4EA15E8EE33B}" dt="2024-03-04T12:37:36.263" v="5" actId="2056"/>
        <pc:sldMkLst>
          <pc:docMk/>
          <pc:sldMk cId="3911462717" sldId="947"/>
        </pc:sldMkLst>
        <pc:extLst>
          <p:ext xmlns:p="http://schemas.openxmlformats.org/presentationml/2006/main" uri="{D6D511B9-2390-475A-947B-AFAB55BFBCF1}">
            <pc226:cmChg xmlns:pc226="http://schemas.microsoft.com/office/powerpoint/2022/06/main/command" chg="mod">
              <pc226:chgData name="Ramona Daukste (LV)" userId="cb110d71-928f-4029-96c9-9e7c32e592fe" providerId="ADAL" clId="{94A07C31-1F07-4017-B324-4EA15E8EE33B}" dt="2024-03-04T12:37:36.263" v="5" actId="2056"/>
              <pc2:cmMkLst xmlns:pc2="http://schemas.microsoft.com/office/powerpoint/2019/9/main/command">
                <pc:docMk/>
                <pc:sldMk cId="3911462717" sldId="947"/>
                <pc2:cmMk id="{1428E94F-96AA-42F8-9E12-E7A740490D75}"/>
              </pc2:cmMkLst>
            </pc226:cmChg>
          </p:ext>
        </pc:extLst>
      </pc:sldChg>
    </pc:docChg>
  </pc:docChgLst>
  <pc:docChgLst>
    <pc:chgData name="Annemarija Apine (LV)" userId="546f5c59-3b8d-47fd-b739-a8fadc631053" providerId="ADAL" clId="{D82750A9-742A-4217-B17E-AAD0203113A8}"/>
    <pc:docChg chg="custSel replTag">
      <pc:chgData name="Annemarija Apine (LV)" userId="546f5c59-3b8d-47fd-b739-a8fadc631053" providerId="ADAL" clId="{D82750A9-742A-4217-B17E-AAD0203113A8}" dt="2024-03-12T22:59:32.029" v="0"/>
      <pc:docMkLst>
        <pc:docMk/>
      </pc:docMkLst>
    </pc:docChg>
  </pc:docChgLst>
  <pc:docChgLst>
    <pc:chgData name="Ramona Daukste (LV)" userId="cb110d71-928f-4029-96c9-9e7c32e592fe" providerId="ADAL" clId="{EC670687-1E93-4515-89E0-48FC3E832360}"/>
    <pc:docChg chg="modSld sldOrd">
      <pc:chgData name="Ramona Daukste (LV)" userId="cb110d71-928f-4029-96c9-9e7c32e592fe" providerId="ADAL" clId="{EC670687-1E93-4515-89E0-48FC3E832360}" dt="2024-06-10T05:07:24.473" v="6" actId="20577"/>
      <pc:docMkLst>
        <pc:docMk/>
      </pc:docMkLst>
      <pc:sldChg chg="modSp mod ord">
        <pc:chgData name="Ramona Daukste (LV)" userId="cb110d71-928f-4029-96c9-9e7c32e592fe" providerId="ADAL" clId="{EC670687-1E93-4515-89E0-48FC3E832360}" dt="2024-06-10T05:07:24.473" v="6" actId="20577"/>
        <pc:sldMkLst>
          <pc:docMk/>
          <pc:sldMk cId="2333946943" sldId="924"/>
        </pc:sldMkLst>
        <pc:spChg chg="mod">
          <ac:chgData name="Ramona Daukste (LV)" userId="cb110d71-928f-4029-96c9-9e7c32e592fe" providerId="ADAL" clId="{EC670687-1E93-4515-89E0-48FC3E832360}" dt="2024-06-10T05:07:24.473" v="6" actId="20577"/>
          <ac:spMkLst>
            <pc:docMk/>
            <pc:sldMk cId="2333946943" sldId="924"/>
            <ac:spMk id="59" creationId="{0B9A482D-D6B8-5CBF-C3DA-64F6DB0BD51D}"/>
          </ac:spMkLst>
        </pc:spChg>
      </pc:sldChg>
    </pc:docChg>
  </pc:docChgLst>
  <pc:docChgLst>
    <pc:chgData name="Annemarija Apine (LV)" userId="S::annemarija.apine@pwc.com::546f5c59-3b8d-47fd-b739-a8fadc631053" providerId="AD" clId="Web-{9C8BDFA5-C646-278C-7FF7-F2BD98C06A2B}"/>
    <pc:docChg chg="sldOrd">
      <pc:chgData name="Annemarija Apine (LV)" userId="S::annemarija.apine@pwc.com::546f5c59-3b8d-47fd-b739-a8fadc631053" providerId="AD" clId="Web-{9C8BDFA5-C646-278C-7FF7-F2BD98C06A2B}" dt="2024-07-08T15:20:40.643" v="0"/>
      <pc:docMkLst>
        <pc:docMk/>
      </pc:docMkLst>
      <pc:sldChg chg="ord">
        <pc:chgData name="Annemarija Apine (LV)" userId="S::annemarija.apine@pwc.com::546f5c59-3b8d-47fd-b739-a8fadc631053" providerId="AD" clId="Web-{9C8BDFA5-C646-278C-7FF7-F2BD98C06A2B}" dt="2024-07-08T15:20:40.643" v="0"/>
        <pc:sldMkLst>
          <pc:docMk/>
          <pc:sldMk cId="192098022" sldId="769"/>
        </pc:sldMkLst>
      </pc:sldChg>
    </pc:docChg>
  </pc:docChgLst>
  <pc:docChgLst>
    <pc:chgData name="Sindija Kirsteine (LV)" userId="5f25501a-2215-4bb3-9d9c-8d1484ffa7c1" providerId="ADAL" clId="{DF8FB14C-655D-4BA6-ACF6-D90558E95229}"/>
    <pc:docChg chg="undo custSel modSld replTag">
      <pc:chgData name="Sindija Kirsteine (LV)" userId="5f25501a-2215-4bb3-9d9c-8d1484ffa7c1" providerId="ADAL" clId="{DF8FB14C-655D-4BA6-ACF6-D90558E95229}" dt="2024-06-10T06:20:19.750" v="587"/>
      <pc:docMkLst>
        <pc:docMk/>
      </pc:docMkLst>
      <pc:sldChg chg="modSp mod delCm">
        <pc:chgData name="Sindija Kirsteine (LV)" userId="5f25501a-2215-4bb3-9d9c-8d1484ffa7c1" providerId="ADAL" clId="{DF8FB14C-655D-4BA6-ACF6-D90558E95229}" dt="2024-06-05T07:49:13.702" v="3" actId="255"/>
        <pc:sldMkLst>
          <pc:docMk/>
          <pc:sldMk cId="817197616" sldId="332"/>
        </pc:sldMkLst>
        <pc:spChg chg="mod">
          <ac:chgData name="Sindija Kirsteine (LV)" userId="5f25501a-2215-4bb3-9d9c-8d1484ffa7c1" providerId="ADAL" clId="{DF8FB14C-655D-4BA6-ACF6-D90558E95229}" dt="2024-06-05T07:49:01.957" v="1"/>
          <ac:spMkLst>
            <pc:docMk/>
            <pc:sldMk cId="817197616" sldId="332"/>
            <ac:spMk id="3" creationId="{E1CE47AC-97D8-9F49-5273-9267AA784BE2}"/>
          </ac:spMkLst>
        </pc:spChg>
        <pc:spChg chg="mod">
          <ac:chgData name="Sindija Kirsteine (LV)" userId="5f25501a-2215-4bb3-9d9c-8d1484ffa7c1" providerId="ADAL" clId="{DF8FB14C-655D-4BA6-ACF6-D90558E95229}" dt="2024-06-05T07:49:13.702" v="3" actId="255"/>
          <ac:spMkLst>
            <pc:docMk/>
            <pc:sldMk cId="817197616" sldId="332"/>
            <ac:spMk id="9" creationId="{9C917BBD-747E-ABCB-3683-E8C68F33230D}"/>
          </ac:spMkLst>
        </pc:sp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DF8FB14C-655D-4BA6-ACF6-D90558E95229}" dt="2024-06-05T07:48:51.323" v="0"/>
              <pc2:cmMkLst xmlns:pc2="http://schemas.microsoft.com/office/powerpoint/2019/9/main/command">
                <pc:docMk/>
                <pc:sldMk cId="817197616" sldId="332"/>
                <pc2:cmMk id="{69F160DB-06BC-46A5-9BCA-853736F4564C}"/>
              </pc2:cmMkLst>
            </pc226:cmChg>
          </p:ext>
        </pc:extLst>
      </pc:sldChg>
      <pc:sldChg chg="addSp delSp modSp mod">
        <pc:chgData name="Sindija Kirsteine (LV)" userId="5f25501a-2215-4bb3-9d9c-8d1484ffa7c1" providerId="ADAL" clId="{DF8FB14C-655D-4BA6-ACF6-D90558E95229}" dt="2024-06-05T07:58:52.439" v="323"/>
        <pc:sldMkLst>
          <pc:docMk/>
          <pc:sldMk cId="399328488" sldId="450"/>
        </pc:sldMkLst>
        <pc:spChg chg="mod">
          <ac:chgData name="Sindija Kirsteine (LV)" userId="5f25501a-2215-4bb3-9d9c-8d1484ffa7c1" providerId="ADAL" clId="{DF8FB14C-655D-4BA6-ACF6-D90558E95229}" dt="2024-06-05T07:58:52.439" v="323"/>
          <ac:spMkLst>
            <pc:docMk/>
            <pc:sldMk cId="399328488" sldId="450"/>
            <ac:spMk id="2" creationId="{06CA5123-FA6E-5376-B3D9-BDF5B08EA25B}"/>
          </ac:spMkLst>
        </pc:spChg>
        <pc:spChg chg="add del mod">
          <ac:chgData name="Sindija Kirsteine (LV)" userId="5f25501a-2215-4bb3-9d9c-8d1484ffa7c1" providerId="ADAL" clId="{DF8FB14C-655D-4BA6-ACF6-D90558E95229}" dt="2024-06-05T07:51:56.560" v="68" actId="478"/>
          <ac:spMkLst>
            <pc:docMk/>
            <pc:sldMk cId="399328488" sldId="450"/>
            <ac:spMk id="5" creationId="{42B691FF-EAB8-D256-9150-5A1261788EC8}"/>
          </ac:spMkLst>
        </pc:spChg>
        <pc:spChg chg="mod">
          <ac:chgData name="Sindija Kirsteine (LV)" userId="5f25501a-2215-4bb3-9d9c-8d1484ffa7c1" providerId="ADAL" clId="{DF8FB14C-655D-4BA6-ACF6-D90558E95229}" dt="2024-06-05T07:52:00.150" v="70" actId="20577"/>
          <ac:spMkLst>
            <pc:docMk/>
            <pc:sldMk cId="399328488" sldId="450"/>
            <ac:spMk id="12" creationId="{437AFA95-4629-E445-8011-A1331848A9C1}"/>
          </ac:spMkLst>
        </pc:spChg>
        <pc:spChg chg="mod">
          <ac:chgData name="Sindija Kirsteine (LV)" userId="5f25501a-2215-4bb3-9d9c-8d1484ffa7c1" providerId="ADAL" clId="{DF8FB14C-655D-4BA6-ACF6-D90558E95229}" dt="2024-06-05T07:52:07.480" v="72" actId="20577"/>
          <ac:spMkLst>
            <pc:docMk/>
            <pc:sldMk cId="399328488" sldId="450"/>
            <ac:spMk id="14" creationId="{47611A2B-87DE-E012-FBEB-CD8C3F27162D}"/>
          </ac:spMkLst>
        </pc:spChg>
        <pc:spChg chg="mod">
          <ac:chgData name="Sindija Kirsteine (LV)" userId="5f25501a-2215-4bb3-9d9c-8d1484ffa7c1" providerId="ADAL" clId="{DF8FB14C-655D-4BA6-ACF6-D90558E95229}" dt="2024-06-05T07:52:09.423" v="74" actId="20577"/>
          <ac:spMkLst>
            <pc:docMk/>
            <pc:sldMk cId="399328488" sldId="450"/>
            <ac:spMk id="15" creationId="{F075C420-0F8B-D5BA-BC4C-BE0D5D4A9645}"/>
          </ac:spMkLst>
        </pc:spChg>
        <pc:spChg chg="mod">
          <ac:chgData name="Sindija Kirsteine (LV)" userId="5f25501a-2215-4bb3-9d9c-8d1484ffa7c1" providerId="ADAL" clId="{DF8FB14C-655D-4BA6-ACF6-D90558E95229}" dt="2024-06-05T07:52:11.681" v="76" actId="20577"/>
          <ac:spMkLst>
            <pc:docMk/>
            <pc:sldMk cId="399328488" sldId="450"/>
            <ac:spMk id="16" creationId="{E8603D44-7F97-0FEA-D908-A5DDE8A41CC8}"/>
          </ac:spMkLst>
        </pc:spChg>
        <pc:spChg chg="mod">
          <ac:chgData name="Sindija Kirsteine (LV)" userId="5f25501a-2215-4bb3-9d9c-8d1484ffa7c1" providerId="ADAL" clId="{DF8FB14C-655D-4BA6-ACF6-D90558E95229}" dt="2024-06-05T07:52:20.368" v="82" actId="20577"/>
          <ac:spMkLst>
            <pc:docMk/>
            <pc:sldMk cId="399328488" sldId="450"/>
            <ac:spMk id="17" creationId="{F94A9033-6BFC-B403-C388-86F98F207B0B}"/>
          </ac:spMkLst>
        </pc:spChg>
      </pc:sldChg>
      <pc:sldChg chg="addSp delSp modSp mod delCm">
        <pc:chgData name="Sindija Kirsteine (LV)" userId="5f25501a-2215-4bb3-9d9c-8d1484ffa7c1" providerId="ADAL" clId="{DF8FB14C-655D-4BA6-ACF6-D90558E95229}" dt="2024-06-07T15:24:19.119" v="573" actId="14100"/>
        <pc:sldMkLst>
          <pc:docMk/>
          <pc:sldMk cId="192098022" sldId="769"/>
        </pc:sldMkLst>
        <pc:spChg chg="del mod">
          <ac:chgData name="Sindija Kirsteine (LV)" userId="5f25501a-2215-4bb3-9d9c-8d1484ffa7c1" providerId="ADAL" clId="{DF8FB14C-655D-4BA6-ACF6-D90558E95229}" dt="2024-06-07T15:24:17.114" v="571" actId="478"/>
          <ac:spMkLst>
            <pc:docMk/>
            <pc:sldMk cId="192098022" sldId="769"/>
            <ac:spMk id="3" creationId="{A5FB0AAC-8B81-C097-B341-CC9C039BA733}"/>
          </ac:spMkLst>
        </pc:spChg>
        <pc:spChg chg="del">
          <ac:chgData name="Sindija Kirsteine (LV)" userId="5f25501a-2215-4bb3-9d9c-8d1484ffa7c1" providerId="ADAL" clId="{DF8FB14C-655D-4BA6-ACF6-D90558E95229}" dt="2024-06-05T12:13:06.043" v="511" actId="478"/>
          <ac:spMkLst>
            <pc:docMk/>
            <pc:sldMk cId="192098022" sldId="769"/>
            <ac:spMk id="4" creationId="{8D7B80AE-D9DB-FB73-A85E-F049533F27D7}"/>
          </ac:spMkLst>
        </pc:spChg>
        <pc:spChg chg="add del mod">
          <ac:chgData name="Sindija Kirsteine (LV)" userId="5f25501a-2215-4bb3-9d9c-8d1484ffa7c1" providerId="ADAL" clId="{DF8FB14C-655D-4BA6-ACF6-D90558E95229}" dt="2024-06-07T15:24:17.114" v="571" actId="478"/>
          <ac:spMkLst>
            <pc:docMk/>
            <pc:sldMk cId="192098022" sldId="769"/>
            <ac:spMk id="5" creationId="{D4E58068-75AE-3384-9B8F-DCEFB552FE61}"/>
          </ac:spMkLst>
        </pc:spChg>
        <pc:spChg chg="mod">
          <ac:chgData name="Sindija Kirsteine (LV)" userId="5f25501a-2215-4bb3-9d9c-8d1484ffa7c1" providerId="ADAL" clId="{DF8FB14C-655D-4BA6-ACF6-D90558E95229}" dt="2024-06-07T15:24:19.119" v="573" actId="14100"/>
          <ac:spMkLst>
            <pc:docMk/>
            <pc:sldMk cId="192098022" sldId="769"/>
            <ac:spMk id="6" creationId="{2CB3F9F5-858C-1D21-4D13-EAEDABE2E74A}"/>
          </ac:spMkLst>
        </pc:spChg>
        <pc:spChg chg="add del mod">
          <ac:chgData name="Sindija Kirsteine (LV)" userId="5f25501a-2215-4bb3-9d9c-8d1484ffa7c1" providerId="ADAL" clId="{DF8FB14C-655D-4BA6-ACF6-D90558E95229}" dt="2024-06-07T15:24:17.114" v="571" actId="478"/>
          <ac:spMkLst>
            <pc:docMk/>
            <pc:sldMk cId="192098022" sldId="769"/>
            <ac:spMk id="9" creationId="{384CC16B-A2CE-A2F2-2F19-2FC03E6331E0}"/>
          </ac:spMkLst>
        </pc:spChg>
        <pc:spChg chg="add del mod">
          <ac:chgData name="Sindija Kirsteine (LV)" userId="5f25501a-2215-4bb3-9d9c-8d1484ffa7c1" providerId="ADAL" clId="{DF8FB14C-655D-4BA6-ACF6-D90558E95229}" dt="2024-06-07T15:24:17.114" v="571" actId="478"/>
          <ac:spMkLst>
            <pc:docMk/>
            <pc:sldMk cId="192098022" sldId="769"/>
            <ac:spMk id="10" creationId="{3701225A-0359-7DA7-71DF-1982907687EE}"/>
          </ac:spMkLst>
        </pc:spChg>
        <pc:spChg chg="mod">
          <ac:chgData name="Sindija Kirsteine (LV)" userId="5f25501a-2215-4bb3-9d9c-8d1484ffa7c1" providerId="ADAL" clId="{DF8FB14C-655D-4BA6-ACF6-D90558E95229}" dt="2024-06-05T07:58:42.160" v="319" actId="113"/>
          <ac:spMkLst>
            <pc:docMk/>
            <pc:sldMk cId="192098022" sldId="769"/>
            <ac:spMk id="18" creationId="{31F5B033-E36B-F124-637C-AF0345D3C1E2}"/>
          </ac:spMkLst>
        </pc:sp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DF8FB14C-655D-4BA6-ACF6-D90558E95229}" dt="2024-06-05T12:13:00.597" v="502"/>
              <pc2:cmMkLst xmlns:pc2="http://schemas.microsoft.com/office/powerpoint/2019/9/main/command">
                <pc:docMk/>
                <pc:sldMk cId="192098022" sldId="769"/>
                <pc2:cmMk id="{A1A5CF71-3A21-48F9-B74E-DB559F8AA98B}"/>
              </pc2:cmMkLst>
            </pc226:cmChg>
          </p:ext>
        </pc:extLst>
      </pc:sldChg>
      <pc:sldChg chg="modSp mod">
        <pc:chgData name="Sindija Kirsteine (LV)" userId="5f25501a-2215-4bb3-9d9c-8d1484ffa7c1" providerId="ADAL" clId="{DF8FB14C-655D-4BA6-ACF6-D90558E95229}" dt="2024-06-05T07:59:02.275" v="329"/>
        <pc:sldMkLst>
          <pc:docMk/>
          <pc:sldMk cId="2067837237" sldId="899"/>
        </pc:sldMkLst>
        <pc:spChg chg="mod">
          <ac:chgData name="Sindija Kirsteine (LV)" userId="5f25501a-2215-4bb3-9d9c-8d1484ffa7c1" providerId="ADAL" clId="{DF8FB14C-655D-4BA6-ACF6-D90558E95229}" dt="2024-06-05T07:59:02.275" v="329"/>
          <ac:spMkLst>
            <pc:docMk/>
            <pc:sldMk cId="2067837237" sldId="899"/>
            <ac:spMk id="8" creationId="{C45B4B4D-811D-75BC-1C53-0D260614DCE2}"/>
          </ac:spMkLst>
        </pc:spChg>
        <pc:spChg chg="mod">
          <ac:chgData name="Sindija Kirsteine (LV)" userId="5f25501a-2215-4bb3-9d9c-8d1484ffa7c1" providerId="ADAL" clId="{DF8FB14C-655D-4BA6-ACF6-D90558E95229}" dt="2024-06-05T07:53:05.362" v="102" actId="20577"/>
          <ac:spMkLst>
            <pc:docMk/>
            <pc:sldMk cId="2067837237" sldId="899"/>
            <ac:spMk id="13" creationId="{CE49DFAE-9602-9B51-7F68-1F0676F98EAA}"/>
          </ac:spMkLst>
        </pc:spChg>
        <pc:spChg chg="mod">
          <ac:chgData name="Sindija Kirsteine (LV)" userId="5f25501a-2215-4bb3-9d9c-8d1484ffa7c1" providerId="ADAL" clId="{DF8FB14C-655D-4BA6-ACF6-D90558E95229}" dt="2024-06-05T07:53:07.252" v="104" actId="20577"/>
          <ac:spMkLst>
            <pc:docMk/>
            <pc:sldMk cId="2067837237" sldId="899"/>
            <ac:spMk id="17" creationId="{505A48E8-31D6-CC00-D638-F5453B1770D2}"/>
          </ac:spMkLst>
        </pc:spChg>
        <pc:spChg chg="mod">
          <ac:chgData name="Sindija Kirsteine (LV)" userId="5f25501a-2215-4bb3-9d9c-8d1484ffa7c1" providerId="ADAL" clId="{DF8FB14C-655D-4BA6-ACF6-D90558E95229}" dt="2024-06-05T07:53:09.226" v="106" actId="20577"/>
          <ac:spMkLst>
            <pc:docMk/>
            <pc:sldMk cId="2067837237" sldId="899"/>
            <ac:spMk id="18" creationId="{96D847B4-9689-1456-ACF2-BC9B473BDA59}"/>
          </ac:spMkLst>
        </pc:spChg>
        <pc:spChg chg="mod">
          <ac:chgData name="Sindija Kirsteine (LV)" userId="5f25501a-2215-4bb3-9d9c-8d1484ffa7c1" providerId="ADAL" clId="{DF8FB14C-655D-4BA6-ACF6-D90558E95229}" dt="2024-06-05T07:53:11.066" v="108" actId="20577"/>
          <ac:spMkLst>
            <pc:docMk/>
            <pc:sldMk cId="2067837237" sldId="899"/>
            <ac:spMk id="21" creationId="{3CDBF83B-5746-D5D4-544E-C151038D4DE9}"/>
          </ac:spMkLst>
        </pc:spChg>
        <pc:spChg chg="mod">
          <ac:chgData name="Sindija Kirsteine (LV)" userId="5f25501a-2215-4bb3-9d9c-8d1484ffa7c1" providerId="ADAL" clId="{DF8FB14C-655D-4BA6-ACF6-D90558E95229}" dt="2024-06-05T07:53:13.113" v="110" actId="20577"/>
          <ac:spMkLst>
            <pc:docMk/>
            <pc:sldMk cId="2067837237" sldId="899"/>
            <ac:spMk id="22" creationId="{EA7DD34B-277F-8DF5-1D1D-40774DE42626}"/>
          </ac:spMkLst>
        </pc:spChg>
      </pc:sldChg>
      <pc:sldChg chg="addSp delSp modSp mod">
        <pc:chgData name="Sindija Kirsteine (LV)" userId="5f25501a-2215-4bb3-9d9c-8d1484ffa7c1" providerId="ADAL" clId="{DF8FB14C-655D-4BA6-ACF6-D90558E95229}" dt="2024-06-05T07:59:05.639" v="331"/>
        <pc:sldMkLst>
          <pc:docMk/>
          <pc:sldMk cId="1735191326" sldId="900"/>
        </pc:sldMkLst>
        <pc:spChg chg="mod">
          <ac:chgData name="Sindija Kirsteine (LV)" userId="5f25501a-2215-4bb3-9d9c-8d1484ffa7c1" providerId="ADAL" clId="{DF8FB14C-655D-4BA6-ACF6-D90558E95229}" dt="2024-06-05T07:59:05.639" v="331"/>
          <ac:spMkLst>
            <pc:docMk/>
            <pc:sldMk cId="1735191326" sldId="900"/>
            <ac:spMk id="5" creationId="{775EC90E-5DCE-2B24-A5AB-0F9245BDD3E7}"/>
          </ac:spMkLst>
        </pc:spChg>
        <pc:spChg chg="mod">
          <ac:chgData name="Sindija Kirsteine (LV)" userId="5f25501a-2215-4bb3-9d9c-8d1484ffa7c1" providerId="ADAL" clId="{DF8FB14C-655D-4BA6-ACF6-D90558E95229}" dt="2024-06-05T07:53:34.413" v="118"/>
          <ac:spMkLst>
            <pc:docMk/>
            <pc:sldMk cId="1735191326" sldId="900"/>
            <ac:spMk id="15" creationId="{5010B0DC-9EB4-FC8F-448C-EC04D08544A1}"/>
          </ac:spMkLst>
        </pc:spChg>
        <pc:spChg chg="mod">
          <ac:chgData name="Sindija Kirsteine (LV)" userId="5f25501a-2215-4bb3-9d9c-8d1484ffa7c1" providerId="ADAL" clId="{DF8FB14C-655D-4BA6-ACF6-D90558E95229}" dt="2024-06-05T07:53:34.413" v="118"/>
          <ac:spMkLst>
            <pc:docMk/>
            <pc:sldMk cId="1735191326" sldId="900"/>
            <ac:spMk id="18" creationId="{0503D9E5-9E24-8980-EF0A-F73A6FB0B79D}"/>
          </ac:spMkLst>
        </pc:spChg>
        <pc:spChg chg="mod">
          <ac:chgData name="Sindija Kirsteine (LV)" userId="5f25501a-2215-4bb3-9d9c-8d1484ffa7c1" providerId="ADAL" clId="{DF8FB14C-655D-4BA6-ACF6-D90558E95229}" dt="2024-06-05T07:53:34.413" v="118"/>
          <ac:spMkLst>
            <pc:docMk/>
            <pc:sldMk cId="1735191326" sldId="900"/>
            <ac:spMk id="19" creationId="{E067E46B-DFEE-27F0-8A4B-732AE657B848}"/>
          </ac:spMkLst>
        </pc:spChg>
        <pc:spChg chg="mod">
          <ac:chgData name="Sindija Kirsteine (LV)" userId="5f25501a-2215-4bb3-9d9c-8d1484ffa7c1" providerId="ADAL" clId="{DF8FB14C-655D-4BA6-ACF6-D90558E95229}" dt="2024-06-05T07:53:34.413" v="118"/>
          <ac:spMkLst>
            <pc:docMk/>
            <pc:sldMk cId="1735191326" sldId="900"/>
            <ac:spMk id="20" creationId="{70B512D5-347E-52F9-87DF-294D42A64799}"/>
          </ac:spMkLst>
        </pc:spChg>
        <pc:spChg chg="mod">
          <ac:chgData name="Sindija Kirsteine (LV)" userId="5f25501a-2215-4bb3-9d9c-8d1484ffa7c1" providerId="ADAL" clId="{DF8FB14C-655D-4BA6-ACF6-D90558E95229}" dt="2024-06-05T07:53:34.413" v="118"/>
          <ac:spMkLst>
            <pc:docMk/>
            <pc:sldMk cId="1735191326" sldId="900"/>
            <ac:spMk id="21" creationId="{F79DDCCF-BA4D-BE6A-3098-E52555711CDE}"/>
          </ac:spMkLst>
        </pc:spChg>
        <pc:spChg chg="mod">
          <ac:chgData name="Sindija Kirsteine (LV)" userId="5f25501a-2215-4bb3-9d9c-8d1484ffa7c1" providerId="ADAL" clId="{DF8FB14C-655D-4BA6-ACF6-D90558E95229}" dt="2024-06-05T07:53:34.413" v="118"/>
          <ac:spMkLst>
            <pc:docMk/>
            <pc:sldMk cId="1735191326" sldId="900"/>
            <ac:spMk id="22" creationId="{68B9554E-4A69-8896-0201-BB891912CC5B}"/>
          </ac:spMkLst>
        </pc:spChg>
        <pc:grpChg chg="del">
          <ac:chgData name="Sindija Kirsteine (LV)" userId="5f25501a-2215-4bb3-9d9c-8d1484ffa7c1" providerId="ADAL" clId="{DF8FB14C-655D-4BA6-ACF6-D90558E95229}" dt="2024-06-05T07:53:34.142" v="117" actId="478"/>
          <ac:grpSpMkLst>
            <pc:docMk/>
            <pc:sldMk cId="1735191326" sldId="900"/>
            <ac:grpSpMk id="6" creationId="{FF27E800-456C-291B-FA00-AE8AF5C51E72}"/>
          </ac:grpSpMkLst>
        </pc:grpChg>
        <pc:grpChg chg="add mod">
          <ac:chgData name="Sindija Kirsteine (LV)" userId="5f25501a-2215-4bb3-9d9c-8d1484ffa7c1" providerId="ADAL" clId="{DF8FB14C-655D-4BA6-ACF6-D90558E95229}" dt="2024-06-05T07:53:34.413" v="118"/>
          <ac:grpSpMkLst>
            <pc:docMk/>
            <pc:sldMk cId="1735191326" sldId="900"/>
            <ac:grpSpMk id="14" creationId="{7AFE13CD-216D-2163-4E20-AAFC78274505}"/>
          </ac:grpSpMkLst>
        </pc:grpChg>
      </pc:sldChg>
      <pc:sldChg chg="addSp delSp modSp mod">
        <pc:chgData name="Sindija Kirsteine (LV)" userId="5f25501a-2215-4bb3-9d9c-8d1484ffa7c1" providerId="ADAL" clId="{DF8FB14C-655D-4BA6-ACF6-D90558E95229}" dt="2024-06-05T07:59:08.461" v="333"/>
        <pc:sldMkLst>
          <pc:docMk/>
          <pc:sldMk cId="3011875620" sldId="903"/>
        </pc:sldMkLst>
        <pc:spChg chg="mod">
          <ac:chgData name="Sindija Kirsteine (LV)" userId="5f25501a-2215-4bb3-9d9c-8d1484ffa7c1" providerId="ADAL" clId="{DF8FB14C-655D-4BA6-ACF6-D90558E95229}" dt="2024-06-05T07:59:08.461" v="333"/>
          <ac:spMkLst>
            <pc:docMk/>
            <pc:sldMk cId="3011875620" sldId="903"/>
            <ac:spMk id="3" creationId="{33BB98B8-6827-4CCD-E4FE-A55C4C067AB3}"/>
          </ac:spMkLst>
        </pc:spChg>
        <pc:spChg chg="mod">
          <ac:chgData name="Sindija Kirsteine (LV)" userId="5f25501a-2215-4bb3-9d9c-8d1484ffa7c1" providerId="ADAL" clId="{DF8FB14C-655D-4BA6-ACF6-D90558E95229}" dt="2024-06-05T07:53:41.432" v="121"/>
          <ac:spMkLst>
            <pc:docMk/>
            <pc:sldMk cId="3011875620" sldId="903"/>
            <ac:spMk id="19" creationId="{0930130B-C3CA-0D3F-FCEF-ED20D475573B}"/>
          </ac:spMkLst>
        </pc:spChg>
        <pc:spChg chg="mod">
          <ac:chgData name="Sindija Kirsteine (LV)" userId="5f25501a-2215-4bb3-9d9c-8d1484ffa7c1" providerId="ADAL" clId="{DF8FB14C-655D-4BA6-ACF6-D90558E95229}" dt="2024-06-05T07:53:41.432" v="121"/>
          <ac:spMkLst>
            <pc:docMk/>
            <pc:sldMk cId="3011875620" sldId="903"/>
            <ac:spMk id="20" creationId="{342D1AAE-D336-3691-59C9-42305FA367F4}"/>
          </ac:spMkLst>
        </pc:spChg>
        <pc:spChg chg="mod">
          <ac:chgData name="Sindija Kirsteine (LV)" userId="5f25501a-2215-4bb3-9d9c-8d1484ffa7c1" providerId="ADAL" clId="{DF8FB14C-655D-4BA6-ACF6-D90558E95229}" dt="2024-06-05T07:53:41.432" v="121"/>
          <ac:spMkLst>
            <pc:docMk/>
            <pc:sldMk cId="3011875620" sldId="903"/>
            <ac:spMk id="21" creationId="{8291E5FD-8BA7-08C9-DE86-06A7357EB2EA}"/>
          </ac:spMkLst>
        </pc:spChg>
        <pc:spChg chg="mod">
          <ac:chgData name="Sindija Kirsteine (LV)" userId="5f25501a-2215-4bb3-9d9c-8d1484ffa7c1" providerId="ADAL" clId="{DF8FB14C-655D-4BA6-ACF6-D90558E95229}" dt="2024-06-05T07:53:41.432" v="121"/>
          <ac:spMkLst>
            <pc:docMk/>
            <pc:sldMk cId="3011875620" sldId="903"/>
            <ac:spMk id="22" creationId="{3950A70E-3EB5-9C5A-54D6-EBB8EBE232A5}"/>
          </ac:spMkLst>
        </pc:spChg>
        <pc:spChg chg="mod">
          <ac:chgData name="Sindija Kirsteine (LV)" userId="5f25501a-2215-4bb3-9d9c-8d1484ffa7c1" providerId="ADAL" clId="{DF8FB14C-655D-4BA6-ACF6-D90558E95229}" dt="2024-06-05T07:53:41.432" v="121"/>
          <ac:spMkLst>
            <pc:docMk/>
            <pc:sldMk cId="3011875620" sldId="903"/>
            <ac:spMk id="23" creationId="{A5C9EE1B-9F21-7F3A-7EA4-FBC4B36DE58C}"/>
          </ac:spMkLst>
        </pc:spChg>
        <pc:spChg chg="mod">
          <ac:chgData name="Sindija Kirsteine (LV)" userId="5f25501a-2215-4bb3-9d9c-8d1484ffa7c1" providerId="ADAL" clId="{DF8FB14C-655D-4BA6-ACF6-D90558E95229}" dt="2024-06-05T07:53:41.432" v="121"/>
          <ac:spMkLst>
            <pc:docMk/>
            <pc:sldMk cId="3011875620" sldId="903"/>
            <ac:spMk id="26" creationId="{05ABA03D-365B-A6D0-34A3-C2E190D97F39}"/>
          </ac:spMkLst>
        </pc:spChg>
        <pc:grpChg chg="del">
          <ac:chgData name="Sindija Kirsteine (LV)" userId="5f25501a-2215-4bb3-9d9c-8d1484ffa7c1" providerId="ADAL" clId="{DF8FB14C-655D-4BA6-ACF6-D90558E95229}" dt="2024-06-05T07:53:41.140" v="120" actId="478"/>
          <ac:grpSpMkLst>
            <pc:docMk/>
            <pc:sldMk cId="3011875620" sldId="903"/>
            <ac:grpSpMk id="5" creationId="{706A042E-96D3-EE24-FA5E-32D25A875506}"/>
          </ac:grpSpMkLst>
        </pc:grpChg>
        <pc:grpChg chg="add mod">
          <ac:chgData name="Sindija Kirsteine (LV)" userId="5f25501a-2215-4bb3-9d9c-8d1484ffa7c1" providerId="ADAL" clId="{DF8FB14C-655D-4BA6-ACF6-D90558E95229}" dt="2024-06-05T07:53:41.432" v="121"/>
          <ac:grpSpMkLst>
            <pc:docMk/>
            <pc:sldMk cId="3011875620" sldId="903"/>
            <ac:grpSpMk id="18" creationId="{5DDA4596-31E5-32B2-E305-AAE4E8FF61C2}"/>
          </ac:grpSpMkLst>
        </pc:grpChg>
      </pc:sldChg>
      <pc:sldChg chg="addSp delSp modSp mod">
        <pc:chgData name="Sindija Kirsteine (LV)" userId="5f25501a-2215-4bb3-9d9c-8d1484ffa7c1" providerId="ADAL" clId="{DF8FB14C-655D-4BA6-ACF6-D90558E95229}" dt="2024-06-05T07:59:10.875" v="335"/>
        <pc:sldMkLst>
          <pc:docMk/>
          <pc:sldMk cId="795685229" sldId="904"/>
        </pc:sldMkLst>
        <pc:spChg chg="mod">
          <ac:chgData name="Sindija Kirsteine (LV)" userId="5f25501a-2215-4bb3-9d9c-8d1484ffa7c1" providerId="ADAL" clId="{DF8FB14C-655D-4BA6-ACF6-D90558E95229}" dt="2024-06-05T07:59:10.875" v="335"/>
          <ac:spMkLst>
            <pc:docMk/>
            <pc:sldMk cId="795685229" sldId="904"/>
            <ac:spMk id="6" creationId="{236C7614-93A6-8AC7-7258-BAE206E1F0BE}"/>
          </ac:spMkLst>
        </pc:spChg>
        <pc:spChg chg="mod">
          <ac:chgData name="Sindija Kirsteine (LV)" userId="5f25501a-2215-4bb3-9d9c-8d1484ffa7c1" providerId="ADAL" clId="{DF8FB14C-655D-4BA6-ACF6-D90558E95229}" dt="2024-06-05T07:53:49.651" v="124"/>
          <ac:spMkLst>
            <pc:docMk/>
            <pc:sldMk cId="795685229" sldId="904"/>
            <ac:spMk id="16" creationId="{6AE8C961-2E1F-3CF0-F8BE-030748688B3F}"/>
          </ac:spMkLst>
        </pc:spChg>
        <pc:spChg chg="mod">
          <ac:chgData name="Sindija Kirsteine (LV)" userId="5f25501a-2215-4bb3-9d9c-8d1484ffa7c1" providerId="ADAL" clId="{DF8FB14C-655D-4BA6-ACF6-D90558E95229}" dt="2024-06-05T07:53:49.651" v="124"/>
          <ac:spMkLst>
            <pc:docMk/>
            <pc:sldMk cId="795685229" sldId="904"/>
            <ac:spMk id="17" creationId="{32CC8033-42EE-8EAD-6949-78939AF31F9A}"/>
          </ac:spMkLst>
        </pc:spChg>
        <pc:spChg chg="mod">
          <ac:chgData name="Sindija Kirsteine (LV)" userId="5f25501a-2215-4bb3-9d9c-8d1484ffa7c1" providerId="ADAL" clId="{DF8FB14C-655D-4BA6-ACF6-D90558E95229}" dt="2024-06-05T07:53:49.651" v="124"/>
          <ac:spMkLst>
            <pc:docMk/>
            <pc:sldMk cId="795685229" sldId="904"/>
            <ac:spMk id="18" creationId="{8C138BBB-19C6-5FA4-8B3A-FDDA746455BB}"/>
          </ac:spMkLst>
        </pc:spChg>
        <pc:spChg chg="mod">
          <ac:chgData name="Sindija Kirsteine (LV)" userId="5f25501a-2215-4bb3-9d9c-8d1484ffa7c1" providerId="ADAL" clId="{DF8FB14C-655D-4BA6-ACF6-D90558E95229}" dt="2024-06-05T07:53:49.651" v="124"/>
          <ac:spMkLst>
            <pc:docMk/>
            <pc:sldMk cId="795685229" sldId="904"/>
            <ac:spMk id="19" creationId="{25CA0E9F-B743-DDA9-48DC-0C06CE8C4BEA}"/>
          </ac:spMkLst>
        </pc:spChg>
        <pc:spChg chg="mod">
          <ac:chgData name="Sindija Kirsteine (LV)" userId="5f25501a-2215-4bb3-9d9c-8d1484ffa7c1" providerId="ADAL" clId="{DF8FB14C-655D-4BA6-ACF6-D90558E95229}" dt="2024-06-05T07:53:49.651" v="124"/>
          <ac:spMkLst>
            <pc:docMk/>
            <pc:sldMk cId="795685229" sldId="904"/>
            <ac:spMk id="20" creationId="{C6E13F5E-625B-B8C5-3983-C0DA4BA1E8C9}"/>
          </ac:spMkLst>
        </pc:spChg>
        <pc:spChg chg="mod">
          <ac:chgData name="Sindija Kirsteine (LV)" userId="5f25501a-2215-4bb3-9d9c-8d1484ffa7c1" providerId="ADAL" clId="{DF8FB14C-655D-4BA6-ACF6-D90558E95229}" dt="2024-06-05T07:53:49.651" v="124"/>
          <ac:spMkLst>
            <pc:docMk/>
            <pc:sldMk cId="795685229" sldId="904"/>
            <ac:spMk id="21" creationId="{3A0A837A-4EA4-4519-F1FC-9C03416609E7}"/>
          </ac:spMkLst>
        </pc:spChg>
        <pc:grpChg chg="del">
          <ac:chgData name="Sindija Kirsteine (LV)" userId="5f25501a-2215-4bb3-9d9c-8d1484ffa7c1" providerId="ADAL" clId="{DF8FB14C-655D-4BA6-ACF6-D90558E95229}" dt="2024-06-05T07:53:49.302" v="123" actId="478"/>
          <ac:grpSpMkLst>
            <pc:docMk/>
            <pc:sldMk cId="795685229" sldId="904"/>
            <ac:grpSpMk id="7" creationId="{C9C1E471-A029-C750-A876-BA87FF8A3FAF}"/>
          </ac:grpSpMkLst>
        </pc:grpChg>
        <pc:grpChg chg="add mod">
          <ac:chgData name="Sindija Kirsteine (LV)" userId="5f25501a-2215-4bb3-9d9c-8d1484ffa7c1" providerId="ADAL" clId="{DF8FB14C-655D-4BA6-ACF6-D90558E95229}" dt="2024-06-05T07:53:49.651" v="124"/>
          <ac:grpSpMkLst>
            <pc:docMk/>
            <pc:sldMk cId="795685229" sldId="904"/>
            <ac:grpSpMk id="15" creationId="{1F5F69A6-EEE7-88E6-D6C5-6004ED0B7C00}"/>
          </ac:grpSpMkLst>
        </pc:grpChg>
      </pc:sldChg>
      <pc:sldChg chg="addSp delSp modSp mod">
        <pc:chgData name="Sindija Kirsteine (LV)" userId="5f25501a-2215-4bb3-9d9c-8d1484ffa7c1" providerId="ADAL" clId="{DF8FB14C-655D-4BA6-ACF6-D90558E95229}" dt="2024-06-05T07:59:14.394" v="337"/>
        <pc:sldMkLst>
          <pc:docMk/>
          <pc:sldMk cId="507333055" sldId="905"/>
        </pc:sldMkLst>
        <pc:spChg chg="mod">
          <ac:chgData name="Sindija Kirsteine (LV)" userId="5f25501a-2215-4bb3-9d9c-8d1484ffa7c1" providerId="ADAL" clId="{DF8FB14C-655D-4BA6-ACF6-D90558E95229}" dt="2024-06-05T07:59:14.394" v="337"/>
          <ac:spMkLst>
            <pc:docMk/>
            <pc:sldMk cId="507333055" sldId="905"/>
            <ac:spMk id="3" creationId="{70832196-8F04-2AE8-0728-1989AF43F84D}"/>
          </ac:spMkLst>
        </pc:spChg>
        <pc:spChg chg="mod">
          <ac:chgData name="Sindija Kirsteine (LV)" userId="5f25501a-2215-4bb3-9d9c-8d1484ffa7c1" providerId="ADAL" clId="{DF8FB14C-655D-4BA6-ACF6-D90558E95229}" dt="2024-06-05T07:53:53.325" v="127"/>
          <ac:spMkLst>
            <pc:docMk/>
            <pc:sldMk cId="507333055" sldId="905"/>
            <ac:spMk id="14" creationId="{1F0182AE-A45D-7526-D25D-29CD47996263}"/>
          </ac:spMkLst>
        </pc:spChg>
        <pc:spChg chg="mod">
          <ac:chgData name="Sindija Kirsteine (LV)" userId="5f25501a-2215-4bb3-9d9c-8d1484ffa7c1" providerId="ADAL" clId="{DF8FB14C-655D-4BA6-ACF6-D90558E95229}" dt="2024-06-05T07:53:53.325" v="127"/>
          <ac:spMkLst>
            <pc:docMk/>
            <pc:sldMk cId="507333055" sldId="905"/>
            <ac:spMk id="15" creationId="{306727E7-C731-BE3F-6C6F-876DEE238E5B}"/>
          </ac:spMkLst>
        </pc:spChg>
        <pc:spChg chg="mod">
          <ac:chgData name="Sindija Kirsteine (LV)" userId="5f25501a-2215-4bb3-9d9c-8d1484ffa7c1" providerId="ADAL" clId="{DF8FB14C-655D-4BA6-ACF6-D90558E95229}" dt="2024-06-05T07:53:53.325" v="127"/>
          <ac:spMkLst>
            <pc:docMk/>
            <pc:sldMk cId="507333055" sldId="905"/>
            <ac:spMk id="16" creationId="{F9AA3D96-9489-1ED3-A81A-F48664322B4B}"/>
          </ac:spMkLst>
        </pc:spChg>
        <pc:spChg chg="mod">
          <ac:chgData name="Sindija Kirsteine (LV)" userId="5f25501a-2215-4bb3-9d9c-8d1484ffa7c1" providerId="ADAL" clId="{DF8FB14C-655D-4BA6-ACF6-D90558E95229}" dt="2024-06-05T07:53:53.325" v="127"/>
          <ac:spMkLst>
            <pc:docMk/>
            <pc:sldMk cId="507333055" sldId="905"/>
            <ac:spMk id="17" creationId="{A7671A1E-D959-1A1F-C47E-E9417BF6AFF2}"/>
          </ac:spMkLst>
        </pc:spChg>
        <pc:spChg chg="mod">
          <ac:chgData name="Sindija Kirsteine (LV)" userId="5f25501a-2215-4bb3-9d9c-8d1484ffa7c1" providerId="ADAL" clId="{DF8FB14C-655D-4BA6-ACF6-D90558E95229}" dt="2024-06-05T07:53:53.325" v="127"/>
          <ac:spMkLst>
            <pc:docMk/>
            <pc:sldMk cId="507333055" sldId="905"/>
            <ac:spMk id="18" creationId="{89B0D675-1E72-2851-1ECC-EABE326A10EB}"/>
          </ac:spMkLst>
        </pc:spChg>
        <pc:spChg chg="mod">
          <ac:chgData name="Sindija Kirsteine (LV)" userId="5f25501a-2215-4bb3-9d9c-8d1484ffa7c1" providerId="ADAL" clId="{DF8FB14C-655D-4BA6-ACF6-D90558E95229}" dt="2024-06-05T07:53:53.325" v="127"/>
          <ac:spMkLst>
            <pc:docMk/>
            <pc:sldMk cId="507333055" sldId="905"/>
            <ac:spMk id="19" creationId="{36E9D51E-6C00-F15E-BB9C-544242E9640B}"/>
          </ac:spMkLst>
        </pc:spChg>
        <pc:grpChg chg="del">
          <ac:chgData name="Sindija Kirsteine (LV)" userId="5f25501a-2215-4bb3-9d9c-8d1484ffa7c1" providerId="ADAL" clId="{DF8FB14C-655D-4BA6-ACF6-D90558E95229}" dt="2024-06-05T07:53:52.991" v="126" actId="478"/>
          <ac:grpSpMkLst>
            <pc:docMk/>
            <pc:sldMk cId="507333055" sldId="905"/>
            <ac:grpSpMk id="5" creationId="{4622E805-89A5-4047-1C8F-D8F1098B5CCF}"/>
          </ac:grpSpMkLst>
        </pc:grpChg>
        <pc:grpChg chg="add mod">
          <ac:chgData name="Sindija Kirsteine (LV)" userId="5f25501a-2215-4bb3-9d9c-8d1484ffa7c1" providerId="ADAL" clId="{DF8FB14C-655D-4BA6-ACF6-D90558E95229}" dt="2024-06-05T07:53:53.325" v="127"/>
          <ac:grpSpMkLst>
            <pc:docMk/>
            <pc:sldMk cId="507333055" sldId="905"/>
            <ac:grpSpMk id="13" creationId="{91F7358D-A7BF-DACB-CE35-FD17B08FE4FD}"/>
          </ac:grpSpMkLst>
        </pc:grpChg>
      </pc:sldChg>
      <pc:sldChg chg="addSp delSp modSp mod">
        <pc:chgData name="Sindija Kirsteine (LV)" userId="5f25501a-2215-4bb3-9d9c-8d1484ffa7c1" providerId="ADAL" clId="{DF8FB14C-655D-4BA6-ACF6-D90558E95229}" dt="2024-06-05T07:58:59.445" v="327"/>
        <pc:sldMkLst>
          <pc:docMk/>
          <pc:sldMk cId="1164346809" sldId="906"/>
        </pc:sldMkLst>
        <pc:spChg chg="mod">
          <ac:chgData name="Sindija Kirsteine (LV)" userId="5f25501a-2215-4bb3-9d9c-8d1484ffa7c1" providerId="ADAL" clId="{DF8FB14C-655D-4BA6-ACF6-D90558E95229}" dt="2024-06-05T07:52:51.440" v="94"/>
          <ac:spMkLst>
            <pc:docMk/>
            <pc:sldMk cId="1164346809" sldId="906"/>
            <ac:spMk id="5" creationId="{0CDCA6B6-FE0E-D7AD-11B1-6ABEBE91475C}"/>
          </ac:spMkLst>
        </pc:spChg>
        <pc:spChg chg="mod">
          <ac:chgData name="Sindija Kirsteine (LV)" userId="5f25501a-2215-4bb3-9d9c-8d1484ffa7c1" providerId="ADAL" clId="{DF8FB14C-655D-4BA6-ACF6-D90558E95229}" dt="2024-06-05T07:58:59.445" v="327"/>
          <ac:spMkLst>
            <pc:docMk/>
            <pc:sldMk cId="1164346809" sldId="906"/>
            <ac:spMk id="6" creationId="{05A1F6AF-20A3-6819-9353-99581EAEE5C4}"/>
          </ac:spMkLst>
        </pc:spChg>
        <pc:spChg chg="mod">
          <ac:chgData name="Sindija Kirsteine (LV)" userId="5f25501a-2215-4bb3-9d9c-8d1484ffa7c1" providerId="ADAL" clId="{DF8FB14C-655D-4BA6-ACF6-D90558E95229}" dt="2024-06-05T07:52:51.440" v="94"/>
          <ac:spMkLst>
            <pc:docMk/>
            <pc:sldMk cId="1164346809" sldId="906"/>
            <ac:spMk id="7" creationId="{C78A4447-19D3-5ED7-A397-768CE02D3EB5}"/>
          </ac:spMkLst>
        </pc:spChg>
        <pc:spChg chg="mod">
          <ac:chgData name="Sindija Kirsteine (LV)" userId="5f25501a-2215-4bb3-9d9c-8d1484ffa7c1" providerId="ADAL" clId="{DF8FB14C-655D-4BA6-ACF6-D90558E95229}" dt="2024-06-05T07:52:51.440" v="94"/>
          <ac:spMkLst>
            <pc:docMk/>
            <pc:sldMk cId="1164346809" sldId="906"/>
            <ac:spMk id="9" creationId="{8173BA0A-C25A-C7DD-4003-34959AD30631}"/>
          </ac:spMkLst>
        </pc:spChg>
        <pc:spChg chg="mod">
          <ac:chgData name="Sindija Kirsteine (LV)" userId="5f25501a-2215-4bb3-9d9c-8d1484ffa7c1" providerId="ADAL" clId="{DF8FB14C-655D-4BA6-ACF6-D90558E95229}" dt="2024-06-05T07:52:51.440" v="94"/>
          <ac:spMkLst>
            <pc:docMk/>
            <pc:sldMk cId="1164346809" sldId="906"/>
            <ac:spMk id="10" creationId="{C35490C0-4647-8AF7-A44F-2BF295179AE2}"/>
          </ac:spMkLst>
        </pc:spChg>
        <pc:spChg chg="mod">
          <ac:chgData name="Sindija Kirsteine (LV)" userId="5f25501a-2215-4bb3-9d9c-8d1484ffa7c1" providerId="ADAL" clId="{DF8FB14C-655D-4BA6-ACF6-D90558E95229}" dt="2024-06-05T07:52:51.440" v="94"/>
          <ac:spMkLst>
            <pc:docMk/>
            <pc:sldMk cId="1164346809" sldId="906"/>
            <ac:spMk id="11" creationId="{0D44A792-D68C-D862-320E-48CECE507782}"/>
          </ac:spMkLst>
        </pc:spChg>
        <pc:spChg chg="mod">
          <ac:chgData name="Sindija Kirsteine (LV)" userId="5f25501a-2215-4bb3-9d9c-8d1484ffa7c1" providerId="ADAL" clId="{DF8FB14C-655D-4BA6-ACF6-D90558E95229}" dt="2024-06-05T07:52:51.440" v="94"/>
          <ac:spMkLst>
            <pc:docMk/>
            <pc:sldMk cId="1164346809" sldId="906"/>
            <ac:spMk id="12" creationId="{F2715966-B73F-9FE4-9C37-E2937E609871}"/>
          </ac:spMkLst>
        </pc:spChg>
        <pc:spChg chg="mod">
          <ac:chgData name="Sindija Kirsteine (LV)" userId="5f25501a-2215-4bb3-9d9c-8d1484ffa7c1" providerId="ADAL" clId="{DF8FB14C-655D-4BA6-ACF6-D90558E95229}" dt="2024-06-05T07:52:59.637" v="98"/>
          <ac:spMkLst>
            <pc:docMk/>
            <pc:sldMk cId="1164346809" sldId="906"/>
            <ac:spMk id="14" creationId="{5CBB6BD9-E3E3-50A3-DD9C-EC83398D9B71}"/>
          </ac:spMkLst>
        </pc:spChg>
        <pc:spChg chg="mod">
          <ac:chgData name="Sindija Kirsteine (LV)" userId="5f25501a-2215-4bb3-9d9c-8d1484ffa7c1" providerId="ADAL" clId="{DF8FB14C-655D-4BA6-ACF6-D90558E95229}" dt="2024-06-05T07:52:59.637" v="98"/>
          <ac:spMkLst>
            <pc:docMk/>
            <pc:sldMk cId="1164346809" sldId="906"/>
            <ac:spMk id="21" creationId="{8E4B0553-B2F3-46F1-EB72-D0D392934492}"/>
          </ac:spMkLst>
        </pc:spChg>
        <pc:spChg chg="mod">
          <ac:chgData name="Sindija Kirsteine (LV)" userId="5f25501a-2215-4bb3-9d9c-8d1484ffa7c1" providerId="ADAL" clId="{DF8FB14C-655D-4BA6-ACF6-D90558E95229}" dt="2024-06-05T07:52:59.637" v="98"/>
          <ac:spMkLst>
            <pc:docMk/>
            <pc:sldMk cId="1164346809" sldId="906"/>
            <ac:spMk id="23" creationId="{D2EC6B9C-01BB-BAC8-93C6-996742EA3B7C}"/>
          </ac:spMkLst>
        </pc:spChg>
        <pc:spChg chg="mod">
          <ac:chgData name="Sindija Kirsteine (LV)" userId="5f25501a-2215-4bb3-9d9c-8d1484ffa7c1" providerId="ADAL" clId="{DF8FB14C-655D-4BA6-ACF6-D90558E95229}" dt="2024-06-05T07:52:59.637" v="98"/>
          <ac:spMkLst>
            <pc:docMk/>
            <pc:sldMk cId="1164346809" sldId="906"/>
            <ac:spMk id="29" creationId="{D5C5D726-8AF7-E74A-E212-6B92B2D1011C}"/>
          </ac:spMkLst>
        </pc:spChg>
        <pc:spChg chg="mod">
          <ac:chgData name="Sindija Kirsteine (LV)" userId="5f25501a-2215-4bb3-9d9c-8d1484ffa7c1" providerId="ADAL" clId="{DF8FB14C-655D-4BA6-ACF6-D90558E95229}" dt="2024-06-05T07:52:59.637" v="98"/>
          <ac:spMkLst>
            <pc:docMk/>
            <pc:sldMk cId="1164346809" sldId="906"/>
            <ac:spMk id="30" creationId="{D6685C14-901E-B017-F8C5-4D5DDC4265E8}"/>
          </ac:spMkLst>
        </pc:spChg>
        <pc:spChg chg="mod">
          <ac:chgData name="Sindija Kirsteine (LV)" userId="5f25501a-2215-4bb3-9d9c-8d1484ffa7c1" providerId="ADAL" clId="{DF8FB14C-655D-4BA6-ACF6-D90558E95229}" dt="2024-06-05T07:52:59.637" v="98"/>
          <ac:spMkLst>
            <pc:docMk/>
            <pc:sldMk cId="1164346809" sldId="906"/>
            <ac:spMk id="31" creationId="{A99CBF7F-19F4-04C3-B7C3-0BBC235F391D}"/>
          </ac:spMkLst>
        </pc:spChg>
        <pc:grpChg chg="add del mod">
          <ac:chgData name="Sindija Kirsteine (LV)" userId="5f25501a-2215-4bb3-9d9c-8d1484ffa7c1" providerId="ADAL" clId="{DF8FB14C-655D-4BA6-ACF6-D90558E95229}" dt="2024-06-05T07:52:52.861" v="95"/>
          <ac:grpSpMkLst>
            <pc:docMk/>
            <pc:sldMk cId="1164346809" sldId="906"/>
            <ac:grpSpMk id="2" creationId="{B12EBA06-42F9-8ACD-4843-90F338813761}"/>
          </ac:grpSpMkLst>
        </pc:grpChg>
        <pc:grpChg chg="add mod">
          <ac:chgData name="Sindija Kirsteine (LV)" userId="5f25501a-2215-4bb3-9d9c-8d1484ffa7c1" providerId="ADAL" clId="{DF8FB14C-655D-4BA6-ACF6-D90558E95229}" dt="2024-06-05T07:52:59.637" v="98"/>
          <ac:grpSpMkLst>
            <pc:docMk/>
            <pc:sldMk cId="1164346809" sldId="906"/>
            <ac:grpSpMk id="13" creationId="{098CE12B-E1C5-3BF1-7ED8-79058F010E43}"/>
          </ac:grpSpMkLst>
        </pc:grpChg>
        <pc:grpChg chg="add del">
          <ac:chgData name="Sindija Kirsteine (LV)" userId="5f25501a-2215-4bb3-9d9c-8d1484ffa7c1" providerId="ADAL" clId="{DF8FB14C-655D-4BA6-ACF6-D90558E95229}" dt="2024-06-05T07:52:59.303" v="97" actId="478"/>
          <ac:grpSpMkLst>
            <pc:docMk/>
            <pc:sldMk cId="1164346809" sldId="906"/>
            <ac:grpSpMk id="22" creationId="{DF781B44-6703-AECB-AB7D-1E00FC248F25}"/>
          </ac:grpSpMkLst>
        </pc:grpChg>
      </pc:sldChg>
      <pc:sldChg chg="modSp mod">
        <pc:chgData name="Sindija Kirsteine (LV)" userId="5f25501a-2215-4bb3-9d9c-8d1484ffa7c1" providerId="ADAL" clId="{DF8FB14C-655D-4BA6-ACF6-D90558E95229}" dt="2024-06-05T07:59:17.954" v="339"/>
        <pc:sldMkLst>
          <pc:docMk/>
          <pc:sldMk cId="2300626159" sldId="908"/>
        </pc:sldMkLst>
        <pc:spChg chg="mod">
          <ac:chgData name="Sindija Kirsteine (LV)" userId="5f25501a-2215-4bb3-9d9c-8d1484ffa7c1" providerId="ADAL" clId="{DF8FB14C-655D-4BA6-ACF6-D90558E95229}" dt="2024-06-05T07:59:17.954" v="339"/>
          <ac:spMkLst>
            <pc:docMk/>
            <pc:sldMk cId="2300626159" sldId="908"/>
            <ac:spMk id="8" creationId="{2CA7E931-5A39-E16F-287D-26D8CB80F058}"/>
          </ac:spMkLst>
        </pc:spChg>
        <pc:spChg chg="mod">
          <ac:chgData name="Sindija Kirsteine (LV)" userId="5f25501a-2215-4bb3-9d9c-8d1484ffa7c1" providerId="ADAL" clId="{DF8FB14C-655D-4BA6-ACF6-D90558E95229}" dt="2024-06-05T07:54:24.659" v="138" actId="20577"/>
          <ac:spMkLst>
            <pc:docMk/>
            <pc:sldMk cId="2300626159" sldId="908"/>
            <ac:spMk id="19" creationId="{DE96E661-5736-8C3F-255F-9D2374B7F0FB}"/>
          </ac:spMkLst>
        </pc:spChg>
        <pc:spChg chg="mod">
          <ac:chgData name="Sindija Kirsteine (LV)" userId="5f25501a-2215-4bb3-9d9c-8d1484ffa7c1" providerId="ADAL" clId="{DF8FB14C-655D-4BA6-ACF6-D90558E95229}" dt="2024-06-05T07:54:26.827" v="140" actId="20577"/>
          <ac:spMkLst>
            <pc:docMk/>
            <pc:sldMk cId="2300626159" sldId="908"/>
            <ac:spMk id="21" creationId="{9DDA2F8A-B421-783A-8697-99B26276333A}"/>
          </ac:spMkLst>
        </pc:spChg>
        <pc:spChg chg="mod">
          <ac:chgData name="Sindija Kirsteine (LV)" userId="5f25501a-2215-4bb3-9d9c-8d1484ffa7c1" providerId="ADAL" clId="{DF8FB14C-655D-4BA6-ACF6-D90558E95229}" dt="2024-06-05T07:54:28.831" v="142" actId="20577"/>
          <ac:spMkLst>
            <pc:docMk/>
            <pc:sldMk cId="2300626159" sldId="908"/>
            <ac:spMk id="22" creationId="{8E63E40A-7AB1-B534-4B2C-02E4311BEF4F}"/>
          </ac:spMkLst>
        </pc:spChg>
        <pc:spChg chg="mod">
          <ac:chgData name="Sindija Kirsteine (LV)" userId="5f25501a-2215-4bb3-9d9c-8d1484ffa7c1" providerId="ADAL" clId="{DF8FB14C-655D-4BA6-ACF6-D90558E95229}" dt="2024-06-05T07:54:31.446" v="144" actId="20577"/>
          <ac:spMkLst>
            <pc:docMk/>
            <pc:sldMk cId="2300626159" sldId="908"/>
            <ac:spMk id="28" creationId="{D47F3DC6-4280-EA23-4A05-CF43D4483198}"/>
          </ac:spMkLst>
        </pc:spChg>
        <pc:spChg chg="mod">
          <ac:chgData name="Sindija Kirsteine (LV)" userId="5f25501a-2215-4bb3-9d9c-8d1484ffa7c1" providerId="ADAL" clId="{DF8FB14C-655D-4BA6-ACF6-D90558E95229}" dt="2024-06-05T07:54:34.637" v="146" actId="20577"/>
          <ac:spMkLst>
            <pc:docMk/>
            <pc:sldMk cId="2300626159" sldId="908"/>
            <ac:spMk id="29" creationId="{43CABCC0-76A5-0C3F-920C-D7B1C1522A25}"/>
          </ac:spMkLst>
        </pc:spChg>
      </pc:sldChg>
      <pc:sldChg chg="addSp delSp modSp mod">
        <pc:chgData name="Sindija Kirsteine (LV)" userId="5f25501a-2215-4bb3-9d9c-8d1484ffa7c1" providerId="ADAL" clId="{DF8FB14C-655D-4BA6-ACF6-D90558E95229}" dt="2024-06-05T07:59:23.235" v="341"/>
        <pc:sldMkLst>
          <pc:docMk/>
          <pc:sldMk cId="1764034675" sldId="909"/>
        </pc:sldMkLst>
        <pc:spChg chg="mod">
          <ac:chgData name="Sindija Kirsteine (LV)" userId="5f25501a-2215-4bb3-9d9c-8d1484ffa7c1" providerId="ADAL" clId="{DF8FB14C-655D-4BA6-ACF6-D90558E95229}" dt="2024-06-05T07:59:23.235" v="341"/>
          <ac:spMkLst>
            <pc:docMk/>
            <pc:sldMk cId="1764034675" sldId="909"/>
            <ac:spMk id="2" creationId="{2B9BA7A9-23FD-2573-72ED-860A236A3F30}"/>
          </ac:spMkLst>
        </pc:spChg>
        <pc:spChg chg="mod">
          <ac:chgData name="Sindija Kirsteine (LV)" userId="5f25501a-2215-4bb3-9d9c-8d1484ffa7c1" providerId="ADAL" clId="{DF8FB14C-655D-4BA6-ACF6-D90558E95229}" dt="2024-06-05T07:54:42.715" v="149"/>
          <ac:spMkLst>
            <pc:docMk/>
            <pc:sldMk cId="1764034675" sldId="909"/>
            <ac:spMk id="16" creationId="{124C852B-9A5A-2AAD-A717-90130BD385F6}"/>
          </ac:spMkLst>
        </pc:spChg>
        <pc:spChg chg="mod">
          <ac:chgData name="Sindija Kirsteine (LV)" userId="5f25501a-2215-4bb3-9d9c-8d1484ffa7c1" providerId="ADAL" clId="{DF8FB14C-655D-4BA6-ACF6-D90558E95229}" dt="2024-06-05T07:54:42.715" v="149"/>
          <ac:spMkLst>
            <pc:docMk/>
            <pc:sldMk cId="1764034675" sldId="909"/>
            <ac:spMk id="17" creationId="{D6E9C287-B333-1CA3-606F-1A0E702F1EE6}"/>
          </ac:spMkLst>
        </pc:spChg>
        <pc:spChg chg="mod">
          <ac:chgData name="Sindija Kirsteine (LV)" userId="5f25501a-2215-4bb3-9d9c-8d1484ffa7c1" providerId="ADAL" clId="{DF8FB14C-655D-4BA6-ACF6-D90558E95229}" dt="2024-06-05T07:54:42.715" v="149"/>
          <ac:spMkLst>
            <pc:docMk/>
            <pc:sldMk cId="1764034675" sldId="909"/>
            <ac:spMk id="18" creationId="{B695EBC4-140F-D0D1-87DA-B4D6A4BF844F}"/>
          </ac:spMkLst>
        </pc:spChg>
        <pc:spChg chg="mod">
          <ac:chgData name="Sindija Kirsteine (LV)" userId="5f25501a-2215-4bb3-9d9c-8d1484ffa7c1" providerId="ADAL" clId="{DF8FB14C-655D-4BA6-ACF6-D90558E95229}" dt="2024-06-05T07:54:42.715" v="149"/>
          <ac:spMkLst>
            <pc:docMk/>
            <pc:sldMk cId="1764034675" sldId="909"/>
            <ac:spMk id="21" creationId="{28514178-A26F-6E88-0FC8-4072DD19CCD9}"/>
          </ac:spMkLst>
        </pc:spChg>
        <pc:spChg chg="mod">
          <ac:chgData name="Sindija Kirsteine (LV)" userId="5f25501a-2215-4bb3-9d9c-8d1484ffa7c1" providerId="ADAL" clId="{DF8FB14C-655D-4BA6-ACF6-D90558E95229}" dt="2024-06-05T07:54:42.715" v="149"/>
          <ac:spMkLst>
            <pc:docMk/>
            <pc:sldMk cId="1764034675" sldId="909"/>
            <ac:spMk id="22" creationId="{E750D9E5-8F88-0995-AD42-E42819AE41B7}"/>
          </ac:spMkLst>
        </pc:spChg>
        <pc:spChg chg="mod">
          <ac:chgData name="Sindija Kirsteine (LV)" userId="5f25501a-2215-4bb3-9d9c-8d1484ffa7c1" providerId="ADAL" clId="{DF8FB14C-655D-4BA6-ACF6-D90558E95229}" dt="2024-06-05T07:54:42.715" v="149"/>
          <ac:spMkLst>
            <pc:docMk/>
            <pc:sldMk cId="1764034675" sldId="909"/>
            <ac:spMk id="23" creationId="{FEBA72E3-1683-334F-60B2-62510A39E136}"/>
          </ac:spMkLst>
        </pc:spChg>
        <pc:grpChg chg="del">
          <ac:chgData name="Sindija Kirsteine (LV)" userId="5f25501a-2215-4bb3-9d9c-8d1484ffa7c1" providerId="ADAL" clId="{DF8FB14C-655D-4BA6-ACF6-D90558E95229}" dt="2024-06-05T07:54:42.432" v="148" actId="478"/>
          <ac:grpSpMkLst>
            <pc:docMk/>
            <pc:sldMk cId="1764034675" sldId="909"/>
            <ac:grpSpMk id="5" creationId="{A4207745-BCF4-4C81-51AF-F6F44F1F4B4F}"/>
          </ac:grpSpMkLst>
        </pc:grpChg>
        <pc:grpChg chg="add mod">
          <ac:chgData name="Sindija Kirsteine (LV)" userId="5f25501a-2215-4bb3-9d9c-8d1484ffa7c1" providerId="ADAL" clId="{DF8FB14C-655D-4BA6-ACF6-D90558E95229}" dt="2024-06-05T07:54:42.715" v="149"/>
          <ac:grpSpMkLst>
            <pc:docMk/>
            <pc:sldMk cId="1764034675" sldId="909"/>
            <ac:grpSpMk id="15" creationId="{C1B3FE4A-2838-5F19-939C-520B2697AFCD}"/>
          </ac:grpSpMkLst>
        </pc:grpChg>
      </pc:sldChg>
      <pc:sldChg chg="addSp delSp modSp mod">
        <pc:chgData name="Sindija Kirsteine (LV)" userId="5f25501a-2215-4bb3-9d9c-8d1484ffa7c1" providerId="ADAL" clId="{DF8FB14C-655D-4BA6-ACF6-D90558E95229}" dt="2024-06-05T07:59:31.565" v="347"/>
        <pc:sldMkLst>
          <pc:docMk/>
          <pc:sldMk cId="2040534611" sldId="911"/>
        </pc:sldMkLst>
        <pc:spChg chg="mod">
          <ac:chgData name="Sindija Kirsteine (LV)" userId="5f25501a-2215-4bb3-9d9c-8d1484ffa7c1" providerId="ADAL" clId="{DF8FB14C-655D-4BA6-ACF6-D90558E95229}" dt="2024-06-05T07:59:31.565" v="347"/>
          <ac:spMkLst>
            <pc:docMk/>
            <pc:sldMk cId="2040534611" sldId="911"/>
            <ac:spMk id="2" creationId="{9E458C61-554D-06B9-D7BB-AE586E6578F7}"/>
          </ac:spMkLst>
        </pc:spChg>
        <pc:spChg chg="mod">
          <ac:chgData name="Sindija Kirsteine (LV)" userId="5f25501a-2215-4bb3-9d9c-8d1484ffa7c1" providerId="ADAL" clId="{DF8FB14C-655D-4BA6-ACF6-D90558E95229}" dt="2024-06-05T07:55:23.517" v="170"/>
          <ac:spMkLst>
            <pc:docMk/>
            <pc:sldMk cId="2040534611" sldId="911"/>
            <ac:spMk id="18" creationId="{BF8E15BF-BFE3-1DCD-1637-E8CF4E53E481}"/>
          </ac:spMkLst>
        </pc:spChg>
        <pc:spChg chg="mod">
          <ac:chgData name="Sindija Kirsteine (LV)" userId="5f25501a-2215-4bb3-9d9c-8d1484ffa7c1" providerId="ADAL" clId="{DF8FB14C-655D-4BA6-ACF6-D90558E95229}" dt="2024-06-05T07:55:23.517" v="170"/>
          <ac:spMkLst>
            <pc:docMk/>
            <pc:sldMk cId="2040534611" sldId="911"/>
            <ac:spMk id="19" creationId="{CE213D7D-03F3-528B-D63D-E4F8075AF76B}"/>
          </ac:spMkLst>
        </pc:spChg>
        <pc:spChg chg="mod">
          <ac:chgData name="Sindija Kirsteine (LV)" userId="5f25501a-2215-4bb3-9d9c-8d1484ffa7c1" providerId="ADAL" clId="{DF8FB14C-655D-4BA6-ACF6-D90558E95229}" dt="2024-06-05T07:55:23.517" v="170"/>
          <ac:spMkLst>
            <pc:docMk/>
            <pc:sldMk cId="2040534611" sldId="911"/>
            <ac:spMk id="20" creationId="{FFBF72AB-588D-E7EF-4A67-213B82EC5C5B}"/>
          </ac:spMkLst>
        </pc:spChg>
        <pc:spChg chg="mod">
          <ac:chgData name="Sindija Kirsteine (LV)" userId="5f25501a-2215-4bb3-9d9c-8d1484ffa7c1" providerId="ADAL" clId="{DF8FB14C-655D-4BA6-ACF6-D90558E95229}" dt="2024-06-05T07:55:23.517" v="170"/>
          <ac:spMkLst>
            <pc:docMk/>
            <pc:sldMk cId="2040534611" sldId="911"/>
            <ac:spMk id="21" creationId="{303B0FFD-6FC7-62A7-9781-72DDD56524D5}"/>
          </ac:spMkLst>
        </pc:spChg>
        <pc:spChg chg="mod">
          <ac:chgData name="Sindija Kirsteine (LV)" userId="5f25501a-2215-4bb3-9d9c-8d1484ffa7c1" providerId="ADAL" clId="{DF8FB14C-655D-4BA6-ACF6-D90558E95229}" dt="2024-06-05T07:55:23.517" v="170"/>
          <ac:spMkLst>
            <pc:docMk/>
            <pc:sldMk cId="2040534611" sldId="911"/>
            <ac:spMk id="24" creationId="{EE8B03B1-8B3F-2F02-3A31-462735761E16}"/>
          </ac:spMkLst>
        </pc:spChg>
        <pc:spChg chg="mod">
          <ac:chgData name="Sindija Kirsteine (LV)" userId="5f25501a-2215-4bb3-9d9c-8d1484ffa7c1" providerId="ADAL" clId="{DF8FB14C-655D-4BA6-ACF6-D90558E95229}" dt="2024-06-05T07:55:23.517" v="170"/>
          <ac:spMkLst>
            <pc:docMk/>
            <pc:sldMk cId="2040534611" sldId="911"/>
            <ac:spMk id="25" creationId="{BA6EEC3A-F03E-AB89-B824-7F3C579D957D}"/>
          </ac:spMkLst>
        </pc:spChg>
        <pc:grpChg chg="del">
          <ac:chgData name="Sindija Kirsteine (LV)" userId="5f25501a-2215-4bb3-9d9c-8d1484ffa7c1" providerId="ADAL" clId="{DF8FB14C-655D-4BA6-ACF6-D90558E95229}" dt="2024-06-05T07:55:23.102" v="169" actId="478"/>
          <ac:grpSpMkLst>
            <pc:docMk/>
            <pc:sldMk cId="2040534611" sldId="911"/>
            <ac:grpSpMk id="5" creationId="{1CBE48A8-B29B-B92B-CE38-ED8235AAE14D}"/>
          </ac:grpSpMkLst>
        </pc:grpChg>
        <pc:grpChg chg="add mod">
          <ac:chgData name="Sindija Kirsteine (LV)" userId="5f25501a-2215-4bb3-9d9c-8d1484ffa7c1" providerId="ADAL" clId="{DF8FB14C-655D-4BA6-ACF6-D90558E95229}" dt="2024-06-05T07:55:23.517" v="170"/>
          <ac:grpSpMkLst>
            <pc:docMk/>
            <pc:sldMk cId="2040534611" sldId="911"/>
            <ac:grpSpMk id="14" creationId="{0E7F843F-4114-269C-A3C1-FD85DD3E86FD}"/>
          </ac:grpSpMkLst>
        </pc:grpChg>
      </pc:sldChg>
      <pc:sldChg chg="addSp delSp modSp mod">
        <pc:chgData name="Sindija Kirsteine (LV)" userId="5f25501a-2215-4bb3-9d9c-8d1484ffa7c1" providerId="ADAL" clId="{DF8FB14C-655D-4BA6-ACF6-D90558E95229}" dt="2024-06-05T07:59:34.664" v="349"/>
        <pc:sldMkLst>
          <pc:docMk/>
          <pc:sldMk cId="3429470186" sldId="914"/>
        </pc:sldMkLst>
        <pc:spChg chg="mod">
          <ac:chgData name="Sindija Kirsteine (LV)" userId="5f25501a-2215-4bb3-9d9c-8d1484ffa7c1" providerId="ADAL" clId="{DF8FB14C-655D-4BA6-ACF6-D90558E95229}" dt="2024-06-05T07:59:34.664" v="349"/>
          <ac:spMkLst>
            <pc:docMk/>
            <pc:sldMk cId="3429470186" sldId="914"/>
            <ac:spMk id="2" creationId="{30AAC524-3205-5590-45B9-6037C0A5DBDE}"/>
          </ac:spMkLst>
        </pc:spChg>
        <pc:spChg chg="mod">
          <ac:chgData name="Sindija Kirsteine (LV)" userId="5f25501a-2215-4bb3-9d9c-8d1484ffa7c1" providerId="ADAL" clId="{DF8FB14C-655D-4BA6-ACF6-D90558E95229}" dt="2024-06-05T07:55:28.526" v="173"/>
          <ac:spMkLst>
            <pc:docMk/>
            <pc:sldMk cId="3429470186" sldId="914"/>
            <ac:spMk id="21" creationId="{7B1BB4A5-3141-1196-CFA4-50272DB76E57}"/>
          </ac:spMkLst>
        </pc:spChg>
        <pc:spChg chg="mod">
          <ac:chgData name="Sindija Kirsteine (LV)" userId="5f25501a-2215-4bb3-9d9c-8d1484ffa7c1" providerId="ADAL" clId="{DF8FB14C-655D-4BA6-ACF6-D90558E95229}" dt="2024-06-05T07:55:28.526" v="173"/>
          <ac:spMkLst>
            <pc:docMk/>
            <pc:sldMk cId="3429470186" sldId="914"/>
            <ac:spMk id="22" creationId="{78C6E0CE-4EE4-C6D2-EB4E-8112BA265A52}"/>
          </ac:spMkLst>
        </pc:spChg>
        <pc:spChg chg="mod">
          <ac:chgData name="Sindija Kirsteine (LV)" userId="5f25501a-2215-4bb3-9d9c-8d1484ffa7c1" providerId="ADAL" clId="{DF8FB14C-655D-4BA6-ACF6-D90558E95229}" dt="2024-06-05T07:55:28.526" v="173"/>
          <ac:spMkLst>
            <pc:docMk/>
            <pc:sldMk cId="3429470186" sldId="914"/>
            <ac:spMk id="23" creationId="{BC321E48-2634-0BE5-6802-6F57CBC9896D}"/>
          </ac:spMkLst>
        </pc:spChg>
        <pc:spChg chg="mod">
          <ac:chgData name="Sindija Kirsteine (LV)" userId="5f25501a-2215-4bb3-9d9c-8d1484ffa7c1" providerId="ADAL" clId="{DF8FB14C-655D-4BA6-ACF6-D90558E95229}" dt="2024-06-05T07:55:28.526" v="173"/>
          <ac:spMkLst>
            <pc:docMk/>
            <pc:sldMk cId="3429470186" sldId="914"/>
            <ac:spMk id="45" creationId="{45D39117-FF95-CEB1-22AC-A944FCC7ED53}"/>
          </ac:spMkLst>
        </pc:spChg>
        <pc:spChg chg="mod">
          <ac:chgData name="Sindija Kirsteine (LV)" userId="5f25501a-2215-4bb3-9d9c-8d1484ffa7c1" providerId="ADAL" clId="{DF8FB14C-655D-4BA6-ACF6-D90558E95229}" dt="2024-06-05T07:55:28.526" v="173"/>
          <ac:spMkLst>
            <pc:docMk/>
            <pc:sldMk cId="3429470186" sldId="914"/>
            <ac:spMk id="46" creationId="{B94635AF-4CB8-B780-FD3D-55995FF672BB}"/>
          </ac:spMkLst>
        </pc:spChg>
        <pc:spChg chg="mod">
          <ac:chgData name="Sindija Kirsteine (LV)" userId="5f25501a-2215-4bb3-9d9c-8d1484ffa7c1" providerId="ADAL" clId="{DF8FB14C-655D-4BA6-ACF6-D90558E95229}" dt="2024-06-05T07:55:28.526" v="173"/>
          <ac:spMkLst>
            <pc:docMk/>
            <pc:sldMk cId="3429470186" sldId="914"/>
            <ac:spMk id="60" creationId="{F0CBCE12-F8EB-A08E-44AB-13F9BDF70244}"/>
          </ac:spMkLst>
        </pc:spChg>
        <pc:grpChg chg="del">
          <ac:chgData name="Sindija Kirsteine (LV)" userId="5f25501a-2215-4bb3-9d9c-8d1484ffa7c1" providerId="ADAL" clId="{DF8FB14C-655D-4BA6-ACF6-D90558E95229}" dt="2024-06-05T07:55:28.256" v="172" actId="478"/>
          <ac:grpSpMkLst>
            <pc:docMk/>
            <pc:sldMk cId="3429470186" sldId="914"/>
            <ac:grpSpMk id="5" creationId="{9F4D49DA-C160-44B0-4B22-9D2075362CB6}"/>
          </ac:grpSpMkLst>
        </pc:grpChg>
        <pc:grpChg chg="add mod">
          <ac:chgData name="Sindija Kirsteine (LV)" userId="5f25501a-2215-4bb3-9d9c-8d1484ffa7c1" providerId="ADAL" clId="{DF8FB14C-655D-4BA6-ACF6-D90558E95229}" dt="2024-06-05T07:55:28.526" v="173"/>
          <ac:grpSpMkLst>
            <pc:docMk/>
            <pc:sldMk cId="3429470186" sldId="914"/>
            <ac:grpSpMk id="15" creationId="{64CAE25B-E0D4-03B3-2D95-930F60A4D771}"/>
          </ac:grpSpMkLst>
        </pc:grpChg>
      </pc:sldChg>
      <pc:sldChg chg="addSp delSp modSp mod">
        <pc:chgData name="Sindija Kirsteine (LV)" userId="5f25501a-2215-4bb3-9d9c-8d1484ffa7c1" providerId="ADAL" clId="{DF8FB14C-655D-4BA6-ACF6-D90558E95229}" dt="2024-06-05T07:59:38.104" v="351"/>
        <pc:sldMkLst>
          <pc:docMk/>
          <pc:sldMk cId="1981412866" sldId="915"/>
        </pc:sldMkLst>
        <pc:spChg chg="mod">
          <ac:chgData name="Sindija Kirsteine (LV)" userId="5f25501a-2215-4bb3-9d9c-8d1484ffa7c1" providerId="ADAL" clId="{DF8FB14C-655D-4BA6-ACF6-D90558E95229}" dt="2024-06-05T07:59:38.104" v="351"/>
          <ac:spMkLst>
            <pc:docMk/>
            <pc:sldMk cId="1981412866" sldId="915"/>
            <ac:spMk id="17" creationId="{68D4BE07-EE77-6573-3961-3389F961B1B0}"/>
          </ac:spMkLst>
        </pc:spChg>
        <pc:spChg chg="mod">
          <ac:chgData name="Sindija Kirsteine (LV)" userId="5f25501a-2215-4bb3-9d9c-8d1484ffa7c1" providerId="ADAL" clId="{DF8FB14C-655D-4BA6-ACF6-D90558E95229}" dt="2024-06-05T07:55:32.519" v="176"/>
          <ac:spMkLst>
            <pc:docMk/>
            <pc:sldMk cId="1981412866" sldId="915"/>
            <ac:spMk id="38" creationId="{A967A15F-505C-37E7-D008-23DDD9B067C4}"/>
          </ac:spMkLst>
        </pc:spChg>
        <pc:spChg chg="mod">
          <ac:chgData name="Sindija Kirsteine (LV)" userId="5f25501a-2215-4bb3-9d9c-8d1484ffa7c1" providerId="ADAL" clId="{DF8FB14C-655D-4BA6-ACF6-D90558E95229}" dt="2024-06-05T07:55:32.519" v="176"/>
          <ac:spMkLst>
            <pc:docMk/>
            <pc:sldMk cId="1981412866" sldId="915"/>
            <ac:spMk id="39" creationId="{AE8A89F2-E00B-5D5B-54DB-7D40A015464E}"/>
          </ac:spMkLst>
        </pc:spChg>
        <pc:spChg chg="mod">
          <ac:chgData name="Sindija Kirsteine (LV)" userId="5f25501a-2215-4bb3-9d9c-8d1484ffa7c1" providerId="ADAL" clId="{DF8FB14C-655D-4BA6-ACF6-D90558E95229}" dt="2024-06-05T07:55:32.519" v="176"/>
          <ac:spMkLst>
            <pc:docMk/>
            <pc:sldMk cId="1981412866" sldId="915"/>
            <ac:spMk id="43" creationId="{085D23F0-C4D6-BFDF-B5AC-252FF5FDB797}"/>
          </ac:spMkLst>
        </pc:spChg>
        <pc:spChg chg="mod">
          <ac:chgData name="Sindija Kirsteine (LV)" userId="5f25501a-2215-4bb3-9d9c-8d1484ffa7c1" providerId="ADAL" clId="{DF8FB14C-655D-4BA6-ACF6-D90558E95229}" dt="2024-06-05T07:55:32.519" v="176"/>
          <ac:spMkLst>
            <pc:docMk/>
            <pc:sldMk cId="1981412866" sldId="915"/>
            <ac:spMk id="44" creationId="{5DE331D2-E6D5-8093-4FEF-32BD7332CEAC}"/>
          </ac:spMkLst>
        </pc:spChg>
        <pc:spChg chg="mod">
          <ac:chgData name="Sindija Kirsteine (LV)" userId="5f25501a-2215-4bb3-9d9c-8d1484ffa7c1" providerId="ADAL" clId="{DF8FB14C-655D-4BA6-ACF6-D90558E95229}" dt="2024-06-05T07:55:32.519" v="176"/>
          <ac:spMkLst>
            <pc:docMk/>
            <pc:sldMk cId="1981412866" sldId="915"/>
            <ac:spMk id="52" creationId="{452ADE97-FBAD-E1D4-DDF4-6E748D28E9D3}"/>
          </ac:spMkLst>
        </pc:spChg>
        <pc:spChg chg="mod">
          <ac:chgData name="Sindija Kirsteine (LV)" userId="5f25501a-2215-4bb3-9d9c-8d1484ffa7c1" providerId="ADAL" clId="{DF8FB14C-655D-4BA6-ACF6-D90558E95229}" dt="2024-06-05T07:55:32.519" v="176"/>
          <ac:spMkLst>
            <pc:docMk/>
            <pc:sldMk cId="1981412866" sldId="915"/>
            <ac:spMk id="53" creationId="{F0591311-5355-C666-427D-900A4F166158}"/>
          </ac:spMkLst>
        </pc:spChg>
        <pc:grpChg chg="del">
          <ac:chgData name="Sindija Kirsteine (LV)" userId="5f25501a-2215-4bb3-9d9c-8d1484ffa7c1" providerId="ADAL" clId="{DF8FB14C-655D-4BA6-ACF6-D90558E95229}" dt="2024-06-05T07:55:32.311" v="175" actId="478"/>
          <ac:grpSpMkLst>
            <pc:docMk/>
            <pc:sldMk cId="1981412866" sldId="915"/>
            <ac:grpSpMk id="18" creationId="{A49FE20D-FD8B-8459-9736-4ADAB34854A3}"/>
          </ac:grpSpMkLst>
        </pc:grpChg>
        <pc:grpChg chg="add mod">
          <ac:chgData name="Sindija Kirsteine (LV)" userId="5f25501a-2215-4bb3-9d9c-8d1484ffa7c1" providerId="ADAL" clId="{DF8FB14C-655D-4BA6-ACF6-D90558E95229}" dt="2024-06-05T07:55:32.519" v="176"/>
          <ac:grpSpMkLst>
            <pc:docMk/>
            <pc:sldMk cId="1981412866" sldId="915"/>
            <ac:grpSpMk id="31" creationId="{944A3A02-F23A-8251-02DA-CB0DE2E39945}"/>
          </ac:grpSpMkLst>
        </pc:grpChg>
      </pc:sldChg>
      <pc:sldChg chg="addSp delSp modSp mod">
        <pc:chgData name="Sindija Kirsteine (LV)" userId="5f25501a-2215-4bb3-9d9c-8d1484ffa7c1" providerId="ADAL" clId="{DF8FB14C-655D-4BA6-ACF6-D90558E95229}" dt="2024-06-05T07:59:40.598" v="353"/>
        <pc:sldMkLst>
          <pc:docMk/>
          <pc:sldMk cId="64855802" sldId="916"/>
        </pc:sldMkLst>
        <pc:spChg chg="mod">
          <ac:chgData name="Sindija Kirsteine (LV)" userId="5f25501a-2215-4bb3-9d9c-8d1484ffa7c1" providerId="ADAL" clId="{DF8FB14C-655D-4BA6-ACF6-D90558E95229}" dt="2024-06-05T07:59:40.598" v="353"/>
          <ac:spMkLst>
            <pc:docMk/>
            <pc:sldMk cId="64855802" sldId="916"/>
            <ac:spMk id="20" creationId="{54EC1F61-FF16-1408-F9A0-76C3203F84CA}"/>
          </ac:spMkLst>
        </pc:spChg>
        <pc:spChg chg="mod">
          <ac:chgData name="Sindija Kirsteine (LV)" userId="5f25501a-2215-4bb3-9d9c-8d1484ffa7c1" providerId="ADAL" clId="{DF8FB14C-655D-4BA6-ACF6-D90558E95229}" dt="2024-06-05T07:55:37.044" v="179"/>
          <ac:spMkLst>
            <pc:docMk/>
            <pc:sldMk cId="64855802" sldId="916"/>
            <ac:spMk id="22" creationId="{61BF4F23-4BF7-3396-AAE2-64CFA9AF1B14}"/>
          </ac:spMkLst>
        </pc:spChg>
        <pc:spChg chg="mod">
          <ac:chgData name="Sindija Kirsteine (LV)" userId="5f25501a-2215-4bb3-9d9c-8d1484ffa7c1" providerId="ADAL" clId="{DF8FB14C-655D-4BA6-ACF6-D90558E95229}" dt="2024-06-05T07:55:37.044" v="179"/>
          <ac:spMkLst>
            <pc:docMk/>
            <pc:sldMk cId="64855802" sldId="916"/>
            <ac:spMk id="23" creationId="{2DA044E2-07EC-7D6F-9D52-F400EB5FA50F}"/>
          </ac:spMkLst>
        </pc:spChg>
        <pc:spChg chg="mod">
          <ac:chgData name="Sindija Kirsteine (LV)" userId="5f25501a-2215-4bb3-9d9c-8d1484ffa7c1" providerId="ADAL" clId="{DF8FB14C-655D-4BA6-ACF6-D90558E95229}" dt="2024-06-05T07:55:37.044" v="179"/>
          <ac:spMkLst>
            <pc:docMk/>
            <pc:sldMk cId="64855802" sldId="916"/>
            <ac:spMk id="24" creationId="{03F0B6EA-1C6B-3E0F-45BD-6F2F70666571}"/>
          </ac:spMkLst>
        </pc:spChg>
        <pc:spChg chg="mod">
          <ac:chgData name="Sindija Kirsteine (LV)" userId="5f25501a-2215-4bb3-9d9c-8d1484ffa7c1" providerId="ADAL" clId="{DF8FB14C-655D-4BA6-ACF6-D90558E95229}" dt="2024-06-05T07:55:37.044" v="179"/>
          <ac:spMkLst>
            <pc:docMk/>
            <pc:sldMk cId="64855802" sldId="916"/>
            <ac:spMk id="30" creationId="{A28C515C-5DF7-2E0E-00C7-91B893B535D1}"/>
          </ac:spMkLst>
        </pc:spChg>
        <pc:spChg chg="mod">
          <ac:chgData name="Sindija Kirsteine (LV)" userId="5f25501a-2215-4bb3-9d9c-8d1484ffa7c1" providerId="ADAL" clId="{DF8FB14C-655D-4BA6-ACF6-D90558E95229}" dt="2024-06-05T07:55:37.044" v="179"/>
          <ac:spMkLst>
            <pc:docMk/>
            <pc:sldMk cId="64855802" sldId="916"/>
            <ac:spMk id="31" creationId="{BFB90A7F-87AB-9BD2-AA8D-8C1F147C9E28}"/>
          </ac:spMkLst>
        </pc:spChg>
        <pc:spChg chg="mod">
          <ac:chgData name="Sindija Kirsteine (LV)" userId="5f25501a-2215-4bb3-9d9c-8d1484ffa7c1" providerId="ADAL" clId="{DF8FB14C-655D-4BA6-ACF6-D90558E95229}" dt="2024-06-05T07:55:37.044" v="179"/>
          <ac:spMkLst>
            <pc:docMk/>
            <pc:sldMk cId="64855802" sldId="916"/>
            <ac:spMk id="32" creationId="{7C06E624-B10D-961E-BF22-38973AA0DA67}"/>
          </ac:spMkLst>
        </pc:spChg>
        <pc:grpChg chg="add mod">
          <ac:chgData name="Sindija Kirsteine (LV)" userId="5f25501a-2215-4bb3-9d9c-8d1484ffa7c1" providerId="ADAL" clId="{DF8FB14C-655D-4BA6-ACF6-D90558E95229}" dt="2024-06-05T07:55:37.044" v="179"/>
          <ac:grpSpMkLst>
            <pc:docMk/>
            <pc:sldMk cId="64855802" sldId="916"/>
            <ac:grpSpMk id="9" creationId="{540EF730-41B6-E8D7-0D13-EB3F748BA4BA}"/>
          </ac:grpSpMkLst>
        </pc:grpChg>
        <pc:grpChg chg="del">
          <ac:chgData name="Sindija Kirsteine (LV)" userId="5f25501a-2215-4bb3-9d9c-8d1484ffa7c1" providerId="ADAL" clId="{DF8FB14C-655D-4BA6-ACF6-D90558E95229}" dt="2024-06-05T07:55:36.568" v="178" actId="478"/>
          <ac:grpSpMkLst>
            <pc:docMk/>
            <pc:sldMk cId="64855802" sldId="916"/>
            <ac:grpSpMk id="10" creationId="{5BE53770-39DA-EF55-A7D3-DDA3519DA828}"/>
          </ac:grpSpMkLst>
        </pc:grpChg>
      </pc:sldChg>
      <pc:sldChg chg="addSp delSp modSp mod">
        <pc:chgData name="Sindija Kirsteine (LV)" userId="5f25501a-2215-4bb3-9d9c-8d1484ffa7c1" providerId="ADAL" clId="{DF8FB14C-655D-4BA6-ACF6-D90558E95229}" dt="2024-06-05T07:59:48.519" v="359"/>
        <pc:sldMkLst>
          <pc:docMk/>
          <pc:sldMk cId="4273639525" sldId="917"/>
        </pc:sldMkLst>
        <pc:spChg chg="mod">
          <ac:chgData name="Sindija Kirsteine (LV)" userId="5f25501a-2215-4bb3-9d9c-8d1484ffa7c1" providerId="ADAL" clId="{DF8FB14C-655D-4BA6-ACF6-D90558E95229}" dt="2024-06-05T07:59:48.519" v="359"/>
          <ac:spMkLst>
            <pc:docMk/>
            <pc:sldMk cId="4273639525" sldId="917"/>
            <ac:spMk id="2" creationId="{D7DBFC3E-020C-9EFD-28EB-4631D3580F32}"/>
          </ac:spMkLst>
        </pc:spChg>
        <pc:spChg chg="mod">
          <ac:chgData name="Sindija Kirsteine (LV)" userId="5f25501a-2215-4bb3-9d9c-8d1484ffa7c1" providerId="ADAL" clId="{DF8FB14C-655D-4BA6-ACF6-D90558E95229}" dt="2024-06-05T07:55:45.492" v="185"/>
          <ac:spMkLst>
            <pc:docMk/>
            <pc:sldMk cId="4273639525" sldId="917"/>
            <ac:spMk id="17" creationId="{18BCCD71-17D7-53CA-6E4B-B1B2BD886E26}"/>
          </ac:spMkLst>
        </pc:spChg>
        <pc:spChg chg="mod">
          <ac:chgData name="Sindija Kirsteine (LV)" userId="5f25501a-2215-4bb3-9d9c-8d1484ffa7c1" providerId="ADAL" clId="{DF8FB14C-655D-4BA6-ACF6-D90558E95229}" dt="2024-06-05T07:55:45.492" v="185"/>
          <ac:spMkLst>
            <pc:docMk/>
            <pc:sldMk cId="4273639525" sldId="917"/>
            <ac:spMk id="18" creationId="{3D062579-4045-835E-F7F1-D66AD090002E}"/>
          </ac:spMkLst>
        </pc:spChg>
        <pc:spChg chg="mod">
          <ac:chgData name="Sindija Kirsteine (LV)" userId="5f25501a-2215-4bb3-9d9c-8d1484ffa7c1" providerId="ADAL" clId="{DF8FB14C-655D-4BA6-ACF6-D90558E95229}" dt="2024-06-05T07:55:45.492" v="185"/>
          <ac:spMkLst>
            <pc:docMk/>
            <pc:sldMk cId="4273639525" sldId="917"/>
            <ac:spMk id="19" creationId="{B9803F70-1BB6-43EF-370C-42AB87319850}"/>
          </ac:spMkLst>
        </pc:spChg>
        <pc:spChg chg="mod">
          <ac:chgData name="Sindija Kirsteine (LV)" userId="5f25501a-2215-4bb3-9d9c-8d1484ffa7c1" providerId="ADAL" clId="{DF8FB14C-655D-4BA6-ACF6-D90558E95229}" dt="2024-06-05T07:55:45.492" v="185"/>
          <ac:spMkLst>
            <pc:docMk/>
            <pc:sldMk cId="4273639525" sldId="917"/>
            <ac:spMk id="30" creationId="{9A4EA780-F963-D72E-14B8-0F2877B7F488}"/>
          </ac:spMkLst>
        </pc:spChg>
        <pc:spChg chg="mod">
          <ac:chgData name="Sindija Kirsteine (LV)" userId="5f25501a-2215-4bb3-9d9c-8d1484ffa7c1" providerId="ADAL" clId="{DF8FB14C-655D-4BA6-ACF6-D90558E95229}" dt="2024-06-05T07:55:45.492" v="185"/>
          <ac:spMkLst>
            <pc:docMk/>
            <pc:sldMk cId="4273639525" sldId="917"/>
            <ac:spMk id="31" creationId="{6BEBA8D5-24BB-0A09-A5BA-5938C943A15E}"/>
          </ac:spMkLst>
        </pc:spChg>
        <pc:spChg chg="mod">
          <ac:chgData name="Sindija Kirsteine (LV)" userId="5f25501a-2215-4bb3-9d9c-8d1484ffa7c1" providerId="ADAL" clId="{DF8FB14C-655D-4BA6-ACF6-D90558E95229}" dt="2024-06-05T07:55:45.492" v="185"/>
          <ac:spMkLst>
            <pc:docMk/>
            <pc:sldMk cId="4273639525" sldId="917"/>
            <ac:spMk id="32" creationId="{D558D00A-70FE-1698-DDC5-DF43C6633F43}"/>
          </ac:spMkLst>
        </pc:spChg>
        <pc:grpChg chg="del">
          <ac:chgData name="Sindija Kirsteine (LV)" userId="5f25501a-2215-4bb3-9d9c-8d1484ffa7c1" providerId="ADAL" clId="{DF8FB14C-655D-4BA6-ACF6-D90558E95229}" dt="2024-06-05T07:55:45.252" v="184" actId="478"/>
          <ac:grpSpMkLst>
            <pc:docMk/>
            <pc:sldMk cId="4273639525" sldId="917"/>
            <ac:grpSpMk id="5" creationId="{02753959-1A41-D792-A20B-C72D5DDDD89F}"/>
          </ac:grpSpMkLst>
        </pc:grpChg>
        <pc:grpChg chg="add mod">
          <ac:chgData name="Sindija Kirsteine (LV)" userId="5f25501a-2215-4bb3-9d9c-8d1484ffa7c1" providerId="ADAL" clId="{DF8FB14C-655D-4BA6-ACF6-D90558E95229}" dt="2024-06-05T07:55:45.492" v="185"/>
          <ac:grpSpMkLst>
            <pc:docMk/>
            <pc:sldMk cId="4273639525" sldId="917"/>
            <ac:grpSpMk id="13" creationId="{3AF1940E-1BD7-00C5-86AA-AF152D8A4BFE}"/>
          </ac:grpSpMkLst>
        </pc:grpChg>
      </pc:sldChg>
      <pc:sldChg chg="addSp delSp modSp mod">
        <pc:chgData name="Sindija Kirsteine (LV)" userId="5f25501a-2215-4bb3-9d9c-8d1484ffa7c1" providerId="ADAL" clId="{DF8FB14C-655D-4BA6-ACF6-D90558E95229}" dt="2024-06-05T07:59:43.898" v="355"/>
        <pc:sldMkLst>
          <pc:docMk/>
          <pc:sldMk cId="785221003" sldId="918"/>
        </pc:sldMkLst>
        <pc:spChg chg="mod">
          <ac:chgData name="Sindija Kirsteine (LV)" userId="5f25501a-2215-4bb3-9d9c-8d1484ffa7c1" providerId="ADAL" clId="{DF8FB14C-655D-4BA6-ACF6-D90558E95229}" dt="2024-06-05T07:59:43.898" v="355"/>
          <ac:spMkLst>
            <pc:docMk/>
            <pc:sldMk cId="785221003" sldId="918"/>
            <ac:spMk id="18" creationId="{8718CE4C-95ED-99AC-270C-360B29FB6AD4}"/>
          </ac:spMkLst>
        </pc:spChg>
        <pc:spChg chg="mod">
          <ac:chgData name="Sindija Kirsteine (LV)" userId="5f25501a-2215-4bb3-9d9c-8d1484ffa7c1" providerId="ADAL" clId="{DF8FB14C-655D-4BA6-ACF6-D90558E95229}" dt="2024-06-05T07:55:41.357" v="182"/>
          <ac:spMkLst>
            <pc:docMk/>
            <pc:sldMk cId="785221003" sldId="918"/>
            <ac:spMk id="36" creationId="{42F10A0A-7B59-68DD-5B50-9DB700FCB6FE}"/>
          </ac:spMkLst>
        </pc:spChg>
        <pc:spChg chg="mod">
          <ac:chgData name="Sindija Kirsteine (LV)" userId="5f25501a-2215-4bb3-9d9c-8d1484ffa7c1" providerId="ADAL" clId="{DF8FB14C-655D-4BA6-ACF6-D90558E95229}" dt="2024-06-05T07:55:41.357" v="182"/>
          <ac:spMkLst>
            <pc:docMk/>
            <pc:sldMk cId="785221003" sldId="918"/>
            <ac:spMk id="37" creationId="{41FA3FE3-0466-5CEF-4F7D-5A7C22A93AFD}"/>
          </ac:spMkLst>
        </pc:spChg>
        <pc:spChg chg="mod">
          <ac:chgData name="Sindija Kirsteine (LV)" userId="5f25501a-2215-4bb3-9d9c-8d1484ffa7c1" providerId="ADAL" clId="{DF8FB14C-655D-4BA6-ACF6-D90558E95229}" dt="2024-06-05T07:55:41.357" v="182"/>
          <ac:spMkLst>
            <pc:docMk/>
            <pc:sldMk cId="785221003" sldId="918"/>
            <ac:spMk id="38" creationId="{A4A6DDC8-482C-6A00-A247-FB0FFE612012}"/>
          </ac:spMkLst>
        </pc:spChg>
        <pc:spChg chg="mod">
          <ac:chgData name="Sindija Kirsteine (LV)" userId="5f25501a-2215-4bb3-9d9c-8d1484ffa7c1" providerId="ADAL" clId="{DF8FB14C-655D-4BA6-ACF6-D90558E95229}" dt="2024-06-05T07:55:41.357" v="182"/>
          <ac:spMkLst>
            <pc:docMk/>
            <pc:sldMk cId="785221003" sldId="918"/>
            <ac:spMk id="39" creationId="{CFBF7985-97DB-8C91-5E9D-2BC067C64486}"/>
          </ac:spMkLst>
        </pc:spChg>
        <pc:spChg chg="mod">
          <ac:chgData name="Sindija Kirsteine (LV)" userId="5f25501a-2215-4bb3-9d9c-8d1484ffa7c1" providerId="ADAL" clId="{DF8FB14C-655D-4BA6-ACF6-D90558E95229}" dt="2024-06-05T07:55:41.357" v="182"/>
          <ac:spMkLst>
            <pc:docMk/>
            <pc:sldMk cId="785221003" sldId="918"/>
            <ac:spMk id="54" creationId="{A8D6DF6B-56B5-21FF-E211-1DB8960C3ED2}"/>
          </ac:spMkLst>
        </pc:spChg>
        <pc:spChg chg="mod">
          <ac:chgData name="Sindija Kirsteine (LV)" userId="5f25501a-2215-4bb3-9d9c-8d1484ffa7c1" providerId="ADAL" clId="{DF8FB14C-655D-4BA6-ACF6-D90558E95229}" dt="2024-06-05T07:55:41.357" v="182"/>
          <ac:spMkLst>
            <pc:docMk/>
            <pc:sldMk cId="785221003" sldId="918"/>
            <ac:spMk id="59" creationId="{BB31CF24-FC59-16DB-B5B3-227C95C64065}"/>
          </ac:spMkLst>
        </pc:spChg>
        <pc:grpChg chg="add mod">
          <ac:chgData name="Sindija Kirsteine (LV)" userId="5f25501a-2215-4bb3-9d9c-8d1484ffa7c1" providerId="ADAL" clId="{DF8FB14C-655D-4BA6-ACF6-D90558E95229}" dt="2024-06-05T07:55:41.357" v="182"/>
          <ac:grpSpMkLst>
            <pc:docMk/>
            <pc:sldMk cId="785221003" sldId="918"/>
            <ac:grpSpMk id="9" creationId="{1B34D71C-D43B-FCFC-9A2F-61ADCF605046}"/>
          </ac:grpSpMkLst>
        </pc:grpChg>
        <pc:grpChg chg="del">
          <ac:chgData name="Sindija Kirsteine (LV)" userId="5f25501a-2215-4bb3-9d9c-8d1484ffa7c1" providerId="ADAL" clId="{DF8FB14C-655D-4BA6-ACF6-D90558E95229}" dt="2024-06-05T07:55:41.089" v="181" actId="478"/>
          <ac:grpSpMkLst>
            <pc:docMk/>
            <pc:sldMk cId="785221003" sldId="918"/>
            <ac:grpSpMk id="10" creationId="{0A9E14BE-BB67-3821-9712-D3263A75FD11}"/>
          </ac:grpSpMkLst>
        </pc:grpChg>
      </pc:sldChg>
      <pc:sldChg chg="addSp delSp modSp mod">
        <pc:chgData name="Sindija Kirsteine (LV)" userId="5f25501a-2215-4bb3-9d9c-8d1484ffa7c1" providerId="ADAL" clId="{DF8FB14C-655D-4BA6-ACF6-D90558E95229}" dt="2024-06-05T07:59:51.086" v="361"/>
        <pc:sldMkLst>
          <pc:docMk/>
          <pc:sldMk cId="2008209705" sldId="919"/>
        </pc:sldMkLst>
        <pc:spChg chg="mod">
          <ac:chgData name="Sindija Kirsteine (LV)" userId="5f25501a-2215-4bb3-9d9c-8d1484ffa7c1" providerId="ADAL" clId="{DF8FB14C-655D-4BA6-ACF6-D90558E95229}" dt="2024-06-05T07:59:51.086" v="361"/>
          <ac:spMkLst>
            <pc:docMk/>
            <pc:sldMk cId="2008209705" sldId="919"/>
            <ac:spMk id="2" creationId="{1A11DA6D-DA25-ED8D-5C57-8D2D2452FA26}"/>
          </ac:spMkLst>
        </pc:spChg>
        <pc:spChg chg="mod">
          <ac:chgData name="Sindija Kirsteine (LV)" userId="5f25501a-2215-4bb3-9d9c-8d1484ffa7c1" providerId="ADAL" clId="{DF8FB14C-655D-4BA6-ACF6-D90558E95229}" dt="2024-06-05T07:55:51.071" v="188"/>
          <ac:spMkLst>
            <pc:docMk/>
            <pc:sldMk cId="2008209705" sldId="919"/>
            <ac:spMk id="23" creationId="{D17F2348-553D-3B36-AB93-74F779BDA6EE}"/>
          </ac:spMkLst>
        </pc:spChg>
        <pc:spChg chg="mod">
          <ac:chgData name="Sindija Kirsteine (LV)" userId="5f25501a-2215-4bb3-9d9c-8d1484ffa7c1" providerId="ADAL" clId="{DF8FB14C-655D-4BA6-ACF6-D90558E95229}" dt="2024-06-05T07:55:51.071" v="188"/>
          <ac:spMkLst>
            <pc:docMk/>
            <pc:sldMk cId="2008209705" sldId="919"/>
            <ac:spMk id="24" creationId="{AF0C7620-5B15-822C-90C4-A35CB9E0917E}"/>
          </ac:spMkLst>
        </pc:spChg>
        <pc:spChg chg="mod">
          <ac:chgData name="Sindija Kirsteine (LV)" userId="5f25501a-2215-4bb3-9d9c-8d1484ffa7c1" providerId="ADAL" clId="{DF8FB14C-655D-4BA6-ACF6-D90558E95229}" dt="2024-06-05T07:55:51.071" v="188"/>
          <ac:spMkLst>
            <pc:docMk/>
            <pc:sldMk cId="2008209705" sldId="919"/>
            <ac:spMk id="25" creationId="{E48E0221-D8C1-D56A-5064-92C38BE6AA1C}"/>
          </ac:spMkLst>
        </pc:spChg>
        <pc:spChg chg="mod">
          <ac:chgData name="Sindija Kirsteine (LV)" userId="5f25501a-2215-4bb3-9d9c-8d1484ffa7c1" providerId="ADAL" clId="{DF8FB14C-655D-4BA6-ACF6-D90558E95229}" dt="2024-06-05T07:55:51.071" v="188"/>
          <ac:spMkLst>
            <pc:docMk/>
            <pc:sldMk cId="2008209705" sldId="919"/>
            <ac:spMk id="34" creationId="{324BC699-8BBF-8DF2-E263-DBCFC7798B07}"/>
          </ac:spMkLst>
        </pc:spChg>
        <pc:spChg chg="mod">
          <ac:chgData name="Sindija Kirsteine (LV)" userId="5f25501a-2215-4bb3-9d9c-8d1484ffa7c1" providerId="ADAL" clId="{DF8FB14C-655D-4BA6-ACF6-D90558E95229}" dt="2024-06-05T07:55:51.071" v="188"/>
          <ac:spMkLst>
            <pc:docMk/>
            <pc:sldMk cId="2008209705" sldId="919"/>
            <ac:spMk id="41" creationId="{6F218B91-9383-BD7E-BC80-5B4C22BAE23B}"/>
          </ac:spMkLst>
        </pc:spChg>
        <pc:spChg chg="mod">
          <ac:chgData name="Sindija Kirsteine (LV)" userId="5f25501a-2215-4bb3-9d9c-8d1484ffa7c1" providerId="ADAL" clId="{DF8FB14C-655D-4BA6-ACF6-D90558E95229}" dt="2024-06-05T07:55:51.071" v="188"/>
          <ac:spMkLst>
            <pc:docMk/>
            <pc:sldMk cId="2008209705" sldId="919"/>
            <ac:spMk id="42" creationId="{6356538A-15B5-1084-6957-DA785F8D4355}"/>
          </ac:spMkLst>
        </pc:spChg>
        <pc:grpChg chg="del">
          <ac:chgData name="Sindija Kirsteine (LV)" userId="5f25501a-2215-4bb3-9d9c-8d1484ffa7c1" providerId="ADAL" clId="{DF8FB14C-655D-4BA6-ACF6-D90558E95229}" dt="2024-06-05T07:55:50.787" v="187" actId="478"/>
          <ac:grpSpMkLst>
            <pc:docMk/>
            <pc:sldMk cId="2008209705" sldId="919"/>
            <ac:grpSpMk id="5" creationId="{C6AB7A3D-ED4C-D6A5-8418-660206F05726}"/>
          </ac:grpSpMkLst>
        </pc:grpChg>
        <pc:grpChg chg="add mod">
          <ac:chgData name="Sindija Kirsteine (LV)" userId="5f25501a-2215-4bb3-9d9c-8d1484ffa7c1" providerId="ADAL" clId="{DF8FB14C-655D-4BA6-ACF6-D90558E95229}" dt="2024-06-05T07:55:51.071" v="188"/>
          <ac:grpSpMkLst>
            <pc:docMk/>
            <pc:sldMk cId="2008209705" sldId="919"/>
            <ac:grpSpMk id="15" creationId="{8F7D8F48-1EA6-5FCA-0986-6333EDB3231E}"/>
          </ac:grpSpMkLst>
        </pc:grpChg>
      </pc:sldChg>
      <pc:sldChg chg="addSp delSp modSp mod">
        <pc:chgData name="Sindija Kirsteine (LV)" userId="5f25501a-2215-4bb3-9d9c-8d1484ffa7c1" providerId="ADAL" clId="{DF8FB14C-655D-4BA6-ACF6-D90558E95229}" dt="2024-06-05T07:59:57.409" v="365"/>
        <pc:sldMkLst>
          <pc:docMk/>
          <pc:sldMk cId="2755231185" sldId="920"/>
        </pc:sldMkLst>
        <pc:spChg chg="mod">
          <ac:chgData name="Sindija Kirsteine (LV)" userId="5f25501a-2215-4bb3-9d9c-8d1484ffa7c1" providerId="ADAL" clId="{DF8FB14C-655D-4BA6-ACF6-D90558E95229}" dt="2024-06-05T07:59:57.409" v="365"/>
          <ac:spMkLst>
            <pc:docMk/>
            <pc:sldMk cId="2755231185" sldId="920"/>
            <ac:spMk id="6" creationId="{B43CD9A4-2C97-7D6A-7A53-C7898F589C28}"/>
          </ac:spMkLst>
        </pc:spChg>
        <pc:spChg chg="mod">
          <ac:chgData name="Sindija Kirsteine (LV)" userId="5f25501a-2215-4bb3-9d9c-8d1484ffa7c1" providerId="ADAL" clId="{DF8FB14C-655D-4BA6-ACF6-D90558E95229}" dt="2024-06-05T07:55:59.813" v="194"/>
          <ac:spMkLst>
            <pc:docMk/>
            <pc:sldMk cId="2755231185" sldId="920"/>
            <ac:spMk id="23" creationId="{04AACD79-FFE2-2A73-959F-170936309D0B}"/>
          </ac:spMkLst>
        </pc:spChg>
        <pc:spChg chg="mod">
          <ac:chgData name="Sindija Kirsteine (LV)" userId="5f25501a-2215-4bb3-9d9c-8d1484ffa7c1" providerId="ADAL" clId="{DF8FB14C-655D-4BA6-ACF6-D90558E95229}" dt="2024-06-05T07:55:59.813" v="194"/>
          <ac:spMkLst>
            <pc:docMk/>
            <pc:sldMk cId="2755231185" sldId="920"/>
            <ac:spMk id="24" creationId="{EB9AC966-DF98-B2D1-62F1-2D3B4969C2FD}"/>
          </ac:spMkLst>
        </pc:spChg>
        <pc:spChg chg="mod">
          <ac:chgData name="Sindija Kirsteine (LV)" userId="5f25501a-2215-4bb3-9d9c-8d1484ffa7c1" providerId="ADAL" clId="{DF8FB14C-655D-4BA6-ACF6-D90558E95229}" dt="2024-06-05T07:55:59.813" v="194"/>
          <ac:spMkLst>
            <pc:docMk/>
            <pc:sldMk cId="2755231185" sldId="920"/>
            <ac:spMk id="25" creationId="{7264A36B-4380-867C-68B2-D7B3E1E6D017}"/>
          </ac:spMkLst>
        </pc:spChg>
        <pc:spChg chg="mod">
          <ac:chgData name="Sindija Kirsteine (LV)" userId="5f25501a-2215-4bb3-9d9c-8d1484ffa7c1" providerId="ADAL" clId="{DF8FB14C-655D-4BA6-ACF6-D90558E95229}" dt="2024-06-05T07:55:59.813" v="194"/>
          <ac:spMkLst>
            <pc:docMk/>
            <pc:sldMk cId="2755231185" sldId="920"/>
            <ac:spMk id="26" creationId="{71FF3738-E1CB-298C-AFEF-4B405098F2B2}"/>
          </ac:spMkLst>
        </pc:spChg>
        <pc:spChg chg="mod">
          <ac:chgData name="Sindija Kirsteine (LV)" userId="5f25501a-2215-4bb3-9d9c-8d1484ffa7c1" providerId="ADAL" clId="{DF8FB14C-655D-4BA6-ACF6-D90558E95229}" dt="2024-06-05T07:55:59.813" v="194"/>
          <ac:spMkLst>
            <pc:docMk/>
            <pc:sldMk cId="2755231185" sldId="920"/>
            <ac:spMk id="27" creationId="{8F8A258D-9275-95D4-758B-036F143DC905}"/>
          </ac:spMkLst>
        </pc:spChg>
        <pc:spChg chg="mod">
          <ac:chgData name="Sindija Kirsteine (LV)" userId="5f25501a-2215-4bb3-9d9c-8d1484ffa7c1" providerId="ADAL" clId="{DF8FB14C-655D-4BA6-ACF6-D90558E95229}" dt="2024-06-05T07:55:59.813" v="194"/>
          <ac:spMkLst>
            <pc:docMk/>
            <pc:sldMk cId="2755231185" sldId="920"/>
            <ac:spMk id="28" creationId="{2B08BC66-C00C-A92C-6EBD-5CEBA026389C}"/>
          </ac:spMkLst>
        </pc:spChg>
        <pc:grpChg chg="del">
          <ac:chgData name="Sindija Kirsteine (LV)" userId="5f25501a-2215-4bb3-9d9c-8d1484ffa7c1" providerId="ADAL" clId="{DF8FB14C-655D-4BA6-ACF6-D90558E95229}" dt="2024-06-05T07:55:59.561" v="193" actId="478"/>
          <ac:grpSpMkLst>
            <pc:docMk/>
            <pc:sldMk cId="2755231185" sldId="920"/>
            <ac:grpSpMk id="7" creationId="{0D90173C-1A66-88E3-6A08-37FDF4EE86D4}"/>
          </ac:grpSpMkLst>
        </pc:grpChg>
        <pc:grpChg chg="add mod">
          <ac:chgData name="Sindija Kirsteine (LV)" userId="5f25501a-2215-4bb3-9d9c-8d1484ffa7c1" providerId="ADAL" clId="{DF8FB14C-655D-4BA6-ACF6-D90558E95229}" dt="2024-06-05T07:55:59.813" v="194"/>
          <ac:grpSpMkLst>
            <pc:docMk/>
            <pc:sldMk cId="2755231185" sldId="920"/>
            <ac:grpSpMk id="15" creationId="{B7D6516D-C7D7-0365-5562-E2E5FA6EB832}"/>
          </ac:grpSpMkLst>
        </pc:grpChg>
      </pc:sldChg>
      <pc:sldChg chg="addSp delSp modSp mod">
        <pc:chgData name="Sindija Kirsteine (LV)" userId="5f25501a-2215-4bb3-9d9c-8d1484ffa7c1" providerId="ADAL" clId="{DF8FB14C-655D-4BA6-ACF6-D90558E95229}" dt="2024-06-05T07:59:54.107" v="363"/>
        <pc:sldMkLst>
          <pc:docMk/>
          <pc:sldMk cId="1632897735" sldId="921"/>
        </pc:sldMkLst>
        <pc:spChg chg="mod">
          <ac:chgData name="Sindija Kirsteine (LV)" userId="5f25501a-2215-4bb3-9d9c-8d1484ffa7c1" providerId="ADAL" clId="{DF8FB14C-655D-4BA6-ACF6-D90558E95229}" dt="2024-06-05T07:59:54.107" v="363"/>
          <ac:spMkLst>
            <pc:docMk/>
            <pc:sldMk cId="1632897735" sldId="921"/>
            <ac:spMk id="6" creationId="{4C448523-D199-838D-0012-DA39AE2F2FF6}"/>
          </ac:spMkLst>
        </pc:spChg>
        <pc:spChg chg="mod">
          <ac:chgData name="Sindija Kirsteine (LV)" userId="5f25501a-2215-4bb3-9d9c-8d1484ffa7c1" providerId="ADAL" clId="{DF8FB14C-655D-4BA6-ACF6-D90558E95229}" dt="2024-06-05T07:55:56.185" v="191"/>
          <ac:spMkLst>
            <pc:docMk/>
            <pc:sldMk cId="1632897735" sldId="921"/>
            <ac:spMk id="19" creationId="{E7853A7E-BDE3-83FE-C2D8-F1A6E1E7E2BC}"/>
          </ac:spMkLst>
        </pc:spChg>
        <pc:spChg chg="mod">
          <ac:chgData name="Sindija Kirsteine (LV)" userId="5f25501a-2215-4bb3-9d9c-8d1484ffa7c1" providerId="ADAL" clId="{DF8FB14C-655D-4BA6-ACF6-D90558E95229}" dt="2024-06-05T07:55:56.185" v="191"/>
          <ac:spMkLst>
            <pc:docMk/>
            <pc:sldMk cId="1632897735" sldId="921"/>
            <ac:spMk id="20" creationId="{34DB2373-6962-966D-2E31-FBDC74A74A26}"/>
          </ac:spMkLst>
        </pc:spChg>
        <pc:spChg chg="mod">
          <ac:chgData name="Sindija Kirsteine (LV)" userId="5f25501a-2215-4bb3-9d9c-8d1484ffa7c1" providerId="ADAL" clId="{DF8FB14C-655D-4BA6-ACF6-D90558E95229}" dt="2024-06-05T07:55:56.185" v="191"/>
          <ac:spMkLst>
            <pc:docMk/>
            <pc:sldMk cId="1632897735" sldId="921"/>
            <ac:spMk id="21" creationId="{F326C066-B176-1789-6317-1FD154AA778B}"/>
          </ac:spMkLst>
        </pc:spChg>
        <pc:spChg chg="mod">
          <ac:chgData name="Sindija Kirsteine (LV)" userId="5f25501a-2215-4bb3-9d9c-8d1484ffa7c1" providerId="ADAL" clId="{DF8FB14C-655D-4BA6-ACF6-D90558E95229}" dt="2024-06-05T07:55:56.185" v="191"/>
          <ac:spMkLst>
            <pc:docMk/>
            <pc:sldMk cId="1632897735" sldId="921"/>
            <ac:spMk id="22" creationId="{ADBA13AA-1181-730D-243C-3E9D0268D3F1}"/>
          </ac:spMkLst>
        </pc:spChg>
        <pc:spChg chg="mod">
          <ac:chgData name="Sindija Kirsteine (LV)" userId="5f25501a-2215-4bb3-9d9c-8d1484ffa7c1" providerId="ADAL" clId="{DF8FB14C-655D-4BA6-ACF6-D90558E95229}" dt="2024-06-05T07:55:56.185" v="191"/>
          <ac:spMkLst>
            <pc:docMk/>
            <pc:sldMk cId="1632897735" sldId="921"/>
            <ac:spMk id="23" creationId="{2BF695FC-594B-DC08-6D11-09E183D4C49C}"/>
          </ac:spMkLst>
        </pc:spChg>
        <pc:spChg chg="mod">
          <ac:chgData name="Sindija Kirsteine (LV)" userId="5f25501a-2215-4bb3-9d9c-8d1484ffa7c1" providerId="ADAL" clId="{DF8FB14C-655D-4BA6-ACF6-D90558E95229}" dt="2024-06-05T07:55:56.185" v="191"/>
          <ac:spMkLst>
            <pc:docMk/>
            <pc:sldMk cId="1632897735" sldId="921"/>
            <ac:spMk id="24" creationId="{529C2E11-11AF-E176-F6EA-036B6343F54A}"/>
          </ac:spMkLst>
        </pc:spChg>
        <pc:grpChg chg="del">
          <ac:chgData name="Sindija Kirsteine (LV)" userId="5f25501a-2215-4bb3-9d9c-8d1484ffa7c1" providerId="ADAL" clId="{DF8FB14C-655D-4BA6-ACF6-D90558E95229}" dt="2024-06-05T07:55:55.947" v="190" actId="478"/>
          <ac:grpSpMkLst>
            <pc:docMk/>
            <pc:sldMk cId="1632897735" sldId="921"/>
            <ac:grpSpMk id="7" creationId="{0E16886F-1660-D9CA-AF41-13EDD241F0BC}"/>
          </ac:grpSpMkLst>
        </pc:grpChg>
        <pc:grpChg chg="add mod">
          <ac:chgData name="Sindija Kirsteine (LV)" userId="5f25501a-2215-4bb3-9d9c-8d1484ffa7c1" providerId="ADAL" clId="{DF8FB14C-655D-4BA6-ACF6-D90558E95229}" dt="2024-06-05T07:55:56.185" v="191"/>
          <ac:grpSpMkLst>
            <pc:docMk/>
            <pc:sldMk cId="1632897735" sldId="921"/>
            <ac:grpSpMk id="15" creationId="{68965794-8979-B64D-006A-977C00378C26}"/>
          </ac:grpSpMkLst>
        </pc:grpChg>
      </pc:sldChg>
      <pc:sldChg chg="addSp delSp modSp mod">
        <pc:chgData name="Sindija Kirsteine (LV)" userId="5f25501a-2215-4bb3-9d9c-8d1484ffa7c1" providerId="ADAL" clId="{DF8FB14C-655D-4BA6-ACF6-D90558E95229}" dt="2024-06-05T08:00:00.099" v="367"/>
        <pc:sldMkLst>
          <pc:docMk/>
          <pc:sldMk cId="3183596888" sldId="922"/>
        </pc:sldMkLst>
        <pc:spChg chg="mod">
          <ac:chgData name="Sindija Kirsteine (LV)" userId="5f25501a-2215-4bb3-9d9c-8d1484ffa7c1" providerId="ADAL" clId="{DF8FB14C-655D-4BA6-ACF6-D90558E95229}" dt="2024-06-05T08:00:00.099" v="367"/>
          <ac:spMkLst>
            <pc:docMk/>
            <pc:sldMk cId="3183596888" sldId="922"/>
            <ac:spMk id="5" creationId="{1806521B-FB80-1F07-D596-6A488A95DE31}"/>
          </ac:spMkLst>
        </pc:spChg>
        <pc:spChg chg="mod">
          <ac:chgData name="Sindija Kirsteine (LV)" userId="5f25501a-2215-4bb3-9d9c-8d1484ffa7c1" providerId="ADAL" clId="{DF8FB14C-655D-4BA6-ACF6-D90558E95229}" dt="2024-06-05T07:56:06.702" v="197"/>
          <ac:spMkLst>
            <pc:docMk/>
            <pc:sldMk cId="3183596888" sldId="922"/>
            <ac:spMk id="14" creationId="{D62D9DA4-837D-5F20-8E6A-4B96BCD29AE9}"/>
          </ac:spMkLst>
        </pc:spChg>
        <pc:spChg chg="mod">
          <ac:chgData name="Sindija Kirsteine (LV)" userId="5f25501a-2215-4bb3-9d9c-8d1484ffa7c1" providerId="ADAL" clId="{DF8FB14C-655D-4BA6-ACF6-D90558E95229}" dt="2024-06-05T07:56:06.702" v="197"/>
          <ac:spMkLst>
            <pc:docMk/>
            <pc:sldMk cId="3183596888" sldId="922"/>
            <ac:spMk id="15" creationId="{EE16BCCB-510E-28A1-C615-D77891ED4EAD}"/>
          </ac:spMkLst>
        </pc:spChg>
        <pc:spChg chg="mod">
          <ac:chgData name="Sindija Kirsteine (LV)" userId="5f25501a-2215-4bb3-9d9c-8d1484ffa7c1" providerId="ADAL" clId="{DF8FB14C-655D-4BA6-ACF6-D90558E95229}" dt="2024-06-05T07:56:06.702" v="197"/>
          <ac:spMkLst>
            <pc:docMk/>
            <pc:sldMk cId="3183596888" sldId="922"/>
            <ac:spMk id="21" creationId="{652E9F50-7052-761E-8B22-800DB17BBB76}"/>
          </ac:spMkLst>
        </pc:spChg>
        <pc:spChg chg="mod">
          <ac:chgData name="Sindija Kirsteine (LV)" userId="5f25501a-2215-4bb3-9d9c-8d1484ffa7c1" providerId="ADAL" clId="{DF8FB14C-655D-4BA6-ACF6-D90558E95229}" dt="2024-06-05T07:56:06.702" v="197"/>
          <ac:spMkLst>
            <pc:docMk/>
            <pc:sldMk cId="3183596888" sldId="922"/>
            <ac:spMk id="22" creationId="{AB637F11-D195-13E5-BF30-4EA840F544D4}"/>
          </ac:spMkLst>
        </pc:spChg>
        <pc:spChg chg="mod">
          <ac:chgData name="Sindija Kirsteine (LV)" userId="5f25501a-2215-4bb3-9d9c-8d1484ffa7c1" providerId="ADAL" clId="{DF8FB14C-655D-4BA6-ACF6-D90558E95229}" dt="2024-06-05T07:56:06.702" v="197"/>
          <ac:spMkLst>
            <pc:docMk/>
            <pc:sldMk cId="3183596888" sldId="922"/>
            <ac:spMk id="23" creationId="{CC4D1803-A45D-3636-584E-5636AE521710}"/>
          </ac:spMkLst>
        </pc:spChg>
        <pc:spChg chg="mod">
          <ac:chgData name="Sindija Kirsteine (LV)" userId="5f25501a-2215-4bb3-9d9c-8d1484ffa7c1" providerId="ADAL" clId="{DF8FB14C-655D-4BA6-ACF6-D90558E95229}" dt="2024-06-05T07:56:06.702" v="197"/>
          <ac:spMkLst>
            <pc:docMk/>
            <pc:sldMk cId="3183596888" sldId="922"/>
            <ac:spMk id="24" creationId="{5C57F09C-4DB9-1C81-6846-56E4AD89016A}"/>
          </ac:spMkLst>
        </pc:spChg>
        <pc:grpChg chg="add mod">
          <ac:chgData name="Sindija Kirsteine (LV)" userId="5f25501a-2215-4bb3-9d9c-8d1484ffa7c1" providerId="ADAL" clId="{DF8FB14C-655D-4BA6-ACF6-D90558E95229}" dt="2024-06-05T07:56:06.702" v="197"/>
          <ac:grpSpMkLst>
            <pc:docMk/>
            <pc:sldMk cId="3183596888" sldId="922"/>
            <ac:grpSpMk id="2" creationId="{FC907EB6-2D6E-5404-FCE3-B63637740A9A}"/>
          </ac:grpSpMkLst>
        </pc:grpChg>
        <pc:grpChg chg="del">
          <ac:chgData name="Sindija Kirsteine (LV)" userId="5f25501a-2215-4bb3-9d9c-8d1484ffa7c1" providerId="ADAL" clId="{DF8FB14C-655D-4BA6-ACF6-D90558E95229}" dt="2024-06-05T07:56:06.400" v="196" actId="478"/>
          <ac:grpSpMkLst>
            <pc:docMk/>
            <pc:sldMk cId="3183596888" sldId="922"/>
            <ac:grpSpMk id="6" creationId="{27F631B7-D1E2-9A31-F9B7-579A31B91DFE}"/>
          </ac:grpSpMkLst>
        </pc:grpChg>
      </pc:sldChg>
      <pc:sldChg chg="addSp delSp modSp mod">
        <pc:chgData name="Sindija Kirsteine (LV)" userId="5f25501a-2215-4bb3-9d9c-8d1484ffa7c1" providerId="ADAL" clId="{DF8FB14C-655D-4BA6-ACF6-D90558E95229}" dt="2024-06-05T07:58:56.632" v="325"/>
        <pc:sldMkLst>
          <pc:docMk/>
          <pc:sldMk cId="2333946943" sldId="924"/>
        </pc:sldMkLst>
        <pc:spChg chg="mod">
          <ac:chgData name="Sindija Kirsteine (LV)" userId="5f25501a-2215-4bb3-9d9c-8d1484ffa7c1" providerId="ADAL" clId="{DF8FB14C-655D-4BA6-ACF6-D90558E95229}" dt="2024-06-05T07:58:56.632" v="325"/>
          <ac:spMkLst>
            <pc:docMk/>
            <pc:sldMk cId="2333946943" sldId="924"/>
            <ac:spMk id="28" creationId="{09F96A6C-BCF7-C92F-10B0-3D0AC98F2671}"/>
          </ac:spMkLst>
        </pc:spChg>
        <pc:spChg chg="mod">
          <ac:chgData name="Sindija Kirsteine (LV)" userId="5f25501a-2215-4bb3-9d9c-8d1484ffa7c1" providerId="ADAL" clId="{DF8FB14C-655D-4BA6-ACF6-D90558E95229}" dt="2024-06-05T07:52:47.277" v="91"/>
          <ac:spMkLst>
            <pc:docMk/>
            <pc:sldMk cId="2333946943" sldId="924"/>
            <ac:spMk id="30" creationId="{E6F8326B-3D4E-0B89-EE95-099A56ED6BDB}"/>
          </ac:spMkLst>
        </pc:spChg>
        <pc:spChg chg="mod">
          <ac:chgData name="Sindija Kirsteine (LV)" userId="5f25501a-2215-4bb3-9d9c-8d1484ffa7c1" providerId="ADAL" clId="{DF8FB14C-655D-4BA6-ACF6-D90558E95229}" dt="2024-06-05T07:52:47.277" v="91"/>
          <ac:spMkLst>
            <pc:docMk/>
            <pc:sldMk cId="2333946943" sldId="924"/>
            <ac:spMk id="31" creationId="{01F6CAB6-CEC4-CB22-3662-0539D622474F}"/>
          </ac:spMkLst>
        </pc:spChg>
        <pc:spChg chg="mod">
          <ac:chgData name="Sindija Kirsteine (LV)" userId="5f25501a-2215-4bb3-9d9c-8d1484ffa7c1" providerId="ADAL" clId="{DF8FB14C-655D-4BA6-ACF6-D90558E95229}" dt="2024-06-05T07:52:47.277" v="91"/>
          <ac:spMkLst>
            <pc:docMk/>
            <pc:sldMk cId="2333946943" sldId="924"/>
            <ac:spMk id="32" creationId="{28FDF051-D269-54AA-868D-A82964E3AF4A}"/>
          </ac:spMkLst>
        </pc:spChg>
        <pc:spChg chg="mod">
          <ac:chgData name="Sindija Kirsteine (LV)" userId="5f25501a-2215-4bb3-9d9c-8d1484ffa7c1" providerId="ADAL" clId="{DF8FB14C-655D-4BA6-ACF6-D90558E95229}" dt="2024-06-05T07:52:47.277" v="91"/>
          <ac:spMkLst>
            <pc:docMk/>
            <pc:sldMk cId="2333946943" sldId="924"/>
            <ac:spMk id="33" creationId="{956F20C5-72B9-E2B4-EF9B-3EAB382D895A}"/>
          </ac:spMkLst>
        </pc:spChg>
        <pc:spChg chg="mod">
          <ac:chgData name="Sindija Kirsteine (LV)" userId="5f25501a-2215-4bb3-9d9c-8d1484ffa7c1" providerId="ADAL" clId="{DF8FB14C-655D-4BA6-ACF6-D90558E95229}" dt="2024-06-05T07:52:47.277" v="91"/>
          <ac:spMkLst>
            <pc:docMk/>
            <pc:sldMk cId="2333946943" sldId="924"/>
            <ac:spMk id="34" creationId="{B7AA819F-F0A4-5DE1-396B-5AD4DEEE406B}"/>
          </ac:spMkLst>
        </pc:spChg>
        <pc:spChg chg="mod">
          <ac:chgData name="Sindija Kirsteine (LV)" userId="5f25501a-2215-4bb3-9d9c-8d1484ffa7c1" providerId="ADAL" clId="{DF8FB14C-655D-4BA6-ACF6-D90558E95229}" dt="2024-06-05T07:52:47.277" v="91"/>
          <ac:spMkLst>
            <pc:docMk/>
            <pc:sldMk cId="2333946943" sldId="924"/>
            <ac:spMk id="35" creationId="{115A1F77-6EBA-675E-F712-63F6F60ED78D}"/>
          </ac:spMkLst>
        </pc:spChg>
        <pc:grpChg chg="add mod">
          <ac:chgData name="Sindija Kirsteine (LV)" userId="5f25501a-2215-4bb3-9d9c-8d1484ffa7c1" providerId="ADAL" clId="{DF8FB14C-655D-4BA6-ACF6-D90558E95229}" dt="2024-06-05T07:52:47.277" v="91"/>
          <ac:grpSpMkLst>
            <pc:docMk/>
            <pc:sldMk cId="2333946943" sldId="924"/>
            <ac:grpSpMk id="29" creationId="{C757F6D4-BE65-DD50-7A44-5DB2724C49D6}"/>
          </ac:grpSpMkLst>
        </pc:grpChg>
        <pc:grpChg chg="del">
          <ac:chgData name="Sindija Kirsteine (LV)" userId="5f25501a-2215-4bb3-9d9c-8d1484ffa7c1" providerId="ADAL" clId="{DF8FB14C-655D-4BA6-ACF6-D90558E95229}" dt="2024-06-05T07:52:46.862" v="90" actId="478"/>
          <ac:grpSpMkLst>
            <pc:docMk/>
            <pc:sldMk cId="2333946943" sldId="924"/>
            <ac:grpSpMk id="41" creationId="{92E09775-7CA5-5BE9-AF26-CCEC6FC9FEF4}"/>
          </ac:grpSpMkLst>
        </pc:grpChg>
      </pc:sldChg>
      <pc:sldChg chg="modSp mod">
        <pc:chgData name="Sindija Kirsteine (LV)" userId="5f25501a-2215-4bb3-9d9c-8d1484ffa7c1" providerId="ADAL" clId="{DF8FB14C-655D-4BA6-ACF6-D90558E95229}" dt="2024-06-05T07:50:40.520" v="8" actId="20577"/>
        <pc:sldMkLst>
          <pc:docMk/>
          <pc:sldMk cId="4107124933" sldId="925"/>
        </pc:sldMkLst>
        <pc:spChg chg="mod">
          <ac:chgData name="Sindija Kirsteine (LV)" userId="5f25501a-2215-4bb3-9d9c-8d1484ffa7c1" providerId="ADAL" clId="{DF8FB14C-655D-4BA6-ACF6-D90558E95229}" dt="2024-06-05T07:50:40.520" v="8" actId="20577"/>
          <ac:spMkLst>
            <pc:docMk/>
            <pc:sldMk cId="4107124933" sldId="925"/>
            <ac:spMk id="2" creationId="{00000000-0000-0000-0000-000000000000}"/>
          </ac:spMkLst>
        </pc:spChg>
      </pc:sldChg>
      <pc:sldChg chg="modSp mod">
        <pc:chgData name="Sindija Kirsteine (LV)" userId="5f25501a-2215-4bb3-9d9c-8d1484ffa7c1" providerId="ADAL" clId="{DF8FB14C-655D-4BA6-ACF6-D90558E95229}" dt="2024-06-05T07:50:49.367" v="16" actId="20577"/>
        <pc:sldMkLst>
          <pc:docMk/>
          <pc:sldMk cId="76717427" sldId="926"/>
        </pc:sldMkLst>
        <pc:spChg chg="mod">
          <ac:chgData name="Sindija Kirsteine (LV)" userId="5f25501a-2215-4bb3-9d9c-8d1484ffa7c1" providerId="ADAL" clId="{DF8FB14C-655D-4BA6-ACF6-D90558E95229}" dt="2024-06-05T07:50:49.367" v="16" actId="20577"/>
          <ac:spMkLst>
            <pc:docMk/>
            <pc:sldMk cId="76717427" sldId="926"/>
            <ac:spMk id="2" creationId="{00000000-0000-0000-0000-000000000000}"/>
          </ac:spMkLst>
        </pc:spChg>
      </pc:sldChg>
      <pc:sldChg chg="modSp mod">
        <pc:chgData name="Sindija Kirsteine (LV)" userId="5f25501a-2215-4bb3-9d9c-8d1484ffa7c1" providerId="ADAL" clId="{DF8FB14C-655D-4BA6-ACF6-D90558E95229}" dt="2024-06-05T07:50:44.892" v="12" actId="20577"/>
        <pc:sldMkLst>
          <pc:docMk/>
          <pc:sldMk cId="4266541344" sldId="927"/>
        </pc:sldMkLst>
        <pc:spChg chg="mod">
          <ac:chgData name="Sindija Kirsteine (LV)" userId="5f25501a-2215-4bb3-9d9c-8d1484ffa7c1" providerId="ADAL" clId="{DF8FB14C-655D-4BA6-ACF6-D90558E95229}" dt="2024-06-05T07:50:44.892" v="12" actId="20577"/>
          <ac:spMkLst>
            <pc:docMk/>
            <pc:sldMk cId="4266541344" sldId="927"/>
            <ac:spMk id="2" creationId="{00000000-0000-0000-0000-000000000000}"/>
          </ac:spMkLst>
        </pc:spChg>
      </pc:sldChg>
      <pc:sldChg chg="modSp mod">
        <pc:chgData name="Sindija Kirsteine (LV)" userId="5f25501a-2215-4bb3-9d9c-8d1484ffa7c1" providerId="ADAL" clId="{DF8FB14C-655D-4BA6-ACF6-D90558E95229}" dt="2024-06-05T07:55:06.025" v="163" actId="20577"/>
        <pc:sldMkLst>
          <pc:docMk/>
          <pc:sldMk cId="2463822678" sldId="928"/>
        </pc:sldMkLst>
        <pc:spChg chg="mod">
          <ac:chgData name="Sindija Kirsteine (LV)" userId="5f25501a-2215-4bb3-9d9c-8d1484ffa7c1" providerId="ADAL" clId="{DF8FB14C-655D-4BA6-ACF6-D90558E95229}" dt="2024-06-05T07:55:06.025" v="163" actId="20577"/>
          <ac:spMkLst>
            <pc:docMk/>
            <pc:sldMk cId="2463822678" sldId="928"/>
            <ac:spMk id="2" creationId="{00000000-0000-0000-0000-000000000000}"/>
          </ac:spMkLst>
        </pc:spChg>
      </pc:sldChg>
      <pc:sldChg chg="addSp delSp modSp mod">
        <pc:chgData name="Sindija Kirsteine (LV)" userId="5f25501a-2215-4bb3-9d9c-8d1484ffa7c1" providerId="ADAL" clId="{DF8FB14C-655D-4BA6-ACF6-D90558E95229}" dt="2024-06-05T07:59:28.887" v="345"/>
        <pc:sldMkLst>
          <pc:docMk/>
          <pc:sldMk cId="3431578971" sldId="931"/>
        </pc:sldMkLst>
        <pc:spChg chg="mod">
          <ac:chgData name="Sindija Kirsteine (LV)" userId="5f25501a-2215-4bb3-9d9c-8d1484ffa7c1" providerId="ADAL" clId="{DF8FB14C-655D-4BA6-ACF6-D90558E95229}" dt="2024-06-05T07:59:28.887" v="345"/>
          <ac:spMkLst>
            <pc:docMk/>
            <pc:sldMk cId="3431578971" sldId="931"/>
            <ac:spMk id="8" creationId="{3E1B33AD-40C6-3992-E0C2-7519E160295A}"/>
          </ac:spMkLst>
        </pc:spChg>
        <pc:spChg chg="mod">
          <ac:chgData name="Sindija Kirsteine (LV)" userId="5f25501a-2215-4bb3-9d9c-8d1484ffa7c1" providerId="ADAL" clId="{DF8FB14C-655D-4BA6-ACF6-D90558E95229}" dt="2024-06-05T07:55:18.476" v="167"/>
          <ac:spMkLst>
            <pc:docMk/>
            <pc:sldMk cId="3431578971" sldId="931"/>
            <ac:spMk id="32" creationId="{9F3A2225-0E7F-BA60-975D-1ABE6FD6B0BC}"/>
          </ac:spMkLst>
        </pc:spChg>
        <pc:spChg chg="mod">
          <ac:chgData name="Sindija Kirsteine (LV)" userId="5f25501a-2215-4bb3-9d9c-8d1484ffa7c1" providerId="ADAL" clId="{DF8FB14C-655D-4BA6-ACF6-D90558E95229}" dt="2024-06-05T07:55:18.476" v="167"/>
          <ac:spMkLst>
            <pc:docMk/>
            <pc:sldMk cId="3431578971" sldId="931"/>
            <ac:spMk id="33" creationId="{DA0CB55B-FBB6-65D8-E66E-4BE74BE1C3B6}"/>
          </ac:spMkLst>
        </pc:spChg>
        <pc:spChg chg="mod">
          <ac:chgData name="Sindija Kirsteine (LV)" userId="5f25501a-2215-4bb3-9d9c-8d1484ffa7c1" providerId="ADAL" clId="{DF8FB14C-655D-4BA6-ACF6-D90558E95229}" dt="2024-06-05T07:55:18.476" v="167"/>
          <ac:spMkLst>
            <pc:docMk/>
            <pc:sldMk cId="3431578971" sldId="931"/>
            <ac:spMk id="34" creationId="{AAC30472-230D-6CB1-DB13-9A04D287058B}"/>
          </ac:spMkLst>
        </pc:spChg>
        <pc:spChg chg="mod">
          <ac:chgData name="Sindija Kirsteine (LV)" userId="5f25501a-2215-4bb3-9d9c-8d1484ffa7c1" providerId="ADAL" clId="{DF8FB14C-655D-4BA6-ACF6-D90558E95229}" dt="2024-06-05T07:55:18.476" v="167"/>
          <ac:spMkLst>
            <pc:docMk/>
            <pc:sldMk cId="3431578971" sldId="931"/>
            <ac:spMk id="35" creationId="{FA6775AC-41E6-90A1-7287-8DC337D54C9C}"/>
          </ac:spMkLst>
        </pc:spChg>
        <pc:spChg chg="mod">
          <ac:chgData name="Sindija Kirsteine (LV)" userId="5f25501a-2215-4bb3-9d9c-8d1484ffa7c1" providerId="ADAL" clId="{DF8FB14C-655D-4BA6-ACF6-D90558E95229}" dt="2024-06-05T07:55:18.476" v="167"/>
          <ac:spMkLst>
            <pc:docMk/>
            <pc:sldMk cId="3431578971" sldId="931"/>
            <ac:spMk id="54" creationId="{231A6CC3-1D35-0AC0-F766-8DCD389AA15C}"/>
          </ac:spMkLst>
        </pc:spChg>
        <pc:spChg chg="mod">
          <ac:chgData name="Sindija Kirsteine (LV)" userId="5f25501a-2215-4bb3-9d9c-8d1484ffa7c1" providerId="ADAL" clId="{DF8FB14C-655D-4BA6-ACF6-D90558E95229}" dt="2024-06-05T07:55:18.476" v="167"/>
          <ac:spMkLst>
            <pc:docMk/>
            <pc:sldMk cId="3431578971" sldId="931"/>
            <ac:spMk id="55" creationId="{9513FB66-655B-B37B-0E48-995781F71245}"/>
          </ac:spMkLst>
        </pc:spChg>
        <pc:grpChg chg="del">
          <ac:chgData name="Sindija Kirsteine (LV)" userId="5f25501a-2215-4bb3-9d9c-8d1484ffa7c1" providerId="ADAL" clId="{DF8FB14C-655D-4BA6-ACF6-D90558E95229}" dt="2024-06-05T07:55:18.188" v="166" actId="478"/>
          <ac:grpSpMkLst>
            <pc:docMk/>
            <pc:sldMk cId="3431578971" sldId="931"/>
            <ac:grpSpMk id="10" creationId="{829B9916-9D35-631D-748F-F9A64E3DB324}"/>
          </ac:grpSpMkLst>
        </pc:grpChg>
        <pc:grpChg chg="add mod">
          <ac:chgData name="Sindija Kirsteine (LV)" userId="5f25501a-2215-4bb3-9d9c-8d1484ffa7c1" providerId="ADAL" clId="{DF8FB14C-655D-4BA6-ACF6-D90558E95229}" dt="2024-06-05T07:55:18.476" v="167"/>
          <ac:grpSpMkLst>
            <pc:docMk/>
            <pc:sldMk cId="3431578971" sldId="931"/>
            <ac:grpSpMk id="31" creationId="{383F900E-4D4A-7C00-FF90-3ABB566ACC11}"/>
          </ac:grpSpMkLst>
        </pc:grpChg>
      </pc:sldChg>
      <pc:sldChg chg="addSp delSp modSp mod">
        <pc:chgData name="Sindija Kirsteine (LV)" userId="5f25501a-2215-4bb3-9d9c-8d1484ffa7c1" providerId="ADAL" clId="{DF8FB14C-655D-4BA6-ACF6-D90558E95229}" dt="2024-06-05T08:00:04.216" v="369"/>
        <pc:sldMkLst>
          <pc:docMk/>
          <pc:sldMk cId="2630099657" sldId="933"/>
        </pc:sldMkLst>
        <pc:spChg chg="mod">
          <ac:chgData name="Sindija Kirsteine (LV)" userId="5f25501a-2215-4bb3-9d9c-8d1484ffa7c1" providerId="ADAL" clId="{DF8FB14C-655D-4BA6-ACF6-D90558E95229}" dt="2024-06-05T08:00:04.216" v="369"/>
          <ac:spMkLst>
            <pc:docMk/>
            <pc:sldMk cId="2630099657" sldId="933"/>
            <ac:spMk id="2" creationId="{68CC9B95-24B4-F548-79EA-0FC37F46459D}"/>
          </ac:spMkLst>
        </pc:spChg>
        <pc:spChg chg="mod">
          <ac:chgData name="Sindija Kirsteine (LV)" userId="5f25501a-2215-4bb3-9d9c-8d1484ffa7c1" providerId="ADAL" clId="{DF8FB14C-655D-4BA6-ACF6-D90558E95229}" dt="2024-06-05T07:56:10.115" v="200"/>
          <ac:spMkLst>
            <pc:docMk/>
            <pc:sldMk cId="2630099657" sldId="933"/>
            <ac:spMk id="30" creationId="{0ACE784C-9643-4E34-2C76-AB0B91BBD56A}"/>
          </ac:spMkLst>
        </pc:spChg>
        <pc:spChg chg="mod">
          <ac:chgData name="Sindija Kirsteine (LV)" userId="5f25501a-2215-4bb3-9d9c-8d1484ffa7c1" providerId="ADAL" clId="{DF8FB14C-655D-4BA6-ACF6-D90558E95229}" dt="2024-06-05T07:56:10.115" v="200"/>
          <ac:spMkLst>
            <pc:docMk/>
            <pc:sldMk cId="2630099657" sldId="933"/>
            <ac:spMk id="31" creationId="{EFD13C4D-4450-F771-E774-94B59D7D0BAB}"/>
          </ac:spMkLst>
        </pc:spChg>
        <pc:spChg chg="mod">
          <ac:chgData name="Sindija Kirsteine (LV)" userId="5f25501a-2215-4bb3-9d9c-8d1484ffa7c1" providerId="ADAL" clId="{DF8FB14C-655D-4BA6-ACF6-D90558E95229}" dt="2024-06-05T07:56:10.115" v="200"/>
          <ac:spMkLst>
            <pc:docMk/>
            <pc:sldMk cId="2630099657" sldId="933"/>
            <ac:spMk id="35" creationId="{0F48C417-784C-0034-A5B2-CE742ADC1FB5}"/>
          </ac:spMkLst>
        </pc:spChg>
        <pc:spChg chg="mod">
          <ac:chgData name="Sindija Kirsteine (LV)" userId="5f25501a-2215-4bb3-9d9c-8d1484ffa7c1" providerId="ADAL" clId="{DF8FB14C-655D-4BA6-ACF6-D90558E95229}" dt="2024-06-05T07:56:10.115" v="200"/>
          <ac:spMkLst>
            <pc:docMk/>
            <pc:sldMk cId="2630099657" sldId="933"/>
            <ac:spMk id="40" creationId="{7A2A40D2-701B-C463-7D2C-EA911A2E890C}"/>
          </ac:spMkLst>
        </pc:spChg>
        <pc:spChg chg="mod">
          <ac:chgData name="Sindija Kirsteine (LV)" userId="5f25501a-2215-4bb3-9d9c-8d1484ffa7c1" providerId="ADAL" clId="{DF8FB14C-655D-4BA6-ACF6-D90558E95229}" dt="2024-06-05T07:56:10.115" v="200"/>
          <ac:spMkLst>
            <pc:docMk/>
            <pc:sldMk cId="2630099657" sldId="933"/>
            <ac:spMk id="41" creationId="{232A0F99-25A5-7805-5CDC-762BE5A433F5}"/>
          </ac:spMkLst>
        </pc:spChg>
        <pc:spChg chg="mod">
          <ac:chgData name="Sindija Kirsteine (LV)" userId="5f25501a-2215-4bb3-9d9c-8d1484ffa7c1" providerId="ADAL" clId="{DF8FB14C-655D-4BA6-ACF6-D90558E95229}" dt="2024-06-05T07:56:10.115" v="200"/>
          <ac:spMkLst>
            <pc:docMk/>
            <pc:sldMk cId="2630099657" sldId="933"/>
            <ac:spMk id="51" creationId="{60918515-4152-10AE-F7B4-27C77C1F3DE5}"/>
          </ac:spMkLst>
        </pc:spChg>
        <pc:grpChg chg="del">
          <ac:chgData name="Sindija Kirsteine (LV)" userId="5f25501a-2215-4bb3-9d9c-8d1484ffa7c1" providerId="ADAL" clId="{DF8FB14C-655D-4BA6-ACF6-D90558E95229}" dt="2024-06-05T07:56:09.860" v="199" actId="478"/>
          <ac:grpSpMkLst>
            <pc:docMk/>
            <pc:sldMk cId="2630099657" sldId="933"/>
            <ac:grpSpMk id="21" creationId="{E645861B-A73D-39F5-6B88-95506436C0F5}"/>
          </ac:grpSpMkLst>
        </pc:grpChg>
        <pc:grpChg chg="add mod">
          <ac:chgData name="Sindija Kirsteine (LV)" userId="5f25501a-2215-4bb3-9d9c-8d1484ffa7c1" providerId="ADAL" clId="{DF8FB14C-655D-4BA6-ACF6-D90558E95229}" dt="2024-06-05T07:56:10.115" v="200"/>
          <ac:grpSpMkLst>
            <pc:docMk/>
            <pc:sldMk cId="2630099657" sldId="933"/>
            <ac:grpSpMk id="23" creationId="{CB62257A-DFA7-C5AC-81EB-42FA29E186E1}"/>
          </ac:grpSpMkLst>
        </pc:grpChg>
      </pc:sldChg>
      <pc:sldChg chg="addSp delSp modSp mod">
        <pc:chgData name="Sindija Kirsteine (LV)" userId="5f25501a-2215-4bb3-9d9c-8d1484ffa7c1" providerId="ADAL" clId="{DF8FB14C-655D-4BA6-ACF6-D90558E95229}" dt="2024-06-05T08:00:06.427" v="371"/>
        <pc:sldMkLst>
          <pc:docMk/>
          <pc:sldMk cId="156182905" sldId="934"/>
        </pc:sldMkLst>
        <pc:spChg chg="mod">
          <ac:chgData name="Sindija Kirsteine (LV)" userId="5f25501a-2215-4bb3-9d9c-8d1484ffa7c1" providerId="ADAL" clId="{DF8FB14C-655D-4BA6-ACF6-D90558E95229}" dt="2024-06-05T08:00:06.427" v="371"/>
          <ac:spMkLst>
            <pc:docMk/>
            <pc:sldMk cId="156182905" sldId="934"/>
            <ac:spMk id="2" creationId="{D1D6AC03-28D5-6F25-B774-213412140BFB}"/>
          </ac:spMkLst>
        </pc:spChg>
        <pc:spChg chg="mod">
          <ac:chgData name="Sindija Kirsteine (LV)" userId="5f25501a-2215-4bb3-9d9c-8d1484ffa7c1" providerId="ADAL" clId="{DF8FB14C-655D-4BA6-ACF6-D90558E95229}" dt="2024-06-05T07:56:14.256" v="203"/>
          <ac:spMkLst>
            <pc:docMk/>
            <pc:sldMk cId="156182905" sldId="934"/>
            <ac:spMk id="33" creationId="{5C2874F9-D8C6-887C-E1EA-11F77DA653D6}"/>
          </ac:spMkLst>
        </pc:spChg>
        <pc:spChg chg="mod">
          <ac:chgData name="Sindija Kirsteine (LV)" userId="5f25501a-2215-4bb3-9d9c-8d1484ffa7c1" providerId="ADAL" clId="{DF8FB14C-655D-4BA6-ACF6-D90558E95229}" dt="2024-06-05T07:56:14.256" v="203"/>
          <ac:spMkLst>
            <pc:docMk/>
            <pc:sldMk cId="156182905" sldId="934"/>
            <ac:spMk id="34" creationId="{5223CBAF-7A63-BCAC-510F-10D5585B9BB3}"/>
          </ac:spMkLst>
        </pc:spChg>
        <pc:spChg chg="mod">
          <ac:chgData name="Sindija Kirsteine (LV)" userId="5f25501a-2215-4bb3-9d9c-8d1484ffa7c1" providerId="ADAL" clId="{DF8FB14C-655D-4BA6-ACF6-D90558E95229}" dt="2024-06-05T07:56:14.256" v="203"/>
          <ac:spMkLst>
            <pc:docMk/>
            <pc:sldMk cId="156182905" sldId="934"/>
            <ac:spMk id="35" creationId="{F08F99D6-421A-10B7-0530-A21AA7636244}"/>
          </ac:spMkLst>
        </pc:spChg>
        <pc:spChg chg="mod">
          <ac:chgData name="Sindija Kirsteine (LV)" userId="5f25501a-2215-4bb3-9d9c-8d1484ffa7c1" providerId="ADAL" clId="{DF8FB14C-655D-4BA6-ACF6-D90558E95229}" dt="2024-06-05T07:56:14.256" v="203"/>
          <ac:spMkLst>
            <pc:docMk/>
            <pc:sldMk cId="156182905" sldId="934"/>
            <ac:spMk id="40" creationId="{806B46B4-806A-3701-D59F-2019028C52E0}"/>
          </ac:spMkLst>
        </pc:spChg>
        <pc:spChg chg="mod">
          <ac:chgData name="Sindija Kirsteine (LV)" userId="5f25501a-2215-4bb3-9d9c-8d1484ffa7c1" providerId="ADAL" clId="{DF8FB14C-655D-4BA6-ACF6-D90558E95229}" dt="2024-06-05T07:56:14.256" v="203"/>
          <ac:spMkLst>
            <pc:docMk/>
            <pc:sldMk cId="156182905" sldId="934"/>
            <ac:spMk id="41" creationId="{31E79E96-A186-A7B3-914A-AB85A56D63B1}"/>
          </ac:spMkLst>
        </pc:spChg>
        <pc:spChg chg="mod">
          <ac:chgData name="Sindija Kirsteine (LV)" userId="5f25501a-2215-4bb3-9d9c-8d1484ffa7c1" providerId="ADAL" clId="{DF8FB14C-655D-4BA6-ACF6-D90558E95229}" dt="2024-06-05T07:56:14.256" v="203"/>
          <ac:spMkLst>
            <pc:docMk/>
            <pc:sldMk cId="156182905" sldId="934"/>
            <ac:spMk id="42" creationId="{818B4649-1B8B-DF2A-AE4C-A046164ECF62}"/>
          </ac:spMkLst>
        </pc:spChg>
        <pc:grpChg chg="del">
          <ac:chgData name="Sindija Kirsteine (LV)" userId="5f25501a-2215-4bb3-9d9c-8d1484ffa7c1" providerId="ADAL" clId="{DF8FB14C-655D-4BA6-ACF6-D90558E95229}" dt="2024-06-05T07:56:14.033" v="202" actId="478"/>
          <ac:grpSpMkLst>
            <pc:docMk/>
            <pc:sldMk cId="156182905" sldId="934"/>
            <ac:grpSpMk id="21" creationId="{339DCDBE-C394-66D0-0228-6B91B0EE7864}"/>
          </ac:grpSpMkLst>
        </pc:grpChg>
        <pc:grpChg chg="add mod">
          <ac:chgData name="Sindija Kirsteine (LV)" userId="5f25501a-2215-4bb3-9d9c-8d1484ffa7c1" providerId="ADAL" clId="{DF8FB14C-655D-4BA6-ACF6-D90558E95229}" dt="2024-06-05T07:56:14.256" v="203"/>
          <ac:grpSpMkLst>
            <pc:docMk/>
            <pc:sldMk cId="156182905" sldId="934"/>
            <ac:grpSpMk id="30" creationId="{2E04678C-E2CD-36D9-1DAA-A4A61AD37794}"/>
          </ac:grpSpMkLst>
        </pc:grpChg>
      </pc:sldChg>
      <pc:sldChg chg="addSp delSp modSp mod">
        <pc:chgData name="Sindija Kirsteine (LV)" userId="5f25501a-2215-4bb3-9d9c-8d1484ffa7c1" providerId="ADAL" clId="{DF8FB14C-655D-4BA6-ACF6-D90558E95229}" dt="2024-06-05T08:00:09.268" v="373"/>
        <pc:sldMkLst>
          <pc:docMk/>
          <pc:sldMk cId="2803239078" sldId="935"/>
        </pc:sldMkLst>
        <pc:spChg chg="mod">
          <ac:chgData name="Sindija Kirsteine (LV)" userId="5f25501a-2215-4bb3-9d9c-8d1484ffa7c1" providerId="ADAL" clId="{DF8FB14C-655D-4BA6-ACF6-D90558E95229}" dt="2024-06-05T08:00:09.268" v="373"/>
          <ac:spMkLst>
            <pc:docMk/>
            <pc:sldMk cId="2803239078" sldId="935"/>
            <ac:spMk id="2" creationId="{CFDF6535-C156-7ADE-BFD5-5D34028DCE11}"/>
          </ac:spMkLst>
        </pc:spChg>
        <pc:spChg chg="mod">
          <ac:chgData name="Sindija Kirsteine (LV)" userId="5f25501a-2215-4bb3-9d9c-8d1484ffa7c1" providerId="ADAL" clId="{DF8FB14C-655D-4BA6-ACF6-D90558E95229}" dt="2024-06-05T07:56:16.977" v="206"/>
          <ac:spMkLst>
            <pc:docMk/>
            <pc:sldMk cId="2803239078" sldId="935"/>
            <ac:spMk id="34" creationId="{9D77A928-D2F5-965A-FD2A-227FA38B2A07}"/>
          </ac:spMkLst>
        </pc:spChg>
        <pc:spChg chg="mod">
          <ac:chgData name="Sindija Kirsteine (LV)" userId="5f25501a-2215-4bb3-9d9c-8d1484ffa7c1" providerId="ADAL" clId="{DF8FB14C-655D-4BA6-ACF6-D90558E95229}" dt="2024-06-05T07:56:16.977" v="206"/>
          <ac:spMkLst>
            <pc:docMk/>
            <pc:sldMk cId="2803239078" sldId="935"/>
            <ac:spMk id="35" creationId="{4B64B090-1266-864E-76E9-FD4A9A5919DB}"/>
          </ac:spMkLst>
        </pc:spChg>
        <pc:spChg chg="mod">
          <ac:chgData name="Sindija Kirsteine (LV)" userId="5f25501a-2215-4bb3-9d9c-8d1484ffa7c1" providerId="ADAL" clId="{DF8FB14C-655D-4BA6-ACF6-D90558E95229}" dt="2024-06-05T07:56:16.977" v="206"/>
          <ac:spMkLst>
            <pc:docMk/>
            <pc:sldMk cId="2803239078" sldId="935"/>
            <ac:spMk id="37" creationId="{03ABC941-F115-184E-FF84-D19F0E5859F8}"/>
          </ac:spMkLst>
        </pc:spChg>
        <pc:spChg chg="mod">
          <ac:chgData name="Sindija Kirsteine (LV)" userId="5f25501a-2215-4bb3-9d9c-8d1484ffa7c1" providerId="ADAL" clId="{DF8FB14C-655D-4BA6-ACF6-D90558E95229}" dt="2024-06-05T07:56:16.977" v="206"/>
          <ac:spMkLst>
            <pc:docMk/>
            <pc:sldMk cId="2803239078" sldId="935"/>
            <ac:spMk id="39" creationId="{465C949B-20EE-4625-D64A-C83F8F2CD0A1}"/>
          </ac:spMkLst>
        </pc:spChg>
        <pc:spChg chg="mod">
          <ac:chgData name="Sindija Kirsteine (LV)" userId="5f25501a-2215-4bb3-9d9c-8d1484ffa7c1" providerId="ADAL" clId="{DF8FB14C-655D-4BA6-ACF6-D90558E95229}" dt="2024-06-05T07:56:16.977" v="206"/>
          <ac:spMkLst>
            <pc:docMk/>
            <pc:sldMk cId="2803239078" sldId="935"/>
            <ac:spMk id="40" creationId="{92F5BE1F-C615-E500-B43F-A8B038A2EB7E}"/>
          </ac:spMkLst>
        </pc:spChg>
        <pc:spChg chg="mod">
          <ac:chgData name="Sindija Kirsteine (LV)" userId="5f25501a-2215-4bb3-9d9c-8d1484ffa7c1" providerId="ADAL" clId="{DF8FB14C-655D-4BA6-ACF6-D90558E95229}" dt="2024-06-05T07:56:16.977" v="206"/>
          <ac:spMkLst>
            <pc:docMk/>
            <pc:sldMk cId="2803239078" sldId="935"/>
            <ac:spMk id="41" creationId="{627BD7FD-87D7-5EFA-E978-6B2B92D650DB}"/>
          </ac:spMkLst>
        </pc:spChg>
        <pc:grpChg chg="del">
          <ac:chgData name="Sindija Kirsteine (LV)" userId="5f25501a-2215-4bb3-9d9c-8d1484ffa7c1" providerId="ADAL" clId="{DF8FB14C-655D-4BA6-ACF6-D90558E95229}" dt="2024-06-05T07:56:16.706" v="205" actId="478"/>
          <ac:grpSpMkLst>
            <pc:docMk/>
            <pc:sldMk cId="2803239078" sldId="935"/>
            <ac:grpSpMk id="19" creationId="{43AAED9D-0E77-8125-D204-8BFB0EC176D1}"/>
          </ac:grpSpMkLst>
        </pc:grpChg>
        <pc:grpChg chg="add mod">
          <ac:chgData name="Sindija Kirsteine (LV)" userId="5f25501a-2215-4bb3-9d9c-8d1484ffa7c1" providerId="ADAL" clId="{DF8FB14C-655D-4BA6-ACF6-D90558E95229}" dt="2024-06-05T07:56:16.977" v="206"/>
          <ac:grpSpMkLst>
            <pc:docMk/>
            <pc:sldMk cId="2803239078" sldId="935"/>
            <ac:grpSpMk id="30" creationId="{E04BE93A-A62B-318B-CB18-2704A57A9BED}"/>
          </ac:grpSpMkLst>
        </pc:grpChg>
      </pc:sldChg>
      <pc:sldChg chg="addSp delSp modSp mod">
        <pc:chgData name="Sindija Kirsteine (LV)" userId="5f25501a-2215-4bb3-9d9c-8d1484ffa7c1" providerId="ADAL" clId="{DF8FB14C-655D-4BA6-ACF6-D90558E95229}" dt="2024-06-05T08:00:14.167" v="377"/>
        <pc:sldMkLst>
          <pc:docMk/>
          <pc:sldMk cId="1939332489" sldId="936"/>
        </pc:sldMkLst>
        <pc:spChg chg="mod">
          <ac:chgData name="Sindija Kirsteine (LV)" userId="5f25501a-2215-4bb3-9d9c-8d1484ffa7c1" providerId="ADAL" clId="{DF8FB14C-655D-4BA6-ACF6-D90558E95229}" dt="2024-06-05T08:00:14.167" v="377"/>
          <ac:spMkLst>
            <pc:docMk/>
            <pc:sldMk cId="1939332489" sldId="936"/>
            <ac:spMk id="22" creationId="{DA3782D5-EFBB-96B7-5592-6EB524123095}"/>
          </ac:spMkLst>
        </pc:spChg>
        <pc:spChg chg="mod">
          <ac:chgData name="Sindija Kirsteine (LV)" userId="5f25501a-2215-4bb3-9d9c-8d1484ffa7c1" providerId="ADAL" clId="{DF8FB14C-655D-4BA6-ACF6-D90558E95229}" dt="2024-06-05T07:56:24.690" v="212"/>
          <ac:spMkLst>
            <pc:docMk/>
            <pc:sldMk cId="1939332489" sldId="936"/>
            <ac:spMk id="33" creationId="{7BBEC147-4DF4-33C4-F9C1-E1E417A030A4}"/>
          </ac:spMkLst>
        </pc:spChg>
        <pc:spChg chg="mod">
          <ac:chgData name="Sindija Kirsteine (LV)" userId="5f25501a-2215-4bb3-9d9c-8d1484ffa7c1" providerId="ADAL" clId="{DF8FB14C-655D-4BA6-ACF6-D90558E95229}" dt="2024-06-05T07:56:24.690" v="212"/>
          <ac:spMkLst>
            <pc:docMk/>
            <pc:sldMk cId="1939332489" sldId="936"/>
            <ac:spMk id="34" creationId="{C78E635E-4CE3-9395-B885-E5E96A46A453}"/>
          </ac:spMkLst>
        </pc:spChg>
        <pc:spChg chg="mod">
          <ac:chgData name="Sindija Kirsteine (LV)" userId="5f25501a-2215-4bb3-9d9c-8d1484ffa7c1" providerId="ADAL" clId="{DF8FB14C-655D-4BA6-ACF6-D90558E95229}" dt="2024-06-05T07:56:24.690" v="212"/>
          <ac:spMkLst>
            <pc:docMk/>
            <pc:sldMk cId="1939332489" sldId="936"/>
            <ac:spMk id="35" creationId="{968B6462-0D67-ADF1-C732-BD99D128107A}"/>
          </ac:spMkLst>
        </pc:spChg>
        <pc:spChg chg="mod">
          <ac:chgData name="Sindija Kirsteine (LV)" userId="5f25501a-2215-4bb3-9d9c-8d1484ffa7c1" providerId="ADAL" clId="{DF8FB14C-655D-4BA6-ACF6-D90558E95229}" dt="2024-06-05T07:56:24.690" v="212"/>
          <ac:spMkLst>
            <pc:docMk/>
            <pc:sldMk cId="1939332489" sldId="936"/>
            <ac:spMk id="36" creationId="{AFA961AC-15B7-59DD-7CD4-142871A3F869}"/>
          </ac:spMkLst>
        </pc:spChg>
        <pc:spChg chg="mod">
          <ac:chgData name="Sindija Kirsteine (LV)" userId="5f25501a-2215-4bb3-9d9c-8d1484ffa7c1" providerId="ADAL" clId="{DF8FB14C-655D-4BA6-ACF6-D90558E95229}" dt="2024-06-05T07:56:24.690" v="212"/>
          <ac:spMkLst>
            <pc:docMk/>
            <pc:sldMk cId="1939332489" sldId="936"/>
            <ac:spMk id="37" creationId="{AE18859D-8D20-C532-A736-54CF56392030}"/>
          </ac:spMkLst>
        </pc:spChg>
        <pc:spChg chg="mod">
          <ac:chgData name="Sindija Kirsteine (LV)" userId="5f25501a-2215-4bb3-9d9c-8d1484ffa7c1" providerId="ADAL" clId="{DF8FB14C-655D-4BA6-ACF6-D90558E95229}" dt="2024-06-05T07:56:24.690" v="212"/>
          <ac:spMkLst>
            <pc:docMk/>
            <pc:sldMk cId="1939332489" sldId="936"/>
            <ac:spMk id="38" creationId="{3E53F455-7571-FEE3-E491-7339CC00AF4A}"/>
          </ac:spMkLst>
        </pc:spChg>
        <pc:grpChg chg="del">
          <ac:chgData name="Sindija Kirsteine (LV)" userId="5f25501a-2215-4bb3-9d9c-8d1484ffa7c1" providerId="ADAL" clId="{DF8FB14C-655D-4BA6-ACF6-D90558E95229}" dt="2024-06-05T07:56:24.500" v="211" actId="478"/>
          <ac:grpSpMkLst>
            <pc:docMk/>
            <pc:sldMk cId="1939332489" sldId="936"/>
            <ac:grpSpMk id="23" creationId="{1B02D641-624D-2306-FFFE-629A1EC17C8B}"/>
          </ac:grpSpMkLst>
        </pc:grpChg>
        <pc:grpChg chg="add mod">
          <ac:chgData name="Sindija Kirsteine (LV)" userId="5f25501a-2215-4bb3-9d9c-8d1484ffa7c1" providerId="ADAL" clId="{DF8FB14C-655D-4BA6-ACF6-D90558E95229}" dt="2024-06-05T07:56:24.690" v="212"/>
          <ac:grpSpMkLst>
            <pc:docMk/>
            <pc:sldMk cId="1939332489" sldId="936"/>
            <ac:grpSpMk id="32" creationId="{5CEEE1A4-B3FB-19B1-C038-46B9F27EEE2A}"/>
          </ac:grpSpMkLst>
        </pc:grpChg>
      </pc:sldChg>
      <pc:sldChg chg="addSp delSp modSp mod">
        <pc:chgData name="Sindija Kirsteine (LV)" userId="5f25501a-2215-4bb3-9d9c-8d1484ffa7c1" providerId="ADAL" clId="{DF8FB14C-655D-4BA6-ACF6-D90558E95229}" dt="2024-06-05T08:00:11.738" v="375"/>
        <pc:sldMkLst>
          <pc:docMk/>
          <pc:sldMk cId="1263375755" sldId="937"/>
        </pc:sldMkLst>
        <pc:spChg chg="mod">
          <ac:chgData name="Sindija Kirsteine (LV)" userId="5f25501a-2215-4bb3-9d9c-8d1484ffa7c1" providerId="ADAL" clId="{DF8FB14C-655D-4BA6-ACF6-D90558E95229}" dt="2024-06-05T08:00:11.738" v="375"/>
          <ac:spMkLst>
            <pc:docMk/>
            <pc:sldMk cId="1263375755" sldId="937"/>
            <ac:spMk id="2" creationId="{ED2943CD-16EE-91FE-30AA-1E91969505A6}"/>
          </ac:spMkLst>
        </pc:spChg>
        <pc:spChg chg="mod">
          <ac:chgData name="Sindija Kirsteine (LV)" userId="5f25501a-2215-4bb3-9d9c-8d1484ffa7c1" providerId="ADAL" clId="{DF8FB14C-655D-4BA6-ACF6-D90558E95229}" dt="2024-06-05T07:56:19.926" v="209"/>
          <ac:spMkLst>
            <pc:docMk/>
            <pc:sldMk cId="1263375755" sldId="937"/>
            <ac:spMk id="28" creationId="{A582EB2B-3A9D-10BC-C47B-27C4515FE590}"/>
          </ac:spMkLst>
        </pc:spChg>
        <pc:spChg chg="mod">
          <ac:chgData name="Sindija Kirsteine (LV)" userId="5f25501a-2215-4bb3-9d9c-8d1484ffa7c1" providerId="ADAL" clId="{DF8FB14C-655D-4BA6-ACF6-D90558E95229}" dt="2024-06-05T07:56:19.926" v="209"/>
          <ac:spMkLst>
            <pc:docMk/>
            <pc:sldMk cId="1263375755" sldId="937"/>
            <ac:spMk id="29" creationId="{7EE8127F-9B99-BFB3-312E-B358FAC3DAA8}"/>
          </ac:spMkLst>
        </pc:spChg>
        <pc:spChg chg="mod">
          <ac:chgData name="Sindija Kirsteine (LV)" userId="5f25501a-2215-4bb3-9d9c-8d1484ffa7c1" providerId="ADAL" clId="{DF8FB14C-655D-4BA6-ACF6-D90558E95229}" dt="2024-06-05T07:56:19.926" v="209"/>
          <ac:spMkLst>
            <pc:docMk/>
            <pc:sldMk cId="1263375755" sldId="937"/>
            <ac:spMk id="31" creationId="{D8045CAE-425A-DE7A-000A-ED6C47CD5D0E}"/>
          </ac:spMkLst>
        </pc:spChg>
        <pc:spChg chg="mod">
          <ac:chgData name="Sindija Kirsteine (LV)" userId="5f25501a-2215-4bb3-9d9c-8d1484ffa7c1" providerId="ADAL" clId="{DF8FB14C-655D-4BA6-ACF6-D90558E95229}" dt="2024-06-05T07:56:19.926" v="209"/>
          <ac:spMkLst>
            <pc:docMk/>
            <pc:sldMk cId="1263375755" sldId="937"/>
            <ac:spMk id="32" creationId="{D726BE2B-DEF3-01BE-7B5A-7286072FF61C}"/>
          </ac:spMkLst>
        </pc:spChg>
        <pc:spChg chg="mod">
          <ac:chgData name="Sindija Kirsteine (LV)" userId="5f25501a-2215-4bb3-9d9c-8d1484ffa7c1" providerId="ADAL" clId="{DF8FB14C-655D-4BA6-ACF6-D90558E95229}" dt="2024-06-05T07:56:19.926" v="209"/>
          <ac:spMkLst>
            <pc:docMk/>
            <pc:sldMk cId="1263375755" sldId="937"/>
            <ac:spMk id="33" creationId="{278C7383-9023-E105-A0F7-36688B28E577}"/>
          </ac:spMkLst>
        </pc:spChg>
        <pc:spChg chg="mod">
          <ac:chgData name="Sindija Kirsteine (LV)" userId="5f25501a-2215-4bb3-9d9c-8d1484ffa7c1" providerId="ADAL" clId="{DF8FB14C-655D-4BA6-ACF6-D90558E95229}" dt="2024-06-05T07:56:19.926" v="209"/>
          <ac:spMkLst>
            <pc:docMk/>
            <pc:sldMk cId="1263375755" sldId="937"/>
            <ac:spMk id="34" creationId="{5BCED1B1-0937-900F-EF67-BC0723945E82}"/>
          </ac:spMkLst>
        </pc:spChg>
        <pc:grpChg chg="del">
          <ac:chgData name="Sindija Kirsteine (LV)" userId="5f25501a-2215-4bb3-9d9c-8d1484ffa7c1" providerId="ADAL" clId="{DF8FB14C-655D-4BA6-ACF6-D90558E95229}" dt="2024-06-05T07:56:19.752" v="208" actId="478"/>
          <ac:grpSpMkLst>
            <pc:docMk/>
            <pc:sldMk cId="1263375755" sldId="937"/>
            <ac:grpSpMk id="13" creationId="{46B64CA6-3A20-6C92-0131-A301C30EF6AF}"/>
          </ac:grpSpMkLst>
        </pc:grpChg>
        <pc:grpChg chg="add mod">
          <ac:chgData name="Sindija Kirsteine (LV)" userId="5f25501a-2215-4bb3-9d9c-8d1484ffa7c1" providerId="ADAL" clId="{DF8FB14C-655D-4BA6-ACF6-D90558E95229}" dt="2024-06-05T07:56:19.926" v="209"/>
          <ac:grpSpMkLst>
            <pc:docMk/>
            <pc:sldMk cId="1263375755" sldId="937"/>
            <ac:grpSpMk id="23" creationId="{6F4A342F-833F-BCE6-2FA2-C36CFED03E35}"/>
          </ac:grpSpMkLst>
        </pc:grpChg>
      </pc:sldChg>
      <pc:sldChg chg="addSp delSp modSp mod">
        <pc:chgData name="Sindija Kirsteine (LV)" userId="5f25501a-2215-4bb3-9d9c-8d1484ffa7c1" providerId="ADAL" clId="{DF8FB14C-655D-4BA6-ACF6-D90558E95229}" dt="2024-06-05T08:00:17.152" v="379"/>
        <pc:sldMkLst>
          <pc:docMk/>
          <pc:sldMk cId="2976985460" sldId="938"/>
        </pc:sldMkLst>
        <pc:spChg chg="mod">
          <ac:chgData name="Sindija Kirsteine (LV)" userId="5f25501a-2215-4bb3-9d9c-8d1484ffa7c1" providerId="ADAL" clId="{DF8FB14C-655D-4BA6-ACF6-D90558E95229}" dt="2024-06-05T08:00:17.152" v="379"/>
          <ac:spMkLst>
            <pc:docMk/>
            <pc:sldMk cId="2976985460" sldId="938"/>
            <ac:spMk id="2" creationId="{522041E8-8E88-02C5-E03A-E769C521DA8E}"/>
          </ac:spMkLst>
        </pc:spChg>
        <pc:spChg chg="mod">
          <ac:chgData name="Sindija Kirsteine (LV)" userId="5f25501a-2215-4bb3-9d9c-8d1484ffa7c1" providerId="ADAL" clId="{DF8FB14C-655D-4BA6-ACF6-D90558E95229}" dt="2024-06-05T07:56:29.585" v="215"/>
          <ac:spMkLst>
            <pc:docMk/>
            <pc:sldMk cId="2976985460" sldId="938"/>
            <ac:spMk id="28" creationId="{A7B01F1A-0326-65F2-59DB-B4309093BE5A}"/>
          </ac:spMkLst>
        </pc:spChg>
        <pc:spChg chg="mod">
          <ac:chgData name="Sindija Kirsteine (LV)" userId="5f25501a-2215-4bb3-9d9c-8d1484ffa7c1" providerId="ADAL" clId="{DF8FB14C-655D-4BA6-ACF6-D90558E95229}" dt="2024-06-05T07:56:29.585" v="215"/>
          <ac:spMkLst>
            <pc:docMk/>
            <pc:sldMk cId="2976985460" sldId="938"/>
            <ac:spMk id="29" creationId="{296DEB4A-97C4-EE64-2881-C1351345C39F}"/>
          </ac:spMkLst>
        </pc:spChg>
        <pc:spChg chg="mod">
          <ac:chgData name="Sindija Kirsteine (LV)" userId="5f25501a-2215-4bb3-9d9c-8d1484ffa7c1" providerId="ADAL" clId="{DF8FB14C-655D-4BA6-ACF6-D90558E95229}" dt="2024-06-05T07:56:29.585" v="215"/>
          <ac:spMkLst>
            <pc:docMk/>
            <pc:sldMk cId="2976985460" sldId="938"/>
            <ac:spMk id="31" creationId="{68AE335D-1A02-CD5E-014E-5570F70C1042}"/>
          </ac:spMkLst>
        </pc:spChg>
        <pc:spChg chg="mod">
          <ac:chgData name="Sindija Kirsteine (LV)" userId="5f25501a-2215-4bb3-9d9c-8d1484ffa7c1" providerId="ADAL" clId="{DF8FB14C-655D-4BA6-ACF6-D90558E95229}" dt="2024-06-05T07:56:29.585" v="215"/>
          <ac:spMkLst>
            <pc:docMk/>
            <pc:sldMk cId="2976985460" sldId="938"/>
            <ac:spMk id="32" creationId="{54CE0D09-1CA8-F51C-D546-222203127FAB}"/>
          </ac:spMkLst>
        </pc:spChg>
        <pc:spChg chg="mod">
          <ac:chgData name="Sindija Kirsteine (LV)" userId="5f25501a-2215-4bb3-9d9c-8d1484ffa7c1" providerId="ADAL" clId="{DF8FB14C-655D-4BA6-ACF6-D90558E95229}" dt="2024-06-05T07:56:29.585" v="215"/>
          <ac:spMkLst>
            <pc:docMk/>
            <pc:sldMk cId="2976985460" sldId="938"/>
            <ac:spMk id="33" creationId="{353C3FDD-0CBC-9A91-7A7A-CAE44863E4D1}"/>
          </ac:spMkLst>
        </pc:spChg>
        <pc:spChg chg="mod">
          <ac:chgData name="Sindija Kirsteine (LV)" userId="5f25501a-2215-4bb3-9d9c-8d1484ffa7c1" providerId="ADAL" clId="{DF8FB14C-655D-4BA6-ACF6-D90558E95229}" dt="2024-06-05T07:56:29.585" v="215"/>
          <ac:spMkLst>
            <pc:docMk/>
            <pc:sldMk cId="2976985460" sldId="938"/>
            <ac:spMk id="34" creationId="{4C1300F5-CF3F-75DE-D6D0-D95F924D364A}"/>
          </ac:spMkLst>
        </pc:spChg>
        <pc:grpChg chg="del">
          <ac:chgData name="Sindija Kirsteine (LV)" userId="5f25501a-2215-4bb3-9d9c-8d1484ffa7c1" providerId="ADAL" clId="{DF8FB14C-655D-4BA6-ACF6-D90558E95229}" dt="2024-06-05T07:56:29.316" v="214" actId="478"/>
          <ac:grpSpMkLst>
            <pc:docMk/>
            <pc:sldMk cId="2976985460" sldId="938"/>
            <ac:grpSpMk id="13" creationId="{EACCD0CA-A4A4-B42D-94BB-2CF3BBB24F90}"/>
          </ac:grpSpMkLst>
        </pc:grpChg>
        <pc:grpChg chg="add mod">
          <ac:chgData name="Sindija Kirsteine (LV)" userId="5f25501a-2215-4bb3-9d9c-8d1484ffa7c1" providerId="ADAL" clId="{DF8FB14C-655D-4BA6-ACF6-D90558E95229}" dt="2024-06-05T07:56:29.585" v="215"/>
          <ac:grpSpMkLst>
            <pc:docMk/>
            <pc:sldMk cId="2976985460" sldId="938"/>
            <ac:grpSpMk id="23" creationId="{AD3C0535-B947-8E79-1764-D021F94A1A9C}"/>
          </ac:grpSpMkLst>
        </pc:grpChg>
      </pc:sldChg>
      <pc:sldChg chg="addSp delSp modSp mod">
        <pc:chgData name="Sindija Kirsteine (LV)" userId="5f25501a-2215-4bb3-9d9c-8d1484ffa7c1" providerId="ADAL" clId="{DF8FB14C-655D-4BA6-ACF6-D90558E95229}" dt="2024-06-05T08:00:19.392" v="381"/>
        <pc:sldMkLst>
          <pc:docMk/>
          <pc:sldMk cId="558100583" sldId="939"/>
        </pc:sldMkLst>
        <pc:spChg chg="mod">
          <ac:chgData name="Sindija Kirsteine (LV)" userId="5f25501a-2215-4bb3-9d9c-8d1484ffa7c1" providerId="ADAL" clId="{DF8FB14C-655D-4BA6-ACF6-D90558E95229}" dt="2024-06-05T08:00:19.392" v="381"/>
          <ac:spMkLst>
            <pc:docMk/>
            <pc:sldMk cId="558100583" sldId="939"/>
            <ac:spMk id="2" creationId="{1E225718-E008-467A-5BFC-8A08C55E0544}"/>
          </ac:spMkLst>
        </pc:spChg>
        <pc:spChg chg="mod">
          <ac:chgData name="Sindija Kirsteine (LV)" userId="5f25501a-2215-4bb3-9d9c-8d1484ffa7c1" providerId="ADAL" clId="{DF8FB14C-655D-4BA6-ACF6-D90558E95229}" dt="2024-06-05T07:56:34.001" v="218"/>
          <ac:spMkLst>
            <pc:docMk/>
            <pc:sldMk cId="558100583" sldId="939"/>
            <ac:spMk id="32" creationId="{713DA2F0-DF34-3BA0-EEE6-C18313FBF93E}"/>
          </ac:spMkLst>
        </pc:spChg>
        <pc:spChg chg="mod">
          <ac:chgData name="Sindija Kirsteine (LV)" userId="5f25501a-2215-4bb3-9d9c-8d1484ffa7c1" providerId="ADAL" clId="{DF8FB14C-655D-4BA6-ACF6-D90558E95229}" dt="2024-06-05T07:56:34.001" v="218"/>
          <ac:spMkLst>
            <pc:docMk/>
            <pc:sldMk cId="558100583" sldId="939"/>
            <ac:spMk id="40" creationId="{DEA87F17-3718-B70A-92A6-0615B778444A}"/>
          </ac:spMkLst>
        </pc:spChg>
        <pc:spChg chg="mod">
          <ac:chgData name="Sindija Kirsteine (LV)" userId="5f25501a-2215-4bb3-9d9c-8d1484ffa7c1" providerId="ADAL" clId="{DF8FB14C-655D-4BA6-ACF6-D90558E95229}" dt="2024-06-05T07:56:34.001" v="218"/>
          <ac:spMkLst>
            <pc:docMk/>
            <pc:sldMk cId="558100583" sldId="939"/>
            <ac:spMk id="44" creationId="{933EE748-5B97-DEF6-C394-71DFC5B91965}"/>
          </ac:spMkLst>
        </pc:spChg>
        <pc:spChg chg="mod">
          <ac:chgData name="Sindija Kirsteine (LV)" userId="5f25501a-2215-4bb3-9d9c-8d1484ffa7c1" providerId="ADAL" clId="{DF8FB14C-655D-4BA6-ACF6-D90558E95229}" dt="2024-06-05T07:56:34.001" v="218"/>
          <ac:spMkLst>
            <pc:docMk/>
            <pc:sldMk cId="558100583" sldId="939"/>
            <ac:spMk id="45" creationId="{A156B9C3-AB03-215D-B392-08FCED2FAA89}"/>
          </ac:spMkLst>
        </pc:spChg>
        <pc:spChg chg="mod">
          <ac:chgData name="Sindija Kirsteine (LV)" userId="5f25501a-2215-4bb3-9d9c-8d1484ffa7c1" providerId="ADAL" clId="{DF8FB14C-655D-4BA6-ACF6-D90558E95229}" dt="2024-06-05T07:56:34.001" v="218"/>
          <ac:spMkLst>
            <pc:docMk/>
            <pc:sldMk cId="558100583" sldId="939"/>
            <ac:spMk id="51" creationId="{396B2A41-A32B-3767-D397-8F137853D52C}"/>
          </ac:spMkLst>
        </pc:spChg>
        <pc:spChg chg="mod">
          <ac:chgData name="Sindija Kirsteine (LV)" userId="5f25501a-2215-4bb3-9d9c-8d1484ffa7c1" providerId="ADAL" clId="{DF8FB14C-655D-4BA6-ACF6-D90558E95229}" dt="2024-06-05T07:56:34.001" v="218"/>
          <ac:spMkLst>
            <pc:docMk/>
            <pc:sldMk cId="558100583" sldId="939"/>
            <ac:spMk id="53" creationId="{DEE7AE8F-5214-D020-3F9B-7617EAE6D1C7}"/>
          </ac:spMkLst>
        </pc:spChg>
        <pc:grpChg chg="del">
          <ac:chgData name="Sindija Kirsteine (LV)" userId="5f25501a-2215-4bb3-9d9c-8d1484ffa7c1" providerId="ADAL" clId="{DF8FB14C-655D-4BA6-ACF6-D90558E95229}" dt="2024-06-05T07:56:33.680" v="217" actId="478"/>
          <ac:grpSpMkLst>
            <pc:docMk/>
            <pc:sldMk cId="558100583" sldId="939"/>
            <ac:grpSpMk id="21" creationId="{EC58A2CF-A26E-B828-6C32-A58A4D256527}"/>
          </ac:grpSpMkLst>
        </pc:grpChg>
        <pc:grpChg chg="add mod">
          <ac:chgData name="Sindija Kirsteine (LV)" userId="5f25501a-2215-4bb3-9d9c-8d1484ffa7c1" providerId="ADAL" clId="{DF8FB14C-655D-4BA6-ACF6-D90558E95229}" dt="2024-06-05T07:56:34.001" v="218"/>
          <ac:grpSpMkLst>
            <pc:docMk/>
            <pc:sldMk cId="558100583" sldId="939"/>
            <ac:grpSpMk id="30" creationId="{7BBA1A08-09E5-8D6D-9A4D-BA719D524B8A}"/>
          </ac:grpSpMkLst>
        </pc:grpChg>
      </pc:sldChg>
      <pc:sldChg chg="addSp delSp modSp mod">
        <pc:chgData name="Sindija Kirsteine (LV)" userId="5f25501a-2215-4bb3-9d9c-8d1484ffa7c1" providerId="ADAL" clId="{DF8FB14C-655D-4BA6-ACF6-D90558E95229}" dt="2024-06-05T08:00:22.021" v="383"/>
        <pc:sldMkLst>
          <pc:docMk/>
          <pc:sldMk cId="2169785454" sldId="940"/>
        </pc:sldMkLst>
        <pc:spChg chg="mod">
          <ac:chgData name="Sindija Kirsteine (LV)" userId="5f25501a-2215-4bb3-9d9c-8d1484ffa7c1" providerId="ADAL" clId="{DF8FB14C-655D-4BA6-ACF6-D90558E95229}" dt="2024-06-05T08:00:22.021" v="383"/>
          <ac:spMkLst>
            <pc:docMk/>
            <pc:sldMk cId="2169785454" sldId="940"/>
            <ac:spMk id="2" creationId="{26CBEC25-69EE-FABD-D9B3-821EC29127F9}"/>
          </ac:spMkLst>
        </pc:spChg>
        <pc:spChg chg="mod">
          <ac:chgData name="Sindija Kirsteine (LV)" userId="5f25501a-2215-4bb3-9d9c-8d1484ffa7c1" providerId="ADAL" clId="{DF8FB14C-655D-4BA6-ACF6-D90558E95229}" dt="2024-06-05T07:56:37.219" v="221"/>
          <ac:spMkLst>
            <pc:docMk/>
            <pc:sldMk cId="2169785454" sldId="940"/>
            <ac:spMk id="22" creationId="{9BC09C63-04F8-C961-AB24-C7A1746ECCF8}"/>
          </ac:spMkLst>
        </pc:spChg>
        <pc:spChg chg="mod">
          <ac:chgData name="Sindija Kirsteine (LV)" userId="5f25501a-2215-4bb3-9d9c-8d1484ffa7c1" providerId="ADAL" clId="{DF8FB14C-655D-4BA6-ACF6-D90558E95229}" dt="2024-06-05T07:56:37.219" v="221"/>
          <ac:spMkLst>
            <pc:docMk/>
            <pc:sldMk cId="2169785454" sldId="940"/>
            <ac:spMk id="23" creationId="{8CD13DE2-B636-72D7-41F4-2FD6D8DC8B5D}"/>
          </ac:spMkLst>
        </pc:spChg>
        <pc:spChg chg="mod">
          <ac:chgData name="Sindija Kirsteine (LV)" userId="5f25501a-2215-4bb3-9d9c-8d1484ffa7c1" providerId="ADAL" clId="{DF8FB14C-655D-4BA6-ACF6-D90558E95229}" dt="2024-06-05T07:56:37.219" v="221"/>
          <ac:spMkLst>
            <pc:docMk/>
            <pc:sldMk cId="2169785454" sldId="940"/>
            <ac:spMk id="24" creationId="{FA38FC6C-86BB-5EC3-478A-9C8DC916F5B6}"/>
          </ac:spMkLst>
        </pc:spChg>
        <pc:spChg chg="mod">
          <ac:chgData name="Sindija Kirsteine (LV)" userId="5f25501a-2215-4bb3-9d9c-8d1484ffa7c1" providerId="ADAL" clId="{DF8FB14C-655D-4BA6-ACF6-D90558E95229}" dt="2024-06-05T07:56:37.219" v="221"/>
          <ac:spMkLst>
            <pc:docMk/>
            <pc:sldMk cId="2169785454" sldId="940"/>
            <ac:spMk id="29" creationId="{4147C813-DC08-2FA6-4D39-0006A51AB31F}"/>
          </ac:spMkLst>
        </pc:spChg>
        <pc:spChg chg="mod">
          <ac:chgData name="Sindija Kirsteine (LV)" userId="5f25501a-2215-4bb3-9d9c-8d1484ffa7c1" providerId="ADAL" clId="{DF8FB14C-655D-4BA6-ACF6-D90558E95229}" dt="2024-06-05T07:56:37.219" v="221"/>
          <ac:spMkLst>
            <pc:docMk/>
            <pc:sldMk cId="2169785454" sldId="940"/>
            <ac:spMk id="31" creationId="{F32F51E3-94CC-50FB-7AA1-4823CB2F89F8}"/>
          </ac:spMkLst>
        </pc:spChg>
        <pc:spChg chg="mod">
          <ac:chgData name="Sindija Kirsteine (LV)" userId="5f25501a-2215-4bb3-9d9c-8d1484ffa7c1" providerId="ADAL" clId="{DF8FB14C-655D-4BA6-ACF6-D90558E95229}" dt="2024-06-05T07:56:37.219" v="221"/>
          <ac:spMkLst>
            <pc:docMk/>
            <pc:sldMk cId="2169785454" sldId="940"/>
            <ac:spMk id="32" creationId="{78F609E0-569B-B1C3-7EDE-B5EB7AA5694E}"/>
          </ac:spMkLst>
        </pc:spChg>
        <pc:grpChg chg="del">
          <ac:chgData name="Sindija Kirsteine (LV)" userId="5f25501a-2215-4bb3-9d9c-8d1484ffa7c1" providerId="ADAL" clId="{DF8FB14C-655D-4BA6-ACF6-D90558E95229}" dt="2024-06-05T07:56:36.933" v="220" actId="478"/>
          <ac:grpSpMkLst>
            <pc:docMk/>
            <pc:sldMk cId="2169785454" sldId="940"/>
            <ac:grpSpMk id="5" creationId="{D7F287C2-4448-7719-74D8-2072D2FC122D}"/>
          </ac:grpSpMkLst>
        </pc:grpChg>
        <pc:grpChg chg="add mod">
          <ac:chgData name="Sindija Kirsteine (LV)" userId="5f25501a-2215-4bb3-9d9c-8d1484ffa7c1" providerId="ADAL" clId="{DF8FB14C-655D-4BA6-ACF6-D90558E95229}" dt="2024-06-05T07:56:37.219" v="221"/>
          <ac:grpSpMkLst>
            <pc:docMk/>
            <pc:sldMk cId="2169785454" sldId="940"/>
            <ac:grpSpMk id="21" creationId="{D1E048D0-E6F3-9F74-475B-C14176FF331B}"/>
          </ac:grpSpMkLst>
        </pc:grpChg>
      </pc:sldChg>
      <pc:sldChg chg="addSp delSp modSp mod">
        <pc:chgData name="Sindija Kirsteine (LV)" userId="5f25501a-2215-4bb3-9d9c-8d1484ffa7c1" providerId="ADAL" clId="{DF8FB14C-655D-4BA6-ACF6-D90558E95229}" dt="2024-06-05T08:00:24.272" v="385"/>
        <pc:sldMkLst>
          <pc:docMk/>
          <pc:sldMk cId="4229434319" sldId="941"/>
        </pc:sldMkLst>
        <pc:spChg chg="mod">
          <ac:chgData name="Sindija Kirsteine (LV)" userId="5f25501a-2215-4bb3-9d9c-8d1484ffa7c1" providerId="ADAL" clId="{DF8FB14C-655D-4BA6-ACF6-D90558E95229}" dt="2024-06-05T08:00:24.272" v="385"/>
          <ac:spMkLst>
            <pc:docMk/>
            <pc:sldMk cId="4229434319" sldId="941"/>
            <ac:spMk id="5" creationId="{3EE9A8D7-974A-0CF9-3140-9CBC7B279E05}"/>
          </ac:spMkLst>
        </pc:spChg>
        <pc:spChg chg="mod">
          <ac:chgData name="Sindija Kirsteine (LV)" userId="5f25501a-2215-4bb3-9d9c-8d1484ffa7c1" providerId="ADAL" clId="{DF8FB14C-655D-4BA6-ACF6-D90558E95229}" dt="2024-06-05T07:56:40.624" v="224"/>
          <ac:spMkLst>
            <pc:docMk/>
            <pc:sldMk cId="4229434319" sldId="941"/>
            <ac:spMk id="32" creationId="{505D855B-1B31-586B-31CB-3EB835AF04E3}"/>
          </ac:spMkLst>
        </pc:spChg>
        <pc:spChg chg="mod">
          <ac:chgData name="Sindija Kirsteine (LV)" userId="5f25501a-2215-4bb3-9d9c-8d1484ffa7c1" providerId="ADAL" clId="{DF8FB14C-655D-4BA6-ACF6-D90558E95229}" dt="2024-06-05T07:56:40.624" v="224"/>
          <ac:spMkLst>
            <pc:docMk/>
            <pc:sldMk cId="4229434319" sldId="941"/>
            <ac:spMk id="33" creationId="{44F1245A-ADC4-80D9-1597-6BC77517D6FE}"/>
          </ac:spMkLst>
        </pc:spChg>
        <pc:spChg chg="mod">
          <ac:chgData name="Sindija Kirsteine (LV)" userId="5f25501a-2215-4bb3-9d9c-8d1484ffa7c1" providerId="ADAL" clId="{DF8FB14C-655D-4BA6-ACF6-D90558E95229}" dt="2024-06-05T07:56:40.624" v="224"/>
          <ac:spMkLst>
            <pc:docMk/>
            <pc:sldMk cId="4229434319" sldId="941"/>
            <ac:spMk id="34" creationId="{B225B6CA-07C5-CFD0-A8A6-0114BB0461AE}"/>
          </ac:spMkLst>
        </pc:spChg>
        <pc:spChg chg="mod">
          <ac:chgData name="Sindija Kirsteine (LV)" userId="5f25501a-2215-4bb3-9d9c-8d1484ffa7c1" providerId="ADAL" clId="{DF8FB14C-655D-4BA6-ACF6-D90558E95229}" dt="2024-06-05T07:56:40.624" v="224"/>
          <ac:spMkLst>
            <pc:docMk/>
            <pc:sldMk cId="4229434319" sldId="941"/>
            <ac:spMk id="35" creationId="{B13D1DD2-1E41-B1FD-953D-735D0463FE45}"/>
          </ac:spMkLst>
        </pc:spChg>
        <pc:spChg chg="mod">
          <ac:chgData name="Sindija Kirsteine (LV)" userId="5f25501a-2215-4bb3-9d9c-8d1484ffa7c1" providerId="ADAL" clId="{DF8FB14C-655D-4BA6-ACF6-D90558E95229}" dt="2024-06-05T07:56:40.624" v="224"/>
          <ac:spMkLst>
            <pc:docMk/>
            <pc:sldMk cId="4229434319" sldId="941"/>
            <ac:spMk id="43" creationId="{DCFD6FB4-B411-DB1D-EF62-25922747D7BB}"/>
          </ac:spMkLst>
        </pc:spChg>
        <pc:spChg chg="mod">
          <ac:chgData name="Sindija Kirsteine (LV)" userId="5f25501a-2215-4bb3-9d9c-8d1484ffa7c1" providerId="ADAL" clId="{DF8FB14C-655D-4BA6-ACF6-D90558E95229}" dt="2024-06-05T07:56:40.624" v="224"/>
          <ac:spMkLst>
            <pc:docMk/>
            <pc:sldMk cId="4229434319" sldId="941"/>
            <ac:spMk id="44" creationId="{87F395C1-16E0-1A92-C23B-70A8CC8A0BE0}"/>
          </ac:spMkLst>
        </pc:spChg>
        <pc:grpChg chg="del">
          <ac:chgData name="Sindija Kirsteine (LV)" userId="5f25501a-2215-4bb3-9d9c-8d1484ffa7c1" providerId="ADAL" clId="{DF8FB14C-655D-4BA6-ACF6-D90558E95229}" dt="2024-06-05T07:56:40.306" v="223" actId="478"/>
          <ac:grpSpMkLst>
            <pc:docMk/>
            <pc:sldMk cId="4229434319" sldId="941"/>
            <ac:grpSpMk id="20" creationId="{1476811F-6F80-556F-F119-B8BF7156FE00}"/>
          </ac:grpSpMkLst>
        </pc:grpChg>
        <pc:grpChg chg="add mod">
          <ac:chgData name="Sindija Kirsteine (LV)" userId="5f25501a-2215-4bb3-9d9c-8d1484ffa7c1" providerId="ADAL" clId="{DF8FB14C-655D-4BA6-ACF6-D90558E95229}" dt="2024-06-05T07:56:40.624" v="224"/>
          <ac:grpSpMkLst>
            <pc:docMk/>
            <pc:sldMk cId="4229434319" sldId="941"/>
            <ac:grpSpMk id="29" creationId="{50318D11-40E2-C660-3AF1-C6ADEAAD7014}"/>
          </ac:grpSpMkLst>
        </pc:grpChg>
      </pc:sldChg>
      <pc:sldChg chg="addSp delSp modSp mod">
        <pc:chgData name="Sindija Kirsteine (LV)" userId="5f25501a-2215-4bb3-9d9c-8d1484ffa7c1" providerId="ADAL" clId="{DF8FB14C-655D-4BA6-ACF6-D90558E95229}" dt="2024-06-05T08:00:27.856" v="387"/>
        <pc:sldMkLst>
          <pc:docMk/>
          <pc:sldMk cId="3615584869" sldId="942"/>
        </pc:sldMkLst>
        <pc:spChg chg="mod">
          <ac:chgData name="Sindija Kirsteine (LV)" userId="5f25501a-2215-4bb3-9d9c-8d1484ffa7c1" providerId="ADAL" clId="{DF8FB14C-655D-4BA6-ACF6-D90558E95229}" dt="2024-06-05T08:00:27.856" v="387"/>
          <ac:spMkLst>
            <pc:docMk/>
            <pc:sldMk cId="3615584869" sldId="942"/>
            <ac:spMk id="2" creationId="{8EE1DE98-DB4B-314F-4BB5-97B8B97A8B14}"/>
          </ac:spMkLst>
        </pc:spChg>
        <pc:spChg chg="mod">
          <ac:chgData name="Sindija Kirsteine (LV)" userId="5f25501a-2215-4bb3-9d9c-8d1484ffa7c1" providerId="ADAL" clId="{DF8FB14C-655D-4BA6-ACF6-D90558E95229}" dt="2024-06-05T07:56:43.402" v="227"/>
          <ac:spMkLst>
            <pc:docMk/>
            <pc:sldMk cId="3615584869" sldId="942"/>
            <ac:spMk id="35" creationId="{B0128A2A-174D-9C28-C12C-A03690B7EA70}"/>
          </ac:spMkLst>
        </pc:spChg>
        <pc:spChg chg="mod">
          <ac:chgData name="Sindija Kirsteine (LV)" userId="5f25501a-2215-4bb3-9d9c-8d1484ffa7c1" providerId="ADAL" clId="{DF8FB14C-655D-4BA6-ACF6-D90558E95229}" dt="2024-06-05T07:56:43.402" v="227"/>
          <ac:spMkLst>
            <pc:docMk/>
            <pc:sldMk cId="3615584869" sldId="942"/>
            <ac:spMk id="37" creationId="{21315DA5-F168-0876-6AA7-51F441A8A084}"/>
          </ac:spMkLst>
        </pc:spChg>
        <pc:spChg chg="mod">
          <ac:chgData name="Sindija Kirsteine (LV)" userId="5f25501a-2215-4bb3-9d9c-8d1484ffa7c1" providerId="ADAL" clId="{DF8FB14C-655D-4BA6-ACF6-D90558E95229}" dt="2024-06-05T07:56:43.402" v="227"/>
          <ac:spMkLst>
            <pc:docMk/>
            <pc:sldMk cId="3615584869" sldId="942"/>
            <ac:spMk id="39" creationId="{38A16CC7-923A-03F6-6146-6BAAA3497B10}"/>
          </ac:spMkLst>
        </pc:spChg>
        <pc:spChg chg="mod">
          <ac:chgData name="Sindija Kirsteine (LV)" userId="5f25501a-2215-4bb3-9d9c-8d1484ffa7c1" providerId="ADAL" clId="{DF8FB14C-655D-4BA6-ACF6-D90558E95229}" dt="2024-06-05T07:56:43.402" v="227"/>
          <ac:spMkLst>
            <pc:docMk/>
            <pc:sldMk cId="3615584869" sldId="942"/>
            <ac:spMk id="40" creationId="{1072B6B1-853F-7106-48A7-77C35D077B1F}"/>
          </ac:spMkLst>
        </pc:spChg>
        <pc:spChg chg="mod">
          <ac:chgData name="Sindija Kirsteine (LV)" userId="5f25501a-2215-4bb3-9d9c-8d1484ffa7c1" providerId="ADAL" clId="{DF8FB14C-655D-4BA6-ACF6-D90558E95229}" dt="2024-06-05T07:56:43.402" v="227"/>
          <ac:spMkLst>
            <pc:docMk/>
            <pc:sldMk cId="3615584869" sldId="942"/>
            <ac:spMk id="41" creationId="{586D5336-A2A8-A8DC-76FE-F912B04A69CD}"/>
          </ac:spMkLst>
        </pc:spChg>
        <pc:spChg chg="mod">
          <ac:chgData name="Sindija Kirsteine (LV)" userId="5f25501a-2215-4bb3-9d9c-8d1484ffa7c1" providerId="ADAL" clId="{DF8FB14C-655D-4BA6-ACF6-D90558E95229}" dt="2024-06-05T07:56:43.402" v="227"/>
          <ac:spMkLst>
            <pc:docMk/>
            <pc:sldMk cId="3615584869" sldId="942"/>
            <ac:spMk id="42" creationId="{AC0ABADD-DE86-759E-B676-D308EE3BEFAF}"/>
          </ac:spMkLst>
        </pc:spChg>
        <pc:grpChg chg="del">
          <ac:chgData name="Sindija Kirsteine (LV)" userId="5f25501a-2215-4bb3-9d9c-8d1484ffa7c1" providerId="ADAL" clId="{DF8FB14C-655D-4BA6-ACF6-D90558E95229}" dt="2024-06-05T07:56:43.179" v="226" actId="478"/>
          <ac:grpSpMkLst>
            <pc:docMk/>
            <pc:sldMk cId="3615584869" sldId="942"/>
            <ac:grpSpMk id="5" creationId="{74E10E71-FC9E-C3E7-772E-8D76294CF3F6}"/>
          </ac:grpSpMkLst>
        </pc:grpChg>
        <pc:grpChg chg="add mod">
          <ac:chgData name="Sindija Kirsteine (LV)" userId="5f25501a-2215-4bb3-9d9c-8d1484ffa7c1" providerId="ADAL" clId="{DF8FB14C-655D-4BA6-ACF6-D90558E95229}" dt="2024-06-05T07:56:43.402" v="227"/>
          <ac:grpSpMkLst>
            <pc:docMk/>
            <pc:sldMk cId="3615584869" sldId="942"/>
            <ac:grpSpMk id="25" creationId="{0FA2201A-B784-505E-1592-10257CFF97A7}"/>
          </ac:grpSpMkLst>
        </pc:grpChg>
      </pc:sldChg>
      <pc:sldChg chg="addSp delSp modSp mod">
        <pc:chgData name="Sindija Kirsteine (LV)" userId="5f25501a-2215-4bb3-9d9c-8d1484ffa7c1" providerId="ADAL" clId="{DF8FB14C-655D-4BA6-ACF6-D90558E95229}" dt="2024-06-05T08:00:42.153" v="397"/>
        <pc:sldMkLst>
          <pc:docMk/>
          <pc:sldMk cId="2603595337" sldId="945"/>
        </pc:sldMkLst>
        <pc:spChg chg="mod">
          <ac:chgData name="Sindija Kirsteine (LV)" userId="5f25501a-2215-4bb3-9d9c-8d1484ffa7c1" providerId="ADAL" clId="{DF8FB14C-655D-4BA6-ACF6-D90558E95229}" dt="2024-06-05T08:00:42.153" v="397"/>
          <ac:spMkLst>
            <pc:docMk/>
            <pc:sldMk cId="2603595337" sldId="945"/>
            <ac:spMk id="2" creationId="{4C2946A7-6CE6-A78A-F248-0C0A646E970B}"/>
          </ac:spMkLst>
        </pc:spChg>
        <pc:spChg chg="mod">
          <ac:chgData name="Sindija Kirsteine (LV)" userId="5f25501a-2215-4bb3-9d9c-8d1484ffa7c1" providerId="ADAL" clId="{DF8FB14C-655D-4BA6-ACF6-D90558E95229}" dt="2024-06-05T07:57:05.386" v="239"/>
          <ac:spMkLst>
            <pc:docMk/>
            <pc:sldMk cId="2603595337" sldId="945"/>
            <ac:spMk id="24" creationId="{8B0BAACD-49F1-F651-28CE-02B57C5A6436}"/>
          </ac:spMkLst>
        </pc:spChg>
        <pc:spChg chg="mod">
          <ac:chgData name="Sindija Kirsteine (LV)" userId="5f25501a-2215-4bb3-9d9c-8d1484ffa7c1" providerId="ADAL" clId="{DF8FB14C-655D-4BA6-ACF6-D90558E95229}" dt="2024-06-05T07:57:05.386" v="239"/>
          <ac:spMkLst>
            <pc:docMk/>
            <pc:sldMk cId="2603595337" sldId="945"/>
            <ac:spMk id="25" creationId="{8CD5F17D-766C-D19E-7B8C-3DAADB7DDC36}"/>
          </ac:spMkLst>
        </pc:spChg>
        <pc:spChg chg="mod">
          <ac:chgData name="Sindija Kirsteine (LV)" userId="5f25501a-2215-4bb3-9d9c-8d1484ffa7c1" providerId="ADAL" clId="{DF8FB14C-655D-4BA6-ACF6-D90558E95229}" dt="2024-06-05T07:57:05.386" v="239"/>
          <ac:spMkLst>
            <pc:docMk/>
            <pc:sldMk cId="2603595337" sldId="945"/>
            <ac:spMk id="27" creationId="{DCB5CD63-0850-83F0-DA11-942078B43FA9}"/>
          </ac:spMkLst>
        </pc:spChg>
        <pc:spChg chg="mod">
          <ac:chgData name="Sindija Kirsteine (LV)" userId="5f25501a-2215-4bb3-9d9c-8d1484ffa7c1" providerId="ADAL" clId="{DF8FB14C-655D-4BA6-ACF6-D90558E95229}" dt="2024-06-05T07:57:05.386" v="239"/>
          <ac:spMkLst>
            <pc:docMk/>
            <pc:sldMk cId="2603595337" sldId="945"/>
            <ac:spMk id="28" creationId="{E30B6976-7B3D-9E48-2A5A-614ED746F191}"/>
          </ac:spMkLst>
        </pc:spChg>
        <pc:spChg chg="mod">
          <ac:chgData name="Sindija Kirsteine (LV)" userId="5f25501a-2215-4bb3-9d9c-8d1484ffa7c1" providerId="ADAL" clId="{DF8FB14C-655D-4BA6-ACF6-D90558E95229}" dt="2024-06-05T07:57:05.386" v="239"/>
          <ac:spMkLst>
            <pc:docMk/>
            <pc:sldMk cId="2603595337" sldId="945"/>
            <ac:spMk id="31" creationId="{B514DBC8-2F9E-7BF7-384B-C32C27F9378C}"/>
          </ac:spMkLst>
        </pc:spChg>
        <pc:spChg chg="mod">
          <ac:chgData name="Sindija Kirsteine (LV)" userId="5f25501a-2215-4bb3-9d9c-8d1484ffa7c1" providerId="ADAL" clId="{DF8FB14C-655D-4BA6-ACF6-D90558E95229}" dt="2024-06-05T07:57:05.386" v="239"/>
          <ac:spMkLst>
            <pc:docMk/>
            <pc:sldMk cId="2603595337" sldId="945"/>
            <ac:spMk id="32" creationId="{1EDDF72C-3014-9776-9828-BC94198CCA8F}"/>
          </ac:spMkLst>
        </pc:spChg>
        <pc:grpChg chg="del">
          <ac:chgData name="Sindija Kirsteine (LV)" userId="5f25501a-2215-4bb3-9d9c-8d1484ffa7c1" providerId="ADAL" clId="{DF8FB14C-655D-4BA6-ACF6-D90558E95229}" dt="2024-06-05T07:57:05.165" v="238" actId="478"/>
          <ac:grpSpMkLst>
            <pc:docMk/>
            <pc:sldMk cId="2603595337" sldId="945"/>
            <ac:grpSpMk id="10" creationId="{6B5D52A4-21DD-4358-FD66-F303B98D1CF7}"/>
          </ac:grpSpMkLst>
        </pc:grpChg>
        <pc:grpChg chg="add mod">
          <ac:chgData name="Sindija Kirsteine (LV)" userId="5f25501a-2215-4bb3-9d9c-8d1484ffa7c1" providerId="ADAL" clId="{DF8FB14C-655D-4BA6-ACF6-D90558E95229}" dt="2024-06-05T07:57:05.386" v="239"/>
          <ac:grpSpMkLst>
            <pc:docMk/>
            <pc:sldMk cId="2603595337" sldId="945"/>
            <ac:grpSpMk id="22" creationId="{B554D50F-33AA-D6DA-25FA-3A9EEB9D3339}"/>
          </ac:grpSpMkLst>
        </pc:grpChg>
      </pc:sldChg>
      <pc:sldChg chg="addSp delSp modSp mod">
        <pc:chgData name="Sindija Kirsteine (LV)" userId="5f25501a-2215-4bb3-9d9c-8d1484ffa7c1" providerId="ADAL" clId="{DF8FB14C-655D-4BA6-ACF6-D90558E95229}" dt="2024-06-05T08:00:44.682" v="399"/>
        <pc:sldMkLst>
          <pc:docMk/>
          <pc:sldMk cId="3488828484" sldId="946"/>
        </pc:sldMkLst>
        <pc:spChg chg="mod">
          <ac:chgData name="Sindija Kirsteine (LV)" userId="5f25501a-2215-4bb3-9d9c-8d1484ffa7c1" providerId="ADAL" clId="{DF8FB14C-655D-4BA6-ACF6-D90558E95229}" dt="2024-06-05T08:00:44.682" v="399"/>
          <ac:spMkLst>
            <pc:docMk/>
            <pc:sldMk cId="3488828484" sldId="946"/>
            <ac:spMk id="2" creationId="{8119AA81-D51B-6287-E979-F71003D27C65}"/>
          </ac:spMkLst>
        </pc:spChg>
        <pc:spChg chg="mod">
          <ac:chgData name="Sindija Kirsteine (LV)" userId="5f25501a-2215-4bb3-9d9c-8d1484ffa7c1" providerId="ADAL" clId="{DF8FB14C-655D-4BA6-ACF6-D90558E95229}" dt="2024-06-05T07:57:09.303" v="242"/>
          <ac:spMkLst>
            <pc:docMk/>
            <pc:sldMk cId="3488828484" sldId="946"/>
            <ac:spMk id="17" creationId="{B0B9666E-A862-136A-6F06-92B3EC2F697C}"/>
          </ac:spMkLst>
        </pc:spChg>
        <pc:spChg chg="mod">
          <ac:chgData name="Sindija Kirsteine (LV)" userId="5f25501a-2215-4bb3-9d9c-8d1484ffa7c1" providerId="ADAL" clId="{DF8FB14C-655D-4BA6-ACF6-D90558E95229}" dt="2024-06-05T07:57:09.303" v="242"/>
          <ac:spMkLst>
            <pc:docMk/>
            <pc:sldMk cId="3488828484" sldId="946"/>
            <ac:spMk id="18" creationId="{B2FBABB8-87CE-FED5-A6DA-D677534A97BE}"/>
          </ac:spMkLst>
        </pc:spChg>
        <pc:spChg chg="mod">
          <ac:chgData name="Sindija Kirsteine (LV)" userId="5f25501a-2215-4bb3-9d9c-8d1484ffa7c1" providerId="ADAL" clId="{DF8FB14C-655D-4BA6-ACF6-D90558E95229}" dt="2024-06-05T07:57:09.303" v="242"/>
          <ac:spMkLst>
            <pc:docMk/>
            <pc:sldMk cId="3488828484" sldId="946"/>
            <ac:spMk id="19" creationId="{249473E5-18DE-4649-CDB0-4F0D683461DF}"/>
          </ac:spMkLst>
        </pc:spChg>
        <pc:spChg chg="mod">
          <ac:chgData name="Sindija Kirsteine (LV)" userId="5f25501a-2215-4bb3-9d9c-8d1484ffa7c1" providerId="ADAL" clId="{DF8FB14C-655D-4BA6-ACF6-D90558E95229}" dt="2024-06-05T07:57:09.303" v="242"/>
          <ac:spMkLst>
            <pc:docMk/>
            <pc:sldMk cId="3488828484" sldId="946"/>
            <ac:spMk id="20" creationId="{977527A2-C8AC-E2CA-C1B4-18FF4D066B6B}"/>
          </ac:spMkLst>
        </pc:spChg>
        <pc:spChg chg="mod">
          <ac:chgData name="Sindija Kirsteine (LV)" userId="5f25501a-2215-4bb3-9d9c-8d1484ffa7c1" providerId="ADAL" clId="{DF8FB14C-655D-4BA6-ACF6-D90558E95229}" dt="2024-06-05T07:57:09.303" v="242"/>
          <ac:spMkLst>
            <pc:docMk/>
            <pc:sldMk cId="3488828484" sldId="946"/>
            <ac:spMk id="24" creationId="{183CCE56-9286-B8DD-98FB-591F2AAB54DE}"/>
          </ac:spMkLst>
        </pc:spChg>
        <pc:spChg chg="mod">
          <ac:chgData name="Sindija Kirsteine (LV)" userId="5f25501a-2215-4bb3-9d9c-8d1484ffa7c1" providerId="ADAL" clId="{DF8FB14C-655D-4BA6-ACF6-D90558E95229}" dt="2024-06-05T07:57:09.303" v="242"/>
          <ac:spMkLst>
            <pc:docMk/>
            <pc:sldMk cId="3488828484" sldId="946"/>
            <ac:spMk id="28" creationId="{BCB3CF5C-A1F1-D544-E9AB-3F9C8C325555}"/>
          </ac:spMkLst>
        </pc:spChg>
        <pc:grpChg chg="del">
          <ac:chgData name="Sindija Kirsteine (LV)" userId="5f25501a-2215-4bb3-9d9c-8d1484ffa7c1" providerId="ADAL" clId="{DF8FB14C-655D-4BA6-ACF6-D90558E95229}" dt="2024-06-05T07:57:09.080" v="241" actId="478"/>
          <ac:grpSpMkLst>
            <pc:docMk/>
            <pc:sldMk cId="3488828484" sldId="946"/>
            <ac:grpSpMk id="6" creationId="{62E297C8-1F34-0629-6AFB-E8CB4F61BFA0}"/>
          </ac:grpSpMkLst>
        </pc:grpChg>
        <pc:grpChg chg="add mod">
          <ac:chgData name="Sindija Kirsteine (LV)" userId="5f25501a-2215-4bb3-9d9c-8d1484ffa7c1" providerId="ADAL" clId="{DF8FB14C-655D-4BA6-ACF6-D90558E95229}" dt="2024-06-05T07:57:09.303" v="242"/>
          <ac:grpSpMkLst>
            <pc:docMk/>
            <pc:sldMk cId="3488828484" sldId="946"/>
            <ac:grpSpMk id="16" creationId="{4C84B26D-9DC5-7E20-FAE6-955793FCDBDE}"/>
          </ac:grpSpMkLst>
        </pc:grpChg>
      </pc:sldChg>
      <pc:sldChg chg="addSp delSp modSp mod">
        <pc:chgData name="Sindija Kirsteine (LV)" userId="5f25501a-2215-4bb3-9d9c-8d1484ffa7c1" providerId="ADAL" clId="{DF8FB14C-655D-4BA6-ACF6-D90558E95229}" dt="2024-06-05T08:00:48.602" v="401"/>
        <pc:sldMkLst>
          <pc:docMk/>
          <pc:sldMk cId="201777098" sldId="950"/>
        </pc:sldMkLst>
        <pc:spChg chg="mod">
          <ac:chgData name="Sindija Kirsteine (LV)" userId="5f25501a-2215-4bb3-9d9c-8d1484ffa7c1" providerId="ADAL" clId="{DF8FB14C-655D-4BA6-ACF6-D90558E95229}" dt="2024-06-05T08:00:48.602" v="401"/>
          <ac:spMkLst>
            <pc:docMk/>
            <pc:sldMk cId="201777098" sldId="950"/>
            <ac:spMk id="5" creationId="{CE8DF088-308E-1DA3-B78E-2A403A65AD68}"/>
          </ac:spMkLst>
        </pc:spChg>
        <pc:spChg chg="del">
          <ac:chgData name="Sindija Kirsteine (LV)" userId="5f25501a-2215-4bb3-9d9c-8d1484ffa7c1" providerId="ADAL" clId="{DF8FB14C-655D-4BA6-ACF6-D90558E95229}" dt="2024-06-05T07:57:14.320" v="244" actId="478"/>
          <ac:spMkLst>
            <pc:docMk/>
            <pc:sldMk cId="201777098" sldId="950"/>
            <ac:spMk id="19" creationId="{B05C9408-E38C-6863-5B54-A480778741CA}"/>
          </ac:spMkLst>
        </pc:spChg>
        <pc:spChg chg="mod">
          <ac:chgData name="Sindija Kirsteine (LV)" userId="5f25501a-2215-4bb3-9d9c-8d1484ffa7c1" providerId="ADAL" clId="{DF8FB14C-655D-4BA6-ACF6-D90558E95229}" dt="2024-06-05T07:57:14.573" v="245"/>
          <ac:spMkLst>
            <pc:docMk/>
            <pc:sldMk cId="201777098" sldId="950"/>
            <ac:spMk id="28" creationId="{920ABAB4-3396-DBE7-C511-0EE5EE6730EF}"/>
          </ac:spMkLst>
        </pc:spChg>
        <pc:spChg chg="mod">
          <ac:chgData name="Sindija Kirsteine (LV)" userId="5f25501a-2215-4bb3-9d9c-8d1484ffa7c1" providerId="ADAL" clId="{DF8FB14C-655D-4BA6-ACF6-D90558E95229}" dt="2024-06-05T07:57:14.573" v="245"/>
          <ac:spMkLst>
            <pc:docMk/>
            <pc:sldMk cId="201777098" sldId="950"/>
            <ac:spMk id="31" creationId="{56B9B0AC-243C-113C-F8DD-765F80A90393}"/>
          </ac:spMkLst>
        </pc:spChg>
        <pc:spChg chg="mod">
          <ac:chgData name="Sindija Kirsteine (LV)" userId="5f25501a-2215-4bb3-9d9c-8d1484ffa7c1" providerId="ADAL" clId="{DF8FB14C-655D-4BA6-ACF6-D90558E95229}" dt="2024-06-05T07:57:14.573" v="245"/>
          <ac:spMkLst>
            <pc:docMk/>
            <pc:sldMk cId="201777098" sldId="950"/>
            <ac:spMk id="32" creationId="{DF0D1EF0-E7F6-204F-2182-DD987BA6A215}"/>
          </ac:spMkLst>
        </pc:spChg>
        <pc:spChg chg="mod">
          <ac:chgData name="Sindija Kirsteine (LV)" userId="5f25501a-2215-4bb3-9d9c-8d1484ffa7c1" providerId="ADAL" clId="{DF8FB14C-655D-4BA6-ACF6-D90558E95229}" dt="2024-06-05T07:57:14.573" v="245"/>
          <ac:spMkLst>
            <pc:docMk/>
            <pc:sldMk cId="201777098" sldId="950"/>
            <ac:spMk id="33" creationId="{0321491F-6F33-7D14-5844-53FC88B478E3}"/>
          </ac:spMkLst>
        </pc:spChg>
        <pc:spChg chg="mod">
          <ac:chgData name="Sindija Kirsteine (LV)" userId="5f25501a-2215-4bb3-9d9c-8d1484ffa7c1" providerId="ADAL" clId="{DF8FB14C-655D-4BA6-ACF6-D90558E95229}" dt="2024-06-05T07:57:14.573" v="245"/>
          <ac:spMkLst>
            <pc:docMk/>
            <pc:sldMk cId="201777098" sldId="950"/>
            <ac:spMk id="34" creationId="{236E86D7-00BA-363D-6556-A0E4EFA886FF}"/>
          </ac:spMkLst>
        </pc:spChg>
        <pc:spChg chg="mod">
          <ac:chgData name="Sindija Kirsteine (LV)" userId="5f25501a-2215-4bb3-9d9c-8d1484ffa7c1" providerId="ADAL" clId="{DF8FB14C-655D-4BA6-ACF6-D90558E95229}" dt="2024-06-05T07:57:14.573" v="245"/>
          <ac:spMkLst>
            <pc:docMk/>
            <pc:sldMk cId="201777098" sldId="950"/>
            <ac:spMk id="35" creationId="{6921CA11-B540-0E5A-9630-90E822C69D73}"/>
          </ac:spMkLst>
        </pc:spChg>
        <pc:spChg chg="mod">
          <ac:chgData name="Sindija Kirsteine (LV)" userId="5f25501a-2215-4bb3-9d9c-8d1484ffa7c1" providerId="ADAL" clId="{DF8FB14C-655D-4BA6-ACF6-D90558E95229}" dt="2024-06-05T07:57:18.005" v="248"/>
          <ac:spMkLst>
            <pc:docMk/>
            <pc:sldMk cId="201777098" sldId="950"/>
            <ac:spMk id="37" creationId="{01101845-0932-F9B5-A810-9F3CF51FBBB5}"/>
          </ac:spMkLst>
        </pc:spChg>
        <pc:spChg chg="mod">
          <ac:chgData name="Sindija Kirsteine (LV)" userId="5f25501a-2215-4bb3-9d9c-8d1484ffa7c1" providerId="ADAL" clId="{DF8FB14C-655D-4BA6-ACF6-D90558E95229}" dt="2024-06-05T07:57:18.005" v="248"/>
          <ac:spMkLst>
            <pc:docMk/>
            <pc:sldMk cId="201777098" sldId="950"/>
            <ac:spMk id="38" creationId="{7732B637-2E23-DDE9-3AC7-189C334F7A2D}"/>
          </ac:spMkLst>
        </pc:spChg>
        <pc:spChg chg="mod">
          <ac:chgData name="Sindija Kirsteine (LV)" userId="5f25501a-2215-4bb3-9d9c-8d1484ffa7c1" providerId="ADAL" clId="{DF8FB14C-655D-4BA6-ACF6-D90558E95229}" dt="2024-06-05T07:57:18.005" v="248"/>
          <ac:spMkLst>
            <pc:docMk/>
            <pc:sldMk cId="201777098" sldId="950"/>
            <ac:spMk id="39" creationId="{D0ADB288-1909-9FCC-AEB0-B3A9676482DC}"/>
          </ac:spMkLst>
        </pc:spChg>
        <pc:spChg chg="mod">
          <ac:chgData name="Sindija Kirsteine (LV)" userId="5f25501a-2215-4bb3-9d9c-8d1484ffa7c1" providerId="ADAL" clId="{DF8FB14C-655D-4BA6-ACF6-D90558E95229}" dt="2024-06-05T07:57:18.005" v="248"/>
          <ac:spMkLst>
            <pc:docMk/>
            <pc:sldMk cId="201777098" sldId="950"/>
            <ac:spMk id="40" creationId="{52D3B301-1C56-057F-70C3-599686D5894B}"/>
          </ac:spMkLst>
        </pc:spChg>
        <pc:spChg chg="mod">
          <ac:chgData name="Sindija Kirsteine (LV)" userId="5f25501a-2215-4bb3-9d9c-8d1484ffa7c1" providerId="ADAL" clId="{DF8FB14C-655D-4BA6-ACF6-D90558E95229}" dt="2024-06-05T07:57:18.005" v="248"/>
          <ac:spMkLst>
            <pc:docMk/>
            <pc:sldMk cId="201777098" sldId="950"/>
            <ac:spMk id="41" creationId="{686AE110-8722-2159-9CBF-E99621E4B1B9}"/>
          </ac:spMkLst>
        </pc:spChg>
        <pc:spChg chg="mod">
          <ac:chgData name="Sindija Kirsteine (LV)" userId="5f25501a-2215-4bb3-9d9c-8d1484ffa7c1" providerId="ADAL" clId="{DF8FB14C-655D-4BA6-ACF6-D90558E95229}" dt="2024-06-05T07:57:18.005" v="248"/>
          <ac:spMkLst>
            <pc:docMk/>
            <pc:sldMk cId="201777098" sldId="950"/>
            <ac:spMk id="43" creationId="{230FFF20-0417-CD8C-6D43-4132710D647E}"/>
          </ac:spMkLst>
        </pc:spChg>
        <pc:grpChg chg="del">
          <ac:chgData name="Sindija Kirsteine (LV)" userId="5f25501a-2215-4bb3-9d9c-8d1484ffa7c1" providerId="ADAL" clId="{DF8FB14C-655D-4BA6-ACF6-D90558E95229}" dt="2024-06-05T07:57:17.225" v="247" actId="478"/>
          <ac:grpSpMkLst>
            <pc:docMk/>
            <pc:sldMk cId="201777098" sldId="950"/>
            <ac:grpSpMk id="15" creationId="{66E7844D-92A5-7B2C-98C9-930334E05087}"/>
          </ac:grpSpMkLst>
        </pc:grpChg>
        <pc:grpChg chg="add del mod">
          <ac:chgData name="Sindija Kirsteine (LV)" userId="5f25501a-2215-4bb3-9d9c-8d1484ffa7c1" providerId="ADAL" clId="{DF8FB14C-655D-4BA6-ACF6-D90558E95229}" dt="2024-06-05T07:57:15.746" v="246"/>
          <ac:grpSpMkLst>
            <pc:docMk/>
            <pc:sldMk cId="201777098" sldId="950"/>
            <ac:grpSpMk id="23" creationId="{8E152A95-66C4-69F7-16C0-B28913E81C27}"/>
          </ac:grpSpMkLst>
        </pc:grpChg>
        <pc:grpChg chg="add mod">
          <ac:chgData name="Sindija Kirsteine (LV)" userId="5f25501a-2215-4bb3-9d9c-8d1484ffa7c1" providerId="ADAL" clId="{DF8FB14C-655D-4BA6-ACF6-D90558E95229}" dt="2024-06-05T07:57:18.005" v="248"/>
          <ac:grpSpMkLst>
            <pc:docMk/>
            <pc:sldMk cId="201777098" sldId="950"/>
            <ac:grpSpMk id="36" creationId="{6EB1C011-7FAB-69F0-A456-CC6D290979BB}"/>
          </ac:grpSpMkLst>
        </pc:grpChg>
      </pc:sldChg>
      <pc:sldChg chg="modSp mod">
        <pc:chgData name="Sindija Kirsteine (LV)" userId="5f25501a-2215-4bb3-9d9c-8d1484ffa7c1" providerId="ADAL" clId="{DF8FB14C-655D-4BA6-ACF6-D90558E95229}" dt="2024-06-05T08:00:51.711" v="403"/>
        <pc:sldMkLst>
          <pc:docMk/>
          <pc:sldMk cId="1713450018" sldId="952"/>
        </pc:sldMkLst>
        <pc:spChg chg="mod">
          <ac:chgData name="Sindija Kirsteine (LV)" userId="5f25501a-2215-4bb3-9d9c-8d1484ffa7c1" providerId="ADAL" clId="{DF8FB14C-655D-4BA6-ACF6-D90558E95229}" dt="2024-06-05T08:00:51.711" v="403"/>
          <ac:spMkLst>
            <pc:docMk/>
            <pc:sldMk cId="1713450018" sldId="952"/>
            <ac:spMk id="2" creationId="{8AECEEF7-147C-69E9-7E85-66789CF569A3}"/>
          </ac:spMkLst>
        </pc:spChg>
        <pc:spChg chg="mod">
          <ac:chgData name="Sindija Kirsteine (LV)" userId="5f25501a-2215-4bb3-9d9c-8d1484ffa7c1" providerId="ADAL" clId="{DF8FB14C-655D-4BA6-ACF6-D90558E95229}" dt="2024-06-05T07:57:25.838" v="252" actId="20577"/>
          <ac:spMkLst>
            <pc:docMk/>
            <pc:sldMk cId="1713450018" sldId="952"/>
            <ac:spMk id="5" creationId="{9D24C125-C618-6790-4D00-61A80DDD6B9D}"/>
          </ac:spMkLst>
        </pc:spChg>
        <pc:spChg chg="mod">
          <ac:chgData name="Sindija Kirsteine (LV)" userId="5f25501a-2215-4bb3-9d9c-8d1484ffa7c1" providerId="ADAL" clId="{DF8FB14C-655D-4BA6-ACF6-D90558E95229}" dt="2024-06-05T07:57:27.715" v="254" actId="20577"/>
          <ac:spMkLst>
            <pc:docMk/>
            <pc:sldMk cId="1713450018" sldId="952"/>
            <ac:spMk id="8" creationId="{7644DD63-5811-99E1-647A-595A8918858E}"/>
          </ac:spMkLst>
        </pc:spChg>
        <pc:spChg chg="mod">
          <ac:chgData name="Sindija Kirsteine (LV)" userId="5f25501a-2215-4bb3-9d9c-8d1484ffa7c1" providerId="ADAL" clId="{DF8FB14C-655D-4BA6-ACF6-D90558E95229}" dt="2024-06-05T07:57:29.655" v="256" actId="20577"/>
          <ac:spMkLst>
            <pc:docMk/>
            <pc:sldMk cId="1713450018" sldId="952"/>
            <ac:spMk id="9" creationId="{DBDE7AC3-D08B-9A3D-1C99-C78111D41ABC}"/>
          </ac:spMkLst>
        </pc:spChg>
        <pc:spChg chg="mod">
          <ac:chgData name="Sindija Kirsteine (LV)" userId="5f25501a-2215-4bb3-9d9c-8d1484ffa7c1" providerId="ADAL" clId="{DF8FB14C-655D-4BA6-ACF6-D90558E95229}" dt="2024-06-05T07:57:31.449" v="258" actId="20577"/>
          <ac:spMkLst>
            <pc:docMk/>
            <pc:sldMk cId="1713450018" sldId="952"/>
            <ac:spMk id="12" creationId="{D5A08CA3-F120-5E05-B055-BFCCCC1962A8}"/>
          </ac:spMkLst>
        </pc:spChg>
        <pc:spChg chg="mod">
          <ac:chgData name="Sindija Kirsteine (LV)" userId="5f25501a-2215-4bb3-9d9c-8d1484ffa7c1" providerId="ADAL" clId="{DF8FB14C-655D-4BA6-ACF6-D90558E95229}" dt="2024-06-05T07:57:33.238" v="260" actId="20577"/>
          <ac:spMkLst>
            <pc:docMk/>
            <pc:sldMk cId="1713450018" sldId="952"/>
            <ac:spMk id="13" creationId="{861DE81F-8637-BBE0-7241-48E15C38E7A7}"/>
          </ac:spMkLst>
        </pc:spChg>
      </pc:sldChg>
      <pc:sldChg chg="modSp mod">
        <pc:chgData name="Sindija Kirsteine (LV)" userId="5f25501a-2215-4bb3-9d9c-8d1484ffa7c1" providerId="ADAL" clId="{DF8FB14C-655D-4BA6-ACF6-D90558E95229}" dt="2024-06-05T07:51:01.397" v="23" actId="20577"/>
        <pc:sldMkLst>
          <pc:docMk/>
          <pc:sldMk cId="2937916867" sldId="953"/>
        </pc:sldMkLst>
        <pc:spChg chg="mod">
          <ac:chgData name="Sindija Kirsteine (LV)" userId="5f25501a-2215-4bb3-9d9c-8d1484ffa7c1" providerId="ADAL" clId="{DF8FB14C-655D-4BA6-ACF6-D90558E95229}" dt="2024-06-05T07:51:01.397" v="23" actId="20577"/>
          <ac:spMkLst>
            <pc:docMk/>
            <pc:sldMk cId="2937916867" sldId="953"/>
            <ac:spMk id="2" creationId="{00000000-0000-0000-0000-000000000000}"/>
          </ac:spMkLst>
        </pc:spChg>
      </pc:sldChg>
      <pc:sldChg chg="modSp mod">
        <pc:chgData name="Sindija Kirsteine (LV)" userId="5f25501a-2215-4bb3-9d9c-8d1484ffa7c1" providerId="ADAL" clId="{DF8FB14C-655D-4BA6-ACF6-D90558E95229}" dt="2024-06-05T07:59:26.099" v="343"/>
        <pc:sldMkLst>
          <pc:docMk/>
          <pc:sldMk cId="3292995886" sldId="954"/>
        </pc:sldMkLst>
        <pc:spChg chg="mod">
          <ac:chgData name="Sindija Kirsteine (LV)" userId="5f25501a-2215-4bb3-9d9c-8d1484ffa7c1" providerId="ADAL" clId="{DF8FB14C-655D-4BA6-ACF6-D90558E95229}" dt="2024-06-05T07:59:26.099" v="343"/>
          <ac:spMkLst>
            <pc:docMk/>
            <pc:sldMk cId="3292995886" sldId="954"/>
            <ac:spMk id="3" creationId="{D62443EF-1EFB-C495-F9E8-EE05C6033CA3}"/>
          </ac:spMkLst>
        </pc:spChg>
        <pc:spChg chg="mod">
          <ac:chgData name="Sindija Kirsteine (LV)" userId="5f25501a-2215-4bb3-9d9c-8d1484ffa7c1" providerId="ADAL" clId="{DF8FB14C-655D-4BA6-ACF6-D90558E95229}" dt="2024-06-05T07:54:48.967" v="152" actId="20577"/>
          <ac:spMkLst>
            <pc:docMk/>
            <pc:sldMk cId="3292995886" sldId="954"/>
            <ac:spMk id="6" creationId="{8BA343BD-9605-1DC6-DA98-2F9D3AC08DE4}"/>
          </ac:spMkLst>
        </pc:spChg>
        <pc:spChg chg="mod">
          <ac:chgData name="Sindija Kirsteine (LV)" userId="5f25501a-2215-4bb3-9d9c-8d1484ffa7c1" providerId="ADAL" clId="{DF8FB14C-655D-4BA6-ACF6-D90558E95229}" dt="2024-06-05T07:54:51.202" v="154" actId="20577"/>
          <ac:spMkLst>
            <pc:docMk/>
            <pc:sldMk cId="3292995886" sldId="954"/>
            <ac:spMk id="7" creationId="{3D8E8461-D203-C9FB-A585-EB1E1E7F2337}"/>
          </ac:spMkLst>
        </pc:spChg>
        <pc:spChg chg="mod">
          <ac:chgData name="Sindija Kirsteine (LV)" userId="5f25501a-2215-4bb3-9d9c-8d1484ffa7c1" providerId="ADAL" clId="{DF8FB14C-655D-4BA6-ACF6-D90558E95229}" dt="2024-06-05T07:54:52.995" v="156" actId="20577"/>
          <ac:spMkLst>
            <pc:docMk/>
            <pc:sldMk cId="3292995886" sldId="954"/>
            <ac:spMk id="8" creationId="{4C91119E-C842-62DC-C140-5B1BA09FD901}"/>
          </ac:spMkLst>
        </pc:spChg>
        <pc:spChg chg="mod">
          <ac:chgData name="Sindija Kirsteine (LV)" userId="5f25501a-2215-4bb3-9d9c-8d1484ffa7c1" providerId="ADAL" clId="{DF8FB14C-655D-4BA6-ACF6-D90558E95229}" dt="2024-06-05T07:54:54.919" v="158" actId="20577"/>
          <ac:spMkLst>
            <pc:docMk/>
            <pc:sldMk cId="3292995886" sldId="954"/>
            <ac:spMk id="10" creationId="{C567299E-DFD6-0AB6-D527-CB736DD459CE}"/>
          </ac:spMkLst>
        </pc:spChg>
        <pc:spChg chg="mod">
          <ac:chgData name="Sindija Kirsteine (LV)" userId="5f25501a-2215-4bb3-9d9c-8d1484ffa7c1" providerId="ADAL" clId="{DF8FB14C-655D-4BA6-ACF6-D90558E95229}" dt="2024-06-05T07:54:57.337" v="160" actId="20577"/>
          <ac:spMkLst>
            <pc:docMk/>
            <pc:sldMk cId="3292995886" sldId="954"/>
            <ac:spMk id="11" creationId="{8058A796-545C-68C0-9520-000E351FC181}"/>
          </ac:spMkLst>
        </pc:spChg>
      </pc:sldChg>
      <pc:sldChg chg="addSp delSp modSp mod">
        <pc:chgData name="Sindija Kirsteine (LV)" userId="5f25501a-2215-4bb3-9d9c-8d1484ffa7c1" providerId="ADAL" clId="{DF8FB14C-655D-4BA6-ACF6-D90558E95229}" dt="2024-06-05T08:00:38.997" v="395"/>
        <pc:sldMkLst>
          <pc:docMk/>
          <pc:sldMk cId="425128272" sldId="960"/>
        </pc:sldMkLst>
        <pc:spChg chg="mod">
          <ac:chgData name="Sindija Kirsteine (LV)" userId="5f25501a-2215-4bb3-9d9c-8d1484ffa7c1" providerId="ADAL" clId="{DF8FB14C-655D-4BA6-ACF6-D90558E95229}" dt="2024-06-05T08:00:38.997" v="395"/>
          <ac:spMkLst>
            <pc:docMk/>
            <pc:sldMk cId="425128272" sldId="960"/>
            <ac:spMk id="2" creationId="{34F1EF69-F6E7-494E-E505-1BE8F9572B6E}"/>
          </ac:spMkLst>
        </pc:spChg>
        <pc:spChg chg="mod">
          <ac:chgData name="Sindija Kirsteine (LV)" userId="5f25501a-2215-4bb3-9d9c-8d1484ffa7c1" providerId="ADAL" clId="{DF8FB14C-655D-4BA6-ACF6-D90558E95229}" dt="2024-06-05T07:56:58.595" v="236"/>
          <ac:spMkLst>
            <pc:docMk/>
            <pc:sldMk cId="425128272" sldId="960"/>
            <ac:spMk id="25" creationId="{8DFD0639-E0A6-1482-F96A-D84909B32286}"/>
          </ac:spMkLst>
        </pc:spChg>
        <pc:spChg chg="mod">
          <ac:chgData name="Sindija Kirsteine (LV)" userId="5f25501a-2215-4bb3-9d9c-8d1484ffa7c1" providerId="ADAL" clId="{DF8FB14C-655D-4BA6-ACF6-D90558E95229}" dt="2024-06-05T07:56:58.595" v="236"/>
          <ac:spMkLst>
            <pc:docMk/>
            <pc:sldMk cId="425128272" sldId="960"/>
            <ac:spMk id="27" creationId="{33550B1D-0A47-232A-607D-ACE632E0B026}"/>
          </ac:spMkLst>
        </pc:spChg>
        <pc:spChg chg="mod">
          <ac:chgData name="Sindija Kirsteine (LV)" userId="5f25501a-2215-4bb3-9d9c-8d1484ffa7c1" providerId="ADAL" clId="{DF8FB14C-655D-4BA6-ACF6-D90558E95229}" dt="2024-06-05T07:56:58.595" v="236"/>
          <ac:spMkLst>
            <pc:docMk/>
            <pc:sldMk cId="425128272" sldId="960"/>
            <ac:spMk id="28" creationId="{6AFEBD7E-52F7-7B47-F68A-184F4A9CCEFE}"/>
          </ac:spMkLst>
        </pc:spChg>
        <pc:spChg chg="mod">
          <ac:chgData name="Sindija Kirsteine (LV)" userId="5f25501a-2215-4bb3-9d9c-8d1484ffa7c1" providerId="ADAL" clId="{DF8FB14C-655D-4BA6-ACF6-D90558E95229}" dt="2024-06-05T07:56:58.595" v="236"/>
          <ac:spMkLst>
            <pc:docMk/>
            <pc:sldMk cId="425128272" sldId="960"/>
            <ac:spMk id="31" creationId="{1F75C7C9-9620-7FD2-67BF-FAF7EFB18924}"/>
          </ac:spMkLst>
        </pc:spChg>
        <pc:spChg chg="mod">
          <ac:chgData name="Sindija Kirsteine (LV)" userId="5f25501a-2215-4bb3-9d9c-8d1484ffa7c1" providerId="ADAL" clId="{DF8FB14C-655D-4BA6-ACF6-D90558E95229}" dt="2024-06-05T07:56:58.595" v="236"/>
          <ac:spMkLst>
            <pc:docMk/>
            <pc:sldMk cId="425128272" sldId="960"/>
            <ac:spMk id="32" creationId="{BE8CBFB7-FBA1-EFA4-D940-4F75E912D6C9}"/>
          </ac:spMkLst>
        </pc:spChg>
        <pc:spChg chg="mod">
          <ac:chgData name="Sindija Kirsteine (LV)" userId="5f25501a-2215-4bb3-9d9c-8d1484ffa7c1" providerId="ADAL" clId="{DF8FB14C-655D-4BA6-ACF6-D90558E95229}" dt="2024-06-05T07:56:58.595" v="236"/>
          <ac:spMkLst>
            <pc:docMk/>
            <pc:sldMk cId="425128272" sldId="960"/>
            <ac:spMk id="33" creationId="{8226868D-98A4-29A2-4326-22B5E3B7DA75}"/>
          </ac:spMkLst>
        </pc:spChg>
        <pc:grpChg chg="del">
          <ac:chgData name="Sindija Kirsteine (LV)" userId="5f25501a-2215-4bb3-9d9c-8d1484ffa7c1" providerId="ADAL" clId="{DF8FB14C-655D-4BA6-ACF6-D90558E95229}" dt="2024-06-05T07:56:58.327" v="235" actId="478"/>
          <ac:grpSpMkLst>
            <pc:docMk/>
            <pc:sldMk cId="425128272" sldId="960"/>
            <ac:grpSpMk id="9" creationId="{17CB9501-EA3A-2E37-3C33-CDC8718984BE}"/>
          </ac:grpSpMkLst>
        </pc:grpChg>
        <pc:grpChg chg="add mod">
          <ac:chgData name="Sindija Kirsteine (LV)" userId="5f25501a-2215-4bb3-9d9c-8d1484ffa7c1" providerId="ADAL" clId="{DF8FB14C-655D-4BA6-ACF6-D90558E95229}" dt="2024-06-05T07:56:58.595" v="236"/>
          <ac:grpSpMkLst>
            <pc:docMk/>
            <pc:sldMk cId="425128272" sldId="960"/>
            <ac:grpSpMk id="23" creationId="{01D0352C-5EFF-8890-A8CD-7A69E06720E7}"/>
          </ac:grpSpMkLst>
        </pc:grpChg>
      </pc:sldChg>
      <pc:sldChg chg="addSp delSp modSp mod">
        <pc:chgData name="Sindija Kirsteine (LV)" userId="5f25501a-2215-4bb3-9d9c-8d1484ffa7c1" providerId="ADAL" clId="{DF8FB14C-655D-4BA6-ACF6-D90558E95229}" dt="2024-06-05T08:00:32.422" v="391"/>
        <pc:sldMkLst>
          <pc:docMk/>
          <pc:sldMk cId="4141191697" sldId="963"/>
        </pc:sldMkLst>
        <pc:spChg chg="mod">
          <ac:chgData name="Sindija Kirsteine (LV)" userId="5f25501a-2215-4bb3-9d9c-8d1484ffa7c1" providerId="ADAL" clId="{DF8FB14C-655D-4BA6-ACF6-D90558E95229}" dt="2024-06-05T08:00:32.422" v="391"/>
          <ac:spMkLst>
            <pc:docMk/>
            <pc:sldMk cId="4141191697" sldId="963"/>
            <ac:spMk id="10" creationId="{8CC33394-EBA6-F8B3-884F-79BAB196D95C}"/>
          </ac:spMkLst>
        </pc:spChg>
        <pc:spChg chg="mod">
          <ac:chgData name="Sindija Kirsteine (LV)" userId="5f25501a-2215-4bb3-9d9c-8d1484ffa7c1" providerId="ADAL" clId="{DF8FB14C-655D-4BA6-ACF6-D90558E95229}" dt="2024-06-05T07:56:48.083" v="230"/>
          <ac:spMkLst>
            <pc:docMk/>
            <pc:sldMk cId="4141191697" sldId="963"/>
            <ac:spMk id="22" creationId="{5FEF93E6-3661-FB18-994D-FD9C77CACF09}"/>
          </ac:spMkLst>
        </pc:spChg>
        <pc:spChg chg="mod">
          <ac:chgData name="Sindija Kirsteine (LV)" userId="5f25501a-2215-4bb3-9d9c-8d1484ffa7c1" providerId="ADAL" clId="{DF8FB14C-655D-4BA6-ACF6-D90558E95229}" dt="2024-06-05T07:56:48.083" v="230"/>
          <ac:spMkLst>
            <pc:docMk/>
            <pc:sldMk cId="4141191697" sldId="963"/>
            <ac:spMk id="23" creationId="{1A471FBB-CBDE-07E6-EF89-4B23704000F7}"/>
          </ac:spMkLst>
        </pc:spChg>
        <pc:spChg chg="mod">
          <ac:chgData name="Sindija Kirsteine (LV)" userId="5f25501a-2215-4bb3-9d9c-8d1484ffa7c1" providerId="ADAL" clId="{DF8FB14C-655D-4BA6-ACF6-D90558E95229}" dt="2024-06-05T07:56:48.083" v="230"/>
          <ac:spMkLst>
            <pc:docMk/>
            <pc:sldMk cId="4141191697" sldId="963"/>
            <ac:spMk id="24" creationId="{AE62BBCE-F25A-B4CE-948C-CD97FD5E04C2}"/>
          </ac:spMkLst>
        </pc:spChg>
        <pc:spChg chg="mod">
          <ac:chgData name="Sindija Kirsteine (LV)" userId="5f25501a-2215-4bb3-9d9c-8d1484ffa7c1" providerId="ADAL" clId="{DF8FB14C-655D-4BA6-ACF6-D90558E95229}" dt="2024-06-05T07:56:48.083" v="230"/>
          <ac:spMkLst>
            <pc:docMk/>
            <pc:sldMk cId="4141191697" sldId="963"/>
            <ac:spMk id="28" creationId="{8A1AE69F-C4ED-2DE5-42D7-A1023CD2FC87}"/>
          </ac:spMkLst>
        </pc:spChg>
        <pc:spChg chg="mod">
          <ac:chgData name="Sindija Kirsteine (LV)" userId="5f25501a-2215-4bb3-9d9c-8d1484ffa7c1" providerId="ADAL" clId="{DF8FB14C-655D-4BA6-ACF6-D90558E95229}" dt="2024-06-05T07:56:48.083" v="230"/>
          <ac:spMkLst>
            <pc:docMk/>
            <pc:sldMk cId="4141191697" sldId="963"/>
            <ac:spMk id="31" creationId="{1B7AE801-7219-7B95-8577-2037F01F5027}"/>
          </ac:spMkLst>
        </pc:spChg>
        <pc:spChg chg="mod">
          <ac:chgData name="Sindija Kirsteine (LV)" userId="5f25501a-2215-4bb3-9d9c-8d1484ffa7c1" providerId="ADAL" clId="{DF8FB14C-655D-4BA6-ACF6-D90558E95229}" dt="2024-06-05T07:56:48.083" v="230"/>
          <ac:spMkLst>
            <pc:docMk/>
            <pc:sldMk cId="4141191697" sldId="963"/>
            <ac:spMk id="32" creationId="{E01AECEE-D27D-BEDE-4874-F64E6121656B}"/>
          </ac:spMkLst>
        </pc:spChg>
        <pc:grpChg chg="del">
          <ac:chgData name="Sindija Kirsteine (LV)" userId="5f25501a-2215-4bb3-9d9c-8d1484ffa7c1" providerId="ADAL" clId="{DF8FB14C-655D-4BA6-ACF6-D90558E95229}" dt="2024-06-05T07:56:47.845" v="229" actId="478"/>
          <ac:grpSpMkLst>
            <pc:docMk/>
            <pc:sldMk cId="4141191697" sldId="963"/>
            <ac:grpSpMk id="11" creationId="{7ED52A36-420B-20FB-FC71-B6C4A5EF3012}"/>
          </ac:grpSpMkLst>
        </pc:grpChg>
        <pc:grpChg chg="add mod">
          <ac:chgData name="Sindija Kirsteine (LV)" userId="5f25501a-2215-4bb3-9d9c-8d1484ffa7c1" providerId="ADAL" clId="{DF8FB14C-655D-4BA6-ACF6-D90558E95229}" dt="2024-06-05T07:56:48.083" v="230"/>
          <ac:grpSpMkLst>
            <pc:docMk/>
            <pc:sldMk cId="4141191697" sldId="963"/>
            <ac:grpSpMk id="19" creationId="{77F40A71-4756-E1A8-F5BB-9D3C68C9E1AA}"/>
          </ac:grpSpMkLst>
        </pc:grpChg>
      </pc:sldChg>
      <pc:sldChg chg="addSp delSp modSp mod">
        <pc:chgData name="Sindija Kirsteine (LV)" userId="5f25501a-2215-4bb3-9d9c-8d1484ffa7c1" providerId="ADAL" clId="{DF8FB14C-655D-4BA6-ACF6-D90558E95229}" dt="2024-06-05T08:00:35.829" v="393"/>
        <pc:sldMkLst>
          <pc:docMk/>
          <pc:sldMk cId="1785961526" sldId="964"/>
        </pc:sldMkLst>
        <pc:spChg chg="mod">
          <ac:chgData name="Sindija Kirsteine (LV)" userId="5f25501a-2215-4bb3-9d9c-8d1484ffa7c1" providerId="ADAL" clId="{DF8FB14C-655D-4BA6-ACF6-D90558E95229}" dt="2024-06-05T08:00:35.829" v="393"/>
          <ac:spMkLst>
            <pc:docMk/>
            <pc:sldMk cId="1785961526" sldId="964"/>
            <ac:spMk id="2" creationId="{704047AB-6DDC-C2CE-C1C1-09F2077282B4}"/>
          </ac:spMkLst>
        </pc:spChg>
        <pc:spChg chg="mod">
          <ac:chgData name="Sindija Kirsteine (LV)" userId="5f25501a-2215-4bb3-9d9c-8d1484ffa7c1" providerId="ADAL" clId="{DF8FB14C-655D-4BA6-ACF6-D90558E95229}" dt="2024-06-05T07:56:53.521" v="233"/>
          <ac:spMkLst>
            <pc:docMk/>
            <pc:sldMk cId="1785961526" sldId="964"/>
            <ac:spMk id="27" creationId="{1FA38FE2-B819-0F10-F4DA-3EB2085691EE}"/>
          </ac:spMkLst>
        </pc:spChg>
        <pc:spChg chg="mod">
          <ac:chgData name="Sindija Kirsteine (LV)" userId="5f25501a-2215-4bb3-9d9c-8d1484ffa7c1" providerId="ADAL" clId="{DF8FB14C-655D-4BA6-ACF6-D90558E95229}" dt="2024-06-05T07:56:53.521" v="233"/>
          <ac:spMkLst>
            <pc:docMk/>
            <pc:sldMk cId="1785961526" sldId="964"/>
            <ac:spMk id="28" creationId="{6D654D86-3797-D9EB-F1A6-B29D4C7C21E4}"/>
          </ac:spMkLst>
        </pc:spChg>
        <pc:spChg chg="mod">
          <ac:chgData name="Sindija Kirsteine (LV)" userId="5f25501a-2215-4bb3-9d9c-8d1484ffa7c1" providerId="ADAL" clId="{DF8FB14C-655D-4BA6-ACF6-D90558E95229}" dt="2024-06-05T07:56:53.521" v="233"/>
          <ac:spMkLst>
            <pc:docMk/>
            <pc:sldMk cId="1785961526" sldId="964"/>
            <ac:spMk id="31" creationId="{7BD73179-FF7D-4D50-3CED-8C4DC387872A}"/>
          </ac:spMkLst>
        </pc:spChg>
        <pc:spChg chg="mod">
          <ac:chgData name="Sindija Kirsteine (LV)" userId="5f25501a-2215-4bb3-9d9c-8d1484ffa7c1" providerId="ADAL" clId="{DF8FB14C-655D-4BA6-ACF6-D90558E95229}" dt="2024-06-05T07:56:53.521" v="233"/>
          <ac:spMkLst>
            <pc:docMk/>
            <pc:sldMk cId="1785961526" sldId="964"/>
            <ac:spMk id="32" creationId="{640111BB-544F-C37F-30C2-95F3A913D117}"/>
          </ac:spMkLst>
        </pc:spChg>
        <pc:spChg chg="mod">
          <ac:chgData name="Sindija Kirsteine (LV)" userId="5f25501a-2215-4bb3-9d9c-8d1484ffa7c1" providerId="ADAL" clId="{DF8FB14C-655D-4BA6-ACF6-D90558E95229}" dt="2024-06-05T07:56:53.521" v="233"/>
          <ac:spMkLst>
            <pc:docMk/>
            <pc:sldMk cId="1785961526" sldId="964"/>
            <ac:spMk id="33" creationId="{10B0B677-8CBE-4308-43DC-3861B79872A8}"/>
          </ac:spMkLst>
        </pc:spChg>
        <pc:spChg chg="mod">
          <ac:chgData name="Sindija Kirsteine (LV)" userId="5f25501a-2215-4bb3-9d9c-8d1484ffa7c1" providerId="ADAL" clId="{DF8FB14C-655D-4BA6-ACF6-D90558E95229}" dt="2024-06-05T07:56:53.521" v="233"/>
          <ac:spMkLst>
            <pc:docMk/>
            <pc:sldMk cId="1785961526" sldId="964"/>
            <ac:spMk id="34" creationId="{92493A1B-2C63-A047-7A22-4E58FB37CD9A}"/>
          </ac:spMkLst>
        </pc:spChg>
        <pc:grpChg chg="del">
          <ac:chgData name="Sindija Kirsteine (LV)" userId="5f25501a-2215-4bb3-9d9c-8d1484ffa7c1" providerId="ADAL" clId="{DF8FB14C-655D-4BA6-ACF6-D90558E95229}" dt="2024-06-05T07:56:53.282" v="232" actId="478"/>
          <ac:grpSpMkLst>
            <pc:docMk/>
            <pc:sldMk cId="1785961526" sldId="964"/>
            <ac:grpSpMk id="6" creationId="{F8DC2B36-F945-99C2-8710-1BD7F3813485}"/>
          </ac:grpSpMkLst>
        </pc:grpChg>
        <pc:grpChg chg="add mod">
          <ac:chgData name="Sindija Kirsteine (LV)" userId="5f25501a-2215-4bb3-9d9c-8d1484ffa7c1" providerId="ADAL" clId="{DF8FB14C-655D-4BA6-ACF6-D90558E95229}" dt="2024-06-05T07:56:53.521" v="233"/>
          <ac:grpSpMkLst>
            <pc:docMk/>
            <pc:sldMk cId="1785961526" sldId="964"/>
            <ac:grpSpMk id="23" creationId="{3F5EF839-D7BE-7BCE-210A-3BADB5405ED6}"/>
          </ac:grpSpMkLst>
        </pc:grpChg>
      </pc:sldChg>
      <pc:sldChg chg="modSp mod">
        <pc:chgData name="Sindija Kirsteine (LV)" userId="5f25501a-2215-4bb3-9d9c-8d1484ffa7c1" providerId="ADAL" clId="{DF8FB14C-655D-4BA6-ACF6-D90558E95229}" dt="2024-06-05T11:54:46.111" v="489" actId="403"/>
        <pc:sldMkLst>
          <pc:docMk/>
          <pc:sldMk cId="4177676083" sldId="2147482025"/>
        </pc:sldMkLst>
        <pc:spChg chg="mod">
          <ac:chgData name="Sindija Kirsteine (LV)" userId="5f25501a-2215-4bb3-9d9c-8d1484ffa7c1" providerId="ADAL" clId="{DF8FB14C-655D-4BA6-ACF6-D90558E95229}" dt="2024-06-05T07:58:46.746" v="321"/>
          <ac:spMkLst>
            <pc:docMk/>
            <pc:sldMk cId="4177676083" sldId="2147482025"/>
            <ac:spMk id="2" creationId="{56F2AB26-56CB-48B7-4C20-5421B6EF2D40}"/>
          </ac:spMkLst>
        </pc:spChg>
        <pc:spChg chg="mod">
          <ac:chgData name="Sindija Kirsteine (LV)" userId="5f25501a-2215-4bb3-9d9c-8d1484ffa7c1" providerId="ADAL" clId="{DF8FB14C-655D-4BA6-ACF6-D90558E95229}" dt="2024-06-05T11:54:42.640" v="488" actId="20577"/>
          <ac:spMkLst>
            <pc:docMk/>
            <pc:sldMk cId="4177676083" sldId="2147482025"/>
            <ac:spMk id="3" creationId="{4EF6DB77-182C-C281-1C2F-C2E2D9AB6583}"/>
          </ac:spMkLst>
        </pc:spChg>
        <pc:spChg chg="mod">
          <ac:chgData name="Sindija Kirsteine (LV)" userId="5f25501a-2215-4bb3-9d9c-8d1484ffa7c1" providerId="ADAL" clId="{DF8FB14C-655D-4BA6-ACF6-D90558E95229}" dt="2024-06-05T11:54:46.111" v="489" actId="403"/>
          <ac:spMkLst>
            <pc:docMk/>
            <pc:sldMk cId="4177676083" sldId="2147482025"/>
            <ac:spMk id="6" creationId="{2CB3F9F5-858C-1D21-4D13-EAEDABE2E74A}"/>
          </ac:spMkLst>
        </pc:spChg>
      </pc:sldChg>
    </pc:docChg>
  </pc:docChgLst>
  <pc:docChgLst>
    <pc:chgData name="Annemarija Apine (LV)" userId="S::annemarija.apine@pwc.com::546f5c59-3b8d-47fd-b739-a8fadc631053" providerId="AD" clId="Web-{F1EA5DD1-37F8-BEA1-83A9-0E0893886880}"/>
    <pc:docChg chg="">
      <pc:chgData name="Annemarija Apine (LV)" userId="S::annemarija.apine@pwc.com::546f5c59-3b8d-47fd-b739-a8fadc631053" providerId="AD" clId="Web-{F1EA5DD1-37F8-BEA1-83A9-0E0893886880}" dt="2024-07-08T06:27:31.603" v="0"/>
      <pc:docMkLst>
        <pc:docMk/>
      </pc:docMkLst>
      <pc:sldChg chg="addCm">
        <pc:chgData name="Annemarija Apine (LV)" userId="S::annemarija.apine@pwc.com::546f5c59-3b8d-47fd-b739-a8fadc631053" providerId="AD" clId="Web-{F1EA5DD1-37F8-BEA1-83A9-0E0893886880}" dt="2024-07-08T06:27:31.603" v="0"/>
        <pc:sldMkLst>
          <pc:docMk/>
          <pc:sldMk cId="817197616" sldId="332"/>
        </pc:sldMkLst>
        <pc:extLst>
          <p:ext xmlns:p="http://schemas.openxmlformats.org/presentationml/2006/main" uri="{D6D511B9-2390-475A-947B-AFAB55BFBCF1}">
            <pc226:cmChg xmlns:pc226="http://schemas.microsoft.com/office/powerpoint/2022/06/main/command" chg="add">
              <pc226:chgData name="Annemarija Apine (LV)" userId="S::annemarija.apine@pwc.com::546f5c59-3b8d-47fd-b739-a8fadc631053" providerId="AD" clId="Web-{F1EA5DD1-37F8-BEA1-83A9-0E0893886880}" dt="2024-07-08T06:27:31.603" v="0"/>
              <pc2:cmMkLst xmlns:pc2="http://schemas.microsoft.com/office/powerpoint/2019/9/main/command">
                <pc:docMk/>
                <pc:sldMk cId="817197616" sldId="332"/>
                <pc2:cmMk id="{25D1CB88-176D-44A6-A374-330B38F568B1}"/>
              </pc2:cmMkLst>
            </pc226:cmChg>
          </p:ext>
        </pc:extLst>
      </pc:sldChg>
    </pc:docChg>
  </pc:docChgLst>
  <pc:docChgLst>
    <pc:chgData name="Annemarija Apine (LV)" userId="S::annemarija.apine@pwc.com::546f5c59-3b8d-47fd-b739-a8fadc631053" providerId="AD" clId="Web-{D7E0C1B3-ADDF-70E6-514A-3F77B3B9520B}"/>
    <pc:docChg chg="modSld">
      <pc:chgData name="Annemarija Apine (LV)" userId="S::annemarija.apine@pwc.com::546f5c59-3b8d-47fd-b739-a8fadc631053" providerId="AD" clId="Web-{D7E0C1B3-ADDF-70E6-514A-3F77B3B9520B}" dt="2024-03-12T07:10:14.094" v="2" actId="20577"/>
      <pc:docMkLst>
        <pc:docMk/>
      </pc:docMkLst>
      <pc:sldChg chg="modSp">
        <pc:chgData name="Annemarija Apine (LV)" userId="S::annemarija.apine@pwc.com::546f5c59-3b8d-47fd-b739-a8fadc631053" providerId="AD" clId="Web-{D7E0C1B3-ADDF-70E6-514A-3F77B3B9520B}" dt="2024-03-12T07:10:14.094" v="2" actId="20577"/>
        <pc:sldMkLst>
          <pc:docMk/>
          <pc:sldMk cId="192098022" sldId="769"/>
        </pc:sldMkLst>
        <pc:spChg chg="mod">
          <ac:chgData name="Annemarija Apine (LV)" userId="S::annemarija.apine@pwc.com::546f5c59-3b8d-47fd-b739-a8fadc631053" providerId="AD" clId="Web-{D7E0C1B3-ADDF-70E6-514A-3F77B3B9520B}" dt="2024-03-12T07:10:14.094" v="2" actId="20577"/>
          <ac:spMkLst>
            <pc:docMk/>
            <pc:sldMk cId="192098022" sldId="769"/>
            <ac:spMk id="6" creationId="{2CB3F9F5-858C-1D21-4D13-EAEDABE2E74A}"/>
          </ac:spMkLst>
        </pc:spChg>
      </pc:sldChg>
    </pc:docChg>
  </pc:docChgLst>
  <pc:docChgLst>
    <pc:chgData name="Sindija Kirsteine (LV)" userId="5f25501a-2215-4bb3-9d9c-8d1484ffa7c1" providerId="ADAL" clId="{E5280059-A80B-4323-8444-3F778EA850A9}"/>
    <pc:docChg chg="custSel replTag">
      <pc:chgData name="Sindija Kirsteine (LV)" userId="5f25501a-2215-4bb3-9d9c-8d1484ffa7c1" providerId="ADAL" clId="{E5280059-A80B-4323-8444-3F778EA850A9}" dt="2024-06-12T12:46:20.214" v="6"/>
      <pc:docMkLst>
        <pc:docMk/>
      </pc:docMkLst>
    </pc:docChg>
  </pc:docChgLst>
  <pc:docChgLst>
    <pc:chgData name="Nataliia Chornii (UA)" userId="4e4b8b3d-5f31-49bb-9f80-8a25c04abfff" providerId="ADAL" clId="{52163427-3E63-4487-BD88-23EA5CCD03BB}"/>
    <pc:docChg chg="undo custSel addSld delSld modSld replTag">
      <pc:chgData name="Nataliia Chornii (UA)" userId="4e4b8b3d-5f31-49bb-9f80-8a25c04abfff" providerId="ADAL" clId="{52163427-3E63-4487-BD88-23EA5CCD03BB}" dt="2024-03-12T12:27:02.261" v="394" actId="207"/>
      <pc:docMkLst>
        <pc:docMk/>
      </pc:docMkLst>
      <pc:sldChg chg="add del">
        <pc:chgData name="Nataliia Chornii (UA)" userId="4e4b8b3d-5f31-49bb-9f80-8a25c04abfff" providerId="ADAL" clId="{52163427-3E63-4487-BD88-23EA5CCD03BB}" dt="2024-03-12T12:20:30.707" v="171" actId="2696"/>
        <pc:sldMkLst>
          <pc:docMk/>
          <pc:sldMk cId="2935481794" sldId="261"/>
        </pc:sldMkLst>
      </pc:sldChg>
      <pc:sldChg chg="addSp delSp modSp mod">
        <pc:chgData name="Nataliia Chornii (UA)" userId="4e4b8b3d-5f31-49bb-9f80-8a25c04abfff" providerId="ADAL" clId="{52163427-3E63-4487-BD88-23EA5CCD03BB}" dt="2024-03-12T12:16:10.352" v="88"/>
        <pc:sldMkLst>
          <pc:docMk/>
          <pc:sldMk cId="817197616" sldId="332"/>
        </pc:sldMkLst>
        <pc:spChg chg="add del mod">
          <ac:chgData name="Nataliia Chornii (UA)" userId="4e4b8b3d-5f31-49bb-9f80-8a25c04abfff" providerId="ADAL" clId="{52163427-3E63-4487-BD88-23EA5CCD03BB}" dt="2024-03-12T12:16:10.352" v="88"/>
          <ac:spMkLst>
            <pc:docMk/>
            <pc:sldMk cId="817197616" sldId="332"/>
            <ac:spMk id="7" creationId="{5AF78304-9449-9391-FCD7-E1C1D087732C}"/>
          </ac:spMkLst>
        </pc:spChg>
        <pc:spChg chg="mod">
          <ac:chgData name="Nataliia Chornii (UA)" userId="4e4b8b3d-5f31-49bb-9f80-8a25c04abfff" providerId="ADAL" clId="{52163427-3E63-4487-BD88-23EA5CCD03BB}" dt="2024-03-12T09:44:25.196" v="2" actId="207"/>
          <ac:spMkLst>
            <pc:docMk/>
            <pc:sldMk cId="817197616" sldId="332"/>
            <ac:spMk id="16" creationId="{12D56AF0-5D91-586B-FC86-6E2EA8AA6489}"/>
          </ac:spMkLst>
        </pc:spChg>
        <pc:spChg chg="mod">
          <ac:chgData name="Nataliia Chornii (UA)" userId="4e4b8b3d-5f31-49bb-9f80-8a25c04abfff" providerId="ADAL" clId="{52163427-3E63-4487-BD88-23EA5CCD03BB}" dt="2024-03-12T09:45:58.928" v="4" actId="1076"/>
          <ac:spMkLst>
            <pc:docMk/>
            <pc:sldMk cId="817197616" sldId="332"/>
            <ac:spMk id="17" creationId="{2AD67365-5F03-E963-4C79-A9BF11E64D4B}"/>
          </ac:spMkLst>
        </pc:spChg>
        <pc:spChg chg="mod">
          <ac:chgData name="Nataliia Chornii (UA)" userId="4e4b8b3d-5f31-49bb-9f80-8a25c04abfff" providerId="ADAL" clId="{52163427-3E63-4487-BD88-23EA5CCD03BB}" dt="2024-03-12T09:46:27.360" v="5" actId="207"/>
          <ac:spMkLst>
            <pc:docMk/>
            <pc:sldMk cId="817197616" sldId="332"/>
            <ac:spMk id="19" creationId="{3BD32581-6C0C-F715-E58C-F0FC848A828C}"/>
          </ac:spMkLst>
        </pc:spChg>
        <pc:spChg chg="mod">
          <ac:chgData name="Nataliia Chornii (UA)" userId="4e4b8b3d-5f31-49bb-9f80-8a25c04abfff" providerId="ADAL" clId="{52163427-3E63-4487-BD88-23EA5CCD03BB}" dt="2024-03-12T09:47:19.241" v="6" actId="207"/>
          <ac:spMkLst>
            <pc:docMk/>
            <pc:sldMk cId="817197616" sldId="332"/>
            <ac:spMk id="21" creationId="{E8EC1277-A063-49F0-81F3-8CB8E7AB2F86}"/>
          </ac:spMkLst>
        </pc:spChg>
        <pc:picChg chg="add del mod">
          <ac:chgData name="Nataliia Chornii (UA)" userId="4e4b8b3d-5f31-49bb-9f80-8a25c04abfff" providerId="ADAL" clId="{52163427-3E63-4487-BD88-23EA5CCD03BB}" dt="2024-03-12T12:16:10.352" v="88"/>
          <ac:picMkLst>
            <pc:docMk/>
            <pc:sldMk cId="817197616" sldId="332"/>
            <ac:picMk id="2" creationId="{FE300EFA-9059-F2FC-F9C1-F22D8ECC29FC}"/>
          </ac:picMkLst>
        </pc:picChg>
        <pc:picChg chg="mod">
          <ac:chgData name="Nataliia Chornii (UA)" userId="4e4b8b3d-5f31-49bb-9f80-8a25c04abfff" providerId="ADAL" clId="{52163427-3E63-4487-BD88-23EA5CCD03BB}" dt="2024-03-12T07:39:22.543" v="1" actId="1076"/>
          <ac:picMkLst>
            <pc:docMk/>
            <pc:sldMk cId="817197616" sldId="332"/>
            <ac:picMk id="3" creationId="{4D1170B7-6EE5-270B-66A8-10AD07C6BBCA}"/>
          </ac:picMkLst>
        </pc:picChg>
        <pc:picChg chg="add del mod">
          <ac:chgData name="Nataliia Chornii (UA)" userId="4e4b8b3d-5f31-49bb-9f80-8a25c04abfff" providerId="ADAL" clId="{52163427-3E63-4487-BD88-23EA5CCD03BB}" dt="2024-03-12T12:16:10.352" v="88"/>
          <ac:picMkLst>
            <pc:docMk/>
            <pc:sldMk cId="817197616" sldId="332"/>
            <ac:picMk id="8" creationId="{E0437BB0-868D-E75D-557F-CD5961EF5A50}"/>
          </ac:picMkLst>
        </pc:picChg>
        <pc:picChg chg="mod">
          <ac:chgData name="Nataliia Chornii (UA)" userId="4e4b8b3d-5f31-49bb-9f80-8a25c04abfff" providerId="ADAL" clId="{52163427-3E63-4487-BD88-23EA5CCD03BB}" dt="2024-03-12T07:39:22.543" v="1" actId="1076"/>
          <ac:picMkLst>
            <pc:docMk/>
            <pc:sldMk cId="817197616" sldId="332"/>
            <ac:picMk id="1028" creationId="{49D69959-2997-0541-EBD2-EA679BB87816}"/>
          </ac:picMkLst>
        </pc:picChg>
      </pc:sldChg>
      <pc:sldChg chg="add del">
        <pc:chgData name="Nataliia Chornii (UA)" userId="4e4b8b3d-5f31-49bb-9f80-8a25c04abfff" providerId="ADAL" clId="{52163427-3E63-4487-BD88-23EA5CCD03BB}" dt="2024-03-12T12:19:06.428" v="103" actId="2696"/>
        <pc:sldMkLst>
          <pc:docMk/>
          <pc:sldMk cId="1925634318" sldId="338"/>
        </pc:sldMkLst>
      </pc:sldChg>
      <pc:sldChg chg="add del">
        <pc:chgData name="Nataliia Chornii (UA)" userId="4e4b8b3d-5f31-49bb-9f80-8a25c04abfff" providerId="ADAL" clId="{52163427-3E63-4487-BD88-23EA5CCD03BB}" dt="2024-03-12T12:19:55.567" v="159" actId="2696"/>
        <pc:sldMkLst>
          <pc:docMk/>
          <pc:sldMk cId="3141905671" sldId="338"/>
        </pc:sldMkLst>
      </pc:sldChg>
      <pc:sldChg chg="modSp mod">
        <pc:chgData name="Nataliia Chornii (UA)" userId="4e4b8b3d-5f31-49bb-9f80-8a25c04abfff" providerId="ADAL" clId="{52163427-3E63-4487-BD88-23EA5CCD03BB}" dt="2024-03-12T11:08:11.471" v="7"/>
        <pc:sldMkLst>
          <pc:docMk/>
          <pc:sldMk cId="399328488" sldId="450"/>
        </pc:sldMkLst>
        <pc:spChg chg="mod">
          <ac:chgData name="Nataliia Chornii (UA)" userId="4e4b8b3d-5f31-49bb-9f80-8a25c04abfff" providerId="ADAL" clId="{52163427-3E63-4487-BD88-23EA5CCD03BB}" dt="2024-03-12T11:08:11.471" v="7"/>
          <ac:spMkLst>
            <pc:docMk/>
            <pc:sldMk cId="399328488" sldId="450"/>
            <ac:spMk id="2" creationId="{06CA5123-FA6E-5376-B3D9-BDF5B08EA25B}"/>
          </ac:spMkLst>
        </pc:spChg>
      </pc:sldChg>
      <pc:sldChg chg="modSp mod">
        <pc:chgData name="Nataliia Chornii (UA)" userId="4e4b8b3d-5f31-49bb-9f80-8a25c04abfff" providerId="ADAL" clId="{52163427-3E63-4487-BD88-23EA5CCD03BB}" dt="2024-03-12T11:08:33.505" v="15"/>
        <pc:sldMkLst>
          <pc:docMk/>
          <pc:sldMk cId="2067837237" sldId="899"/>
        </pc:sldMkLst>
        <pc:spChg chg="mod">
          <ac:chgData name="Nataliia Chornii (UA)" userId="4e4b8b3d-5f31-49bb-9f80-8a25c04abfff" providerId="ADAL" clId="{52163427-3E63-4487-BD88-23EA5CCD03BB}" dt="2024-03-12T11:08:33.505" v="15"/>
          <ac:spMkLst>
            <pc:docMk/>
            <pc:sldMk cId="2067837237" sldId="899"/>
            <ac:spMk id="8" creationId="{C45B4B4D-811D-75BC-1C53-0D260614DCE2}"/>
          </ac:spMkLst>
        </pc:spChg>
      </pc:sldChg>
      <pc:sldChg chg="modSp mod">
        <pc:chgData name="Nataliia Chornii (UA)" userId="4e4b8b3d-5f31-49bb-9f80-8a25c04abfff" providerId="ADAL" clId="{52163427-3E63-4487-BD88-23EA5CCD03BB}" dt="2024-03-12T11:08:35.928" v="16"/>
        <pc:sldMkLst>
          <pc:docMk/>
          <pc:sldMk cId="1735191326" sldId="900"/>
        </pc:sldMkLst>
        <pc:spChg chg="mod">
          <ac:chgData name="Nataliia Chornii (UA)" userId="4e4b8b3d-5f31-49bb-9f80-8a25c04abfff" providerId="ADAL" clId="{52163427-3E63-4487-BD88-23EA5CCD03BB}" dt="2024-03-12T11:08:35.928" v="16"/>
          <ac:spMkLst>
            <pc:docMk/>
            <pc:sldMk cId="1735191326" sldId="900"/>
            <ac:spMk id="5" creationId="{775EC90E-5DCE-2B24-A5AB-0F9245BDD3E7}"/>
          </ac:spMkLst>
        </pc:spChg>
      </pc:sldChg>
      <pc:sldChg chg="modSp mod">
        <pc:chgData name="Nataliia Chornii (UA)" userId="4e4b8b3d-5f31-49bb-9f80-8a25c04abfff" providerId="ADAL" clId="{52163427-3E63-4487-BD88-23EA5CCD03BB}" dt="2024-03-12T11:08:39.309" v="17"/>
        <pc:sldMkLst>
          <pc:docMk/>
          <pc:sldMk cId="3011875620" sldId="903"/>
        </pc:sldMkLst>
        <pc:spChg chg="mod">
          <ac:chgData name="Nataliia Chornii (UA)" userId="4e4b8b3d-5f31-49bb-9f80-8a25c04abfff" providerId="ADAL" clId="{52163427-3E63-4487-BD88-23EA5CCD03BB}" dt="2024-03-12T11:08:39.309" v="17"/>
          <ac:spMkLst>
            <pc:docMk/>
            <pc:sldMk cId="3011875620" sldId="903"/>
            <ac:spMk id="3" creationId="{33BB98B8-6827-4CCD-E4FE-A55C4C067AB3}"/>
          </ac:spMkLst>
        </pc:spChg>
      </pc:sldChg>
      <pc:sldChg chg="modSp mod">
        <pc:chgData name="Nataliia Chornii (UA)" userId="4e4b8b3d-5f31-49bb-9f80-8a25c04abfff" providerId="ADAL" clId="{52163427-3E63-4487-BD88-23EA5CCD03BB}" dt="2024-03-12T11:08:42.418" v="18"/>
        <pc:sldMkLst>
          <pc:docMk/>
          <pc:sldMk cId="795685229" sldId="904"/>
        </pc:sldMkLst>
        <pc:spChg chg="mod">
          <ac:chgData name="Nataliia Chornii (UA)" userId="4e4b8b3d-5f31-49bb-9f80-8a25c04abfff" providerId="ADAL" clId="{52163427-3E63-4487-BD88-23EA5CCD03BB}" dt="2024-03-12T11:08:42.418" v="18"/>
          <ac:spMkLst>
            <pc:docMk/>
            <pc:sldMk cId="795685229" sldId="904"/>
            <ac:spMk id="6" creationId="{236C7614-93A6-8AC7-7258-BAE206E1F0BE}"/>
          </ac:spMkLst>
        </pc:spChg>
      </pc:sldChg>
      <pc:sldChg chg="modSp mod">
        <pc:chgData name="Nataliia Chornii (UA)" userId="4e4b8b3d-5f31-49bb-9f80-8a25c04abfff" providerId="ADAL" clId="{52163427-3E63-4487-BD88-23EA5CCD03BB}" dt="2024-03-12T11:08:44.348" v="19"/>
        <pc:sldMkLst>
          <pc:docMk/>
          <pc:sldMk cId="507333055" sldId="905"/>
        </pc:sldMkLst>
        <pc:spChg chg="mod">
          <ac:chgData name="Nataliia Chornii (UA)" userId="4e4b8b3d-5f31-49bb-9f80-8a25c04abfff" providerId="ADAL" clId="{52163427-3E63-4487-BD88-23EA5CCD03BB}" dt="2024-03-12T11:08:44.348" v="19"/>
          <ac:spMkLst>
            <pc:docMk/>
            <pc:sldMk cId="507333055" sldId="905"/>
            <ac:spMk id="3" creationId="{70832196-8F04-2AE8-0728-1989AF43F84D}"/>
          </ac:spMkLst>
        </pc:spChg>
      </pc:sldChg>
      <pc:sldChg chg="addSp delSp modSp mod">
        <pc:chgData name="Nataliia Chornii (UA)" userId="4e4b8b3d-5f31-49bb-9f80-8a25c04abfff" providerId="ADAL" clId="{52163427-3E63-4487-BD88-23EA5CCD03BB}" dt="2024-03-12T11:08:24.273" v="14"/>
        <pc:sldMkLst>
          <pc:docMk/>
          <pc:sldMk cId="1164346809" sldId="906"/>
        </pc:sldMkLst>
        <pc:spChg chg="add del mod">
          <ac:chgData name="Nataliia Chornii (UA)" userId="4e4b8b3d-5f31-49bb-9f80-8a25c04abfff" providerId="ADAL" clId="{52163427-3E63-4487-BD88-23EA5CCD03BB}" dt="2024-03-12T11:08:20.966" v="11"/>
          <ac:spMkLst>
            <pc:docMk/>
            <pc:sldMk cId="1164346809" sldId="906"/>
            <ac:spMk id="2" creationId="{88F11848-A656-A080-EAE8-4491DC4BF4B4}"/>
          </ac:spMkLst>
        </pc:spChg>
        <pc:spChg chg="add del mod">
          <ac:chgData name="Nataliia Chornii (UA)" userId="4e4b8b3d-5f31-49bb-9f80-8a25c04abfff" providerId="ADAL" clId="{52163427-3E63-4487-BD88-23EA5CCD03BB}" dt="2024-03-12T11:08:23.924" v="13" actId="478"/>
          <ac:spMkLst>
            <pc:docMk/>
            <pc:sldMk cId="1164346809" sldId="906"/>
            <ac:spMk id="5" creationId="{EB165E04-554B-01AD-2648-9AD67A035DC8}"/>
          </ac:spMkLst>
        </pc:spChg>
        <pc:spChg chg="add mod">
          <ac:chgData name="Nataliia Chornii (UA)" userId="4e4b8b3d-5f31-49bb-9f80-8a25c04abfff" providerId="ADAL" clId="{52163427-3E63-4487-BD88-23EA5CCD03BB}" dt="2024-03-12T11:08:24.273" v="14"/>
          <ac:spMkLst>
            <pc:docMk/>
            <pc:sldMk cId="1164346809" sldId="906"/>
            <ac:spMk id="6" creationId="{05A1F6AF-20A3-6819-9353-99581EAEE5C4}"/>
          </ac:spMkLst>
        </pc:spChg>
        <pc:spChg chg="del">
          <ac:chgData name="Nataliia Chornii (UA)" userId="4e4b8b3d-5f31-49bb-9f80-8a25c04abfff" providerId="ADAL" clId="{52163427-3E63-4487-BD88-23EA5CCD03BB}" dt="2024-03-12T11:08:23.924" v="13" actId="478"/>
          <ac:spMkLst>
            <pc:docMk/>
            <pc:sldMk cId="1164346809" sldId="906"/>
            <ac:spMk id="13" creationId="{513046AF-A675-0D25-6984-95A79FB25C75}"/>
          </ac:spMkLst>
        </pc:spChg>
      </pc:sldChg>
      <pc:sldChg chg="modSp mod">
        <pc:chgData name="Nataliia Chornii (UA)" userId="4e4b8b3d-5f31-49bb-9f80-8a25c04abfff" providerId="ADAL" clId="{52163427-3E63-4487-BD88-23EA5CCD03BB}" dt="2024-03-12T11:08:47.819" v="20"/>
        <pc:sldMkLst>
          <pc:docMk/>
          <pc:sldMk cId="2300626159" sldId="908"/>
        </pc:sldMkLst>
        <pc:spChg chg="mod">
          <ac:chgData name="Nataliia Chornii (UA)" userId="4e4b8b3d-5f31-49bb-9f80-8a25c04abfff" providerId="ADAL" clId="{52163427-3E63-4487-BD88-23EA5CCD03BB}" dt="2024-03-12T11:08:47.819" v="20"/>
          <ac:spMkLst>
            <pc:docMk/>
            <pc:sldMk cId="2300626159" sldId="908"/>
            <ac:spMk id="8" creationId="{2CA7E931-5A39-E16F-287D-26D8CB80F058}"/>
          </ac:spMkLst>
        </pc:spChg>
      </pc:sldChg>
      <pc:sldChg chg="modSp mod">
        <pc:chgData name="Nataliia Chornii (UA)" userId="4e4b8b3d-5f31-49bb-9f80-8a25c04abfff" providerId="ADAL" clId="{52163427-3E63-4487-BD88-23EA5CCD03BB}" dt="2024-03-12T11:08:50.824" v="21"/>
        <pc:sldMkLst>
          <pc:docMk/>
          <pc:sldMk cId="1764034675" sldId="909"/>
        </pc:sldMkLst>
        <pc:spChg chg="mod">
          <ac:chgData name="Nataliia Chornii (UA)" userId="4e4b8b3d-5f31-49bb-9f80-8a25c04abfff" providerId="ADAL" clId="{52163427-3E63-4487-BD88-23EA5CCD03BB}" dt="2024-03-12T11:08:50.824" v="21"/>
          <ac:spMkLst>
            <pc:docMk/>
            <pc:sldMk cId="1764034675" sldId="909"/>
            <ac:spMk id="2" creationId="{2B9BA7A9-23FD-2573-72ED-860A236A3F30}"/>
          </ac:spMkLst>
        </pc:spChg>
      </pc:sldChg>
      <pc:sldChg chg="addSp delSp modSp mod">
        <pc:chgData name="Nataliia Chornii (UA)" userId="4e4b8b3d-5f31-49bb-9f80-8a25c04abfff" providerId="ADAL" clId="{52163427-3E63-4487-BD88-23EA5CCD03BB}" dt="2024-03-12T12:21:48.366" v="200" actId="478"/>
        <pc:sldMkLst>
          <pc:docMk/>
          <pc:sldMk cId="2040534611" sldId="911"/>
        </pc:sldMkLst>
        <pc:spChg chg="mod">
          <ac:chgData name="Nataliia Chornii (UA)" userId="4e4b8b3d-5f31-49bb-9f80-8a25c04abfff" providerId="ADAL" clId="{52163427-3E63-4487-BD88-23EA5CCD03BB}" dt="2024-03-12T11:09:00.832" v="25"/>
          <ac:spMkLst>
            <pc:docMk/>
            <pc:sldMk cId="2040534611" sldId="911"/>
            <ac:spMk id="2" creationId="{9E458C61-554D-06B9-D7BB-AE586E6578F7}"/>
          </ac:spMkLst>
        </pc:spChg>
        <pc:spChg chg="del mod">
          <ac:chgData name="Nataliia Chornii (UA)" userId="4e4b8b3d-5f31-49bb-9f80-8a25c04abfff" providerId="ADAL" clId="{52163427-3E63-4487-BD88-23EA5CCD03BB}" dt="2024-03-12T12:21:48.366" v="200" actId="478"/>
          <ac:spMkLst>
            <pc:docMk/>
            <pc:sldMk cId="2040534611" sldId="911"/>
            <ac:spMk id="14" creationId="{701D06DD-CC74-FC08-A012-A28782C73BD3}"/>
          </ac:spMkLst>
        </pc:spChg>
        <pc:spChg chg="mod">
          <ac:chgData name="Nataliia Chornii (UA)" userId="4e4b8b3d-5f31-49bb-9f80-8a25c04abfff" providerId="ADAL" clId="{52163427-3E63-4487-BD88-23EA5CCD03BB}" dt="2024-03-12T12:21:46.799" v="199" actId="113"/>
          <ac:spMkLst>
            <pc:docMk/>
            <pc:sldMk cId="2040534611" sldId="911"/>
            <ac:spMk id="16" creationId="{BB39067C-BB74-431F-475F-367961520F72}"/>
          </ac:spMkLst>
        </pc:spChg>
        <pc:spChg chg="mod">
          <ac:chgData name="Nataliia Chornii (UA)" userId="4e4b8b3d-5f31-49bb-9f80-8a25c04abfff" providerId="ADAL" clId="{52163427-3E63-4487-BD88-23EA5CCD03BB}" dt="2024-03-12T12:21:14.433" v="183"/>
          <ac:spMkLst>
            <pc:docMk/>
            <pc:sldMk cId="2040534611" sldId="911"/>
            <ac:spMk id="17" creationId="{9DDB00D3-0ABF-F805-8F9D-63E91DF08229}"/>
          </ac:spMkLst>
        </pc:spChg>
        <pc:grpChg chg="add mod">
          <ac:chgData name="Nataliia Chornii (UA)" userId="4e4b8b3d-5f31-49bb-9f80-8a25c04abfff" providerId="ADAL" clId="{52163427-3E63-4487-BD88-23EA5CCD03BB}" dt="2024-03-12T12:21:14.433" v="183"/>
          <ac:grpSpMkLst>
            <pc:docMk/>
            <pc:sldMk cId="2040534611" sldId="911"/>
            <ac:grpSpMk id="15" creationId="{F17F705C-87C9-5D82-0071-8EA1798F0D4B}"/>
          </ac:grpSpMkLst>
        </pc:grpChg>
      </pc:sldChg>
      <pc:sldChg chg="addSp delSp modSp mod">
        <pc:chgData name="Nataliia Chornii (UA)" userId="4e4b8b3d-5f31-49bb-9f80-8a25c04abfff" providerId="ADAL" clId="{52163427-3E63-4487-BD88-23EA5CCD03BB}" dt="2024-03-12T12:21:43.390" v="198" actId="113"/>
        <pc:sldMkLst>
          <pc:docMk/>
          <pc:sldMk cId="3429470186" sldId="914"/>
        </pc:sldMkLst>
        <pc:spChg chg="mod">
          <ac:chgData name="Nataliia Chornii (UA)" userId="4e4b8b3d-5f31-49bb-9f80-8a25c04abfff" providerId="ADAL" clId="{52163427-3E63-4487-BD88-23EA5CCD03BB}" dt="2024-03-12T11:09:02.745" v="26"/>
          <ac:spMkLst>
            <pc:docMk/>
            <pc:sldMk cId="3429470186" sldId="914"/>
            <ac:spMk id="2" creationId="{30AAC524-3205-5590-45B9-6037C0A5DBDE}"/>
          </ac:spMkLst>
        </pc:spChg>
        <pc:spChg chg="del mod">
          <ac:chgData name="Nataliia Chornii (UA)" userId="4e4b8b3d-5f31-49bb-9f80-8a25c04abfff" providerId="ADAL" clId="{52163427-3E63-4487-BD88-23EA5CCD03BB}" dt="2024-03-12T12:21:20.707" v="187" actId="478"/>
          <ac:spMkLst>
            <pc:docMk/>
            <pc:sldMk cId="3429470186" sldId="914"/>
            <ac:spMk id="15" creationId="{B6BE53C4-3742-6DCA-2316-49A9BF2D8207}"/>
          </ac:spMkLst>
        </pc:spChg>
        <pc:spChg chg="mod">
          <ac:chgData name="Nataliia Chornii (UA)" userId="4e4b8b3d-5f31-49bb-9f80-8a25c04abfff" providerId="ADAL" clId="{52163427-3E63-4487-BD88-23EA5CCD03BB}" dt="2024-03-12T12:21:43.390" v="198" actId="113"/>
          <ac:spMkLst>
            <pc:docMk/>
            <pc:sldMk cId="3429470186" sldId="914"/>
            <ac:spMk id="19" creationId="{8B30160C-0B9C-011A-347F-A75919D148DF}"/>
          </ac:spMkLst>
        </pc:spChg>
        <pc:spChg chg="mod">
          <ac:chgData name="Nataliia Chornii (UA)" userId="4e4b8b3d-5f31-49bb-9f80-8a25c04abfff" providerId="ADAL" clId="{52163427-3E63-4487-BD88-23EA5CCD03BB}" dt="2024-03-12T12:21:19.849" v="186"/>
          <ac:spMkLst>
            <pc:docMk/>
            <pc:sldMk cId="3429470186" sldId="914"/>
            <ac:spMk id="20" creationId="{A52A24D5-E458-5184-5394-D531237F5174}"/>
          </ac:spMkLst>
        </pc:spChg>
        <pc:grpChg chg="add mod">
          <ac:chgData name="Nataliia Chornii (UA)" userId="4e4b8b3d-5f31-49bb-9f80-8a25c04abfff" providerId="ADAL" clId="{52163427-3E63-4487-BD88-23EA5CCD03BB}" dt="2024-03-12T12:21:19.849" v="186"/>
          <ac:grpSpMkLst>
            <pc:docMk/>
            <pc:sldMk cId="3429470186" sldId="914"/>
            <ac:grpSpMk id="18" creationId="{C7198D1F-9FC5-DEFE-2837-C0311E2BC589}"/>
          </ac:grpSpMkLst>
        </pc:grpChg>
      </pc:sldChg>
      <pc:sldChg chg="addSp delSp modSp mod">
        <pc:chgData name="Nataliia Chornii (UA)" userId="4e4b8b3d-5f31-49bb-9f80-8a25c04abfff" providerId="ADAL" clId="{52163427-3E63-4487-BD88-23EA5CCD03BB}" dt="2024-03-12T12:21:38.636" v="197" actId="113"/>
        <pc:sldMkLst>
          <pc:docMk/>
          <pc:sldMk cId="1981412866" sldId="915"/>
        </pc:sldMkLst>
        <pc:spChg chg="mod">
          <ac:chgData name="Nataliia Chornii (UA)" userId="4e4b8b3d-5f31-49bb-9f80-8a25c04abfff" providerId="ADAL" clId="{52163427-3E63-4487-BD88-23EA5CCD03BB}" dt="2024-03-12T11:09:05.192" v="27"/>
          <ac:spMkLst>
            <pc:docMk/>
            <pc:sldMk cId="1981412866" sldId="915"/>
            <ac:spMk id="17" creationId="{68D4BE07-EE77-6573-3961-3389F961B1B0}"/>
          </ac:spMkLst>
        </pc:spChg>
        <pc:spChg chg="mod">
          <ac:chgData name="Nataliia Chornii (UA)" userId="4e4b8b3d-5f31-49bb-9f80-8a25c04abfff" providerId="ADAL" clId="{52163427-3E63-4487-BD88-23EA5CCD03BB}" dt="2024-03-12T12:21:38.636" v="197" actId="113"/>
          <ac:spMkLst>
            <pc:docMk/>
            <pc:sldMk cId="1981412866" sldId="915"/>
            <ac:spMk id="29" creationId="{10358436-04EB-02D3-5145-56A06675C30B}"/>
          </ac:spMkLst>
        </pc:spChg>
        <pc:spChg chg="mod">
          <ac:chgData name="Nataliia Chornii (UA)" userId="4e4b8b3d-5f31-49bb-9f80-8a25c04abfff" providerId="ADAL" clId="{52163427-3E63-4487-BD88-23EA5CCD03BB}" dt="2024-03-12T12:21:22.906" v="189"/>
          <ac:spMkLst>
            <pc:docMk/>
            <pc:sldMk cId="1981412866" sldId="915"/>
            <ac:spMk id="30" creationId="{F1C8D19D-1D86-2F27-142A-E800100023BF}"/>
          </ac:spMkLst>
        </pc:spChg>
        <pc:spChg chg="del mod">
          <ac:chgData name="Nataliia Chornii (UA)" userId="4e4b8b3d-5f31-49bb-9f80-8a25c04abfff" providerId="ADAL" clId="{52163427-3E63-4487-BD88-23EA5CCD03BB}" dt="2024-03-12T12:21:25.662" v="191" actId="478"/>
          <ac:spMkLst>
            <pc:docMk/>
            <pc:sldMk cId="1981412866" sldId="915"/>
            <ac:spMk id="53" creationId="{D7DC989C-0F18-F987-D819-7FC99DFC7742}"/>
          </ac:spMkLst>
        </pc:spChg>
        <pc:grpChg chg="add mod">
          <ac:chgData name="Nataliia Chornii (UA)" userId="4e4b8b3d-5f31-49bb-9f80-8a25c04abfff" providerId="ADAL" clId="{52163427-3E63-4487-BD88-23EA5CCD03BB}" dt="2024-03-12T12:21:22.906" v="189"/>
          <ac:grpSpMkLst>
            <pc:docMk/>
            <pc:sldMk cId="1981412866" sldId="915"/>
            <ac:grpSpMk id="25" creationId="{18730CB1-C26A-3A29-9EA1-5EC411BC4E4E}"/>
          </ac:grpSpMkLst>
        </pc:grpChg>
      </pc:sldChg>
      <pc:sldChg chg="addSp delSp modSp mod">
        <pc:chgData name="Nataliia Chornii (UA)" userId="4e4b8b3d-5f31-49bb-9f80-8a25c04abfff" providerId="ADAL" clId="{52163427-3E63-4487-BD88-23EA5CCD03BB}" dt="2024-03-12T12:21:36.038" v="196" actId="478"/>
        <pc:sldMkLst>
          <pc:docMk/>
          <pc:sldMk cId="64855802" sldId="916"/>
        </pc:sldMkLst>
        <pc:spChg chg="del mod">
          <ac:chgData name="Nataliia Chornii (UA)" userId="4e4b8b3d-5f31-49bb-9f80-8a25c04abfff" providerId="ADAL" clId="{52163427-3E63-4487-BD88-23EA5CCD03BB}" dt="2024-03-12T12:21:36.038" v="196" actId="478"/>
          <ac:spMkLst>
            <pc:docMk/>
            <pc:sldMk cId="64855802" sldId="916"/>
            <ac:spMk id="9" creationId="{20E2F488-128A-A03C-4DDA-0BA6FB1A457F}"/>
          </ac:spMkLst>
        </pc:spChg>
        <pc:spChg chg="add del">
          <ac:chgData name="Nataliia Chornii (UA)" userId="4e4b8b3d-5f31-49bb-9f80-8a25c04abfff" providerId="ADAL" clId="{52163427-3E63-4487-BD88-23EA5CCD03BB}" dt="2024-03-12T11:09:08.850" v="29" actId="22"/>
          <ac:spMkLst>
            <pc:docMk/>
            <pc:sldMk cId="64855802" sldId="916"/>
            <ac:spMk id="19" creationId="{2A04B580-45E1-AD92-4D01-C308475E6EBB}"/>
          </ac:spMkLst>
        </pc:spChg>
        <pc:spChg chg="mod">
          <ac:chgData name="Nataliia Chornii (UA)" userId="4e4b8b3d-5f31-49bb-9f80-8a25c04abfff" providerId="ADAL" clId="{52163427-3E63-4487-BD88-23EA5CCD03BB}" dt="2024-03-12T12:21:33.551" v="195" actId="113"/>
          <ac:spMkLst>
            <pc:docMk/>
            <pc:sldMk cId="64855802" sldId="916"/>
            <ac:spMk id="19" creationId="{99BB40C4-C854-EF5A-02F1-3DC939BEE066}"/>
          </ac:spMkLst>
        </pc:spChg>
        <pc:spChg chg="add mod">
          <ac:chgData name="Nataliia Chornii (UA)" userId="4e4b8b3d-5f31-49bb-9f80-8a25c04abfff" providerId="ADAL" clId="{52163427-3E63-4487-BD88-23EA5CCD03BB}" dt="2024-03-12T11:09:11.888" v="30"/>
          <ac:spMkLst>
            <pc:docMk/>
            <pc:sldMk cId="64855802" sldId="916"/>
            <ac:spMk id="20" creationId="{54EC1F61-FF16-1408-F9A0-76C3203F84CA}"/>
          </ac:spMkLst>
        </pc:spChg>
        <pc:spChg chg="add del mod">
          <ac:chgData name="Nataliia Chornii (UA)" userId="4e4b8b3d-5f31-49bb-9f80-8a25c04abfff" providerId="ADAL" clId="{52163427-3E63-4487-BD88-23EA5CCD03BB}" dt="2024-03-12T11:09:14.011" v="32"/>
          <ac:spMkLst>
            <pc:docMk/>
            <pc:sldMk cId="64855802" sldId="916"/>
            <ac:spMk id="21" creationId="{9A0A1301-AE8C-3362-6A72-51259E740794}"/>
          </ac:spMkLst>
        </pc:spChg>
        <pc:spChg chg="mod">
          <ac:chgData name="Nataliia Chornii (UA)" userId="4e4b8b3d-5f31-49bb-9f80-8a25c04abfff" providerId="ADAL" clId="{52163427-3E63-4487-BD88-23EA5CCD03BB}" dt="2024-03-12T12:21:28.277" v="193"/>
          <ac:spMkLst>
            <pc:docMk/>
            <pc:sldMk cId="64855802" sldId="916"/>
            <ac:spMk id="21" creationId="{A897BD00-067D-8E02-2B06-3551DAD35FE1}"/>
          </ac:spMkLst>
        </pc:spChg>
        <pc:grpChg chg="add mod">
          <ac:chgData name="Nataliia Chornii (UA)" userId="4e4b8b3d-5f31-49bb-9f80-8a25c04abfff" providerId="ADAL" clId="{52163427-3E63-4487-BD88-23EA5CCD03BB}" dt="2024-03-12T12:21:28.277" v="193"/>
          <ac:grpSpMkLst>
            <pc:docMk/>
            <pc:sldMk cId="64855802" sldId="916"/>
            <ac:grpSpMk id="18" creationId="{A7C8EFEA-D6C4-50B6-1BCE-1647D16AF1EA}"/>
          </ac:grpSpMkLst>
        </pc:grpChg>
      </pc:sldChg>
      <pc:sldChg chg="addSp delSp modSp mod">
        <pc:chgData name="Nataliia Chornii (UA)" userId="4e4b8b3d-5f31-49bb-9f80-8a25c04abfff" providerId="ADAL" clId="{52163427-3E63-4487-BD88-23EA5CCD03BB}" dt="2024-03-12T12:22:05.638" v="207"/>
        <pc:sldMkLst>
          <pc:docMk/>
          <pc:sldMk cId="4273639525" sldId="917"/>
        </pc:sldMkLst>
        <pc:spChg chg="mod">
          <ac:chgData name="Nataliia Chornii (UA)" userId="4e4b8b3d-5f31-49bb-9f80-8a25c04abfff" providerId="ADAL" clId="{52163427-3E63-4487-BD88-23EA5CCD03BB}" dt="2024-03-12T11:09:21.334" v="34"/>
          <ac:spMkLst>
            <pc:docMk/>
            <pc:sldMk cId="4273639525" sldId="917"/>
            <ac:spMk id="2" creationId="{D7DBFC3E-020C-9EFD-28EB-4631D3580F32}"/>
          </ac:spMkLst>
        </pc:spChg>
        <pc:spChg chg="del mod">
          <ac:chgData name="Nataliia Chornii (UA)" userId="4e4b8b3d-5f31-49bb-9f80-8a25c04abfff" providerId="ADAL" clId="{52163427-3E63-4487-BD88-23EA5CCD03BB}" dt="2024-03-12T12:22:04.674" v="206" actId="478"/>
          <ac:spMkLst>
            <pc:docMk/>
            <pc:sldMk cId="4273639525" sldId="917"/>
            <ac:spMk id="13" creationId="{C81B52B7-F84D-1B15-1AE2-EF4ADAA752C8}"/>
          </ac:spMkLst>
        </pc:spChg>
        <pc:spChg chg="mod">
          <ac:chgData name="Nataliia Chornii (UA)" userId="4e4b8b3d-5f31-49bb-9f80-8a25c04abfff" providerId="ADAL" clId="{52163427-3E63-4487-BD88-23EA5CCD03BB}" dt="2024-03-12T12:22:05.638" v="207"/>
          <ac:spMkLst>
            <pc:docMk/>
            <pc:sldMk cId="4273639525" sldId="917"/>
            <ac:spMk id="15" creationId="{1ADD53FC-C3E5-510D-B989-D67EA029071B}"/>
          </ac:spMkLst>
        </pc:spChg>
        <pc:spChg chg="mod">
          <ac:chgData name="Nataliia Chornii (UA)" userId="4e4b8b3d-5f31-49bb-9f80-8a25c04abfff" providerId="ADAL" clId="{52163427-3E63-4487-BD88-23EA5CCD03BB}" dt="2024-03-12T12:22:05.638" v="207"/>
          <ac:spMkLst>
            <pc:docMk/>
            <pc:sldMk cId="4273639525" sldId="917"/>
            <ac:spMk id="16" creationId="{1AFD52EE-E601-C14A-822A-FABB12B8A6B9}"/>
          </ac:spMkLst>
        </pc:spChg>
        <pc:grpChg chg="add mod">
          <ac:chgData name="Nataliia Chornii (UA)" userId="4e4b8b3d-5f31-49bb-9f80-8a25c04abfff" providerId="ADAL" clId="{52163427-3E63-4487-BD88-23EA5CCD03BB}" dt="2024-03-12T12:22:05.638" v="207"/>
          <ac:grpSpMkLst>
            <pc:docMk/>
            <pc:sldMk cId="4273639525" sldId="917"/>
            <ac:grpSpMk id="14" creationId="{492BA703-F18E-E0E9-9E22-990B6A6F639C}"/>
          </ac:grpSpMkLst>
        </pc:grpChg>
      </pc:sldChg>
      <pc:sldChg chg="addSp delSp modSp mod">
        <pc:chgData name="Nataliia Chornii (UA)" userId="4e4b8b3d-5f31-49bb-9f80-8a25c04abfff" providerId="ADAL" clId="{52163427-3E63-4487-BD88-23EA5CCD03BB}" dt="2024-03-12T12:22:03.192" v="204" actId="478"/>
        <pc:sldMkLst>
          <pc:docMk/>
          <pc:sldMk cId="785221003" sldId="918"/>
        </pc:sldMkLst>
        <pc:spChg chg="del mod">
          <ac:chgData name="Nataliia Chornii (UA)" userId="4e4b8b3d-5f31-49bb-9f80-8a25c04abfff" providerId="ADAL" clId="{52163427-3E63-4487-BD88-23EA5CCD03BB}" dt="2024-03-12T12:22:03.192" v="204" actId="478"/>
          <ac:spMkLst>
            <pc:docMk/>
            <pc:sldMk cId="785221003" sldId="918"/>
            <ac:spMk id="9" creationId="{D6675418-2A93-363B-B413-4411681F4838}"/>
          </ac:spMkLst>
        </pc:spChg>
        <pc:spChg chg="add mod">
          <ac:chgData name="Nataliia Chornii (UA)" userId="4e4b8b3d-5f31-49bb-9f80-8a25c04abfff" providerId="ADAL" clId="{52163427-3E63-4487-BD88-23EA5CCD03BB}" dt="2024-03-12T11:09:16.671" v="33"/>
          <ac:spMkLst>
            <pc:docMk/>
            <pc:sldMk cId="785221003" sldId="918"/>
            <ac:spMk id="18" creationId="{8718CE4C-95ED-99AC-270C-360B29FB6AD4}"/>
          </ac:spMkLst>
        </pc:spChg>
        <pc:spChg chg="mod">
          <ac:chgData name="Nataliia Chornii (UA)" userId="4e4b8b3d-5f31-49bb-9f80-8a25c04abfff" providerId="ADAL" clId="{52163427-3E63-4487-BD88-23EA5CCD03BB}" dt="2024-03-12T12:22:02.207" v="203"/>
          <ac:spMkLst>
            <pc:docMk/>
            <pc:sldMk cId="785221003" sldId="918"/>
            <ac:spMk id="34" creationId="{C87FCEB5-73C2-4FBE-4A19-EA996E36EE39}"/>
          </ac:spMkLst>
        </pc:spChg>
        <pc:spChg chg="mod">
          <ac:chgData name="Nataliia Chornii (UA)" userId="4e4b8b3d-5f31-49bb-9f80-8a25c04abfff" providerId="ADAL" clId="{52163427-3E63-4487-BD88-23EA5CCD03BB}" dt="2024-03-12T12:22:02.207" v="203"/>
          <ac:spMkLst>
            <pc:docMk/>
            <pc:sldMk cId="785221003" sldId="918"/>
            <ac:spMk id="35" creationId="{89F13B56-964C-87A2-18FB-B820270895D4}"/>
          </ac:spMkLst>
        </pc:spChg>
        <pc:grpChg chg="add mod">
          <ac:chgData name="Nataliia Chornii (UA)" userId="4e4b8b3d-5f31-49bb-9f80-8a25c04abfff" providerId="ADAL" clId="{52163427-3E63-4487-BD88-23EA5CCD03BB}" dt="2024-03-12T12:22:02.207" v="203"/>
          <ac:grpSpMkLst>
            <pc:docMk/>
            <pc:sldMk cId="785221003" sldId="918"/>
            <ac:grpSpMk id="33" creationId="{0E1E50A3-2B0B-2403-ED72-97408228FBA9}"/>
          </ac:grpSpMkLst>
        </pc:grpChg>
      </pc:sldChg>
      <pc:sldChg chg="addSp delSp modSp mod">
        <pc:chgData name="Nataliia Chornii (UA)" userId="4e4b8b3d-5f31-49bb-9f80-8a25c04abfff" providerId="ADAL" clId="{52163427-3E63-4487-BD88-23EA5CCD03BB}" dt="2024-03-12T12:22:12.592" v="211" actId="478"/>
        <pc:sldMkLst>
          <pc:docMk/>
          <pc:sldMk cId="2008209705" sldId="919"/>
        </pc:sldMkLst>
        <pc:spChg chg="mod">
          <ac:chgData name="Nataliia Chornii (UA)" userId="4e4b8b3d-5f31-49bb-9f80-8a25c04abfff" providerId="ADAL" clId="{52163427-3E63-4487-BD88-23EA5CCD03BB}" dt="2024-03-12T11:09:22.539" v="35"/>
          <ac:spMkLst>
            <pc:docMk/>
            <pc:sldMk cId="2008209705" sldId="919"/>
            <ac:spMk id="2" creationId="{1A11DA6D-DA25-ED8D-5C57-8D2D2452FA26}"/>
          </ac:spMkLst>
        </pc:spChg>
        <pc:spChg chg="del mod">
          <ac:chgData name="Nataliia Chornii (UA)" userId="4e4b8b3d-5f31-49bb-9f80-8a25c04abfff" providerId="ADAL" clId="{52163427-3E63-4487-BD88-23EA5CCD03BB}" dt="2024-03-12T12:22:12.592" v="211" actId="478"/>
          <ac:spMkLst>
            <pc:docMk/>
            <pc:sldMk cId="2008209705" sldId="919"/>
            <ac:spMk id="15" creationId="{5AD0BD56-73F9-7FB2-F558-97697187F40F}"/>
          </ac:spMkLst>
        </pc:spChg>
        <pc:spChg chg="mod">
          <ac:chgData name="Nataliia Chornii (UA)" userId="4e4b8b3d-5f31-49bb-9f80-8a25c04abfff" providerId="ADAL" clId="{52163427-3E63-4487-BD88-23EA5CCD03BB}" dt="2024-03-12T12:22:11.066" v="210"/>
          <ac:spMkLst>
            <pc:docMk/>
            <pc:sldMk cId="2008209705" sldId="919"/>
            <ac:spMk id="19" creationId="{DA75954D-4EF1-C25C-FD4D-7F2391CE4BC1}"/>
          </ac:spMkLst>
        </pc:spChg>
        <pc:spChg chg="mod">
          <ac:chgData name="Nataliia Chornii (UA)" userId="4e4b8b3d-5f31-49bb-9f80-8a25c04abfff" providerId="ADAL" clId="{52163427-3E63-4487-BD88-23EA5CCD03BB}" dt="2024-03-12T12:22:07.623" v="209"/>
          <ac:spMkLst>
            <pc:docMk/>
            <pc:sldMk cId="2008209705" sldId="919"/>
            <ac:spMk id="21" creationId="{07F3CB26-4CE3-7AB6-C1A7-5645E59C0132}"/>
          </ac:spMkLst>
        </pc:spChg>
        <pc:grpChg chg="add mod">
          <ac:chgData name="Nataliia Chornii (UA)" userId="4e4b8b3d-5f31-49bb-9f80-8a25c04abfff" providerId="ADAL" clId="{52163427-3E63-4487-BD88-23EA5CCD03BB}" dt="2024-03-12T12:22:07.623" v="209"/>
          <ac:grpSpMkLst>
            <pc:docMk/>
            <pc:sldMk cId="2008209705" sldId="919"/>
            <ac:grpSpMk id="17" creationId="{181D2E81-913A-426F-D928-E7AE90B36605}"/>
          </ac:grpSpMkLst>
        </pc:grpChg>
      </pc:sldChg>
      <pc:sldChg chg="addSp delSp modSp mod">
        <pc:chgData name="Nataliia Chornii (UA)" userId="4e4b8b3d-5f31-49bb-9f80-8a25c04abfff" providerId="ADAL" clId="{52163427-3E63-4487-BD88-23EA5CCD03BB}" dt="2024-03-12T12:22:25.761" v="218" actId="478"/>
        <pc:sldMkLst>
          <pc:docMk/>
          <pc:sldMk cId="2755231185" sldId="920"/>
        </pc:sldMkLst>
        <pc:spChg chg="mod">
          <ac:chgData name="Nataliia Chornii (UA)" userId="4e4b8b3d-5f31-49bb-9f80-8a25c04abfff" providerId="ADAL" clId="{52163427-3E63-4487-BD88-23EA5CCD03BB}" dt="2024-03-12T11:09:24.861" v="37"/>
          <ac:spMkLst>
            <pc:docMk/>
            <pc:sldMk cId="2755231185" sldId="920"/>
            <ac:spMk id="6" creationId="{B43CD9A4-2C97-7D6A-7A53-C7898F589C28}"/>
          </ac:spMkLst>
        </pc:spChg>
        <pc:spChg chg="del mod">
          <ac:chgData name="Nataliia Chornii (UA)" userId="4e4b8b3d-5f31-49bb-9f80-8a25c04abfff" providerId="ADAL" clId="{52163427-3E63-4487-BD88-23EA5CCD03BB}" dt="2024-03-12T12:22:25.761" v="218" actId="478"/>
          <ac:spMkLst>
            <pc:docMk/>
            <pc:sldMk cId="2755231185" sldId="920"/>
            <ac:spMk id="15" creationId="{F03290B5-C181-1DC0-3FC7-05E4ED60A773}"/>
          </ac:spMkLst>
        </pc:spChg>
        <pc:spChg chg="mod">
          <ac:chgData name="Nataliia Chornii (UA)" userId="4e4b8b3d-5f31-49bb-9f80-8a25c04abfff" providerId="ADAL" clId="{52163427-3E63-4487-BD88-23EA5CCD03BB}" dt="2024-03-12T12:22:24.395" v="217"/>
          <ac:spMkLst>
            <pc:docMk/>
            <pc:sldMk cId="2755231185" sldId="920"/>
            <ac:spMk id="19" creationId="{08D1B730-3E4A-E251-98BF-4207441A6F9C}"/>
          </ac:spMkLst>
        </pc:spChg>
        <pc:spChg chg="mod">
          <ac:chgData name="Nataliia Chornii (UA)" userId="4e4b8b3d-5f31-49bb-9f80-8a25c04abfff" providerId="ADAL" clId="{52163427-3E63-4487-BD88-23EA5CCD03BB}" dt="2024-03-12T12:22:20.329" v="216"/>
          <ac:spMkLst>
            <pc:docMk/>
            <pc:sldMk cId="2755231185" sldId="920"/>
            <ac:spMk id="21" creationId="{76E521C5-7816-ABBC-525A-901979C4185E}"/>
          </ac:spMkLst>
        </pc:spChg>
        <pc:grpChg chg="add mod">
          <ac:chgData name="Nataliia Chornii (UA)" userId="4e4b8b3d-5f31-49bb-9f80-8a25c04abfff" providerId="ADAL" clId="{52163427-3E63-4487-BD88-23EA5CCD03BB}" dt="2024-03-12T12:22:20.329" v="216"/>
          <ac:grpSpMkLst>
            <pc:docMk/>
            <pc:sldMk cId="2755231185" sldId="920"/>
            <ac:grpSpMk id="17" creationId="{94004B0E-52BD-56B9-A17A-2417C950F3F8}"/>
          </ac:grpSpMkLst>
        </pc:grpChg>
      </pc:sldChg>
      <pc:sldChg chg="addSp delSp modSp mod">
        <pc:chgData name="Nataliia Chornii (UA)" userId="4e4b8b3d-5f31-49bb-9f80-8a25c04abfff" providerId="ADAL" clId="{52163427-3E63-4487-BD88-23EA5CCD03BB}" dt="2024-03-12T12:22:18.074" v="214" actId="478"/>
        <pc:sldMkLst>
          <pc:docMk/>
          <pc:sldMk cId="1632897735" sldId="921"/>
        </pc:sldMkLst>
        <pc:spChg chg="mod">
          <ac:chgData name="Nataliia Chornii (UA)" userId="4e4b8b3d-5f31-49bb-9f80-8a25c04abfff" providerId="ADAL" clId="{52163427-3E63-4487-BD88-23EA5CCD03BB}" dt="2024-03-12T11:09:23.682" v="36"/>
          <ac:spMkLst>
            <pc:docMk/>
            <pc:sldMk cId="1632897735" sldId="921"/>
            <ac:spMk id="6" creationId="{4C448523-D199-838D-0012-DA39AE2F2FF6}"/>
          </ac:spMkLst>
        </pc:spChg>
        <pc:spChg chg="del mod">
          <ac:chgData name="Nataliia Chornii (UA)" userId="4e4b8b3d-5f31-49bb-9f80-8a25c04abfff" providerId="ADAL" clId="{52163427-3E63-4487-BD88-23EA5CCD03BB}" dt="2024-03-12T12:22:18.074" v="214" actId="478"/>
          <ac:spMkLst>
            <pc:docMk/>
            <pc:sldMk cId="1632897735" sldId="921"/>
            <ac:spMk id="15" creationId="{195BC487-1210-1AD0-818D-2F292AAC6012}"/>
          </ac:spMkLst>
        </pc:spChg>
        <pc:spChg chg="mod">
          <ac:chgData name="Nataliia Chornii (UA)" userId="4e4b8b3d-5f31-49bb-9f80-8a25c04abfff" providerId="ADAL" clId="{52163427-3E63-4487-BD88-23EA5CCD03BB}" dt="2024-03-12T12:22:17.357" v="213"/>
          <ac:spMkLst>
            <pc:docMk/>
            <pc:sldMk cId="1632897735" sldId="921"/>
            <ac:spMk id="17" creationId="{A0B62BA7-6592-A092-06F6-328959B263E1}"/>
          </ac:spMkLst>
        </pc:spChg>
        <pc:spChg chg="mod">
          <ac:chgData name="Nataliia Chornii (UA)" userId="4e4b8b3d-5f31-49bb-9f80-8a25c04abfff" providerId="ADAL" clId="{52163427-3E63-4487-BD88-23EA5CCD03BB}" dt="2024-03-12T12:22:17.357" v="213"/>
          <ac:spMkLst>
            <pc:docMk/>
            <pc:sldMk cId="1632897735" sldId="921"/>
            <ac:spMk id="18" creationId="{1467D8C3-A103-C272-2A6A-E892FE831788}"/>
          </ac:spMkLst>
        </pc:spChg>
        <pc:grpChg chg="add mod">
          <ac:chgData name="Nataliia Chornii (UA)" userId="4e4b8b3d-5f31-49bb-9f80-8a25c04abfff" providerId="ADAL" clId="{52163427-3E63-4487-BD88-23EA5CCD03BB}" dt="2024-03-12T12:22:17.357" v="213"/>
          <ac:grpSpMkLst>
            <pc:docMk/>
            <pc:sldMk cId="1632897735" sldId="921"/>
            <ac:grpSpMk id="16" creationId="{9A77E11D-913A-0EDC-C3A8-93005FF6D85F}"/>
          </ac:grpSpMkLst>
        </pc:grpChg>
      </pc:sldChg>
      <pc:sldChg chg="addSp delSp modSp mod">
        <pc:chgData name="Nataliia Chornii (UA)" userId="4e4b8b3d-5f31-49bb-9f80-8a25c04abfff" providerId="ADAL" clId="{52163427-3E63-4487-BD88-23EA5CCD03BB}" dt="2024-03-12T12:22:38.378" v="226" actId="478"/>
        <pc:sldMkLst>
          <pc:docMk/>
          <pc:sldMk cId="3183596888" sldId="922"/>
        </pc:sldMkLst>
        <pc:spChg chg="mod">
          <ac:chgData name="Nataliia Chornii (UA)" userId="4e4b8b3d-5f31-49bb-9f80-8a25c04abfff" providerId="ADAL" clId="{52163427-3E63-4487-BD88-23EA5CCD03BB}" dt="2024-03-12T11:09:26.521" v="38"/>
          <ac:spMkLst>
            <pc:docMk/>
            <pc:sldMk cId="3183596888" sldId="922"/>
            <ac:spMk id="5" creationId="{1806521B-FB80-1F07-D596-6A488A95DE31}"/>
          </ac:spMkLst>
        </pc:spChg>
        <pc:spChg chg="del mod">
          <ac:chgData name="Nataliia Chornii (UA)" userId="4e4b8b3d-5f31-49bb-9f80-8a25c04abfff" providerId="ADAL" clId="{52163427-3E63-4487-BD88-23EA5CCD03BB}" dt="2024-03-12T12:22:38.378" v="226" actId="478"/>
          <ac:spMkLst>
            <pc:docMk/>
            <pc:sldMk cId="3183596888" sldId="922"/>
            <ac:spMk id="14" creationId="{C4842404-4092-146E-F10A-12B247EC98A1}"/>
          </ac:spMkLst>
        </pc:spChg>
        <pc:spChg chg="add del">
          <ac:chgData name="Nataliia Chornii (UA)" userId="4e4b8b3d-5f31-49bb-9f80-8a25c04abfff" providerId="ADAL" clId="{52163427-3E63-4487-BD88-23EA5CCD03BB}" dt="2024-03-12T12:22:30.618" v="223" actId="22"/>
          <ac:spMkLst>
            <pc:docMk/>
            <pc:sldMk cId="3183596888" sldId="922"/>
            <ac:spMk id="15" creationId="{CDF34659-A2BB-DB0E-08D5-7B1250DC9B08}"/>
          </ac:spMkLst>
        </pc:spChg>
        <pc:spChg chg="mod">
          <ac:chgData name="Nataliia Chornii (UA)" userId="4e4b8b3d-5f31-49bb-9f80-8a25c04abfff" providerId="ADAL" clId="{52163427-3E63-4487-BD88-23EA5CCD03BB}" dt="2024-03-12T12:22:36.839" v="225"/>
          <ac:spMkLst>
            <pc:docMk/>
            <pc:sldMk cId="3183596888" sldId="922"/>
            <ac:spMk id="19" creationId="{B8D257DE-4209-7234-19FB-BC85EED328CA}"/>
          </ac:spMkLst>
        </pc:spChg>
        <pc:spChg chg="mod">
          <ac:chgData name="Nataliia Chornii (UA)" userId="4e4b8b3d-5f31-49bb-9f80-8a25c04abfff" providerId="ADAL" clId="{52163427-3E63-4487-BD88-23EA5CCD03BB}" dt="2024-03-12T12:22:33.011" v="224"/>
          <ac:spMkLst>
            <pc:docMk/>
            <pc:sldMk cId="3183596888" sldId="922"/>
            <ac:spMk id="20" creationId="{0E5C4484-670C-69E1-B82B-46D640643D12}"/>
          </ac:spMkLst>
        </pc:spChg>
        <pc:grpChg chg="add mod">
          <ac:chgData name="Nataliia Chornii (UA)" userId="4e4b8b3d-5f31-49bb-9f80-8a25c04abfff" providerId="ADAL" clId="{52163427-3E63-4487-BD88-23EA5CCD03BB}" dt="2024-03-12T12:22:33.011" v="224"/>
          <ac:grpSpMkLst>
            <pc:docMk/>
            <pc:sldMk cId="3183596888" sldId="922"/>
            <ac:grpSpMk id="16" creationId="{FB9AF507-3DC6-14DD-C3D8-12994B3D7208}"/>
          </ac:grpSpMkLst>
        </pc:grpChg>
      </pc:sldChg>
      <pc:sldChg chg="addSp delSp modSp mod">
        <pc:chgData name="Nataliia Chornii (UA)" userId="4e4b8b3d-5f31-49bb-9f80-8a25c04abfff" providerId="ADAL" clId="{52163427-3E63-4487-BD88-23EA5CCD03BB}" dt="2024-03-12T11:08:17.838" v="9"/>
        <pc:sldMkLst>
          <pc:docMk/>
          <pc:sldMk cId="2333946943" sldId="924"/>
        </pc:sldMkLst>
        <pc:spChg chg="add mod">
          <ac:chgData name="Nataliia Chornii (UA)" userId="4e4b8b3d-5f31-49bb-9f80-8a25c04abfff" providerId="ADAL" clId="{52163427-3E63-4487-BD88-23EA5CCD03BB}" dt="2024-03-12T11:08:17.838" v="9"/>
          <ac:spMkLst>
            <pc:docMk/>
            <pc:sldMk cId="2333946943" sldId="924"/>
            <ac:spMk id="28" creationId="{09F96A6C-BCF7-C92F-10B0-3D0AC98F2671}"/>
          </ac:spMkLst>
        </pc:spChg>
        <pc:spChg chg="del">
          <ac:chgData name="Nataliia Chornii (UA)" userId="4e4b8b3d-5f31-49bb-9f80-8a25c04abfff" providerId="ADAL" clId="{52163427-3E63-4487-BD88-23EA5CCD03BB}" dt="2024-03-12T11:08:17.491" v="8" actId="478"/>
          <ac:spMkLst>
            <pc:docMk/>
            <pc:sldMk cId="2333946943" sldId="924"/>
            <ac:spMk id="40" creationId="{53E5DDFB-E533-6702-E6D6-2A7771983A4B}"/>
          </ac:spMkLst>
        </pc:spChg>
      </pc:sldChg>
      <pc:sldChg chg="addSp delSp modSp mod">
        <pc:chgData name="Nataliia Chornii (UA)" userId="4e4b8b3d-5f31-49bb-9f80-8a25c04abfff" providerId="ADAL" clId="{52163427-3E63-4487-BD88-23EA5CCD03BB}" dt="2024-03-12T12:21:50.361" v="201" actId="113"/>
        <pc:sldMkLst>
          <pc:docMk/>
          <pc:sldMk cId="3431578971" sldId="931"/>
        </pc:sldMkLst>
        <pc:spChg chg="mod">
          <ac:chgData name="Nataliia Chornii (UA)" userId="4e4b8b3d-5f31-49bb-9f80-8a25c04abfff" providerId="ADAL" clId="{52163427-3E63-4487-BD88-23EA5CCD03BB}" dt="2024-03-12T12:19:27.818" v="112" actId="948"/>
          <ac:spMkLst>
            <pc:docMk/>
            <pc:sldMk cId="3431578971" sldId="931"/>
            <ac:spMk id="3" creationId="{F4CCF02E-F3C4-C376-8F56-61BD85A2E74B}"/>
          </ac:spMkLst>
        </pc:spChg>
        <pc:spChg chg="mod">
          <ac:chgData name="Nataliia Chornii (UA)" userId="4e4b8b3d-5f31-49bb-9f80-8a25c04abfff" providerId="ADAL" clId="{52163427-3E63-4487-BD88-23EA5CCD03BB}" dt="2024-03-12T11:08:56.544" v="23"/>
          <ac:spMkLst>
            <pc:docMk/>
            <pc:sldMk cId="3431578971" sldId="931"/>
            <ac:spMk id="8" creationId="{3E1B33AD-40C6-3992-E0C2-7519E160295A}"/>
          </ac:spMkLst>
        </pc:spChg>
        <pc:spChg chg="add del mod">
          <ac:chgData name="Nataliia Chornii (UA)" userId="4e4b8b3d-5f31-49bb-9f80-8a25c04abfff" providerId="ADAL" clId="{52163427-3E63-4487-BD88-23EA5CCD03BB}" dt="2024-03-12T12:18:13.150" v="93" actId="478"/>
          <ac:spMkLst>
            <pc:docMk/>
            <pc:sldMk cId="3431578971" sldId="931"/>
            <ac:spMk id="31" creationId="{7A0CB8EC-08CC-0BCB-D7D0-B20A9F3173CC}"/>
          </ac:spMkLst>
        </pc:spChg>
        <pc:spChg chg="add del mod">
          <ac:chgData name="Nataliia Chornii (UA)" userId="4e4b8b3d-5f31-49bb-9f80-8a25c04abfff" providerId="ADAL" clId="{52163427-3E63-4487-BD88-23EA5CCD03BB}" dt="2024-03-12T12:19:16.878" v="107" actId="478"/>
          <ac:spMkLst>
            <pc:docMk/>
            <pc:sldMk cId="3431578971" sldId="931"/>
            <ac:spMk id="32" creationId="{E208D820-DF31-F771-6C3B-E8EA3B5908BC}"/>
          </ac:spMkLst>
        </pc:spChg>
        <pc:spChg chg="add del mod">
          <ac:chgData name="Nataliia Chornii (UA)" userId="4e4b8b3d-5f31-49bb-9f80-8a25c04abfff" providerId="ADAL" clId="{52163427-3E63-4487-BD88-23EA5CCD03BB}" dt="2024-03-12T12:19:52.449" v="156" actId="478"/>
          <ac:spMkLst>
            <pc:docMk/>
            <pc:sldMk cId="3431578971" sldId="931"/>
            <ac:spMk id="33" creationId="{46C942BB-8A51-833C-2228-68908BC87830}"/>
          </ac:spMkLst>
        </pc:spChg>
        <pc:spChg chg="add del mod modVis">
          <ac:chgData name="Nataliia Chornii (UA)" userId="4e4b8b3d-5f31-49bb-9f80-8a25c04abfff" providerId="ADAL" clId="{52163427-3E63-4487-BD88-23EA5CCD03BB}" dt="2024-03-12T12:19:27.866" v="148"/>
          <ac:spMkLst>
            <pc:docMk/>
            <pc:sldMk cId="3431578971" sldId="931"/>
            <ac:spMk id="34" creationId="{7D233890-97CA-5A59-48D7-6018560CC1BD}"/>
          </ac:spMkLst>
        </pc:spChg>
        <pc:spChg chg="add del mod">
          <ac:chgData name="Nataliia Chornii (UA)" userId="4e4b8b3d-5f31-49bb-9f80-8a25c04abfff" providerId="ADAL" clId="{52163427-3E63-4487-BD88-23EA5CCD03BB}" dt="2024-03-12T12:20:23.710" v="168" actId="478"/>
          <ac:spMkLst>
            <pc:docMk/>
            <pc:sldMk cId="3431578971" sldId="931"/>
            <ac:spMk id="35" creationId="{CAB75EBC-06CB-A036-49FA-24F1B27A325A}"/>
          </ac:spMkLst>
        </pc:spChg>
        <pc:spChg chg="add mod">
          <ac:chgData name="Nataliia Chornii (UA)" userId="4e4b8b3d-5f31-49bb-9f80-8a25c04abfff" providerId="ADAL" clId="{52163427-3E63-4487-BD88-23EA5CCD03BB}" dt="2024-03-12T12:20:59.197" v="181" actId="164"/>
          <ac:spMkLst>
            <pc:docMk/>
            <pc:sldMk cId="3431578971" sldId="931"/>
            <ac:spMk id="38" creationId="{C72A1EE8-17BC-FE3C-D219-11BEE967A4BF}"/>
          </ac:spMkLst>
        </pc:spChg>
        <pc:spChg chg="mod">
          <ac:chgData name="Nataliia Chornii (UA)" userId="4e4b8b3d-5f31-49bb-9f80-8a25c04abfff" providerId="ADAL" clId="{52163427-3E63-4487-BD88-23EA5CCD03BB}" dt="2024-03-12T12:21:50.361" v="201" actId="113"/>
          <ac:spMkLst>
            <pc:docMk/>
            <pc:sldMk cId="3431578971" sldId="931"/>
            <ac:spMk id="57" creationId="{E0007A68-F3EF-5218-37FA-972FF8C8BB56}"/>
          </ac:spMkLst>
        </pc:spChg>
        <pc:grpChg chg="add mod">
          <ac:chgData name="Nataliia Chornii (UA)" userId="4e4b8b3d-5f31-49bb-9f80-8a25c04abfff" providerId="ADAL" clId="{52163427-3E63-4487-BD88-23EA5CCD03BB}" dt="2024-03-12T12:20:59.197" v="181" actId="164"/>
          <ac:grpSpMkLst>
            <pc:docMk/>
            <pc:sldMk cId="3431578971" sldId="931"/>
            <ac:grpSpMk id="52" creationId="{D7FCDA61-A0A7-F257-94EF-D3466B884D7B}"/>
          </ac:grpSpMkLst>
        </pc:grpChg>
        <pc:graphicFrameChg chg="mod">
          <ac:chgData name="Nataliia Chornii (UA)" userId="4e4b8b3d-5f31-49bb-9f80-8a25c04abfff" providerId="ADAL" clId="{52163427-3E63-4487-BD88-23EA5CCD03BB}" dt="2024-03-12T12:19:27.866" v="150"/>
          <ac:graphicFrameMkLst>
            <pc:docMk/>
            <pc:sldMk cId="3431578971" sldId="931"/>
            <ac:graphicFrameMk id="12" creationId="{F6E6AF23-7B86-113A-F559-513B41FEC1FE}"/>
          </ac:graphicFrameMkLst>
        </pc:graphicFrameChg>
      </pc:sldChg>
      <pc:sldChg chg="addSp delSp modSp mod">
        <pc:chgData name="Nataliia Chornii (UA)" userId="4e4b8b3d-5f31-49bb-9f80-8a25c04abfff" providerId="ADAL" clId="{52163427-3E63-4487-BD88-23EA5CCD03BB}" dt="2024-03-12T12:22:49.641" v="232" actId="478"/>
        <pc:sldMkLst>
          <pc:docMk/>
          <pc:sldMk cId="2630099657" sldId="933"/>
        </pc:sldMkLst>
        <pc:spChg chg="mod">
          <ac:chgData name="Nataliia Chornii (UA)" userId="4e4b8b3d-5f31-49bb-9f80-8a25c04abfff" providerId="ADAL" clId="{52163427-3E63-4487-BD88-23EA5CCD03BB}" dt="2024-03-12T11:09:27.887" v="39"/>
          <ac:spMkLst>
            <pc:docMk/>
            <pc:sldMk cId="2630099657" sldId="933"/>
            <ac:spMk id="2" creationId="{68CC9B95-24B4-F548-79EA-0FC37F46459D}"/>
          </ac:spMkLst>
        </pc:spChg>
        <pc:spChg chg="del mod">
          <ac:chgData name="Nataliia Chornii (UA)" userId="4e4b8b3d-5f31-49bb-9f80-8a25c04abfff" providerId="ADAL" clId="{52163427-3E63-4487-BD88-23EA5CCD03BB}" dt="2024-03-12T12:22:49.641" v="232" actId="478"/>
          <ac:spMkLst>
            <pc:docMk/>
            <pc:sldMk cId="2630099657" sldId="933"/>
            <ac:spMk id="30" creationId="{963E5610-254E-8B7B-EFFF-28FB0B3D34A3}"/>
          </ac:spMkLst>
        </pc:spChg>
        <pc:spChg chg="add del">
          <ac:chgData name="Nataliia Chornii (UA)" userId="4e4b8b3d-5f31-49bb-9f80-8a25c04abfff" providerId="ADAL" clId="{52163427-3E63-4487-BD88-23EA5CCD03BB}" dt="2024-03-12T12:22:42.297" v="229" actId="22"/>
          <ac:spMkLst>
            <pc:docMk/>
            <pc:sldMk cId="2630099657" sldId="933"/>
            <ac:spMk id="31" creationId="{75F5177C-3129-E692-2521-F4770E919613}"/>
          </ac:spMkLst>
        </pc:spChg>
        <pc:spChg chg="mod">
          <ac:chgData name="Nataliia Chornii (UA)" userId="4e4b8b3d-5f31-49bb-9f80-8a25c04abfff" providerId="ADAL" clId="{52163427-3E63-4487-BD88-23EA5CCD03BB}" dt="2024-03-12T12:22:48.453" v="231"/>
          <ac:spMkLst>
            <pc:docMk/>
            <pc:sldMk cId="2630099657" sldId="933"/>
            <ac:spMk id="33" creationId="{4343A1D4-278C-9976-9B7F-C63811EF9DC9}"/>
          </ac:spMkLst>
        </pc:spChg>
        <pc:spChg chg="mod">
          <ac:chgData name="Nataliia Chornii (UA)" userId="4e4b8b3d-5f31-49bb-9f80-8a25c04abfff" providerId="ADAL" clId="{52163427-3E63-4487-BD88-23EA5CCD03BB}" dt="2024-03-12T12:22:44.601" v="230"/>
          <ac:spMkLst>
            <pc:docMk/>
            <pc:sldMk cId="2630099657" sldId="933"/>
            <ac:spMk id="34" creationId="{CA8E062C-8775-CB06-C7C0-2EF0A1AFC4EB}"/>
          </ac:spMkLst>
        </pc:spChg>
        <pc:grpChg chg="add mod">
          <ac:chgData name="Nataliia Chornii (UA)" userId="4e4b8b3d-5f31-49bb-9f80-8a25c04abfff" providerId="ADAL" clId="{52163427-3E63-4487-BD88-23EA5CCD03BB}" dt="2024-03-12T12:22:44.601" v="230"/>
          <ac:grpSpMkLst>
            <pc:docMk/>
            <pc:sldMk cId="2630099657" sldId="933"/>
            <ac:grpSpMk id="32" creationId="{5A407E46-3D4F-F074-EB86-6DE17D8F3CCD}"/>
          </ac:grpSpMkLst>
        </pc:grpChg>
      </pc:sldChg>
      <pc:sldChg chg="addSp delSp modSp mod">
        <pc:chgData name="Nataliia Chornii (UA)" userId="4e4b8b3d-5f31-49bb-9f80-8a25c04abfff" providerId="ADAL" clId="{52163427-3E63-4487-BD88-23EA5CCD03BB}" dt="2024-03-12T12:22:53.722" v="235" actId="478"/>
        <pc:sldMkLst>
          <pc:docMk/>
          <pc:sldMk cId="156182905" sldId="934"/>
        </pc:sldMkLst>
        <pc:spChg chg="mod">
          <ac:chgData name="Nataliia Chornii (UA)" userId="4e4b8b3d-5f31-49bb-9f80-8a25c04abfff" providerId="ADAL" clId="{52163427-3E63-4487-BD88-23EA5CCD03BB}" dt="2024-03-12T11:09:29.096" v="40"/>
          <ac:spMkLst>
            <pc:docMk/>
            <pc:sldMk cId="156182905" sldId="934"/>
            <ac:spMk id="2" creationId="{D1D6AC03-28D5-6F25-B774-213412140BFB}"/>
          </ac:spMkLst>
        </pc:spChg>
        <pc:spChg chg="del mod">
          <ac:chgData name="Nataliia Chornii (UA)" userId="4e4b8b3d-5f31-49bb-9f80-8a25c04abfff" providerId="ADAL" clId="{52163427-3E63-4487-BD88-23EA5CCD03BB}" dt="2024-03-12T12:22:53.722" v="235" actId="478"/>
          <ac:spMkLst>
            <pc:docMk/>
            <pc:sldMk cId="156182905" sldId="934"/>
            <ac:spMk id="30" creationId="{8BB93EB4-5376-2754-BE65-B10509DCC21C}"/>
          </ac:spMkLst>
        </pc:spChg>
        <pc:spChg chg="mod">
          <ac:chgData name="Nataliia Chornii (UA)" userId="4e4b8b3d-5f31-49bb-9f80-8a25c04abfff" providerId="ADAL" clId="{52163427-3E63-4487-BD88-23EA5CCD03BB}" dt="2024-03-12T12:22:52.722" v="234"/>
          <ac:spMkLst>
            <pc:docMk/>
            <pc:sldMk cId="156182905" sldId="934"/>
            <ac:spMk id="31" creationId="{4AA8C989-94BD-8BD9-560F-3B2617F2772F}"/>
          </ac:spMkLst>
        </pc:spChg>
        <pc:spChg chg="mod">
          <ac:chgData name="Nataliia Chornii (UA)" userId="4e4b8b3d-5f31-49bb-9f80-8a25c04abfff" providerId="ADAL" clId="{52163427-3E63-4487-BD88-23EA5CCD03BB}" dt="2024-03-12T12:22:52.722" v="234"/>
          <ac:spMkLst>
            <pc:docMk/>
            <pc:sldMk cId="156182905" sldId="934"/>
            <ac:spMk id="32" creationId="{B6766F76-46FE-25AC-24EA-2AEA2F66950A}"/>
          </ac:spMkLst>
        </pc:spChg>
        <pc:grpChg chg="add mod">
          <ac:chgData name="Nataliia Chornii (UA)" userId="4e4b8b3d-5f31-49bb-9f80-8a25c04abfff" providerId="ADAL" clId="{52163427-3E63-4487-BD88-23EA5CCD03BB}" dt="2024-03-12T12:22:52.722" v="234"/>
          <ac:grpSpMkLst>
            <pc:docMk/>
            <pc:sldMk cId="156182905" sldId="934"/>
            <ac:grpSpMk id="23" creationId="{2212D7A8-04E3-121E-8A55-82CEFDF779DF}"/>
          </ac:grpSpMkLst>
        </pc:grpChg>
      </pc:sldChg>
      <pc:sldChg chg="addSp delSp modSp mod">
        <pc:chgData name="Nataliia Chornii (UA)" userId="4e4b8b3d-5f31-49bb-9f80-8a25c04abfff" providerId="ADAL" clId="{52163427-3E63-4487-BD88-23EA5CCD03BB}" dt="2024-03-12T12:22:56.197" v="238"/>
        <pc:sldMkLst>
          <pc:docMk/>
          <pc:sldMk cId="2803239078" sldId="935"/>
        </pc:sldMkLst>
        <pc:spChg chg="mod">
          <ac:chgData name="Nataliia Chornii (UA)" userId="4e4b8b3d-5f31-49bb-9f80-8a25c04abfff" providerId="ADAL" clId="{52163427-3E63-4487-BD88-23EA5CCD03BB}" dt="2024-03-12T11:09:30.287" v="41"/>
          <ac:spMkLst>
            <pc:docMk/>
            <pc:sldMk cId="2803239078" sldId="935"/>
            <ac:spMk id="2" creationId="{CFDF6535-C156-7ADE-BFD5-5D34028DCE11}"/>
          </ac:spMkLst>
        </pc:spChg>
        <pc:spChg chg="del mod">
          <ac:chgData name="Nataliia Chornii (UA)" userId="4e4b8b3d-5f31-49bb-9f80-8a25c04abfff" providerId="ADAL" clId="{52163427-3E63-4487-BD88-23EA5CCD03BB}" dt="2024-03-12T12:22:55.402" v="237" actId="478"/>
          <ac:spMkLst>
            <pc:docMk/>
            <pc:sldMk cId="2803239078" sldId="935"/>
            <ac:spMk id="30" creationId="{E80D5E30-E7FF-0A93-7A54-BD57D8324802}"/>
          </ac:spMkLst>
        </pc:spChg>
        <pc:spChg chg="mod">
          <ac:chgData name="Nataliia Chornii (UA)" userId="4e4b8b3d-5f31-49bb-9f80-8a25c04abfff" providerId="ADAL" clId="{52163427-3E63-4487-BD88-23EA5CCD03BB}" dt="2024-03-12T12:22:56.197" v="238"/>
          <ac:spMkLst>
            <pc:docMk/>
            <pc:sldMk cId="2803239078" sldId="935"/>
            <ac:spMk id="31" creationId="{C8263305-B919-3DC6-F882-1E737C5B2AED}"/>
          </ac:spMkLst>
        </pc:spChg>
        <pc:spChg chg="mod">
          <ac:chgData name="Nataliia Chornii (UA)" userId="4e4b8b3d-5f31-49bb-9f80-8a25c04abfff" providerId="ADAL" clId="{52163427-3E63-4487-BD88-23EA5CCD03BB}" dt="2024-03-12T12:22:56.197" v="238"/>
          <ac:spMkLst>
            <pc:docMk/>
            <pc:sldMk cId="2803239078" sldId="935"/>
            <ac:spMk id="33" creationId="{052A78D0-A332-7F92-B18D-368CC62F7024}"/>
          </ac:spMkLst>
        </pc:spChg>
        <pc:grpChg chg="add mod">
          <ac:chgData name="Nataliia Chornii (UA)" userId="4e4b8b3d-5f31-49bb-9f80-8a25c04abfff" providerId="ADAL" clId="{52163427-3E63-4487-BD88-23EA5CCD03BB}" dt="2024-03-12T12:22:56.197" v="238"/>
          <ac:grpSpMkLst>
            <pc:docMk/>
            <pc:sldMk cId="2803239078" sldId="935"/>
            <ac:grpSpMk id="23" creationId="{096455D1-C7FC-68A6-50AB-47A060BA669E}"/>
          </ac:grpSpMkLst>
        </pc:grpChg>
      </pc:sldChg>
      <pc:sldChg chg="addSp delSp modSp mod">
        <pc:chgData name="Nataliia Chornii (UA)" userId="4e4b8b3d-5f31-49bb-9f80-8a25c04abfff" providerId="ADAL" clId="{52163427-3E63-4487-BD88-23EA5CCD03BB}" dt="2024-03-12T12:26:45.514" v="391" actId="207"/>
        <pc:sldMkLst>
          <pc:docMk/>
          <pc:sldMk cId="1939332489" sldId="936"/>
        </pc:sldMkLst>
        <pc:spChg chg="mod">
          <ac:chgData name="Nataliia Chornii (UA)" userId="4e4b8b3d-5f31-49bb-9f80-8a25c04abfff" providerId="ADAL" clId="{52163427-3E63-4487-BD88-23EA5CCD03BB}" dt="2024-03-12T12:26:45.514" v="391" actId="207"/>
          <ac:spMkLst>
            <pc:docMk/>
            <pc:sldMk cId="1939332489" sldId="936"/>
            <ac:spMk id="4" creationId="{872966CD-924A-B939-E655-A6BAF817DCBF}"/>
          </ac:spMkLst>
        </pc:spChg>
        <pc:spChg chg="mod">
          <ac:chgData name="Nataliia Chornii (UA)" userId="4e4b8b3d-5f31-49bb-9f80-8a25c04abfff" providerId="ADAL" clId="{52163427-3E63-4487-BD88-23EA5CCD03BB}" dt="2024-03-12T12:23:23.884" v="249"/>
          <ac:spMkLst>
            <pc:docMk/>
            <pc:sldMk cId="1939332489" sldId="936"/>
            <ac:spMk id="20" creationId="{A8752193-2A58-13EA-3103-0E80B371FBA1}"/>
          </ac:spMkLst>
        </pc:spChg>
        <pc:spChg chg="mod">
          <ac:chgData name="Nataliia Chornii (UA)" userId="4e4b8b3d-5f31-49bb-9f80-8a25c04abfff" providerId="ADAL" clId="{52163427-3E63-4487-BD88-23EA5CCD03BB}" dt="2024-03-12T11:09:35.324" v="43"/>
          <ac:spMkLst>
            <pc:docMk/>
            <pc:sldMk cId="1939332489" sldId="936"/>
            <ac:spMk id="22" creationId="{DA3782D5-EFBB-96B7-5592-6EB524123095}"/>
          </ac:spMkLst>
        </pc:spChg>
        <pc:spChg chg="mod">
          <ac:chgData name="Nataliia Chornii (UA)" userId="4e4b8b3d-5f31-49bb-9f80-8a25c04abfff" providerId="ADAL" clId="{52163427-3E63-4487-BD88-23EA5CCD03BB}" dt="2024-03-12T12:23:23.884" v="249"/>
          <ac:spMkLst>
            <pc:docMk/>
            <pc:sldMk cId="1939332489" sldId="936"/>
            <ac:spMk id="25" creationId="{D810FC61-59CA-09C2-0F28-39C5292CDDE7}"/>
          </ac:spMkLst>
        </pc:spChg>
        <pc:spChg chg="del">
          <ac:chgData name="Nataliia Chornii (UA)" userId="4e4b8b3d-5f31-49bb-9f80-8a25c04abfff" providerId="ADAL" clId="{52163427-3E63-4487-BD88-23EA5CCD03BB}" dt="2024-03-12T12:23:23.507" v="248" actId="478"/>
          <ac:spMkLst>
            <pc:docMk/>
            <pc:sldMk cId="1939332489" sldId="936"/>
            <ac:spMk id="32" creationId="{2994670C-A959-FD9E-A900-217223B2DE3C}"/>
          </ac:spMkLst>
        </pc:spChg>
        <pc:grpChg chg="add mod">
          <ac:chgData name="Nataliia Chornii (UA)" userId="4e4b8b3d-5f31-49bb-9f80-8a25c04abfff" providerId="ADAL" clId="{52163427-3E63-4487-BD88-23EA5CCD03BB}" dt="2024-03-12T12:23:23.884" v="249"/>
          <ac:grpSpMkLst>
            <pc:docMk/>
            <pc:sldMk cId="1939332489" sldId="936"/>
            <ac:grpSpMk id="18" creationId="{59C0A1B7-030B-0D38-3248-60CDB0F521AA}"/>
          </ac:grpSpMkLst>
        </pc:grpChg>
      </pc:sldChg>
      <pc:sldChg chg="addSp delSp modSp mod">
        <pc:chgData name="Nataliia Chornii (UA)" userId="4e4b8b3d-5f31-49bb-9f80-8a25c04abfff" providerId="ADAL" clId="{52163427-3E63-4487-BD88-23EA5CCD03BB}" dt="2024-03-12T12:23:12.932" v="247" actId="1076"/>
        <pc:sldMkLst>
          <pc:docMk/>
          <pc:sldMk cId="1263375755" sldId="937"/>
        </pc:sldMkLst>
        <pc:spChg chg="mod">
          <ac:chgData name="Nataliia Chornii (UA)" userId="4e4b8b3d-5f31-49bb-9f80-8a25c04abfff" providerId="ADAL" clId="{52163427-3E63-4487-BD88-23EA5CCD03BB}" dt="2024-03-12T11:09:32.849" v="42"/>
          <ac:spMkLst>
            <pc:docMk/>
            <pc:sldMk cId="1263375755" sldId="937"/>
            <ac:spMk id="2" creationId="{ED2943CD-16EE-91FE-30AA-1E91969505A6}"/>
          </ac:spMkLst>
        </pc:spChg>
        <pc:spChg chg="mod">
          <ac:chgData name="Nataliia Chornii (UA)" userId="4e4b8b3d-5f31-49bb-9f80-8a25c04abfff" providerId="ADAL" clId="{52163427-3E63-4487-BD88-23EA5CCD03BB}" dt="2024-03-12T12:23:12.932" v="247" actId="1076"/>
          <ac:spMkLst>
            <pc:docMk/>
            <pc:sldMk cId="1263375755" sldId="937"/>
            <ac:spMk id="6" creationId="{6BDFFD0F-D669-CBFC-F79D-1F7CE72AB8C2}"/>
          </ac:spMkLst>
        </pc:spChg>
        <pc:spChg chg="del mod">
          <ac:chgData name="Nataliia Chornii (UA)" userId="4e4b8b3d-5f31-49bb-9f80-8a25c04abfff" providerId="ADAL" clId="{52163427-3E63-4487-BD88-23EA5CCD03BB}" dt="2024-03-12T12:23:06.518" v="242" actId="478"/>
          <ac:spMkLst>
            <pc:docMk/>
            <pc:sldMk cId="1263375755" sldId="937"/>
            <ac:spMk id="23" creationId="{25611068-7DDA-B2EC-9592-2476E3129359}"/>
          </ac:spMkLst>
        </pc:spChg>
        <pc:spChg chg="mod">
          <ac:chgData name="Nataliia Chornii (UA)" userId="4e4b8b3d-5f31-49bb-9f80-8a25c04abfff" providerId="ADAL" clId="{52163427-3E63-4487-BD88-23EA5CCD03BB}" dt="2024-03-12T12:23:11.782" v="245" actId="3064"/>
          <ac:spMkLst>
            <pc:docMk/>
            <pc:sldMk cId="1263375755" sldId="937"/>
            <ac:spMk id="26" creationId="{93CC1AF4-5735-FAF5-28CE-FDE084412226}"/>
          </ac:spMkLst>
        </pc:spChg>
        <pc:spChg chg="mod">
          <ac:chgData name="Nataliia Chornii (UA)" userId="4e4b8b3d-5f31-49bb-9f80-8a25c04abfff" providerId="ADAL" clId="{52163427-3E63-4487-BD88-23EA5CCD03BB}" dt="2024-03-12T12:23:00.935" v="240"/>
          <ac:spMkLst>
            <pc:docMk/>
            <pc:sldMk cId="1263375755" sldId="937"/>
            <ac:spMk id="27" creationId="{1CFCD6D0-F1EF-88E9-3615-98FAF8A8B978}"/>
          </ac:spMkLst>
        </pc:spChg>
        <pc:grpChg chg="add mod">
          <ac:chgData name="Nataliia Chornii (UA)" userId="4e4b8b3d-5f31-49bb-9f80-8a25c04abfff" providerId="ADAL" clId="{52163427-3E63-4487-BD88-23EA5CCD03BB}" dt="2024-03-12T12:23:00.935" v="240"/>
          <ac:grpSpMkLst>
            <pc:docMk/>
            <pc:sldMk cId="1263375755" sldId="937"/>
            <ac:grpSpMk id="25" creationId="{5426D644-7CFD-72FF-3126-536E033DF25C}"/>
          </ac:grpSpMkLst>
        </pc:grpChg>
      </pc:sldChg>
      <pc:sldChg chg="addSp delSp modSp mod">
        <pc:chgData name="Nataliia Chornii (UA)" userId="4e4b8b3d-5f31-49bb-9f80-8a25c04abfff" providerId="ADAL" clId="{52163427-3E63-4487-BD88-23EA5CCD03BB}" dt="2024-03-12T12:26:49.016" v="392" actId="207"/>
        <pc:sldMkLst>
          <pc:docMk/>
          <pc:sldMk cId="2976985460" sldId="938"/>
        </pc:sldMkLst>
        <pc:spChg chg="mod">
          <ac:chgData name="Nataliia Chornii (UA)" userId="4e4b8b3d-5f31-49bb-9f80-8a25c04abfff" providerId="ADAL" clId="{52163427-3E63-4487-BD88-23EA5CCD03BB}" dt="2024-03-12T11:09:37.071" v="44"/>
          <ac:spMkLst>
            <pc:docMk/>
            <pc:sldMk cId="2976985460" sldId="938"/>
            <ac:spMk id="2" creationId="{522041E8-8E88-02C5-E03A-E769C521DA8E}"/>
          </ac:spMkLst>
        </pc:spChg>
        <pc:spChg chg="mod">
          <ac:chgData name="Nataliia Chornii (UA)" userId="4e4b8b3d-5f31-49bb-9f80-8a25c04abfff" providerId="ADAL" clId="{52163427-3E63-4487-BD88-23EA5CCD03BB}" dt="2024-03-12T12:26:49.016" v="392" actId="207"/>
          <ac:spMkLst>
            <pc:docMk/>
            <pc:sldMk cId="2976985460" sldId="938"/>
            <ac:spMk id="4" creationId="{872966CD-924A-B939-E655-A6BAF817DCBF}"/>
          </ac:spMkLst>
        </pc:spChg>
        <pc:spChg chg="del mod">
          <ac:chgData name="Nataliia Chornii (UA)" userId="4e4b8b3d-5f31-49bb-9f80-8a25c04abfff" providerId="ADAL" clId="{52163427-3E63-4487-BD88-23EA5CCD03BB}" dt="2024-03-12T12:23:28.844" v="251" actId="478"/>
          <ac:spMkLst>
            <pc:docMk/>
            <pc:sldMk cId="2976985460" sldId="938"/>
            <ac:spMk id="23" creationId="{B57D46C5-1D17-93F3-422D-931D413F17E2}"/>
          </ac:spMkLst>
        </pc:spChg>
        <pc:spChg chg="mod">
          <ac:chgData name="Nataliia Chornii (UA)" userId="4e4b8b3d-5f31-49bb-9f80-8a25c04abfff" providerId="ADAL" clId="{52163427-3E63-4487-BD88-23EA5CCD03BB}" dt="2024-03-12T12:23:29.191" v="252"/>
          <ac:spMkLst>
            <pc:docMk/>
            <pc:sldMk cId="2976985460" sldId="938"/>
            <ac:spMk id="26" creationId="{EBEA41E2-D524-614A-1D5A-D4E30027DBEB}"/>
          </ac:spMkLst>
        </pc:spChg>
        <pc:spChg chg="mod">
          <ac:chgData name="Nataliia Chornii (UA)" userId="4e4b8b3d-5f31-49bb-9f80-8a25c04abfff" providerId="ADAL" clId="{52163427-3E63-4487-BD88-23EA5CCD03BB}" dt="2024-03-12T12:23:29.191" v="252"/>
          <ac:spMkLst>
            <pc:docMk/>
            <pc:sldMk cId="2976985460" sldId="938"/>
            <ac:spMk id="27" creationId="{B4EED10B-54A1-7B9A-DA53-46AB40847E3D}"/>
          </ac:spMkLst>
        </pc:spChg>
        <pc:grpChg chg="add mod">
          <ac:chgData name="Nataliia Chornii (UA)" userId="4e4b8b3d-5f31-49bb-9f80-8a25c04abfff" providerId="ADAL" clId="{52163427-3E63-4487-BD88-23EA5CCD03BB}" dt="2024-03-12T12:23:29.191" v="252"/>
          <ac:grpSpMkLst>
            <pc:docMk/>
            <pc:sldMk cId="2976985460" sldId="938"/>
            <ac:grpSpMk id="25" creationId="{1109D70E-6C4A-B808-2E0F-25DA50FFAC3B}"/>
          </ac:grpSpMkLst>
        </pc:grpChg>
      </pc:sldChg>
      <pc:sldChg chg="addSp delSp modSp mod">
        <pc:chgData name="Nataliia Chornii (UA)" userId="4e4b8b3d-5f31-49bb-9f80-8a25c04abfff" providerId="ADAL" clId="{52163427-3E63-4487-BD88-23EA5CCD03BB}" dt="2024-03-12T12:24:22.391" v="270" actId="164"/>
        <pc:sldMkLst>
          <pc:docMk/>
          <pc:sldMk cId="558100583" sldId="939"/>
        </pc:sldMkLst>
        <pc:spChg chg="mod">
          <ac:chgData name="Nataliia Chornii (UA)" userId="4e4b8b3d-5f31-49bb-9f80-8a25c04abfff" providerId="ADAL" clId="{52163427-3E63-4487-BD88-23EA5CCD03BB}" dt="2024-03-12T11:09:38.557" v="45"/>
          <ac:spMkLst>
            <pc:docMk/>
            <pc:sldMk cId="558100583" sldId="939"/>
            <ac:spMk id="2" creationId="{1E225718-E008-467A-5BFC-8A08C55E0544}"/>
          </ac:spMkLst>
        </pc:spChg>
        <pc:spChg chg="del mod">
          <ac:chgData name="Nataliia Chornii (UA)" userId="4e4b8b3d-5f31-49bb-9f80-8a25c04abfff" providerId="ADAL" clId="{52163427-3E63-4487-BD88-23EA5CCD03BB}" dt="2024-03-12T12:23:41.102" v="257" actId="478"/>
          <ac:spMkLst>
            <pc:docMk/>
            <pc:sldMk cId="558100583" sldId="939"/>
            <ac:spMk id="30" creationId="{27823F89-4964-863D-A03A-9A8E94BFE0D8}"/>
          </ac:spMkLst>
        </pc:spChg>
        <pc:spChg chg="mod topLvl">
          <ac:chgData name="Nataliia Chornii (UA)" userId="4e4b8b3d-5f31-49bb-9f80-8a25c04abfff" providerId="ADAL" clId="{52163427-3E63-4487-BD88-23EA5CCD03BB}" dt="2024-03-12T12:24:22.391" v="270" actId="164"/>
          <ac:spMkLst>
            <pc:docMk/>
            <pc:sldMk cId="558100583" sldId="939"/>
            <ac:spMk id="33" creationId="{312D369A-CC40-B8F5-631A-A9E34C7452EE}"/>
          </ac:spMkLst>
        </pc:spChg>
        <pc:spChg chg="mod topLvl">
          <ac:chgData name="Nataliia Chornii (UA)" userId="4e4b8b3d-5f31-49bb-9f80-8a25c04abfff" providerId="ADAL" clId="{52163427-3E63-4487-BD88-23EA5CCD03BB}" dt="2024-03-12T12:24:22.391" v="270" actId="164"/>
          <ac:spMkLst>
            <pc:docMk/>
            <pc:sldMk cId="558100583" sldId="939"/>
            <ac:spMk id="34" creationId="{D3CC88FF-6286-C940-EE45-65706753B659}"/>
          </ac:spMkLst>
        </pc:spChg>
        <pc:grpChg chg="add del mod">
          <ac:chgData name="Nataliia Chornii (UA)" userId="4e4b8b3d-5f31-49bb-9f80-8a25c04abfff" providerId="ADAL" clId="{52163427-3E63-4487-BD88-23EA5CCD03BB}" dt="2024-03-12T12:24:20.371" v="268" actId="165"/>
          <ac:grpSpMkLst>
            <pc:docMk/>
            <pc:sldMk cId="558100583" sldId="939"/>
            <ac:grpSpMk id="32" creationId="{649A2156-5AD6-204D-86E0-16EBA73EAA4B}"/>
          </ac:grpSpMkLst>
        </pc:grpChg>
        <pc:grpChg chg="add mod">
          <ac:chgData name="Nataliia Chornii (UA)" userId="4e4b8b3d-5f31-49bb-9f80-8a25c04abfff" providerId="ADAL" clId="{52163427-3E63-4487-BD88-23EA5CCD03BB}" dt="2024-03-12T12:24:22.391" v="270" actId="164"/>
          <ac:grpSpMkLst>
            <pc:docMk/>
            <pc:sldMk cId="558100583" sldId="939"/>
            <ac:grpSpMk id="35" creationId="{DE754E08-BB00-B980-A307-12C13C90E8DB}"/>
          </ac:grpSpMkLst>
        </pc:grpChg>
      </pc:sldChg>
      <pc:sldChg chg="addSp delSp modSp mod">
        <pc:chgData name="Nataliia Chornii (UA)" userId="4e4b8b3d-5f31-49bb-9f80-8a25c04abfff" providerId="ADAL" clId="{52163427-3E63-4487-BD88-23EA5CCD03BB}" dt="2024-03-12T12:24:27.937" v="272"/>
        <pc:sldMkLst>
          <pc:docMk/>
          <pc:sldMk cId="2169785454" sldId="940"/>
        </pc:sldMkLst>
        <pc:spChg chg="mod">
          <ac:chgData name="Nataliia Chornii (UA)" userId="4e4b8b3d-5f31-49bb-9f80-8a25c04abfff" providerId="ADAL" clId="{52163427-3E63-4487-BD88-23EA5CCD03BB}" dt="2024-03-12T11:09:40.126" v="46"/>
          <ac:spMkLst>
            <pc:docMk/>
            <pc:sldMk cId="2169785454" sldId="940"/>
            <ac:spMk id="2" creationId="{26CBEC25-69EE-FABD-D9B3-821EC29127F9}"/>
          </ac:spMkLst>
        </pc:spChg>
        <pc:spChg chg="del mod">
          <ac:chgData name="Nataliia Chornii (UA)" userId="4e4b8b3d-5f31-49bb-9f80-8a25c04abfff" providerId="ADAL" clId="{52163427-3E63-4487-BD88-23EA5CCD03BB}" dt="2024-03-12T12:24:02.276" v="263" actId="478"/>
          <ac:spMkLst>
            <pc:docMk/>
            <pc:sldMk cId="2169785454" sldId="940"/>
            <ac:spMk id="21" creationId="{5F3D2569-C1F1-791B-F491-08CB63AD8D90}"/>
          </ac:spMkLst>
        </pc:spChg>
        <pc:spChg chg="mod">
          <ac:chgData name="Nataliia Chornii (UA)" userId="4e4b8b3d-5f31-49bb-9f80-8a25c04abfff" providerId="ADAL" clId="{52163427-3E63-4487-BD88-23EA5CCD03BB}" dt="2024-03-12T12:23:59.051" v="262"/>
          <ac:spMkLst>
            <pc:docMk/>
            <pc:sldMk cId="2169785454" sldId="940"/>
            <ac:spMk id="23" creationId="{9F565B03-B91A-4A57-230F-C674CFD42994}"/>
          </ac:spMkLst>
        </pc:spChg>
        <pc:spChg chg="mod">
          <ac:chgData name="Nataliia Chornii (UA)" userId="4e4b8b3d-5f31-49bb-9f80-8a25c04abfff" providerId="ADAL" clId="{52163427-3E63-4487-BD88-23EA5CCD03BB}" dt="2024-03-12T12:23:59.051" v="262"/>
          <ac:spMkLst>
            <pc:docMk/>
            <pc:sldMk cId="2169785454" sldId="940"/>
            <ac:spMk id="24" creationId="{6241C636-F08A-858D-8C86-5A63C45B196A}"/>
          </ac:spMkLst>
        </pc:spChg>
        <pc:spChg chg="mod">
          <ac:chgData name="Nataliia Chornii (UA)" userId="4e4b8b3d-5f31-49bb-9f80-8a25c04abfff" providerId="ADAL" clId="{52163427-3E63-4487-BD88-23EA5CCD03BB}" dt="2024-03-12T12:24:27.937" v="272"/>
          <ac:spMkLst>
            <pc:docMk/>
            <pc:sldMk cId="2169785454" sldId="940"/>
            <ac:spMk id="27" creationId="{469C9D93-50A4-5B2B-F704-EC09936EEECD}"/>
          </ac:spMkLst>
        </pc:spChg>
        <pc:spChg chg="mod">
          <ac:chgData name="Nataliia Chornii (UA)" userId="4e4b8b3d-5f31-49bb-9f80-8a25c04abfff" providerId="ADAL" clId="{52163427-3E63-4487-BD88-23EA5CCD03BB}" dt="2024-03-12T12:24:27.937" v="272"/>
          <ac:spMkLst>
            <pc:docMk/>
            <pc:sldMk cId="2169785454" sldId="940"/>
            <ac:spMk id="28" creationId="{A4C79EC0-5C27-3DDA-AD3B-409B7D704DEC}"/>
          </ac:spMkLst>
        </pc:spChg>
        <pc:grpChg chg="add del mod">
          <ac:chgData name="Nataliia Chornii (UA)" userId="4e4b8b3d-5f31-49bb-9f80-8a25c04abfff" providerId="ADAL" clId="{52163427-3E63-4487-BD88-23EA5CCD03BB}" dt="2024-03-12T12:24:27.334" v="271" actId="478"/>
          <ac:grpSpMkLst>
            <pc:docMk/>
            <pc:sldMk cId="2169785454" sldId="940"/>
            <ac:grpSpMk id="22" creationId="{72C7FAA7-AD0F-EA4C-C474-6D4FC95E4F8D}"/>
          </ac:grpSpMkLst>
        </pc:grpChg>
        <pc:grpChg chg="add mod">
          <ac:chgData name="Nataliia Chornii (UA)" userId="4e4b8b3d-5f31-49bb-9f80-8a25c04abfff" providerId="ADAL" clId="{52163427-3E63-4487-BD88-23EA5CCD03BB}" dt="2024-03-12T12:24:27.937" v="272"/>
          <ac:grpSpMkLst>
            <pc:docMk/>
            <pc:sldMk cId="2169785454" sldId="940"/>
            <ac:grpSpMk id="26" creationId="{47E9C767-523E-A201-9C13-87E61A5EE729}"/>
          </ac:grpSpMkLst>
        </pc:grpChg>
      </pc:sldChg>
      <pc:sldChg chg="addSp delSp modSp mod">
        <pc:chgData name="Nataliia Chornii (UA)" userId="4e4b8b3d-5f31-49bb-9f80-8a25c04abfff" providerId="ADAL" clId="{52163427-3E63-4487-BD88-23EA5CCD03BB}" dt="2024-03-12T12:24:41.533" v="276" actId="478"/>
        <pc:sldMkLst>
          <pc:docMk/>
          <pc:sldMk cId="4229434319" sldId="941"/>
        </pc:sldMkLst>
        <pc:spChg chg="add del mod modVis">
          <ac:chgData name="Nataliia Chornii (UA)" userId="4e4b8b3d-5f31-49bb-9f80-8a25c04abfff" providerId="ADAL" clId="{52163427-3E63-4487-BD88-23EA5CCD03BB}" dt="2024-03-12T11:09:46.786" v="72"/>
          <ac:spMkLst>
            <pc:docMk/>
            <pc:sldMk cId="4229434319" sldId="941"/>
            <ac:spMk id="2" creationId="{85F2E3E3-0D8F-D850-2C77-FD030572E091}"/>
          </ac:spMkLst>
        </pc:spChg>
        <pc:spChg chg="mod">
          <ac:chgData name="Nataliia Chornii (UA)" userId="4e4b8b3d-5f31-49bb-9f80-8a25c04abfff" providerId="ADAL" clId="{52163427-3E63-4487-BD88-23EA5CCD03BB}" dt="2024-03-12T11:09:46.723" v="49" actId="948"/>
          <ac:spMkLst>
            <pc:docMk/>
            <pc:sldMk cId="4229434319" sldId="941"/>
            <ac:spMk id="3" creationId="{F4CCF02E-F3C4-C376-8F56-61BD85A2E74B}"/>
          </ac:spMkLst>
        </pc:spChg>
        <pc:spChg chg="mod">
          <ac:chgData name="Nataliia Chornii (UA)" userId="4e4b8b3d-5f31-49bb-9f80-8a25c04abfff" providerId="ADAL" clId="{52163427-3E63-4487-BD88-23EA5CCD03BB}" dt="2024-03-12T11:09:42.048" v="47"/>
          <ac:spMkLst>
            <pc:docMk/>
            <pc:sldMk cId="4229434319" sldId="941"/>
            <ac:spMk id="5" creationId="{3EE9A8D7-974A-0CF9-3140-9CBC7B279E05}"/>
          </ac:spMkLst>
        </pc:spChg>
        <pc:spChg chg="mod">
          <ac:chgData name="Nataliia Chornii (UA)" userId="4e4b8b3d-5f31-49bb-9f80-8a25c04abfff" providerId="ADAL" clId="{52163427-3E63-4487-BD88-23EA5CCD03BB}" dt="2024-03-12T12:24:40.285" v="275"/>
          <ac:spMkLst>
            <pc:docMk/>
            <pc:sldMk cId="4229434319" sldId="941"/>
            <ac:spMk id="23" creationId="{741B907D-7A83-A3AE-8435-171CA406F057}"/>
          </ac:spMkLst>
        </pc:spChg>
        <pc:spChg chg="del mod">
          <ac:chgData name="Nataliia Chornii (UA)" userId="4e4b8b3d-5f31-49bb-9f80-8a25c04abfff" providerId="ADAL" clId="{52163427-3E63-4487-BD88-23EA5CCD03BB}" dt="2024-03-12T12:24:41.533" v="276" actId="478"/>
          <ac:spMkLst>
            <pc:docMk/>
            <pc:sldMk cId="4229434319" sldId="941"/>
            <ac:spMk id="29" creationId="{10CF8497-44F6-D4A2-BC21-9718267BF46C}"/>
          </ac:spMkLst>
        </pc:spChg>
        <pc:spChg chg="mod">
          <ac:chgData name="Nataliia Chornii (UA)" userId="4e4b8b3d-5f31-49bb-9f80-8a25c04abfff" providerId="ADAL" clId="{52163427-3E63-4487-BD88-23EA5CCD03BB}" dt="2024-03-12T12:24:36.117" v="274"/>
          <ac:spMkLst>
            <pc:docMk/>
            <pc:sldMk cId="4229434319" sldId="941"/>
            <ac:spMk id="30" creationId="{670429FC-0BF9-4D66-697C-24E16A7CB369}"/>
          </ac:spMkLst>
        </pc:spChg>
        <pc:grpChg chg="add mod">
          <ac:chgData name="Nataliia Chornii (UA)" userId="4e4b8b3d-5f31-49bb-9f80-8a25c04abfff" providerId="ADAL" clId="{52163427-3E63-4487-BD88-23EA5CCD03BB}" dt="2024-03-12T12:24:36.117" v="274"/>
          <ac:grpSpMkLst>
            <pc:docMk/>
            <pc:sldMk cId="4229434319" sldId="941"/>
            <ac:grpSpMk id="2" creationId="{6D238C93-22D9-249A-7A45-198757C3913C}"/>
          </ac:grpSpMkLst>
        </pc:grpChg>
        <pc:grpChg chg="mod">
          <ac:chgData name="Nataliia Chornii (UA)" userId="4e4b8b3d-5f31-49bb-9f80-8a25c04abfff" providerId="ADAL" clId="{52163427-3E63-4487-BD88-23EA5CCD03BB}" dt="2024-03-12T11:09:46.180" v="48" actId="553"/>
          <ac:grpSpMkLst>
            <pc:docMk/>
            <pc:sldMk cId="4229434319" sldId="941"/>
            <ac:grpSpMk id="20" creationId="{1476811F-6F80-556F-F119-B8BF7156FE00}"/>
          </ac:grpSpMkLst>
        </pc:grpChg>
        <pc:graphicFrameChg chg="mod">
          <ac:chgData name="Nataliia Chornii (UA)" userId="4e4b8b3d-5f31-49bb-9f80-8a25c04abfff" providerId="ADAL" clId="{52163427-3E63-4487-BD88-23EA5CCD03BB}" dt="2024-03-12T11:09:46.786" v="74"/>
          <ac:graphicFrameMkLst>
            <pc:docMk/>
            <pc:sldMk cId="4229434319" sldId="941"/>
            <ac:graphicFrameMk id="9" creationId="{D9E6BB6A-4571-FBF8-9A7D-06ADE4374D4D}"/>
          </ac:graphicFrameMkLst>
        </pc:graphicFrameChg>
      </pc:sldChg>
      <pc:sldChg chg="addSp delSp modSp mod">
        <pc:chgData name="Nataliia Chornii (UA)" userId="4e4b8b3d-5f31-49bb-9f80-8a25c04abfff" providerId="ADAL" clId="{52163427-3E63-4487-BD88-23EA5CCD03BB}" dt="2024-03-12T12:24:46.689" v="279" actId="478"/>
        <pc:sldMkLst>
          <pc:docMk/>
          <pc:sldMk cId="3615584869" sldId="942"/>
        </pc:sldMkLst>
        <pc:spChg chg="mod">
          <ac:chgData name="Nataliia Chornii (UA)" userId="4e4b8b3d-5f31-49bb-9f80-8a25c04abfff" providerId="ADAL" clId="{52163427-3E63-4487-BD88-23EA5CCD03BB}" dt="2024-03-12T11:09:49.584" v="75"/>
          <ac:spMkLst>
            <pc:docMk/>
            <pc:sldMk cId="3615584869" sldId="942"/>
            <ac:spMk id="2" creationId="{8EE1DE98-DB4B-314F-4BB5-97B8B97A8B14}"/>
          </ac:spMkLst>
        </pc:spChg>
        <pc:spChg chg="del mod">
          <ac:chgData name="Nataliia Chornii (UA)" userId="4e4b8b3d-5f31-49bb-9f80-8a25c04abfff" providerId="ADAL" clId="{52163427-3E63-4487-BD88-23EA5CCD03BB}" dt="2024-03-12T12:24:46.689" v="279" actId="478"/>
          <ac:spMkLst>
            <pc:docMk/>
            <pc:sldMk cId="3615584869" sldId="942"/>
            <ac:spMk id="25" creationId="{75EFC37F-1063-4F82-B810-0A2208C5BE0E}"/>
          </ac:spMkLst>
        </pc:spChg>
        <pc:spChg chg="mod">
          <ac:chgData name="Nataliia Chornii (UA)" userId="4e4b8b3d-5f31-49bb-9f80-8a25c04abfff" providerId="ADAL" clId="{52163427-3E63-4487-BD88-23EA5CCD03BB}" dt="2024-03-12T12:24:45.528" v="278"/>
          <ac:spMkLst>
            <pc:docMk/>
            <pc:sldMk cId="3615584869" sldId="942"/>
            <ac:spMk id="33" creationId="{A4334331-5F84-6273-1AF0-089D538C43F6}"/>
          </ac:spMkLst>
        </pc:spChg>
        <pc:spChg chg="mod">
          <ac:chgData name="Nataliia Chornii (UA)" userId="4e4b8b3d-5f31-49bb-9f80-8a25c04abfff" providerId="ADAL" clId="{52163427-3E63-4487-BD88-23EA5CCD03BB}" dt="2024-03-12T12:24:45.528" v="278"/>
          <ac:spMkLst>
            <pc:docMk/>
            <pc:sldMk cId="3615584869" sldId="942"/>
            <ac:spMk id="34" creationId="{A5134FB1-B788-69C1-DC74-5A91615C6113}"/>
          </ac:spMkLst>
        </pc:spChg>
        <pc:grpChg chg="add mod">
          <ac:chgData name="Nataliia Chornii (UA)" userId="4e4b8b3d-5f31-49bb-9f80-8a25c04abfff" providerId="ADAL" clId="{52163427-3E63-4487-BD88-23EA5CCD03BB}" dt="2024-03-12T12:24:45.528" v="278"/>
          <ac:grpSpMkLst>
            <pc:docMk/>
            <pc:sldMk cId="3615584869" sldId="942"/>
            <ac:grpSpMk id="32" creationId="{D2005991-8570-9E35-F692-CF8213DEC4AF}"/>
          </ac:grpSpMkLst>
        </pc:grpChg>
      </pc:sldChg>
      <pc:sldChg chg="addSp delSp modSp mod">
        <pc:chgData name="Nataliia Chornii (UA)" userId="4e4b8b3d-5f31-49bb-9f80-8a25c04abfff" providerId="ADAL" clId="{52163427-3E63-4487-BD88-23EA5CCD03BB}" dt="2024-03-12T12:25:24.875" v="380"/>
        <pc:sldMkLst>
          <pc:docMk/>
          <pc:sldMk cId="2603595337" sldId="945"/>
        </pc:sldMkLst>
        <pc:spChg chg="mod">
          <ac:chgData name="Nataliia Chornii (UA)" userId="4e4b8b3d-5f31-49bb-9f80-8a25c04abfff" providerId="ADAL" clId="{52163427-3E63-4487-BD88-23EA5CCD03BB}" dt="2024-03-12T11:09:59.387" v="81"/>
          <ac:spMkLst>
            <pc:docMk/>
            <pc:sldMk cId="2603595337" sldId="945"/>
            <ac:spMk id="2" creationId="{4C2946A7-6CE6-A78A-F248-0C0A646E970B}"/>
          </ac:spMkLst>
        </pc:spChg>
        <pc:spChg chg="mod">
          <ac:chgData name="Nataliia Chornii (UA)" userId="4e4b8b3d-5f31-49bb-9f80-8a25c04abfff" providerId="ADAL" clId="{52163427-3E63-4487-BD88-23EA5CCD03BB}" dt="2024-03-12T12:25:24.875" v="380"/>
          <ac:spMkLst>
            <pc:docMk/>
            <pc:sldMk cId="2603595337" sldId="945"/>
            <ac:spMk id="17" creationId="{D71C372B-9CBA-6149-8C68-05B504C8427B}"/>
          </ac:spMkLst>
        </pc:spChg>
        <pc:spChg chg="del">
          <ac:chgData name="Nataliia Chornii (UA)" userId="4e4b8b3d-5f31-49bb-9f80-8a25c04abfff" providerId="ADAL" clId="{52163427-3E63-4487-BD88-23EA5CCD03BB}" dt="2024-03-12T12:25:23.973" v="379" actId="478"/>
          <ac:spMkLst>
            <pc:docMk/>
            <pc:sldMk cId="2603595337" sldId="945"/>
            <ac:spMk id="22" creationId="{335F61F5-5C74-1696-932B-44705F59F366}"/>
          </ac:spMkLst>
        </pc:spChg>
        <pc:spChg chg="mod">
          <ac:chgData name="Nataliia Chornii (UA)" userId="4e4b8b3d-5f31-49bb-9f80-8a25c04abfff" providerId="ADAL" clId="{52163427-3E63-4487-BD88-23EA5CCD03BB}" dt="2024-03-12T12:25:24.875" v="380"/>
          <ac:spMkLst>
            <pc:docMk/>
            <pc:sldMk cId="2603595337" sldId="945"/>
            <ac:spMk id="23" creationId="{D599EDDA-17A7-7C56-D6A0-942E29CED5AE}"/>
          </ac:spMkLst>
        </pc:spChg>
        <pc:grpChg chg="add mod">
          <ac:chgData name="Nataliia Chornii (UA)" userId="4e4b8b3d-5f31-49bb-9f80-8a25c04abfff" providerId="ADAL" clId="{52163427-3E63-4487-BD88-23EA5CCD03BB}" dt="2024-03-12T12:25:24.875" v="380"/>
          <ac:grpSpMkLst>
            <pc:docMk/>
            <pc:sldMk cId="2603595337" sldId="945"/>
            <ac:grpSpMk id="5" creationId="{B51EE77F-1A13-13EC-99B5-675A5A78C732}"/>
          </ac:grpSpMkLst>
        </pc:grpChg>
      </pc:sldChg>
      <pc:sldChg chg="addSp delSp modSp mod">
        <pc:chgData name="Nataliia Chornii (UA)" userId="4e4b8b3d-5f31-49bb-9f80-8a25c04abfff" providerId="ADAL" clId="{52163427-3E63-4487-BD88-23EA5CCD03BB}" dt="2024-03-12T12:25:32.977" v="388"/>
        <pc:sldMkLst>
          <pc:docMk/>
          <pc:sldMk cId="3488828484" sldId="946"/>
        </pc:sldMkLst>
        <pc:spChg chg="mod">
          <ac:chgData name="Nataliia Chornii (UA)" userId="4e4b8b3d-5f31-49bb-9f80-8a25c04abfff" providerId="ADAL" clId="{52163427-3E63-4487-BD88-23EA5CCD03BB}" dt="2024-03-12T11:10:02.070" v="82"/>
          <ac:spMkLst>
            <pc:docMk/>
            <pc:sldMk cId="3488828484" sldId="946"/>
            <ac:spMk id="2" creationId="{8119AA81-D51B-6287-E979-F71003D27C65}"/>
          </ac:spMkLst>
        </pc:spChg>
        <pc:spChg chg="del">
          <ac:chgData name="Nataliia Chornii (UA)" userId="4e4b8b3d-5f31-49bb-9f80-8a25c04abfff" providerId="ADAL" clId="{52163427-3E63-4487-BD88-23EA5CCD03BB}" dt="2024-03-12T12:25:32.142" v="387" actId="478"/>
          <ac:spMkLst>
            <pc:docMk/>
            <pc:sldMk cId="3488828484" sldId="946"/>
            <ac:spMk id="16" creationId="{BF1741C3-C6E1-695F-CF3F-D21D1E19FEB8}"/>
          </ac:spMkLst>
        </pc:spChg>
        <pc:spChg chg="add del mod">
          <ac:chgData name="Nataliia Chornii (UA)" userId="4e4b8b3d-5f31-49bb-9f80-8a25c04abfff" providerId="ADAL" clId="{52163427-3E63-4487-BD88-23EA5CCD03BB}" dt="2024-03-12T12:25:31.182" v="386" actId="571"/>
          <ac:spMkLst>
            <pc:docMk/>
            <pc:sldMk cId="3488828484" sldId="946"/>
            <ac:spMk id="17" creationId="{4FF46D52-2797-A3E4-ABC7-527CEC09BF1F}"/>
          </ac:spMkLst>
        </pc:spChg>
        <pc:spChg chg="mod">
          <ac:chgData name="Nataliia Chornii (UA)" userId="4e4b8b3d-5f31-49bb-9f80-8a25c04abfff" providerId="ADAL" clId="{52163427-3E63-4487-BD88-23EA5CCD03BB}" dt="2024-03-12T12:25:27.873" v="382"/>
          <ac:spMkLst>
            <pc:docMk/>
            <pc:sldMk cId="3488828484" sldId="946"/>
            <ac:spMk id="19" creationId="{598A1673-9DDD-5F40-4DB1-F7409FEACFF5}"/>
          </ac:spMkLst>
        </pc:spChg>
        <pc:spChg chg="mod">
          <ac:chgData name="Nataliia Chornii (UA)" userId="4e4b8b3d-5f31-49bb-9f80-8a25c04abfff" providerId="ADAL" clId="{52163427-3E63-4487-BD88-23EA5CCD03BB}" dt="2024-03-12T12:25:27.873" v="382"/>
          <ac:spMkLst>
            <pc:docMk/>
            <pc:sldMk cId="3488828484" sldId="946"/>
            <ac:spMk id="20" creationId="{0A0722CE-5E95-3002-7845-E3599CD8C87C}"/>
          </ac:spMkLst>
        </pc:spChg>
        <pc:spChg chg="mod">
          <ac:chgData name="Nataliia Chornii (UA)" userId="4e4b8b3d-5f31-49bb-9f80-8a25c04abfff" providerId="ADAL" clId="{52163427-3E63-4487-BD88-23EA5CCD03BB}" dt="2024-03-12T12:25:32.977" v="388"/>
          <ac:spMkLst>
            <pc:docMk/>
            <pc:sldMk cId="3488828484" sldId="946"/>
            <ac:spMk id="22" creationId="{F7592D35-71D7-FC31-E5F5-A596135BB344}"/>
          </ac:spMkLst>
        </pc:spChg>
        <pc:spChg chg="mod">
          <ac:chgData name="Nataliia Chornii (UA)" userId="4e4b8b3d-5f31-49bb-9f80-8a25c04abfff" providerId="ADAL" clId="{52163427-3E63-4487-BD88-23EA5CCD03BB}" dt="2024-03-12T12:25:32.977" v="388"/>
          <ac:spMkLst>
            <pc:docMk/>
            <pc:sldMk cId="3488828484" sldId="946"/>
            <ac:spMk id="23" creationId="{C6FA446D-273B-A146-7DA0-AF820BAB40BF}"/>
          </ac:spMkLst>
        </pc:spChg>
        <pc:grpChg chg="add del mod">
          <ac:chgData name="Nataliia Chornii (UA)" userId="4e4b8b3d-5f31-49bb-9f80-8a25c04abfff" providerId="ADAL" clId="{52163427-3E63-4487-BD88-23EA5CCD03BB}" dt="2024-03-12T12:25:30.554" v="385"/>
          <ac:grpSpMkLst>
            <pc:docMk/>
            <pc:sldMk cId="3488828484" sldId="946"/>
            <ac:grpSpMk id="18" creationId="{DE133FC8-B870-BF33-1F37-1ECE542F1742}"/>
          </ac:grpSpMkLst>
        </pc:grpChg>
        <pc:grpChg chg="add mod">
          <ac:chgData name="Nataliia Chornii (UA)" userId="4e4b8b3d-5f31-49bb-9f80-8a25c04abfff" providerId="ADAL" clId="{52163427-3E63-4487-BD88-23EA5CCD03BB}" dt="2024-03-12T12:25:32.977" v="388"/>
          <ac:grpSpMkLst>
            <pc:docMk/>
            <pc:sldMk cId="3488828484" sldId="946"/>
            <ac:grpSpMk id="21" creationId="{377E7149-E9FB-3F6A-82D4-20995D3A1387}"/>
          </ac:grpSpMkLst>
        </pc:grpChg>
      </pc:sldChg>
      <pc:sldChg chg="modSp mod">
        <pc:chgData name="Nataliia Chornii (UA)" userId="4e4b8b3d-5f31-49bb-9f80-8a25c04abfff" providerId="ADAL" clId="{52163427-3E63-4487-BD88-23EA5CCD03BB}" dt="2024-03-12T11:08:59.005" v="24"/>
        <pc:sldMkLst>
          <pc:docMk/>
          <pc:sldMk cId="2283029669" sldId="948"/>
        </pc:sldMkLst>
        <pc:spChg chg="mod">
          <ac:chgData name="Nataliia Chornii (UA)" userId="4e4b8b3d-5f31-49bb-9f80-8a25c04abfff" providerId="ADAL" clId="{52163427-3E63-4487-BD88-23EA5CCD03BB}" dt="2024-03-12T11:08:59.005" v="24"/>
          <ac:spMkLst>
            <pc:docMk/>
            <pc:sldMk cId="2283029669" sldId="948"/>
            <ac:spMk id="3" creationId="{DEB29C57-B3A6-0F16-06E0-A838D8AD6848}"/>
          </ac:spMkLst>
        </pc:spChg>
      </pc:sldChg>
      <pc:sldChg chg="modSp mod">
        <pc:chgData name="Nataliia Chornii (UA)" userId="4e4b8b3d-5f31-49bb-9f80-8a25c04abfff" providerId="ADAL" clId="{52163427-3E63-4487-BD88-23EA5CCD03BB}" dt="2024-03-12T11:10:04.930" v="83"/>
        <pc:sldMkLst>
          <pc:docMk/>
          <pc:sldMk cId="3348140347" sldId="949"/>
        </pc:sldMkLst>
        <pc:spChg chg="mod">
          <ac:chgData name="Nataliia Chornii (UA)" userId="4e4b8b3d-5f31-49bb-9f80-8a25c04abfff" providerId="ADAL" clId="{52163427-3E63-4487-BD88-23EA5CCD03BB}" dt="2024-03-12T11:10:04.930" v="83"/>
          <ac:spMkLst>
            <pc:docMk/>
            <pc:sldMk cId="3348140347" sldId="949"/>
            <ac:spMk id="2" creationId="{F69F0BF9-AAD3-9A06-76E6-3497DDEAE858}"/>
          </ac:spMkLst>
        </pc:spChg>
      </pc:sldChg>
      <pc:sldChg chg="addSp delSp modSp mod">
        <pc:chgData name="Nataliia Chornii (UA)" userId="4e4b8b3d-5f31-49bb-9f80-8a25c04abfff" providerId="ADAL" clId="{52163427-3E63-4487-BD88-23EA5CCD03BB}" dt="2024-03-12T12:25:35.653" v="390"/>
        <pc:sldMkLst>
          <pc:docMk/>
          <pc:sldMk cId="201777098" sldId="950"/>
        </pc:sldMkLst>
        <pc:spChg chg="mod">
          <ac:chgData name="Nataliia Chornii (UA)" userId="4e4b8b3d-5f31-49bb-9f80-8a25c04abfff" providerId="ADAL" clId="{52163427-3E63-4487-BD88-23EA5CCD03BB}" dt="2024-03-12T11:10:06.940" v="84"/>
          <ac:spMkLst>
            <pc:docMk/>
            <pc:sldMk cId="201777098" sldId="950"/>
            <ac:spMk id="5" creationId="{CE8DF088-308E-1DA3-B78E-2A403A65AD68}"/>
          </ac:spMkLst>
        </pc:spChg>
        <pc:spChg chg="del">
          <ac:chgData name="Nataliia Chornii (UA)" userId="4e4b8b3d-5f31-49bb-9f80-8a25c04abfff" providerId="ADAL" clId="{52163427-3E63-4487-BD88-23EA5CCD03BB}" dt="2024-03-12T12:25:35.307" v="389" actId="478"/>
          <ac:spMkLst>
            <pc:docMk/>
            <pc:sldMk cId="201777098" sldId="950"/>
            <ac:spMk id="23" creationId="{94DCF25A-EB68-95E6-AB63-22311838CB2F}"/>
          </ac:spMkLst>
        </pc:spChg>
        <pc:spChg chg="mod">
          <ac:chgData name="Nataliia Chornii (UA)" userId="4e4b8b3d-5f31-49bb-9f80-8a25c04abfff" providerId="ADAL" clId="{52163427-3E63-4487-BD88-23EA5CCD03BB}" dt="2024-03-12T12:25:35.653" v="390"/>
          <ac:spMkLst>
            <pc:docMk/>
            <pc:sldMk cId="201777098" sldId="950"/>
            <ac:spMk id="25" creationId="{C6FF4E10-BB5B-FF1A-C519-4B5DD6405406}"/>
          </ac:spMkLst>
        </pc:spChg>
        <pc:spChg chg="mod">
          <ac:chgData name="Nataliia Chornii (UA)" userId="4e4b8b3d-5f31-49bb-9f80-8a25c04abfff" providerId="ADAL" clId="{52163427-3E63-4487-BD88-23EA5CCD03BB}" dt="2024-03-12T12:25:35.653" v="390"/>
          <ac:spMkLst>
            <pc:docMk/>
            <pc:sldMk cId="201777098" sldId="950"/>
            <ac:spMk id="27" creationId="{8735C16F-BB31-CB26-3073-71C2D6B6EFFC}"/>
          </ac:spMkLst>
        </pc:spChg>
        <pc:grpChg chg="add mod">
          <ac:chgData name="Nataliia Chornii (UA)" userId="4e4b8b3d-5f31-49bb-9f80-8a25c04abfff" providerId="ADAL" clId="{52163427-3E63-4487-BD88-23EA5CCD03BB}" dt="2024-03-12T12:25:35.653" v="390"/>
          <ac:grpSpMkLst>
            <pc:docMk/>
            <pc:sldMk cId="201777098" sldId="950"/>
            <ac:grpSpMk id="24" creationId="{2629CC0D-66C6-97C9-9470-DD97EFC6CD5F}"/>
          </ac:grpSpMkLst>
        </pc:grpChg>
      </pc:sldChg>
      <pc:sldChg chg="modSp mod">
        <pc:chgData name="Nataliia Chornii (UA)" userId="4e4b8b3d-5f31-49bb-9f80-8a25c04abfff" providerId="ADAL" clId="{52163427-3E63-4487-BD88-23EA5CCD03BB}" dt="2024-03-12T11:10:08.879" v="85"/>
        <pc:sldMkLst>
          <pc:docMk/>
          <pc:sldMk cId="3919877977" sldId="951"/>
        </pc:sldMkLst>
        <pc:spChg chg="mod">
          <ac:chgData name="Nataliia Chornii (UA)" userId="4e4b8b3d-5f31-49bb-9f80-8a25c04abfff" providerId="ADAL" clId="{52163427-3E63-4487-BD88-23EA5CCD03BB}" dt="2024-03-12T11:10:08.879" v="85"/>
          <ac:spMkLst>
            <pc:docMk/>
            <pc:sldMk cId="3919877977" sldId="951"/>
            <ac:spMk id="2" creationId="{E492D44C-9EB1-E1BE-49A6-AA9E42D367F6}"/>
          </ac:spMkLst>
        </pc:spChg>
      </pc:sldChg>
      <pc:sldChg chg="modSp mod">
        <pc:chgData name="Nataliia Chornii (UA)" userId="4e4b8b3d-5f31-49bb-9f80-8a25c04abfff" providerId="ADAL" clId="{52163427-3E63-4487-BD88-23EA5CCD03BB}" dt="2024-03-12T11:10:12.281" v="86"/>
        <pc:sldMkLst>
          <pc:docMk/>
          <pc:sldMk cId="1713450018" sldId="952"/>
        </pc:sldMkLst>
        <pc:spChg chg="mod">
          <ac:chgData name="Nataliia Chornii (UA)" userId="4e4b8b3d-5f31-49bb-9f80-8a25c04abfff" providerId="ADAL" clId="{52163427-3E63-4487-BD88-23EA5CCD03BB}" dt="2024-03-12T11:10:12.281" v="86"/>
          <ac:spMkLst>
            <pc:docMk/>
            <pc:sldMk cId="1713450018" sldId="952"/>
            <ac:spMk id="2" creationId="{8AECEEF7-147C-69E9-7E85-66789CF569A3}"/>
          </ac:spMkLst>
        </pc:spChg>
      </pc:sldChg>
      <pc:sldChg chg="modSp mod">
        <pc:chgData name="Nataliia Chornii (UA)" userId="4e4b8b3d-5f31-49bb-9f80-8a25c04abfff" providerId="ADAL" clId="{52163427-3E63-4487-BD88-23EA5CCD03BB}" dt="2024-03-12T11:08:54.216" v="22"/>
        <pc:sldMkLst>
          <pc:docMk/>
          <pc:sldMk cId="3292995886" sldId="954"/>
        </pc:sldMkLst>
        <pc:spChg chg="mod">
          <ac:chgData name="Nataliia Chornii (UA)" userId="4e4b8b3d-5f31-49bb-9f80-8a25c04abfff" providerId="ADAL" clId="{52163427-3E63-4487-BD88-23EA5CCD03BB}" dt="2024-03-12T11:08:54.216" v="22"/>
          <ac:spMkLst>
            <pc:docMk/>
            <pc:sldMk cId="3292995886" sldId="954"/>
            <ac:spMk id="3" creationId="{D62443EF-1EFB-C495-F9E8-EE05C6033CA3}"/>
          </ac:spMkLst>
        </pc:spChg>
      </pc:sldChg>
      <pc:sldChg chg="addSp delSp modSp mod">
        <pc:chgData name="Nataliia Chornii (UA)" userId="4e4b8b3d-5f31-49bb-9f80-8a25c04abfff" providerId="ADAL" clId="{52163427-3E63-4487-BD88-23EA5CCD03BB}" dt="2024-03-12T12:25:12.501" v="378"/>
        <pc:sldMkLst>
          <pc:docMk/>
          <pc:sldMk cId="425128272" sldId="960"/>
        </pc:sldMkLst>
        <pc:spChg chg="mod ord">
          <ac:chgData name="Nataliia Chornii (UA)" userId="4e4b8b3d-5f31-49bb-9f80-8a25c04abfff" providerId="ADAL" clId="{52163427-3E63-4487-BD88-23EA5CCD03BB}" dt="2024-03-12T12:25:12.501" v="366"/>
          <ac:spMkLst>
            <pc:docMk/>
            <pc:sldMk cId="425128272" sldId="960"/>
            <ac:spMk id="2" creationId="{34F1EF69-F6E7-494E-E505-1BE8F9572B6E}"/>
          </ac:spMkLst>
        </pc:spChg>
        <pc:spChg chg="mod ord">
          <ac:chgData name="Nataliia Chornii (UA)" userId="4e4b8b3d-5f31-49bb-9f80-8a25c04abfff" providerId="ADAL" clId="{52163427-3E63-4487-BD88-23EA5CCD03BB}" dt="2024-03-12T12:25:12.484" v="348"/>
          <ac:spMkLst>
            <pc:docMk/>
            <pc:sldMk cId="425128272" sldId="960"/>
            <ac:spMk id="3" creationId="{F4CCF02E-F3C4-C376-8F56-61BD85A2E74B}"/>
          </ac:spMkLst>
        </pc:spChg>
        <pc:spChg chg="mod ord">
          <ac:chgData name="Nataliia Chornii (UA)" userId="4e4b8b3d-5f31-49bb-9f80-8a25c04abfff" providerId="ADAL" clId="{52163427-3E63-4487-BD88-23EA5CCD03BB}" dt="2024-03-12T12:25:12.501" v="374"/>
          <ac:spMkLst>
            <pc:docMk/>
            <pc:sldMk cId="425128272" sldId="960"/>
            <ac:spMk id="4" creationId="{872966CD-924A-B939-E655-A6BAF817DCBF}"/>
          </ac:spMkLst>
        </pc:spChg>
        <pc:spChg chg="add del">
          <ac:chgData name="Nataliia Chornii (UA)" userId="4e4b8b3d-5f31-49bb-9f80-8a25c04abfff" providerId="ADAL" clId="{52163427-3E63-4487-BD88-23EA5CCD03BB}" dt="2024-03-12T11:09:55.538" v="79" actId="22"/>
          <ac:spMkLst>
            <pc:docMk/>
            <pc:sldMk cId="425128272" sldId="960"/>
            <ac:spMk id="6" creationId="{53412345-AE6A-5063-7EF7-D57F2BF20190}"/>
          </ac:spMkLst>
        </pc:spChg>
        <pc:spChg chg="mod">
          <ac:chgData name="Nataliia Chornii (UA)" userId="4e4b8b3d-5f31-49bb-9f80-8a25c04abfff" providerId="ADAL" clId="{52163427-3E63-4487-BD88-23EA5CCD03BB}" dt="2024-03-12T12:25:03.453" v="288"/>
          <ac:spMkLst>
            <pc:docMk/>
            <pc:sldMk cId="425128272" sldId="960"/>
            <ac:spMk id="6" creationId="{9BC8FF52-DDEE-8B16-9044-3BA3DF596E96}"/>
          </ac:spMkLst>
        </pc:spChg>
        <pc:spChg chg="mod">
          <ac:chgData name="Nataliia Chornii (UA)" userId="4e4b8b3d-5f31-49bb-9f80-8a25c04abfff" providerId="ADAL" clId="{52163427-3E63-4487-BD88-23EA5CCD03BB}" dt="2024-03-12T12:25:03.453" v="288"/>
          <ac:spMkLst>
            <pc:docMk/>
            <pc:sldMk cId="425128272" sldId="960"/>
            <ac:spMk id="7" creationId="{C96AAF72-B438-117B-01C7-91AC4C893B12}"/>
          </ac:spMkLst>
        </pc:spChg>
        <pc:spChg chg="mod ord">
          <ac:chgData name="Nataliia Chornii (UA)" userId="4e4b8b3d-5f31-49bb-9f80-8a25c04abfff" providerId="ADAL" clId="{52163427-3E63-4487-BD88-23EA5CCD03BB}" dt="2024-03-12T12:25:12.484" v="358"/>
          <ac:spMkLst>
            <pc:docMk/>
            <pc:sldMk cId="425128272" sldId="960"/>
            <ac:spMk id="8" creationId="{8F84A1C1-A3B2-78F7-2F05-EA937E442831}"/>
          </ac:spMkLst>
        </pc:spChg>
        <pc:spChg chg="mod ord">
          <ac:chgData name="Nataliia Chornii (UA)" userId="4e4b8b3d-5f31-49bb-9f80-8a25c04abfff" providerId="ADAL" clId="{52163427-3E63-4487-BD88-23EA5CCD03BB}" dt="2024-03-12T12:25:12.484" v="360"/>
          <ac:spMkLst>
            <pc:docMk/>
            <pc:sldMk cId="425128272" sldId="960"/>
            <ac:spMk id="13" creationId="{799E30A1-ADE3-D083-090F-C1647AB7B5C5}"/>
          </ac:spMkLst>
        </pc:spChg>
        <pc:spChg chg="mod ord">
          <ac:chgData name="Nataliia Chornii (UA)" userId="4e4b8b3d-5f31-49bb-9f80-8a25c04abfff" providerId="ADAL" clId="{52163427-3E63-4487-BD88-23EA5CCD03BB}" dt="2024-03-12T12:25:12.484" v="362"/>
          <ac:spMkLst>
            <pc:docMk/>
            <pc:sldMk cId="425128272" sldId="960"/>
            <ac:spMk id="14" creationId="{292427B9-6E56-4F0D-79C7-17E043506558}"/>
          </ac:spMkLst>
        </pc:spChg>
        <pc:spChg chg="del">
          <ac:chgData name="Nataliia Chornii (UA)" userId="4e4b8b3d-5f31-49bb-9f80-8a25c04abfff" providerId="ADAL" clId="{52163427-3E63-4487-BD88-23EA5CCD03BB}" dt="2024-03-12T12:25:02.605" v="287" actId="478"/>
          <ac:spMkLst>
            <pc:docMk/>
            <pc:sldMk cId="425128272" sldId="960"/>
            <ac:spMk id="23" creationId="{99027CE6-3148-8B69-47C3-D38CFB081A9D}"/>
          </ac:spMkLst>
        </pc:spChg>
        <pc:spChg chg="mod ord">
          <ac:chgData name="Nataliia Chornii (UA)" userId="4e4b8b3d-5f31-49bb-9f80-8a25c04abfff" providerId="ADAL" clId="{52163427-3E63-4487-BD88-23EA5CCD03BB}" dt="2024-03-12T12:25:12.501" v="368"/>
          <ac:spMkLst>
            <pc:docMk/>
            <pc:sldMk cId="425128272" sldId="960"/>
            <ac:spMk id="24" creationId="{EEBDB999-8D80-71A0-1735-572EAA4ECF55}"/>
          </ac:spMkLst>
        </pc:spChg>
        <pc:spChg chg="add del mod modVis">
          <ac:chgData name="Nataliia Chornii (UA)" userId="4e4b8b3d-5f31-49bb-9f80-8a25c04abfff" providerId="ADAL" clId="{52163427-3E63-4487-BD88-23EA5CCD03BB}" dt="2024-03-12T12:25:07.776" v="341"/>
          <ac:spMkLst>
            <pc:docMk/>
            <pc:sldMk cId="425128272" sldId="960"/>
            <ac:spMk id="25" creationId="{86CD18E6-DF68-3B17-4AB8-833A5616C229}"/>
          </ac:spMkLst>
        </pc:spChg>
        <pc:spChg chg="mod ord">
          <ac:chgData name="Nataliia Chornii (UA)" userId="4e4b8b3d-5f31-49bb-9f80-8a25c04abfff" providerId="ADAL" clId="{52163427-3E63-4487-BD88-23EA5CCD03BB}" dt="2024-03-12T12:25:12.484" v="350"/>
          <ac:spMkLst>
            <pc:docMk/>
            <pc:sldMk cId="425128272" sldId="960"/>
            <ac:spMk id="26" creationId="{5EC1F9AE-82A4-85FE-592B-EF659F76F7EC}"/>
          </ac:spMkLst>
        </pc:spChg>
        <pc:spChg chg="mod ord">
          <ac:chgData name="Nataliia Chornii (UA)" userId="4e4b8b3d-5f31-49bb-9f80-8a25c04abfff" providerId="ADAL" clId="{52163427-3E63-4487-BD88-23EA5CCD03BB}" dt="2024-03-12T12:25:12.484" v="352"/>
          <ac:spMkLst>
            <pc:docMk/>
            <pc:sldMk cId="425128272" sldId="960"/>
            <ac:spMk id="29" creationId="{3915AD89-6428-4A75-0915-328643F1703C}"/>
          </ac:spMkLst>
        </pc:spChg>
        <pc:spChg chg="mod ord">
          <ac:chgData name="Nataliia Chornii (UA)" userId="4e4b8b3d-5f31-49bb-9f80-8a25c04abfff" providerId="ADAL" clId="{52163427-3E63-4487-BD88-23EA5CCD03BB}" dt="2024-03-12T12:25:12.484" v="354"/>
          <ac:spMkLst>
            <pc:docMk/>
            <pc:sldMk cId="425128272" sldId="960"/>
            <ac:spMk id="30" creationId="{373AB206-F1F0-CC72-8C15-85605D9AF2AC}"/>
          </ac:spMkLst>
        </pc:spChg>
        <pc:spChg chg="mod ord">
          <ac:chgData name="Nataliia Chornii (UA)" userId="4e4b8b3d-5f31-49bb-9f80-8a25c04abfff" providerId="ADAL" clId="{52163427-3E63-4487-BD88-23EA5CCD03BB}" dt="2024-03-12T12:25:12.484" v="356"/>
          <ac:spMkLst>
            <pc:docMk/>
            <pc:sldMk cId="425128272" sldId="960"/>
            <ac:spMk id="46" creationId="{09BF84D6-F468-7005-FAB5-AA0B6AE5CFB4}"/>
          </ac:spMkLst>
        </pc:spChg>
        <pc:grpChg chg="add mod ord">
          <ac:chgData name="Nataliia Chornii (UA)" userId="4e4b8b3d-5f31-49bb-9f80-8a25c04abfff" providerId="ADAL" clId="{52163427-3E63-4487-BD88-23EA5CCD03BB}" dt="2024-03-12T12:25:12.501" v="372"/>
          <ac:grpSpMkLst>
            <pc:docMk/>
            <pc:sldMk cId="425128272" sldId="960"/>
            <ac:grpSpMk id="5" creationId="{73F90D89-8440-1431-AC27-9F5B146FABF9}"/>
          </ac:grpSpMkLst>
        </pc:grpChg>
        <pc:grpChg chg="mod ord">
          <ac:chgData name="Nataliia Chornii (UA)" userId="4e4b8b3d-5f31-49bb-9f80-8a25c04abfff" providerId="ADAL" clId="{52163427-3E63-4487-BD88-23EA5CCD03BB}" dt="2024-03-12T12:25:12.501" v="370"/>
          <ac:grpSpMkLst>
            <pc:docMk/>
            <pc:sldMk cId="425128272" sldId="960"/>
            <ac:grpSpMk id="9" creationId="{17CB9501-EA3A-2E37-3C33-CDC8718984BE}"/>
          </ac:grpSpMkLst>
        </pc:grpChg>
        <pc:grpChg chg="mod ord">
          <ac:chgData name="Nataliia Chornii (UA)" userId="4e4b8b3d-5f31-49bb-9f80-8a25c04abfff" providerId="ADAL" clId="{52163427-3E63-4487-BD88-23EA5CCD03BB}" dt="2024-03-12T12:25:12.501" v="364"/>
          <ac:grpSpMkLst>
            <pc:docMk/>
            <pc:sldMk cId="425128272" sldId="960"/>
            <ac:grpSpMk id="15" creationId="{32101DD0-0169-5B84-DBC1-4B151DF9F173}"/>
          </ac:grpSpMkLst>
        </pc:grpChg>
        <pc:graphicFrameChg chg="mod">
          <ac:chgData name="Nataliia Chornii (UA)" userId="4e4b8b3d-5f31-49bb-9f80-8a25c04abfff" providerId="ADAL" clId="{52163427-3E63-4487-BD88-23EA5CCD03BB}" dt="2024-03-12T12:25:12.501" v="378"/>
          <ac:graphicFrameMkLst>
            <pc:docMk/>
            <pc:sldMk cId="425128272" sldId="960"/>
            <ac:graphicFrameMk id="12" creationId="{F6E6AF23-7B86-113A-F559-513B41FEC1FE}"/>
          </ac:graphicFrameMkLst>
        </pc:graphicFrameChg>
        <pc:picChg chg="mod">
          <ac:chgData name="Nataliia Chornii (UA)" userId="4e4b8b3d-5f31-49bb-9f80-8a25c04abfff" providerId="ADAL" clId="{52163427-3E63-4487-BD88-23EA5CCD03BB}" dt="2024-03-12T12:25:12.484" v="346"/>
          <ac:picMkLst>
            <pc:docMk/>
            <pc:sldMk cId="425128272" sldId="960"/>
            <ac:picMk id="3074" creationId="{A956661B-FAE8-8EB1-7E90-80C772C59A2A}"/>
          </ac:picMkLst>
        </pc:picChg>
      </pc:sldChg>
      <pc:sldChg chg="addSp delSp modSp mod">
        <pc:chgData name="Nataliia Chornii (UA)" userId="4e4b8b3d-5f31-49bb-9f80-8a25c04abfff" providerId="ADAL" clId="{52163427-3E63-4487-BD88-23EA5CCD03BB}" dt="2024-03-12T12:26:59.750" v="393" actId="207"/>
        <pc:sldMkLst>
          <pc:docMk/>
          <pc:sldMk cId="4141191697" sldId="963"/>
        </pc:sldMkLst>
        <pc:spChg chg="mod">
          <ac:chgData name="Nataliia Chornii (UA)" userId="4e4b8b3d-5f31-49bb-9f80-8a25c04abfff" providerId="ADAL" clId="{52163427-3E63-4487-BD88-23EA5CCD03BB}" dt="2024-03-12T12:26:59.750" v="393" actId="207"/>
          <ac:spMkLst>
            <pc:docMk/>
            <pc:sldMk cId="4141191697" sldId="963"/>
            <ac:spMk id="4" creationId="{872966CD-924A-B939-E655-A6BAF817DCBF}"/>
          </ac:spMkLst>
        </pc:spChg>
        <pc:spChg chg="mod">
          <ac:chgData name="Nataliia Chornii (UA)" userId="4e4b8b3d-5f31-49bb-9f80-8a25c04abfff" providerId="ADAL" clId="{52163427-3E63-4487-BD88-23EA5CCD03BB}" dt="2024-03-12T11:09:51.395" v="76"/>
          <ac:spMkLst>
            <pc:docMk/>
            <pc:sldMk cId="4141191697" sldId="963"/>
            <ac:spMk id="10" creationId="{8CC33394-EBA6-F8B3-884F-79BAB196D95C}"/>
          </ac:spMkLst>
        </pc:spChg>
        <pc:spChg chg="del mod">
          <ac:chgData name="Nataliia Chornii (UA)" userId="4e4b8b3d-5f31-49bb-9f80-8a25c04abfff" providerId="ADAL" clId="{52163427-3E63-4487-BD88-23EA5CCD03BB}" dt="2024-03-12T12:24:54.219" v="283" actId="478"/>
          <ac:spMkLst>
            <pc:docMk/>
            <pc:sldMk cId="4141191697" sldId="963"/>
            <ac:spMk id="19" creationId="{FABB8E7C-60CE-09CB-AEBF-C00E7EB1273A}"/>
          </ac:spMkLst>
        </pc:spChg>
        <pc:spChg chg="mod">
          <ac:chgData name="Nataliia Chornii (UA)" userId="4e4b8b3d-5f31-49bb-9f80-8a25c04abfff" providerId="ADAL" clId="{52163427-3E63-4487-BD88-23EA5CCD03BB}" dt="2024-03-12T12:24:52.921" v="282"/>
          <ac:spMkLst>
            <pc:docMk/>
            <pc:sldMk cId="4141191697" sldId="963"/>
            <ac:spMk id="20" creationId="{D3132C5D-B790-6958-7A5B-35741E3EEAFE}"/>
          </ac:spMkLst>
        </pc:spChg>
        <pc:spChg chg="mod">
          <ac:chgData name="Nataliia Chornii (UA)" userId="4e4b8b3d-5f31-49bb-9f80-8a25c04abfff" providerId="ADAL" clId="{52163427-3E63-4487-BD88-23EA5CCD03BB}" dt="2024-03-12T12:24:48.875" v="281"/>
          <ac:spMkLst>
            <pc:docMk/>
            <pc:sldMk cId="4141191697" sldId="963"/>
            <ac:spMk id="21" creationId="{86BC0698-7F41-B85F-1A94-879CD83DE818}"/>
          </ac:spMkLst>
        </pc:spChg>
        <pc:grpChg chg="add mod">
          <ac:chgData name="Nataliia Chornii (UA)" userId="4e4b8b3d-5f31-49bb-9f80-8a25c04abfff" providerId="ADAL" clId="{52163427-3E63-4487-BD88-23EA5CCD03BB}" dt="2024-03-12T12:24:48.875" v="281"/>
          <ac:grpSpMkLst>
            <pc:docMk/>
            <pc:sldMk cId="4141191697" sldId="963"/>
            <ac:grpSpMk id="6" creationId="{3B6105E1-77DC-1D76-8C8C-2948FA3BC95C}"/>
          </ac:grpSpMkLst>
        </pc:grpChg>
      </pc:sldChg>
      <pc:sldChg chg="addSp delSp modSp mod">
        <pc:chgData name="Nataliia Chornii (UA)" userId="4e4b8b3d-5f31-49bb-9f80-8a25c04abfff" providerId="ADAL" clId="{52163427-3E63-4487-BD88-23EA5CCD03BB}" dt="2024-03-12T12:27:02.261" v="394" actId="207"/>
        <pc:sldMkLst>
          <pc:docMk/>
          <pc:sldMk cId="1785961526" sldId="964"/>
        </pc:sldMkLst>
        <pc:spChg chg="mod">
          <ac:chgData name="Nataliia Chornii (UA)" userId="4e4b8b3d-5f31-49bb-9f80-8a25c04abfff" providerId="ADAL" clId="{52163427-3E63-4487-BD88-23EA5CCD03BB}" dt="2024-03-12T11:09:53.155" v="77"/>
          <ac:spMkLst>
            <pc:docMk/>
            <pc:sldMk cId="1785961526" sldId="964"/>
            <ac:spMk id="2" creationId="{704047AB-6DDC-C2CE-C1C1-09F2077282B4}"/>
          </ac:spMkLst>
        </pc:spChg>
        <pc:spChg chg="mod">
          <ac:chgData name="Nataliia Chornii (UA)" userId="4e4b8b3d-5f31-49bb-9f80-8a25c04abfff" providerId="ADAL" clId="{52163427-3E63-4487-BD88-23EA5CCD03BB}" dt="2024-03-12T12:27:02.261" v="394" actId="207"/>
          <ac:spMkLst>
            <pc:docMk/>
            <pc:sldMk cId="1785961526" sldId="964"/>
            <ac:spMk id="4" creationId="{872966CD-924A-B939-E655-A6BAF817DCBF}"/>
          </ac:spMkLst>
        </pc:spChg>
        <pc:spChg chg="del mod">
          <ac:chgData name="Nataliia Chornii (UA)" userId="4e4b8b3d-5f31-49bb-9f80-8a25c04abfff" providerId="ADAL" clId="{52163427-3E63-4487-BD88-23EA5CCD03BB}" dt="2024-03-12T12:24:59.587" v="286" actId="478"/>
          <ac:spMkLst>
            <pc:docMk/>
            <pc:sldMk cId="1785961526" sldId="964"/>
            <ac:spMk id="23" creationId="{DC3639F2-FAC5-DA12-818F-826192DCE10F}"/>
          </ac:spMkLst>
        </pc:spChg>
        <pc:spChg chg="mod">
          <ac:chgData name="Nataliia Chornii (UA)" userId="4e4b8b3d-5f31-49bb-9f80-8a25c04abfff" providerId="ADAL" clId="{52163427-3E63-4487-BD88-23EA5CCD03BB}" dt="2024-03-12T12:24:58.576" v="285"/>
          <ac:spMkLst>
            <pc:docMk/>
            <pc:sldMk cId="1785961526" sldId="964"/>
            <ac:spMk id="24" creationId="{696B1991-436D-D11D-7462-6F57272F54B1}"/>
          </ac:spMkLst>
        </pc:spChg>
        <pc:spChg chg="mod">
          <ac:chgData name="Nataliia Chornii (UA)" userId="4e4b8b3d-5f31-49bb-9f80-8a25c04abfff" providerId="ADAL" clId="{52163427-3E63-4487-BD88-23EA5CCD03BB}" dt="2024-03-12T12:24:58.576" v="285"/>
          <ac:spMkLst>
            <pc:docMk/>
            <pc:sldMk cId="1785961526" sldId="964"/>
            <ac:spMk id="25" creationId="{99787729-FB28-0725-8182-7196CAE326ED}"/>
          </ac:spMkLst>
        </pc:spChg>
        <pc:grpChg chg="add mod">
          <ac:chgData name="Nataliia Chornii (UA)" userId="4e4b8b3d-5f31-49bb-9f80-8a25c04abfff" providerId="ADAL" clId="{52163427-3E63-4487-BD88-23EA5CCD03BB}" dt="2024-03-12T12:24:58.576" v="285"/>
          <ac:grpSpMkLst>
            <pc:docMk/>
            <pc:sldMk cId="1785961526" sldId="964"/>
            <ac:grpSpMk id="5" creationId="{24ED0251-E6F5-B0EE-B964-3572CCBD8AA4}"/>
          </ac:grpSpMkLst>
        </pc:grpChg>
      </pc:sldChg>
    </pc:docChg>
  </pc:docChgLst>
  <pc:docChgLst>
    <pc:chgData name="Annemarija Apine (LV)" userId="S::annemarija.apine@pwc.com::546f5c59-3b8d-47fd-b739-a8fadc631053" providerId="AD" clId="Web-{B7C4A154-3DAF-566B-4576-DE036AB3E5FC}"/>
    <pc:docChg chg="">
      <pc:chgData name="Annemarija Apine (LV)" userId="S::annemarija.apine@pwc.com::546f5c59-3b8d-47fd-b739-a8fadc631053" providerId="AD" clId="Web-{B7C4A154-3DAF-566B-4576-DE036AB3E5FC}" dt="2024-05-16T14:30:56.249" v="0"/>
      <pc:docMkLst>
        <pc:docMk/>
      </pc:docMkLst>
      <pc:sldChg chg="addCm">
        <pc:chgData name="Annemarija Apine (LV)" userId="S::annemarija.apine@pwc.com::546f5c59-3b8d-47fd-b739-a8fadc631053" providerId="AD" clId="Web-{B7C4A154-3DAF-566B-4576-DE036AB3E5FC}" dt="2024-05-16T14:30:56.249" v="0"/>
        <pc:sldMkLst>
          <pc:docMk/>
          <pc:sldMk cId="817197616" sldId="332"/>
        </pc:sldMkLst>
        <pc:extLst>
          <p:ext xmlns:p="http://schemas.openxmlformats.org/presentationml/2006/main" uri="{D6D511B9-2390-475A-947B-AFAB55BFBCF1}">
            <pc226:cmChg xmlns:pc226="http://schemas.microsoft.com/office/powerpoint/2022/06/main/command" chg="add">
              <pc226:chgData name="Annemarija Apine (LV)" userId="S::annemarija.apine@pwc.com::546f5c59-3b8d-47fd-b739-a8fadc631053" providerId="AD" clId="Web-{B7C4A154-3DAF-566B-4576-DE036AB3E5FC}" dt="2024-05-16T14:30:56.249" v="0"/>
              <pc2:cmMkLst xmlns:pc2="http://schemas.microsoft.com/office/powerpoint/2019/9/main/command">
                <pc:docMk/>
                <pc:sldMk cId="817197616" sldId="332"/>
                <pc2:cmMk id="{69F160DB-06BC-46A5-9BCA-853736F4564C}"/>
              </pc2:cmMkLst>
            </pc226:cmChg>
          </p:ext>
        </pc:extLst>
      </pc:sldChg>
    </pc:docChg>
  </pc:docChgLst>
  <pc:docChgLst>
    <pc:chgData name="Annemarija Apine (LV)" userId="546f5c59-3b8d-47fd-b739-a8fadc631053" providerId="ADAL" clId="{EA0F6347-4EA8-409E-BDE8-D33307C57B56}"/>
    <pc:docChg chg="undo custSel addSld modSld replTag">
      <pc:chgData name="Annemarija Apine (LV)" userId="546f5c59-3b8d-47fd-b739-a8fadc631053" providerId="ADAL" clId="{EA0F6347-4EA8-409E-BDE8-D33307C57B56}" dt="2024-04-10T14:47:58.553" v="36" actId="1035"/>
      <pc:docMkLst>
        <pc:docMk/>
      </pc:docMkLst>
      <pc:sldChg chg="addSp delSp modSp mod">
        <pc:chgData name="Annemarija Apine (LV)" userId="546f5c59-3b8d-47fd-b739-a8fadc631053" providerId="ADAL" clId="{EA0F6347-4EA8-409E-BDE8-D33307C57B56}" dt="2024-04-10T14:47:58.553" v="36" actId="1035"/>
        <pc:sldMkLst>
          <pc:docMk/>
          <pc:sldMk cId="817197616" sldId="332"/>
        </pc:sldMkLst>
        <pc:spChg chg="add mod">
          <ac:chgData name="Annemarija Apine (LV)" userId="546f5c59-3b8d-47fd-b739-a8fadc631053" providerId="ADAL" clId="{EA0F6347-4EA8-409E-BDE8-D33307C57B56}" dt="2024-04-10T14:46:53.167" v="12" actId="1076"/>
          <ac:spMkLst>
            <pc:docMk/>
            <pc:sldMk cId="817197616" sldId="332"/>
            <ac:spMk id="2" creationId="{6CD79AD3-DFF9-757B-88AD-BE561ACC5FF3}"/>
          </ac:spMkLst>
        </pc:spChg>
        <pc:spChg chg="mod">
          <ac:chgData name="Annemarija Apine (LV)" userId="546f5c59-3b8d-47fd-b739-a8fadc631053" providerId="ADAL" clId="{EA0F6347-4EA8-409E-BDE8-D33307C57B56}" dt="2024-04-10T14:47:08.145" v="15" actId="2711"/>
          <ac:spMkLst>
            <pc:docMk/>
            <pc:sldMk cId="817197616" sldId="332"/>
            <ac:spMk id="4" creationId="{0C2CD556-83F4-5719-B366-7C2EFECB11A1}"/>
          </ac:spMkLst>
        </pc:spChg>
        <pc:spChg chg="add mod">
          <ac:chgData name="Annemarija Apine (LV)" userId="546f5c59-3b8d-47fd-b739-a8fadc631053" providerId="ADAL" clId="{EA0F6347-4EA8-409E-BDE8-D33307C57B56}" dt="2024-04-10T14:47:01.197" v="14" actId="1076"/>
          <ac:spMkLst>
            <pc:docMk/>
            <pc:sldMk cId="817197616" sldId="332"/>
            <ac:spMk id="7" creationId="{087A0670-7B05-0F04-BB8E-80FDBC9F6D59}"/>
          </ac:spMkLst>
        </pc:spChg>
        <pc:spChg chg="add mod ord">
          <ac:chgData name="Annemarija Apine (LV)" userId="546f5c59-3b8d-47fd-b739-a8fadc631053" providerId="ADAL" clId="{EA0F6347-4EA8-409E-BDE8-D33307C57B56}" dt="2024-04-10T14:47:58.553" v="36" actId="1035"/>
          <ac:spMkLst>
            <pc:docMk/>
            <pc:sldMk cId="817197616" sldId="332"/>
            <ac:spMk id="23" creationId="{82B2653B-EFB9-4261-D74B-45F171FB8BD0}"/>
          </ac:spMkLst>
        </pc:spChg>
        <pc:picChg chg="del">
          <ac:chgData name="Annemarija Apine (LV)" userId="546f5c59-3b8d-47fd-b739-a8fadc631053" providerId="ADAL" clId="{EA0F6347-4EA8-409E-BDE8-D33307C57B56}" dt="2024-04-10T14:47:19.208" v="16" actId="478"/>
          <ac:picMkLst>
            <pc:docMk/>
            <pc:sldMk cId="817197616" sldId="332"/>
            <ac:picMk id="3" creationId="{4D1170B7-6EE5-270B-66A8-10AD07C6BBCA}"/>
          </ac:picMkLst>
        </pc:picChg>
        <pc:picChg chg="add del mod">
          <ac:chgData name="Annemarija Apine (LV)" userId="546f5c59-3b8d-47fd-b739-a8fadc631053" providerId="ADAL" clId="{EA0F6347-4EA8-409E-BDE8-D33307C57B56}" dt="2024-04-10T14:47:22.136" v="18"/>
          <ac:picMkLst>
            <pc:docMk/>
            <pc:sldMk cId="817197616" sldId="332"/>
            <ac:picMk id="8" creationId="{15B225C4-C8EE-8826-24D3-0BFC3E01F44B}"/>
          </ac:picMkLst>
        </pc:picChg>
        <pc:picChg chg="add mod">
          <ac:chgData name="Annemarija Apine (LV)" userId="546f5c59-3b8d-47fd-b739-a8fadc631053" providerId="ADAL" clId="{EA0F6347-4EA8-409E-BDE8-D33307C57B56}" dt="2024-04-10T14:47:27.714" v="20" actId="1076"/>
          <ac:picMkLst>
            <pc:docMk/>
            <pc:sldMk cId="817197616" sldId="332"/>
            <ac:picMk id="22" creationId="{25C36F20-0FAA-47F0-980A-D1C8C7D453C3}"/>
          </ac:picMkLst>
        </pc:picChg>
      </pc:sldChg>
      <pc:sldChg chg="addSp delSp modSp add mod">
        <pc:chgData name="Annemarija Apine (LV)" userId="546f5c59-3b8d-47fd-b739-a8fadc631053" providerId="ADAL" clId="{EA0F6347-4EA8-409E-BDE8-D33307C57B56}" dt="2024-04-10T14:46:14.606" v="9"/>
        <pc:sldMkLst>
          <pc:docMk/>
          <pc:sldMk cId="4177676083" sldId="2147482025"/>
        </pc:sldMkLst>
        <pc:spChg chg="add mod">
          <ac:chgData name="Annemarija Apine (LV)" userId="546f5c59-3b8d-47fd-b739-a8fadc631053" providerId="ADAL" clId="{EA0F6347-4EA8-409E-BDE8-D33307C57B56}" dt="2024-04-10T14:45:44.543" v="5"/>
          <ac:spMkLst>
            <pc:docMk/>
            <pc:sldMk cId="4177676083" sldId="2147482025"/>
            <ac:spMk id="2" creationId="{56F2AB26-56CB-48B7-4C20-5421B6EF2D40}"/>
          </ac:spMkLst>
        </pc:spChg>
        <pc:spChg chg="mod">
          <ac:chgData name="Annemarija Apine (LV)" userId="546f5c59-3b8d-47fd-b739-a8fadc631053" providerId="ADAL" clId="{EA0F6347-4EA8-409E-BDE8-D33307C57B56}" dt="2024-04-10T14:46:14.606" v="9"/>
          <ac:spMkLst>
            <pc:docMk/>
            <pc:sldMk cId="4177676083" sldId="2147482025"/>
            <ac:spMk id="3" creationId="{4EF6DB77-182C-C281-1C2F-C2E2D9AB6583}"/>
          </ac:spMkLst>
        </pc:spChg>
        <pc:spChg chg="del">
          <ac:chgData name="Annemarija Apine (LV)" userId="546f5c59-3b8d-47fd-b739-a8fadc631053" providerId="ADAL" clId="{EA0F6347-4EA8-409E-BDE8-D33307C57B56}" dt="2024-04-10T14:45:44.293" v="4" actId="478"/>
          <ac:spMkLst>
            <pc:docMk/>
            <pc:sldMk cId="4177676083" sldId="2147482025"/>
            <ac:spMk id="5" creationId="{51FF591A-BE7D-9D08-07A8-C256796CC98A}"/>
          </ac:spMkLst>
        </pc:spChg>
        <pc:spChg chg="mod">
          <ac:chgData name="Annemarija Apine (LV)" userId="546f5c59-3b8d-47fd-b739-a8fadc631053" providerId="ADAL" clId="{EA0F6347-4EA8-409E-BDE8-D33307C57B56}" dt="2024-04-10T14:46:08.460" v="8"/>
          <ac:spMkLst>
            <pc:docMk/>
            <pc:sldMk cId="4177676083" sldId="2147482025"/>
            <ac:spMk id="6" creationId="{2CB3F9F5-858C-1D21-4D13-EAEDABE2E74A}"/>
          </ac:spMkLst>
        </pc:spChg>
      </pc:sldChg>
    </pc:docChg>
  </pc:docChgLst>
  <pc:docChgLst>
    <pc:chgData name="Annemarija Apine (LV)" userId="S::annemarija.apine@pwc.com::546f5c59-3b8d-47fd-b739-a8fadc631053" providerId="AD" clId="Web-{1B0A3346-1084-7CAA-3E38-9252BA290384}"/>
    <pc:docChg chg="modSld">
      <pc:chgData name="Annemarija Apine (LV)" userId="S::annemarija.apine@pwc.com::546f5c59-3b8d-47fd-b739-a8fadc631053" providerId="AD" clId="Web-{1B0A3346-1084-7CAA-3E38-9252BA290384}" dt="2024-03-12T07:57:05.772" v="6" actId="20577"/>
      <pc:docMkLst>
        <pc:docMk/>
      </pc:docMkLst>
      <pc:sldChg chg="modSp">
        <pc:chgData name="Annemarija Apine (LV)" userId="S::annemarija.apine@pwc.com::546f5c59-3b8d-47fd-b739-a8fadc631053" providerId="AD" clId="Web-{1B0A3346-1084-7CAA-3E38-9252BA290384}" dt="2024-03-12T07:57:05.772" v="6" actId="20577"/>
        <pc:sldMkLst>
          <pc:docMk/>
          <pc:sldMk cId="817197616" sldId="332"/>
        </pc:sldMkLst>
        <pc:spChg chg="mod">
          <ac:chgData name="Annemarija Apine (LV)" userId="S::annemarija.apine@pwc.com::546f5c59-3b8d-47fd-b739-a8fadc631053" providerId="AD" clId="Web-{1B0A3346-1084-7CAA-3E38-9252BA290384}" dt="2024-03-12T07:57:05.772" v="6" actId="20577"/>
          <ac:spMkLst>
            <pc:docMk/>
            <pc:sldMk cId="817197616" sldId="332"/>
            <ac:spMk id="9" creationId="{9C917BBD-747E-ABCB-3683-E8C68F33230D}"/>
          </ac:spMkLst>
        </pc:spChg>
      </pc:sldChg>
    </pc:docChg>
  </pc:docChgLst>
  <pc:docChgLst>
    <pc:chgData name="Sindija Kirsteine (LV)" userId="5f25501a-2215-4bb3-9d9c-8d1484ffa7c1" providerId="ADAL" clId="{64EB0014-F7C5-44F6-8262-6550B85C0520}"/>
    <pc:docChg chg="custSel replTag">
      <pc:chgData name="Sindija Kirsteine (LV)" userId="5f25501a-2215-4bb3-9d9c-8d1484ffa7c1" providerId="ADAL" clId="{64EB0014-F7C5-44F6-8262-6550B85C0520}" dt="2024-06-13T06:45:35.932" v="0"/>
      <pc:docMkLst>
        <pc:docMk/>
      </pc:docMkLst>
    </pc:docChg>
  </pc:docChgLst>
  <pc:docChgLst>
    <pc:chgData name="Sindija Kirsteine (LV)" userId="5f25501a-2215-4bb3-9d9c-8d1484ffa7c1" providerId="ADAL" clId="{A1CF2F99-1582-46EC-BCBF-0DF3BD3336B1}"/>
    <pc:docChg chg="custSel replTag">
      <pc:chgData name="Sindija Kirsteine (LV)" userId="5f25501a-2215-4bb3-9d9c-8d1484ffa7c1" providerId="ADAL" clId="{A1CF2F99-1582-46EC-BCBF-0DF3BD3336B1}" dt="2024-07-04T15:16:02.348" v="36"/>
      <pc:docMkLst>
        <pc:docMk/>
      </pc:docMkLst>
    </pc:docChg>
  </pc:docChgLst>
  <pc:docChgLst>
    <pc:chgData name="Nataliia Chornii (UA)" userId="4e4b8b3d-5f31-49bb-9f80-8a25c04abfff" providerId="ADAL" clId="{EE97D3FE-9ACA-4467-98E5-532EC45D9D1C}"/>
    <pc:docChg chg="undo redo custSel addSld delSld modSld modMainMaster replTag">
      <pc:chgData name="Nataliia Chornii (UA)" userId="4e4b8b3d-5f31-49bb-9f80-8a25c04abfff" providerId="ADAL" clId="{EE97D3FE-9ACA-4467-98E5-532EC45D9D1C}" dt="2024-03-11T15:08:51.900" v="25292" actId="12789"/>
      <pc:docMkLst>
        <pc:docMk/>
      </pc:docMkLst>
      <pc:sldChg chg="addSp delSp modSp mod">
        <pc:chgData name="Nataliia Chornii (UA)" userId="4e4b8b3d-5f31-49bb-9f80-8a25c04abfff" providerId="ADAL" clId="{EE97D3FE-9ACA-4467-98E5-532EC45D9D1C}" dt="2024-03-01T08:52:18.338" v="6823"/>
        <pc:sldMkLst>
          <pc:docMk/>
          <pc:sldMk cId="714588004" sldId="277"/>
        </pc:sldMkLst>
        <pc:spChg chg="mod">
          <ac:chgData name="Nataliia Chornii (UA)" userId="4e4b8b3d-5f31-49bb-9f80-8a25c04abfff" providerId="ADAL" clId="{EE97D3FE-9ACA-4467-98E5-532EC45D9D1C}" dt="2024-03-01T08:52:17.791" v="6407" actId="948"/>
          <ac:spMkLst>
            <pc:docMk/>
            <pc:sldMk cId="714588004" sldId="277"/>
            <ac:spMk id="2" creationId="{00000000-0000-0000-0000-000000000000}"/>
          </ac:spMkLst>
        </pc:spChg>
        <pc:spChg chg="add del mod modVis">
          <ac:chgData name="Nataliia Chornii (UA)" userId="4e4b8b3d-5f31-49bb-9f80-8a25c04abfff" providerId="ADAL" clId="{EE97D3FE-9ACA-4467-98E5-532EC45D9D1C}" dt="2024-03-01T08:48:59.975" v="1606"/>
          <ac:spMkLst>
            <pc:docMk/>
            <pc:sldMk cId="714588004" sldId="277"/>
            <ac:spMk id="8" creationId="{7927218D-0F60-AEFA-3593-4E0E363CDF70}"/>
          </ac:spMkLst>
        </pc:spChg>
        <pc:spChg chg="add del mod modVis">
          <ac:chgData name="Nataliia Chornii (UA)" userId="4e4b8b3d-5f31-49bb-9f80-8a25c04abfff" providerId="ADAL" clId="{EE97D3FE-9ACA-4467-98E5-532EC45D9D1C}" dt="2024-03-01T08:49:33.808" v="2868"/>
          <ac:spMkLst>
            <pc:docMk/>
            <pc:sldMk cId="714588004" sldId="277"/>
            <ac:spMk id="12" creationId="{DA385887-8F7A-E40E-4FBA-7252E70B6397}"/>
          </ac:spMkLst>
        </pc:spChg>
        <pc:spChg chg="add del mod modVis">
          <ac:chgData name="Nataliia Chornii (UA)" userId="4e4b8b3d-5f31-49bb-9f80-8a25c04abfff" providerId="ADAL" clId="{EE97D3FE-9ACA-4467-98E5-532EC45D9D1C}" dt="2024-03-01T08:49:59.851" v="3856"/>
          <ac:spMkLst>
            <pc:docMk/>
            <pc:sldMk cId="714588004" sldId="277"/>
            <ac:spMk id="14" creationId="{D1D3008B-D365-9B2A-3E99-2F919E92D553}"/>
          </ac:spMkLst>
        </pc:spChg>
        <pc:spChg chg="add del mod modVis">
          <ac:chgData name="Nataliia Chornii (UA)" userId="4e4b8b3d-5f31-49bb-9f80-8a25c04abfff" providerId="ADAL" clId="{EE97D3FE-9ACA-4467-98E5-532EC45D9D1C}" dt="2024-03-01T08:51:26.154" v="4844"/>
          <ac:spMkLst>
            <pc:docMk/>
            <pc:sldMk cId="714588004" sldId="277"/>
            <ac:spMk id="15" creationId="{241CB905-692A-855A-E47B-9589A71F28B2}"/>
          </ac:spMkLst>
        </pc:spChg>
        <pc:spChg chg="add del mod modVis">
          <ac:chgData name="Nataliia Chornii (UA)" userId="4e4b8b3d-5f31-49bb-9f80-8a25c04abfff" providerId="ADAL" clId="{EE97D3FE-9ACA-4467-98E5-532EC45D9D1C}" dt="2024-03-01T08:51:56.173" v="5833"/>
          <ac:spMkLst>
            <pc:docMk/>
            <pc:sldMk cId="714588004" sldId="277"/>
            <ac:spMk id="16" creationId="{E37690C6-5990-F5F9-B8AC-5749E61720A1}"/>
          </ac:spMkLst>
        </pc:spChg>
        <pc:spChg chg="add del mod modVis">
          <ac:chgData name="Nataliia Chornii (UA)" userId="4e4b8b3d-5f31-49bb-9f80-8a25c04abfff" providerId="ADAL" clId="{EE97D3FE-9ACA-4467-98E5-532EC45D9D1C}" dt="2024-03-01T08:52:18.334" v="6821"/>
          <ac:spMkLst>
            <pc:docMk/>
            <pc:sldMk cId="714588004" sldId="277"/>
            <ac:spMk id="17" creationId="{F0565B30-44BB-94F9-0CB6-BA26F4855F90}"/>
          </ac:spMkLst>
        </pc:spChg>
        <pc:graphicFrameChg chg="add mod ord modVis replST">
          <ac:chgData name="Nataliia Chornii (UA)" userId="4e4b8b3d-5f31-49bb-9f80-8a25c04abfff" providerId="ADAL" clId="{EE97D3FE-9ACA-4467-98E5-532EC45D9D1C}" dt="2024-03-01T08:52:18.338" v="6823"/>
          <ac:graphicFrameMkLst>
            <pc:docMk/>
            <pc:sldMk cId="714588004" sldId="277"/>
            <ac:graphicFrameMk id="10" creationId="{23612334-23ED-C117-B5EA-5CAEDC739931}"/>
          </ac:graphicFrameMkLst>
        </pc:graphicFrameChg>
      </pc:sldChg>
      <pc:sldChg chg="addSp modSp mod">
        <pc:chgData name="Nataliia Chornii (UA)" userId="4e4b8b3d-5f31-49bb-9f80-8a25c04abfff" providerId="ADAL" clId="{EE97D3FE-9ACA-4467-98E5-532EC45D9D1C}" dt="2024-03-01T08:52:18.296" v="6801"/>
        <pc:sldMkLst>
          <pc:docMk/>
          <pc:sldMk cId="0" sldId="309"/>
        </pc:sldMkLst>
        <pc:graphicFrameChg chg="add mod ord modVis replST">
          <ac:chgData name="Nataliia Chornii (UA)" userId="4e4b8b3d-5f31-49bb-9f80-8a25c04abfff" providerId="ADAL" clId="{EE97D3FE-9ACA-4467-98E5-532EC45D9D1C}" dt="2024-03-01T08:52:18.296" v="6801"/>
          <ac:graphicFrameMkLst>
            <pc:docMk/>
            <pc:sldMk cId="0" sldId="309"/>
            <ac:graphicFrameMk id="7" creationId="{89B9D41C-B009-824A-C2B9-7432C117FE81}"/>
          </ac:graphicFrameMkLst>
        </pc:graphicFrameChg>
      </pc:sldChg>
      <pc:sldChg chg="addSp modSp mod">
        <pc:chgData name="Nataliia Chornii (UA)" userId="4e4b8b3d-5f31-49bb-9f80-8a25c04abfff" providerId="ADAL" clId="{EE97D3FE-9ACA-4467-98E5-532EC45D9D1C}" dt="2024-03-01T08:52:18.312" v="6811"/>
        <pc:sldMkLst>
          <pc:docMk/>
          <pc:sldMk cId="0" sldId="310"/>
        </pc:sldMkLst>
        <pc:graphicFrameChg chg="add mod ord modVis replST">
          <ac:chgData name="Nataliia Chornii (UA)" userId="4e4b8b3d-5f31-49bb-9f80-8a25c04abfff" providerId="ADAL" clId="{EE97D3FE-9ACA-4467-98E5-532EC45D9D1C}" dt="2024-03-01T08:52:18.312" v="6811"/>
          <ac:graphicFrameMkLst>
            <pc:docMk/>
            <pc:sldMk cId="0" sldId="310"/>
            <ac:graphicFrameMk id="7" creationId="{33643B41-0D48-E5D8-814E-CE57901EFF17}"/>
          </ac:graphicFrameMkLst>
        </pc:graphicFrameChg>
      </pc:sldChg>
      <pc:sldChg chg="addSp modSp mod">
        <pc:chgData name="Nataliia Chornii (UA)" userId="4e4b8b3d-5f31-49bb-9f80-8a25c04abfff" providerId="ADAL" clId="{EE97D3FE-9ACA-4467-98E5-532EC45D9D1C}" dt="2024-03-01T08:52:18.342" v="6825"/>
        <pc:sldMkLst>
          <pc:docMk/>
          <pc:sldMk cId="0" sldId="312"/>
        </pc:sldMkLst>
        <pc:graphicFrameChg chg="add mod ord modVis replST">
          <ac:chgData name="Nataliia Chornii (UA)" userId="4e4b8b3d-5f31-49bb-9f80-8a25c04abfff" providerId="ADAL" clId="{EE97D3FE-9ACA-4467-98E5-532EC45D9D1C}" dt="2024-03-01T08:52:18.342" v="6825"/>
          <ac:graphicFrameMkLst>
            <pc:docMk/>
            <pc:sldMk cId="0" sldId="312"/>
            <ac:graphicFrameMk id="6" creationId="{81855EB9-45B2-3B8D-3A0F-4514FAB1861D}"/>
          </ac:graphicFrameMkLst>
        </pc:graphicFrameChg>
      </pc:sldChg>
      <pc:sldChg chg="addSp modSp mod">
        <pc:chgData name="Nataliia Chornii (UA)" userId="4e4b8b3d-5f31-49bb-9f80-8a25c04abfff" providerId="ADAL" clId="{EE97D3FE-9ACA-4467-98E5-532EC45D9D1C}" dt="2024-03-01T08:52:18.327" v="6817"/>
        <pc:sldMkLst>
          <pc:docMk/>
          <pc:sldMk cId="0" sldId="313"/>
        </pc:sldMkLst>
        <pc:graphicFrameChg chg="add mod ord modVis replST">
          <ac:chgData name="Nataliia Chornii (UA)" userId="4e4b8b3d-5f31-49bb-9f80-8a25c04abfff" providerId="ADAL" clId="{EE97D3FE-9ACA-4467-98E5-532EC45D9D1C}" dt="2024-03-01T08:52:18.327" v="6817"/>
          <ac:graphicFrameMkLst>
            <pc:docMk/>
            <pc:sldMk cId="0" sldId="313"/>
            <ac:graphicFrameMk id="6" creationId="{2CA7AA43-0359-97A6-C8DF-C5E8709DA30C}"/>
          </ac:graphicFrameMkLst>
        </pc:graphicFrameChg>
      </pc:sldChg>
      <pc:sldChg chg="addSp modSp mod">
        <pc:chgData name="Nataliia Chornii (UA)" userId="4e4b8b3d-5f31-49bb-9f80-8a25c04abfff" providerId="ADAL" clId="{EE97D3FE-9ACA-4467-98E5-532EC45D9D1C}" dt="2024-03-01T08:52:18.334" v="6819"/>
        <pc:sldMkLst>
          <pc:docMk/>
          <pc:sldMk cId="0" sldId="314"/>
        </pc:sldMkLst>
        <pc:graphicFrameChg chg="add mod ord modVis replST">
          <ac:chgData name="Nataliia Chornii (UA)" userId="4e4b8b3d-5f31-49bb-9f80-8a25c04abfff" providerId="ADAL" clId="{EE97D3FE-9ACA-4467-98E5-532EC45D9D1C}" dt="2024-03-01T08:52:18.334" v="6819"/>
          <ac:graphicFrameMkLst>
            <pc:docMk/>
            <pc:sldMk cId="0" sldId="314"/>
            <ac:graphicFrameMk id="5" creationId="{09547F42-4A66-FE43-F7D2-907EBAD59A0E}"/>
          </ac:graphicFrameMkLst>
        </pc:graphicFrameChg>
      </pc:sldChg>
      <pc:sldChg chg="addSp delSp modSp mod modClrScheme chgLayout">
        <pc:chgData name="Nataliia Chornii (UA)" userId="4e4b8b3d-5f31-49bb-9f80-8a25c04abfff" providerId="ADAL" clId="{EE97D3FE-9ACA-4467-98E5-532EC45D9D1C}" dt="2024-03-01T08:51:31.850" v="4917" actId="207"/>
        <pc:sldMkLst>
          <pc:docMk/>
          <pc:sldMk cId="817197616" sldId="332"/>
        </pc:sldMkLst>
        <pc:spChg chg="del">
          <ac:chgData name="Nataliia Chornii (UA)" userId="4e4b8b3d-5f31-49bb-9f80-8a25c04abfff" providerId="ADAL" clId="{EE97D3FE-9ACA-4467-98E5-532EC45D9D1C}" dt="2024-03-01T08:27:29.102" v="2" actId="478"/>
          <ac:spMkLst>
            <pc:docMk/>
            <pc:sldMk cId="817197616" sldId="332"/>
            <ac:spMk id="2" creationId="{00000000-0000-0000-0000-000000000000}"/>
          </ac:spMkLst>
        </pc:spChg>
        <pc:spChg chg="del">
          <ac:chgData name="Nataliia Chornii (UA)" userId="4e4b8b3d-5f31-49bb-9f80-8a25c04abfff" providerId="ADAL" clId="{EE97D3FE-9ACA-4467-98E5-532EC45D9D1C}" dt="2024-03-01T08:27:29.102" v="2" actId="478"/>
          <ac:spMkLst>
            <pc:docMk/>
            <pc:sldMk cId="817197616" sldId="332"/>
            <ac:spMk id="3" creationId="{00000000-0000-0000-0000-000000000000}"/>
          </ac:spMkLst>
        </pc:spChg>
        <pc:spChg chg="add del mod">
          <ac:chgData name="Nataliia Chornii (UA)" userId="4e4b8b3d-5f31-49bb-9f80-8a25c04abfff" providerId="ADAL" clId="{EE97D3FE-9ACA-4467-98E5-532EC45D9D1C}" dt="2024-03-01T08:27:41.634" v="57" actId="700"/>
          <ac:spMkLst>
            <pc:docMk/>
            <pc:sldMk cId="817197616" sldId="332"/>
            <ac:spMk id="5" creationId="{C25FCFE7-E554-A689-D37C-B8B9B7E710A2}"/>
          </ac:spMkLst>
        </pc:spChg>
        <pc:spChg chg="add del mod ord">
          <ac:chgData name="Nataliia Chornii (UA)" userId="4e4b8b3d-5f31-49bb-9f80-8a25c04abfff" providerId="ADAL" clId="{EE97D3FE-9ACA-4467-98E5-532EC45D9D1C}" dt="2024-03-01T08:27:46.926" v="63"/>
          <ac:spMkLst>
            <pc:docMk/>
            <pc:sldMk cId="817197616" sldId="332"/>
            <ac:spMk id="7" creationId="{FA9D5E14-C1E9-5192-2673-811A60CE1A80}"/>
          </ac:spMkLst>
        </pc:spChg>
        <pc:spChg chg="add mod ord">
          <ac:chgData name="Nataliia Chornii (UA)" userId="4e4b8b3d-5f31-49bb-9f80-8a25c04abfff" providerId="ADAL" clId="{EE97D3FE-9ACA-4467-98E5-532EC45D9D1C}" dt="2024-03-01T08:42:33.405" v="241"/>
          <ac:spMkLst>
            <pc:docMk/>
            <pc:sldMk cId="817197616" sldId="332"/>
            <ac:spMk id="9" creationId="{9C917BBD-747E-ABCB-3683-E8C68F33230D}"/>
          </ac:spMkLst>
        </pc:spChg>
        <pc:spChg chg="add mod ord">
          <ac:chgData name="Nataliia Chornii (UA)" userId="4e4b8b3d-5f31-49bb-9f80-8a25c04abfff" providerId="ADAL" clId="{EE97D3FE-9ACA-4467-98E5-532EC45D9D1C}" dt="2024-03-01T08:42:33.405" v="243"/>
          <ac:spMkLst>
            <pc:docMk/>
            <pc:sldMk cId="817197616" sldId="332"/>
            <ac:spMk id="10" creationId="{1AF1F518-FFCA-3677-677C-CC302DF4DAFE}"/>
          </ac:spMkLst>
        </pc:spChg>
        <pc:spChg chg="add mod ord">
          <ac:chgData name="Nataliia Chornii (UA)" userId="4e4b8b3d-5f31-49bb-9f80-8a25c04abfff" providerId="ADAL" clId="{EE97D3FE-9ACA-4467-98E5-532EC45D9D1C}" dt="2024-03-01T08:42:33.405" v="245"/>
          <ac:spMkLst>
            <pc:docMk/>
            <pc:sldMk cId="817197616" sldId="332"/>
            <ac:spMk id="11" creationId="{DBC36456-4B66-EB4A-D981-C3F1BA8DC87C}"/>
          </ac:spMkLst>
        </pc:spChg>
        <pc:spChg chg="add mod ord">
          <ac:chgData name="Nataliia Chornii (UA)" userId="4e4b8b3d-5f31-49bb-9f80-8a25c04abfff" providerId="ADAL" clId="{EE97D3FE-9ACA-4467-98E5-532EC45D9D1C}" dt="2024-03-01T08:42:33.405" v="247"/>
          <ac:spMkLst>
            <pc:docMk/>
            <pc:sldMk cId="817197616" sldId="332"/>
            <ac:spMk id="12" creationId="{123D026D-5D8F-A549-5FE7-CFE0079FF1A4}"/>
          </ac:spMkLst>
        </pc:spChg>
        <pc:spChg chg="add mod ord">
          <ac:chgData name="Nataliia Chornii (UA)" userId="4e4b8b3d-5f31-49bb-9f80-8a25c04abfff" providerId="ADAL" clId="{EE97D3FE-9ACA-4467-98E5-532EC45D9D1C}" dt="2024-03-01T08:42:33.405" v="249"/>
          <ac:spMkLst>
            <pc:docMk/>
            <pc:sldMk cId="817197616" sldId="332"/>
            <ac:spMk id="13" creationId="{2CDF9D1C-06B6-DBD5-46F8-513B52B44455}"/>
          </ac:spMkLst>
        </pc:spChg>
        <pc:spChg chg="add mod ord">
          <ac:chgData name="Nataliia Chornii (UA)" userId="4e4b8b3d-5f31-49bb-9f80-8a25c04abfff" providerId="ADAL" clId="{EE97D3FE-9ACA-4467-98E5-532EC45D9D1C}" dt="2024-03-01T08:42:33.405" v="251"/>
          <ac:spMkLst>
            <pc:docMk/>
            <pc:sldMk cId="817197616" sldId="332"/>
            <ac:spMk id="14" creationId="{E62C2375-E0A6-F543-AA10-2197973EFACB}"/>
          </ac:spMkLst>
        </pc:spChg>
        <pc:spChg chg="add mod ord">
          <ac:chgData name="Nataliia Chornii (UA)" userId="4e4b8b3d-5f31-49bb-9f80-8a25c04abfff" providerId="ADAL" clId="{EE97D3FE-9ACA-4467-98E5-532EC45D9D1C}" dt="2024-03-01T08:42:33.403" v="239"/>
          <ac:spMkLst>
            <pc:docMk/>
            <pc:sldMk cId="817197616" sldId="332"/>
            <ac:spMk id="15" creationId="{BE44F20B-FA95-2861-40B9-74FCD9F509AC}"/>
          </ac:spMkLst>
        </pc:spChg>
        <pc:spChg chg="add mod ord">
          <ac:chgData name="Nataliia Chornii (UA)" userId="4e4b8b3d-5f31-49bb-9f80-8a25c04abfff" providerId="ADAL" clId="{EE97D3FE-9ACA-4467-98E5-532EC45D9D1C}" dt="2024-03-01T08:48:12.688" v="292" actId="12788"/>
          <ac:spMkLst>
            <pc:docMk/>
            <pc:sldMk cId="817197616" sldId="332"/>
            <ac:spMk id="16" creationId="{12D56AF0-5D91-586B-FC86-6E2EA8AA6489}"/>
          </ac:spMkLst>
        </pc:spChg>
        <pc:spChg chg="add mod ord">
          <ac:chgData name="Nataliia Chornii (UA)" userId="4e4b8b3d-5f31-49bb-9f80-8a25c04abfff" providerId="ADAL" clId="{EE97D3FE-9ACA-4467-98E5-532EC45D9D1C}" dt="2024-03-01T08:49:07.172" v="1952" actId="207"/>
          <ac:spMkLst>
            <pc:docMk/>
            <pc:sldMk cId="817197616" sldId="332"/>
            <ac:spMk id="17" creationId="{2AD67365-5F03-E963-4C79-A9BF11E64D4B}"/>
          </ac:spMkLst>
        </pc:spChg>
        <pc:spChg chg="add mod ord">
          <ac:chgData name="Nataliia Chornii (UA)" userId="4e4b8b3d-5f31-49bb-9f80-8a25c04abfff" providerId="ADAL" clId="{EE97D3FE-9ACA-4467-98E5-532EC45D9D1C}" dt="2024-03-01T08:48:12.688" v="292" actId="12788"/>
          <ac:spMkLst>
            <pc:docMk/>
            <pc:sldMk cId="817197616" sldId="332"/>
            <ac:spMk id="18" creationId="{3EFF9D7B-F6C9-BDA4-7649-F6C5399146DF}"/>
          </ac:spMkLst>
        </pc:spChg>
        <pc:spChg chg="add mod ord">
          <ac:chgData name="Nataliia Chornii (UA)" userId="4e4b8b3d-5f31-49bb-9f80-8a25c04abfff" providerId="ADAL" clId="{EE97D3FE-9ACA-4467-98E5-532EC45D9D1C}" dt="2024-03-01T08:48:12.688" v="292" actId="12788"/>
          <ac:spMkLst>
            <pc:docMk/>
            <pc:sldMk cId="817197616" sldId="332"/>
            <ac:spMk id="19" creationId="{3BD32581-6C0C-F715-E58C-F0FC848A828C}"/>
          </ac:spMkLst>
        </pc:spChg>
        <pc:spChg chg="add mod ord">
          <ac:chgData name="Nataliia Chornii (UA)" userId="4e4b8b3d-5f31-49bb-9f80-8a25c04abfff" providerId="ADAL" clId="{EE97D3FE-9ACA-4467-98E5-532EC45D9D1C}" dt="2024-03-01T08:51:31.850" v="4917" actId="207"/>
          <ac:spMkLst>
            <pc:docMk/>
            <pc:sldMk cId="817197616" sldId="332"/>
            <ac:spMk id="20" creationId="{C32CDEE4-492E-89E4-B047-D845DF6A57F6}"/>
          </ac:spMkLst>
        </pc:spChg>
        <pc:spChg chg="add mod ord">
          <ac:chgData name="Nataliia Chornii (UA)" userId="4e4b8b3d-5f31-49bb-9f80-8a25c04abfff" providerId="ADAL" clId="{EE97D3FE-9ACA-4467-98E5-532EC45D9D1C}" dt="2024-03-01T08:48:12.688" v="292" actId="12788"/>
          <ac:spMkLst>
            <pc:docMk/>
            <pc:sldMk cId="817197616" sldId="332"/>
            <ac:spMk id="21" creationId="{E8EC1277-A063-49F0-81F3-8CB8E7AB2F86}"/>
          </ac:spMkLst>
        </pc:spChg>
        <pc:spChg chg="add del mod">
          <ac:chgData name="Nataliia Chornii (UA)" userId="4e4b8b3d-5f31-49bb-9f80-8a25c04abfff" providerId="ADAL" clId="{EE97D3FE-9ACA-4467-98E5-532EC45D9D1C}" dt="2024-03-01T08:42:32.538" v="235" actId="931"/>
          <ac:spMkLst>
            <pc:docMk/>
            <pc:sldMk cId="817197616" sldId="332"/>
            <ac:spMk id="23" creationId="{73A4EC6E-2C20-3D4F-F39E-C09C95CC6291}"/>
          </ac:spMkLst>
        </pc:spChg>
        <pc:graphicFrameChg chg="add mod ord modVis replST">
          <ac:chgData name="Nataliia Chornii (UA)" userId="4e4b8b3d-5f31-49bb-9f80-8a25c04abfff" providerId="ADAL" clId="{EE97D3FE-9ACA-4467-98E5-532EC45D9D1C}" dt="2024-03-01T08:48:15.598" v="300"/>
          <ac:graphicFrameMkLst>
            <pc:docMk/>
            <pc:sldMk cId="817197616" sldId="332"/>
            <ac:graphicFrameMk id="6" creationId="{F519BE3E-6430-6DF8-7979-F97BC9AEB1D1}"/>
          </ac:graphicFrameMkLst>
        </pc:graphicFrameChg>
        <pc:picChg chg="add del mod ord">
          <ac:chgData name="Nataliia Chornii (UA)" userId="4e4b8b3d-5f31-49bb-9f80-8a25c04abfff" providerId="ADAL" clId="{EE97D3FE-9ACA-4467-98E5-532EC45D9D1C}" dt="2024-03-01T08:28:39.355" v="182" actId="478"/>
          <ac:picMkLst>
            <pc:docMk/>
            <pc:sldMk cId="817197616" sldId="332"/>
            <ac:picMk id="8" creationId="{30DC852E-D18A-5993-8F86-35E13B951D6F}"/>
          </ac:picMkLst>
        </pc:picChg>
        <pc:picChg chg="add mod ord">
          <ac:chgData name="Nataliia Chornii (UA)" userId="4e4b8b3d-5f31-49bb-9f80-8a25c04abfff" providerId="ADAL" clId="{EE97D3FE-9ACA-4467-98E5-532EC45D9D1C}" dt="2024-03-01T08:42:33.388" v="237"/>
          <ac:picMkLst>
            <pc:docMk/>
            <pc:sldMk cId="817197616" sldId="332"/>
            <ac:picMk id="25" creationId="{C8497267-3385-72A7-9442-F96BED434CC7}"/>
          </ac:picMkLst>
        </pc:picChg>
      </pc:sldChg>
      <pc:sldChg chg="addSp delSp modSp mod">
        <pc:chgData name="Nataliia Chornii (UA)" userId="4e4b8b3d-5f31-49bb-9f80-8a25c04abfff" providerId="ADAL" clId="{EE97D3FE-9ACA-4467-98E5-532EC45D9D1C}" dt="2024-03-01T08:52:18.296" v="6791"/>
        <pc:sldMkLst>
          <pc:docMk/>
          <pc:sldMk cId="1077060666" sldId="333"/>
        </pc:sldMkLst>
        <pc:spChg chg="mod">
          <ac:chgData name="Nataliia Chornii (UA)" userId="4e4b8b3d-5f31-49bb-9f80-8a25c04abfff" providerId="ADAL" clId="{EE97D3FE-9ACA-4467-98E5-532EC45D9D1C}" dt="2024-03-01T08:52:17.634" v="6287" actId="948"/>
          <ac:spMkLst>
            <pc:docMk/>
            <pc:sldMk cId="1077060666" sldId="333"/>
            <ac:spMk id="2" creationId="{AC42B68E-B8A9-728C-36B8-45E86158C3A3}"/>
          </ac:spMkLst>
        </pc:spChg>
        <pc:spChg chg="add del mod modVis">
          <ac:chgData name="Nataliia Chornii (UA)" userId="4e4b8b3d-5f31-49bb-9f80-8a25c04abfff" providerId="ADAL" clId="{EE97D3FE-9ACA-4467-98E5-532EC45D9D1C}" dt="2024-03-01T08:48:59.644" v="1444"/>
          <ac:spMkLst>
            <pc:docMk/>
            <pc:sldMk cId="1077060666" sldId="333"/>
            <ac:spMk id="4" creationId="{0A1F9B0E-C3CE-1119-2E5A-9377BB72E721}"/>
          </ac:spMkLst>
        </pc:spChg>
        <pc:spChg chg="add del mod modVis">
          <ac:chgData name="Nataliia Chornii (UA)" userId="4e4b8b3d-5f31-49bb-9f80-8a25c04abfff" providerId="ADAL" clId="{EE97D3FE-9ACA-4467-98E5-532EC45D9D1C}" dt="2024-03-01T08:49:33.777" v="2836"/>
          <ac:spMkLst>
            <pc:docMk/>
            <pc:sldMk cId="1077060666" sldId="333"/>
            <ac:spMk id="6" creationId="{2E41C3D8-6D5E-FA3B-9267-2A0D8E3E61CA}"/>
          </ac:spMkLst>
        </pc:spChg>
        <pc:spChg chg="add del mod modVis">
          <ac:chgData name="Nataliia Chornii (UA)" userId="4e4b8b3d-5f31-49bb-9f80-8a25c04abfff" providerId="ADAL" clId="{EE97D3FE-9ACA-4467-98E5-532EC45D9D1C}" dt="2024-03-01T08:49:59.804" v="3824"/>
          <ac:spMkLst>
            <pc:docMk/>
            <pc:sldMk cId="1077060666" sldId="333"/>
            <ac:spMk id="7" creationId="{FD03FEEB-96DF-3422-8879-A40D3CD16D1F}"/>
          </ac:spMkLst>
        </pc:spChg>
        <pc:spChg chg="add del mod modVis">
          <ac:chgData name="Nataliia Chornii (UA)" userId="4e4b8b3d-5f31-49bb-9f80-8a25c04abfff" providerId="ADAL" clId="{EE97D3FE-9ACA-4467-98E5-532EC45D9D1C}" dt="2024-03-01T08:51:26.124" v="4812"/>
          <ac:spMkLst>
            <pc:docMk/>
            <pc:sldMk cId="1077060666" sldId="333"/>
            <ac:spMk id="8" creationId="{7C223DAF-D60C-7E39-2B71-0DBBF6F9054D}"/>
          </ac:spMkLst>
        </pc:spChg>
        <pc:spChg chg="add del mod modVis">
          <ac:chgData name="Nataliia Chornii (UA)" userId="4e4b8b3d-5f31-49bb-9f80-8a25c04abfff" providerId="ADAL" clId="{EE97D3FE-9ACA-4467-98E5-532EC45D9D1C}" dt="2024-03-01T08:51:56.131" v="5801"/>
          <ac:spMkLst>
            <pc:docMk/>
            <pc:sldMk cId="1077060666" sldId="333"/>
            <ac:spMk id="9" creationId="{69568C7F-2A45-4355-C830-47103D234F9D}"/>
          </ac:spMkLst>
        </pc:spChg>
        <pc:spChg chg="add del mod modVis">
          <ac:chgData name="Nataliia Chornii (UA)" userId="4e4b8b3d-5f31-49bb-9f80-8a25c04abfff" providerId="ADAL" clId="{EE97D3FE-9ACA-4467-98E5-532EC45D9D1C}" dt="2024-03-01T08:52:18.296" v="6789"/>
          <ac:spMkLst>
            <pc:docMk/>
            <pc:sldMk cId="1077060666" sldId="333"/>
            <ac:spMk id="10" creationId="{69720849-5ADF-7974-1C8B-E83CCF387516}"/>
          </ac:spMkLst>
        </pc:spChg>
        <pc:graphicFrameChg chg="add mod ord modVis replST">
          <ac:chgData name="Nataliia Chornii (UA)" userId="4e4b8b3d-5f31-49bb-9f80-8a25c04abfff" providerId="ADAL" clId="{EE97D3FE-9ACA-4467-98E5-532EC45D9D1C}" dt="2024-03-01T08:52:18.296" v="6791"/>
          <ac:graphicFrameMkLst>
            <pc:docMk/>
            <pc:sldMk cId="1077060666" sldId="333"/>
            <ac:graphicFrameMk id="5" creationId="{14B55C25-62AB-5BAE-3512-193FEF814325}"/>
          </ac:graphicFrameMkLst>
        </pc:graphicFrameChg>
      </pc:sldChg>
      <pc:sldChg chg="addSp delSp modSp mod">
        <pc:chgData name="Nataliia Chornii (UA)" userId="4e4b8b3d-5f31-49bb-9f80-8a25c04abfff" providerId="ADAL" clId="{EE97D3FE-9ACA-4467-98E5-532EC45D9D1C}" dt="2024-03-01T08:52:18.345" v="6835"/>
        <pc:sldMkLst>
          <pc:docMk/>
          <pc:sldMk cId="1586425510" sldId="334"/>
        </pc:sldMkLst>
        <pc:spChg chg="mod">
          <ac:chgData name="Nataliia Chornii (UA)" userId="4e4b8b3d-5f31-49bb-9f80-8a25c04abfff" providerId="ADAL" clId="{EE97D3FE-9ACA-4467-98E5-532EC45D9D1C}" dt="2024-03-01T08:52:17.856" v="6447" actId="948"/>
          <ac:spMkLst>
            <pc:docMk/>
            <pc:sldMk cId="1586425510" sldId="334"/>
            <ac:spMk id="2" creationId="{CCE1867A-76FC-5612-72D9-947FD7F4B719}"/>
          </ac:spMkLst>
        </pc:spChg>
        <pc:spChg chg="add del mod modVis">
          <ac:chgData name="Nataliia Chornii (UA)" userId="4e4b8b3d-5f31-49bb-9f80-8a25c04abfff" providerId="ADAL" clId="{EE97D3FE-9ACA-4467-98E5-532EC45D9D1C}" dt="2024-03-01T08:49:00.123" v="1670"/>
          <ac:spMkLst>
            <pc:docMk/>
            <pc:sldMk cId="1586425510" sldId="334"/>
            <ac:spMk id="4" creationId="{E497585C-0438-D4E2-B227-AA1EB25F249E}"/>
          </ac:spMkLst>
        </pc:spChg>
        <pc:spChg chg="add del mod modVis">
          <ac:chgData name="Nataliia Chornii (UA)" userId="4e4b8b3d-5f31-49bb-9f80-8a25c04abfff" providerId="ADAL" clId="{EE97D3FE-9ACA-4467-98E5-532EC45D9D1C}" dt="2024-03-01T08:49:33.823" v="2880"/>
          <ac:spMkLst>
            <pc:docMk/>
            <pc:sldMk cId="1586425510" sldId="334"/>
            <ac:spMk id="6" creationId="{E59953DD-528A-374E-7CE0-1307D28F3AD2}"/>
          </ac:spMkLst>
        </pc:spChg>
        <pc:spChg chg="add del mod modVis">
          <ac:chgData name="Nataliia Chornii (UA)" userId="4e4b8b3d-5f31-49bb-9f80-8a25c04abfff" providerId="ADAL" clId="{EE97D3FE-9ACA-4467-98E5-532EC45D9D1C}" dt="2024-03-01T08:49:59.851" v="3868"/>
          <ac:spMkLst>
            <pc:docMk/>
            <pc:sldMk cId="1586425510" sldId="334"/>
            <ac:spMk id="7" creationId="{CCD43402-D8FC-7C87-0F2A-BC4554E1F7BA}"/>
          </ac:spMkLst>
        </pc:spChg>
        <pc:spChg chg="add del mod modVis">
          <ac:chgData name="Nataliia Chornii (UA)" userId="4e4b8b3d-5f31-49bb-9f80-8a25c04abfff" providerId="ADAL" clId="{EE97D3FE-9ACA-4467-98E5-532EC45D9D1C}" dt="2024-03-01T08:51:26.172" v="4856"/>
          <ac:spMkLst>
            <pc:docMk/>
            <pc:sldMk cId="1586425510" sldId="334"/>
            <ac:spMk id="8" creationId="{13F3DD8C-C44B-B270-3175-2FEF8F3291E2}"/>
          </ac:spMkLst>
        </pc:spChg>
        <pc:spChg chg="add del mod modVis">
          <ac:chgData name="Nataliia Chornii (UA)" userId="4e4b8b3d-5f31-49bb-9f80-8a25c04abfff" providerId="ADAL" clId="{EE97D3FE-9ACA-4467-98E5-532EC45D9D1C}" dt="2024-03-01T08:51:56.188" v="5845"/>
          <ac:spMkLst>
            <pc:docMk/>
            <pc:sldMk cId="1586425510" sldId="334"/>
            <ac:spMk id="9" creationId="{82E9CC16-65A6-4B9A-6B2A-248E77532420}"/>
          </ac:spMkLst>
        </pc:spChg>
        <pc:spChg chg="add del mod modVis">
          <ac:chgData name="Nataliia Chornii (UA)" userId="4e4b8b3d-5f31-49bb-9f80-8a25c04abfff" providerId="ADAL" clId="{EE97D3FE-9ACA-4467-98E5-532EC45D9D1C}" dt="2024-03-01T08:52:18.345" v="6833"/>
          <ac:spMkLst>
            <pc:docMk/>
            <pc:sldMk cId="1586425510" sldId="334"/>
            <ac:spMk id="10" creationId="{F29A5B97-72B5-DA1C-3462-0902FE7E03FE}"/>
          </ac:spMkLst>
        </pc:spChg>
        <pc:graphicFrameChg chg="add mod ord modVis replST">
          <ac:chgData name="Nataliia Chornii (UA)" userId="4e4b8b3d-5f31-49bb-9f80-8a25c04abfff" providerId="ADAL" clId="{EE97D3FE-9ACA-4467-98E5-532EC45D9D1C}" dt="2024-03-01T08:52:18.345" v="6835"/>
          <ac:graphicFrameMkLst>
            <pc:docMk/>
            <pc:sldMk cId="1586425510" sldId="334"/>
            <ac:graphicFrameMk id="5" creationId="{D67470D2-0008-D9C3-16A4-EA8755B2B5B5}"/>
          </ac:graphicFrameMkLst>
        </pc:graphicFrameChg>
      </pc:sldChg>
      <pc:sldChg chg="addSp delSp modSp mod">
        <pc:chgData name="Nataliia Chornii (UA)" userId="4e4b8b3d-5f31-49bb-9f80-8a25c04abfff" providerId="ADAL" clId="{EE97D3FE-9ACA-4467-98E5-532EC45D9D1C}" dt="2024-03-01T08:52:18.357" v="6839"/>
        <pc:sldMkLst>
          <pc:docMk/>
          <pc:sldMk cId="3962446863" sldId="335"/>
        </pc:sldMkLst>
        <pc:spChg chg="mod">
          <ac:chgData name="Nataliia Chornii (UA)" userId="4e4b8b3d-5f31-49bb-9f80-8a25c04abfff" providerId="ADAL" clId="{EE97D3FE-9ACA-4467-98E5-532EC45D9D1C}" dt="2024-03-01T08:52:17.886" v="6467" actId="948"/>
          <ac:spMkLst>
            <pc:docMk/>
            <pc:sldMk cId="3962446863" sldId="335"/>
            <ac:spMk id="2" creationId="{036EE845-32FD-E9C9-A93D-53BFBE791A59}"/>
          </ac:spMkLst>
        </pc:spChg>
        <pc:spChg chg="add del mod modVis">
          <ac:chgData name="Nataliia Chornii (UA)" userId="4e4b8b3d-5f31-49bb-9f80-8a25c04abfff" providerId="ADAL" clId="{EE97D3FE-9ACA-4467-98E5-532EC45D9D1C}" dt="2024-03-01T08:49:00.164" v="1687"/>
          <ac:spMkLst>
            <pc:docMk/>
            <pc:sldMk cId="3962446863" sldId="335"/>
            <ac:spMk id="4" creationId="{CADCD62C-FF33-E251-993D-5C6EBECEEB89}"/>
          </ac:spMkLst>
        </pc:spChg>
        <pc:spChg chg="add del mod modVis">
          <ac:chgData name="Nataliia Chornii (UA)" userId="4e4b8b3d-5f31-49bb-9f80-8a25c04abfff" providerId="ADAL" clId="{EE97D3FE-9ACA-4467-98E5-532EC45D9D1C}" dt="2024-03-01T08:49:33.839" v="2884"/>
          <ac:spMkLst>
            <pc:docMk/>
            <pc:sldMk cId="3962446863" sldId="335"/>
            <ac:spMk id="6" creationId="{8B045F08-0F20-EC4C-A38C-F6BB6F96068E}"/>
          </ac:spMkLst>
        </pc:spChg>
        <pc:spChg chg="add del mod modVis">
          <ac:chgData name="Nataliia Chornii (UA)" userId="4e4b8b3d-5f31-49bb-9f80-8a25c04abfff" providerId="ADAL" clId="{EE97D3FE-9ACA-4467-98E5-532EC45D9D1C}" dt="2024-03-01T08:49:59.867" v="3872"/>
          <ac:spMkLst>
            <pc:docMk/>
            <pc:sldMk cId="3962446863" sldId="335"/>
            <ac:spMk id="7" creationId="{E0922A31-6ECA-28D5-B511-B334612048CA}"/>
          </ac:spMkLst>
        </pc:spChg>
        <pc:spChg chg="add del mod modVis">
          <ac:chgData name="Nataliia Chornii (UA)" userId="4e4b8b3d-5f31-49bb-9f80-8a25c04abfff" providerId="ADAL" clId="{EE97D3FE-9ACA-4467-98E5-532EC45D9D1C}" dt="2024-03-01T08:51:26.178" v="4860"/>
          <ac:spMkLst>
            <pc:docMk/>
            <pc:sldMk cId="3962446863" sldId="335"/>
            <ac:spMk id="8" creationId="{0ED8D890-942B-573B-8F2F-991CA2FFAE7D}"/>
          </ac:spMkLst>
        </pc:spChg>
        <pc:spChg chg="add del mod modVis">
          <ac:chgData name="Nataliia Chornii (UA)" userId="4e4b8b3d-5f31-49bb-9f80-8a25c04abfff" providerId="ADAL" clId="{EE97D3FE-9ACA-4467-98E5-532EC45D9D1C}" dt="2024-03-01T08:51:56.188" v="5849"/>
          <ac:spMkLst>
            <pc:docMk/>
            <pc:sldMk cId="3962446863" sldId="335"/>
            <ac:spMk id="9" creationId="{AD3954B2-D86C-4654-C9C0-79D9DB078DCC}"/>
          </ac:spMkLst>
        </pc:spChg>
        <pc:spChg chg="add del mod modVis">
          <ac:chgData name="Nataliia Chornii (UA)" userId="4e4b8b3d-5f31-49bb-9f80-8a25c04abfff" providerId="ADAL" clId="{EE97D3FE-9ACA-4467-98E5-532EC45D9D1C}" dt="2024-03-01T08:52:18.345" v="6837"/>
          <ac:spMkLst>
            <pc:docMk/>
            <pc:sldMk cId="3962446863" sldId="335"/>
            <ac:spMk id="10" creationId="{5561184C-4CAA-EA8F-87AF-56171AA4CF0C}"/>
          </ac:spMkLst>
        </pc:spChg>
        <pc:graphicFrameChg chg="add mod ord modVis replST">
          <ac:chgData name="Nataliia Chornii (UA)" userId="4e4b8b3d-5f31-49bb-9f80-8a25c04abfff" providerId="ADAL" clId="{EE97D3FE-9ACA-4467-98E5-532EC45D9D1C}" dt="2024-03-01T08:52:18.357" v="6839"/>
          <ac:graphicFrameMkLst>
            <pc:docMk/>
            <pc:sldMk cId="3962446863" sldId="335"/>
            <ac:graphicFrameMk id="5" creationId="{CDEE1422-65BE-E1EF-9236-15C4E01C3888}"/>
          </ac:graphicFrameMkLst>
        </pc:graphicFrameChg>
      </pc:sldChg>
      <pc:sldChg chg="addSp delSp modSp mod">
        <pc:chgData name="Nataliia Chornii (UA)" userId="4e4b8b3d-5f31-49bb-9f80-8a25c04abfff" providerId="ADAL" clId="{EE97D3FE-9ACA-4467-98E5-532EC45D9D1C}" dt="2024-03-01T08:52:18.345" v="6831"/>
        <pc:sldMkLst>
          <pc:docMk/>
          <pc:sldMk cId="1176371514" sldId="336"/>
        </pc:sldMkLst>
        <pc:spChg chg="mod">
          <ac:chgData name="Nataliia Chornii (UA)" userId="4e4b8b3d-5f31-49bb-9f80-8a25c04abfff" providerId="ADAL" clId="{EE97D3FE-9ACA-4467-98E5-532EC45D9D1C}" dt="2024-03-01T08:52:17.824" v="6427" actId="948"/>
          <ac:spMkLst>
            <pc:docMk/>
            <pc:sldMk cId="1176371514" sldId="336"/>
            <ac:spMk id="2" creationId="{E6DA22FE-9E83-B7F5-7492-ECD3B0591A82}"/>
          </ac:spMkLst>
        </pc:spChg>
        <pc:spChg chg="add del mod modVis">
          <ac:chgData name="Nataliia Chornii (UA)" userId="4e4b8b3d-5f31-49bb-9f80-8a25c04abfff" providerId="ADAL" clId="{EE97D3FE-9ACA-4467-98E5-532EC45D9D1C}" dt="2024-03-01T08:49:00.085" v="1653"/>
          <ac:spMkLst>
            <pc:docMk/>
            <pc:sldMk cId="1176371514" sldId="336"/>
            <ac:spMk id="4" creationId="{ED166059-D381-2D0B-DBA4-96DC615CC8CB}"/>
          </ac:spMkLst>
        </pc:spChg>
        <pc:spChg chg="add del mod modVis">
          <ac:chgData name="Nataliia Chornii (UA)" userId="4e4b8b3d-5f31-49bb-9f80-8a25c04abfff" providerId="ADAL" clId="{EE97D3FE-9ACA-4467-98E5-532EC45D9D1C}" dt="2024-03-01T08:49:33.823" v="2876"/>
          <ac:spMkLst>
            <pc:docMk/>
            <pc:sldMk cId="1176371514" sldId="336"/>
            <ac:spMk id="6" creationId="{710EAF3A-517E-CCC4-DC44-3F58C3167A4B}"/>
          </ac:spMkLst>
        </pc:spChg>
        <pc:spChg chg="add del mod modVis">
          <ac:chgData name="Nataliia Chornii (UA)" userId="4e4b8b3d-5f31-49bb-9f80-8a25c04abfff" providerId="ADAL" clId="{EE97D3FE-9ACA-4467-98E5-532EC45D9D1C}" dt="2024-03-01T08:49:59.851" v="3864"/>
          <ac:spMkLst>
            <pc:docMk/>
            <pc:sldMk cId="1176371514" sldId="336"/>
            <ac:spMk id="7" creationId="{DDD9C459-F2A8-6C74-07FF-1C22DFD52C5A}"/>
          </ac:spMkLst>
        </pc:spChg>
        <pc:spChg chg="add del mod modVis">
          <ac:chgData name="Nataliia Chornii (UA)" userId="4e4b8b3d-5f31-49bb-9f80-8a25c04abfff" providerId="ADAL" clId="{EE97D3FE-9ACA-4467-98E5-532EC45D9D1C}" dt="2024-03-01T08:51:26.170" v="4852"/>
          <ac:spMkLst>
            <pc:docMk/>
            <pc:sldMk cId="1176371514" sldId="336"/>
            <ac:spMk id="8" creationId="{D0F98065-C92B-EB51-8F01-353DB5E8B00F}"/>
          </ac:spMkLst>
        </pc:spChg>
        <pc:spChg chg="add del mod modVis">
          <ac:chgData name="Nataliia Chornii (UA)" userId="4e4b8b3d-5f31-49bb-9f80-8a25c04abfff" providerId="ADAL" clId="{EE97D3FE-9ACA-4467-98E5-532EC45D9D1C}" dt="2024-03-01T08:51:56.188" v="5841"/>
          <ac:spMkLst>
            <pc:docMk/>
            <pc:sldMk cId="1176371514" sldId="336"/>
            <ac:spMk id="9" creationId="{9A3B099F-FE6C-966E-9E1A-A93891303EE7}"/>
          </ac:spMkLst>
        </pc:spChg>
        <pc:spChg chg="add del mod modVis">
          <ac:chgData name="Nataliia Chornii (UA)" userId="4e4b8b3d-5f31-49bb-9f80-8a25c04abfff" providerId="ADAL" clId="{EE97D3FE-9ACA-4467-98E5-532EC45D9D1C}" dt="2024-03-01T08:52:18.345" v="6829"/>
          <ac:spMkLst>
            <pc:docMk/>
            <pc:sldMk cId="1176371514" sldId="336"/>
            <ac:spMk id="10" creationId="{5EE40E6B-E7A3-E491-D8CE-0CEA1D337CF6}"/>
          </ac:spMkLst>
        </pc:spChg>
        <pc:graphicFrameChg chg="add mod ord modVis replST">
          <ac:chgData name="Nataliia Chornii (UA)" userId="4e4b8b3d-5f31-49bb-9f80-8a25c04abfff" providerId="ADAL" clId="{EE97D3FE-9ACA-4467-98E5-532EC45D9D1C}" dt="2024-03-01T08:52:18.345" v="6831"/>
          <ac:graphicFrameMkLst>
            <pc:docMk/>
            <pc:sldMk cId="1176371514" sldId="336"/>
            <ac:graphicFrameMk id="5" creationId="{709AA27E-2ADD-50F6-7B4A-0A04C4F0E61C}"/>
          </ac:graphicFrameMkLst>
        </pc:graphicFrameChg>
      </pc:sldChg>
      <pc:sldChg chg="addSp delSp modSp mod">
        <pc:chgData name="Nataliia Chornii (UA)" userId="4e4b8b3d-5f31-49bb-9f80-8a25c04abfff" providerId="ADAL" clId="{EE97D3FE-9ACA-4467-98E5-532EC45D9D1C}" dt="2024-03-01T08:52:18.375" v="6853"/>
        <pc:sldMkLst>
          <pc:docMk/>
          <pc:sldMk cId="3244661427" sldId="337"/>
        </pc:sldMkLst>
        <pc:spChg chg="mod">
          <ac:chgData name="Nataliia Chornii (UA)" userId="4e4b8b3d-5f31-49bb-9f80-8a25c04abfff" providerId="ADAL" clId="{EE97D3FE-9ACA-4467-98E5-532EC45D9D1C}" dt="2024-03-01T08:52:17.933" v="6507" actId="948"/>
          <ac:spMkLst>
            <pc:docMk/>
            <pc:sldMk cId="3244661427" sldId="337"/>
            <ac:spMk id="2" creationId="{7B0B7F8E-339A-D477-6D76-DDF1726DE509}"/>
          </ac:spMkLst>
        </pc:spChg>
        <pc:spChg chg="add del mod modVis">
          <ac:chgData name="Nataliia Chornii (UA)" userId="4e4b8b3d-5f31-49bb-9f80-8a25c04abfff" providerId="ADAL" clId="{EE97D3FE-9ACA-4467-98E5-532EC45D9D1C}" dt="2024-03-01T08:49:00.336" v="1766"/>
          <ac:spMkLst>
            <pc:docMk/>
            <pc:sldMk cId="3244661427" sldId="337"/>
            <ac:spMk id="4" creationId="{B6549496-CCFC-D9E7-7DEC-2BD19EEC480E}"/>
          </ac:spMkLst>
        </pc:spChg>
        <pc:spChg chg="add del mod modVis">
          <ac:chgData name="Nataliia Chornii (UA)" userId="4e4b8b3d-5f31-49bb-9f80-8a25c04abfff" providerId="ADAL" clId="{EE97D3FE-9ACA-4467-98E5-532EC45D9D1C}" dt="2024-03-01T08:49:33.860" v="2898"/>
          <ac:spMkLst>
            <pc:docMk/>
            <pc:sldMk cId="3244661427" sldId="337"/>
            <ac:spMk id="6" creationId="{B87B8407-82B5-312F-A8F8-63E8063C7060}"/>
          </ac:spMkLst>
        </pc:spChg>
        <pc:spChg chg="add del mod modVis">
          <ac:chgData name="Nataliia Chornii (UA)" userId="4e4b8b3d-5f31-49bb-9f80-8a25c04abfff" providerId="ADAL" clId="{EE97D3FE-9ACA-4467-98E5-532EC45D9D1C}" dt="2024-03-01T08:49:59.885" v="3886"/>
          <ac:spMkLst>
            <pc:docMk/>
            <pc:sldMk cId="3244661427" sldId="337"/>
            <ac:spMk id="7" creationId="{0A05B2F4-45A9-81BC-957F-391D2CC16600}"/>
          </ac:spMkLst>
        </pc:spChg>
        <pc:spChg chg="add del mod modVis">
          <ac:chgData name="Nataliia Chornii (UA)" userId="4e4b8b3d-5f31-49bb-9f80-8a25c04abfff" providerId="ADAL" clId="{EE97D3FE-9ACA-4467-98E5-532EC45D9D1C}" dt="2024-03-01T08:51:26.198" v="4874"/>
          <ac:spMkLst>
            <pc:docMk/>
            <pc:sldMk cId="3244661427" sldId="337"/>
            <ac:spMk id="8" creationId="{C828B0F0-284E-CAFF-36AC-43A4102DA558}"/>
          </ac:spMkLst>
        </pc:spChg>
        <pc:spChg chg="add del mod modVis">
          <ac:chgData name="Nataliia Chornii (UA)" userId="4e4b8b3d-5f31-49bb-9f80-8a25c04abfff" providerId="ADAL" clId="{EE97D3FE-9ACA-4467-98E5-532EC45D9D1C}" dt="2024-03-01T08:51:56.204" v="5863"/>
          <ac:spMkLst>
            <pc:docMk/>
            <pc:sldMk cId="3244661427" sldId="337"/>
            <ac:spMk id="9" creationId="{4F6256CA-0042-BB3A-2CC3-E7A5F8171A40}"/>
          </ac:spMkLst>
        </pc:spChg>
        <pc:spChg chg="add del mod modVis">
          <ac:chgData name="Nataliia Chornii (UA)" userId="4e4b8b3d-5f31-49bb-9f80-8a25c04abfff" providerId="ADAL" clId="{EE97D3FE-9ACA-4467-98E5-532EC45D9D1C}" dt="2024-03-01T08:52:18.359" v="6851"/>
          <ac:spMkLst>
            <pc:docMk/>
            <pc:sldMk cId="3244661427" sldId="337"/>
            <ac:spMk id="10" creationId="{B5D7C8C9-87B7-8DFC-BADE-8E9A38FEDD6B}"/>
          </ac:spMkLst>
        </pc:spChg>
        <pc:graphicFrameChg chg="add mod ord modVis replST">
          <ac:chgData name="Nataliia Chornii (UA)" userId="4e4b8b3d-5f31-49bb-9f80-8a25c04abfff" providerId="ADAL" clId="{EE97D3FE-9ACA-4467-98E5-532EC45D9D1C}" dt="2024-03-01T08:52:18.375" v="6853"/>
          <ac:graphicFrameMkLst>
            <pc:docMk/>
            <pc:sldMk cId="3244661427" sldId="337"/>
            <ac:graphicFrameMk id="5" creationId="{6418E303-72CA-54F8-F33A-9F29A7D12C1C}"/>
          </ac:graphicFrameMkLst>
        </pc:graphicFrameChg>
      </pc:sldChg>
      <pc:sldChg chg="addSp delSp modSp mod">
        <pc:chgData name="Nataliia Chornii (UA)" userId="4e4b8b3d-5f31-49bb-9f80-8a25c04abfff" providerId="ADAL" clId="{EE97D3FE-9ACA-4467-98E5-532EC45D9D1C}" dt="2024-03-01T08:52:18.375" v="6861"/>
        <pc:sldMkLst>
          <pc:docMk/>
          <pc:sldMk cId="2065102976" sldId="338"/>
        </pc:sldMkLst>
        <pc:spChg chg="mod">
          <ac:chgData name="Nataliia Chornii (UA)" userId="4e4b8b3d-5f31-49bb-9f80-8a25c04abfff" providerId="ADAL" clId="{EE97D3FE-9ACA-4467-98E5-532EC45D9D1C}" dt="2024-03-01T08:52:17.998" v="6547" actId="948"/>
          <ac:spMkLst>
            <pc:docMk/>
            <pc:sldMk cId="2065102976" sldId="338"/>
            <ac:spMk id="2" creationId="{9EE425CE-7CB9-3C41-5338-5BF0CEB6DBC1}"/>
          </ac:spMkLst>
        </pc:spChg>
        <pc:spChg chg="add del mod modVis">
          <ac:chgData name="Nataliia Chornii (UA)" userId="4e4b8b3d-5f31-49bb-9f80-8a25c04abfff" providerId="ADAL" clId="{EE97D3FE-9ACA-4467-98E5-532EC45D9D1C}" dt="2024-03-01T08:49:00.400" v="1800"/>
          <ac:spMkLst>
            <pc:docMk/>
            <pc:sldMk cId="2065102976" sldId="338"/>
            <ac:spMk id="4" creationId="{9ADF0993-A7D9-F4AF-0984-FE15967BC602}"/>
          </ac:spMkLst>
        </pc:spChg>
        <pc:spChg chg="add del mod modVis">
          <ac:chgData name="Nataliia Chornii (UA)" userId="4e4b8b3d-5f31-49bb-9f80-8a25c04abfff" providerId="ADAL" clId="{EE97D3FE-9ACA-4467-98E5-532EC45D9D1C}" dt="2024-03-01T08:49:33.871" v="2906"/>
          <ac:spMkLst>
            <pc:docMk/>
            <pc:sldMk cId="2065102976" sldId="338"/>
            <ac:spMk id="6" creationId="{B646924D-8FD8-5177-464F-1C35E1440ED9}"/>
          </ac:spMkLst>
        </pc:spChg>
        <pc:spChg chg="add del mod modVis">
          <ac:chgData name="Nataliia Chornii (UA)" userId="4e4b8b3d-5f31-49bb-9f80-8a25c04abfff" providerId="ADAL" clId="{EE97D3FE-9ACA-4467-98E5-532EC45D9D1C}" dt="2024-03-01T08:49:59.885" v="3894"/>
          <ac:spMkLst>
            <pc:docMk/>
            <pc:sldMk cId="2065102976" sldId="338"/>
            <ac:spMk id="7" creationId="{4221591D-5DAC-9CA4-4E5F-ED2B3E5F4B5A}"/>
          </ac:spMkLst>
        </pc:spChg>
        <pc:spChg chg="add del mod modVis">
          <ac:chgData name="Nataliia Chornii (UA)" userId="4e4b8b3d-5f31-49bb-9f80-8a25c04abfff" providerId="ADAL" clId="{EE97D3FE-9ACA-4467-98E5-532EC45D9D1C}" dt="2024-03-01T08:51:26.202" v="4882"/>
          <ac:spMkLst>
            <pc:docMk/>
            <pc:sldMk cId="2065102976" sldId="338"/>
            <ac:spMk id="8" creationId="{543CFB89-884D-E7FF-82AA-DAAB74CA3884}"/>
          </ac:spMkLst>
        </pc:spChg>
        <pc:spChg chg="add del mod modVis">
          <ac:chgData name="Nataliia Chornii (UA)" userId="4e4b8b3d-5f31-49bb-9f80-8a25c04abfff" providerId="ADAL" clId="{EE97D3FE-9ACA-4467-98E5-532EC45D9D1C}" dt="2024-03-01T08:51:56.219" v="5871"/>
          <ac:spMkLst>
            <pc:docMk/>
            <pc:sldMk cId="2065102976" sldId="338"/>
            <ac:spMk id="9" creationId="{739E5F02-44A0-D990-B45E-272569396DF2}"/>
          </ac:spMkLst>
        </pc:spChg>
        <pc:spChg chg="add del mod modVis">
          <ac:chgData name="Nataliia Chornii (UA)" userId="4e4b8b3d-5f31-49bb-9f80-8a25c04abfff" providerId="ADAL" clId="{EE97D3FE-9ACA-4467-98E5-532EC45D9D1C}" dt="2024-03-01T08:52:18.375" v="6859"/>
          <ac:spMkLst>
            <pc:docMk/>
            <pc:sldMk cId="2065102976" sldId="338"/>
            <ac:spMk id="10" creationId="{71214A5E-B00A-B57A-51E1-465A96C8C227}"/>
          </ac:spMkLst>
        </pc:spChg>
        <pc:graphicFrameChg chg="add mod ord modVis replST">
          <ac:chgData name="Nataliia Chornii (UA)" userId="4e4b8b3d-5f31-49bb-9f80-8a25c04abfff" providerId="ADAL" clId="{EE97D3FE-9ACA-4467-98E5-532EC45D9D1C}" dt="2024-03-01T08:52:18.375" v="6861"/>
          <ac:graphicFrameMkLst>
            <pc:docMk/>
            <pc:sldMk cId="2065102976" sldId="338"/>
            <ac:graphicFrameMk id="5" creationId="{12C6A954-0553-DE57-B03F-3DB2AB4C7423}"/>
          </ac:graphicFrameMkLst>
        </pc:graphicFrameChg>
      </pc:sldChg>
      <pc:sldChg chg="addSp delSp modSp mod">
        <pc:chgData name="Nataliia Chornii (UA)" userId="4e4b8b3d-5f31-49bb-9f80-8a25c04abfff" providerId="ADAL" clId="{EE97D3FE-9ACA-4467-98E5-532EC45D9D1C}" dt="2024-03-01T08:52:18.391" v="6873"/>
        <pc:sldMkLst>
          <pc:docMk/>
          <pc:sldMk cId="1311325920" sldId="339"/>
        </pc:sldMkLst>
        <pc:spChg chg="mod">
          <ac:chgData name="Nataliia Chornii (UA)" userId="4e4b8b3d-5f31-49bb-9f80-8a25c04abfff" providerId="ADAL" clId="{EE97D3FE-9ACA-4467-98E5-532EC45D9D1C}" dt="2024-03-01T08:52:18.075" v="6607" actId="948"/>
          <ac:spMkLst>
            <pc:docMk/>
            <pc:sldMk cId="1311325920" sldId="339"/>
            <ac:spMk id="2" creationId="{F8A4A46F-D306-D2A6-D0B5-D19828E438E4}"/>
          </ac:spMkLst>
        </pc:spChg>
        <pc:spChg chg="add del mod modVis">
          <ac:chgData name="Nataliia Chornii (UA)" userId="4e4b8b3d-5f31-49bb-9f80-8a25c04abfff" providerId="ADAL" clId="{EE97D3FE-9ACA-4467-98E5-532EC45D9D1C}" dt="2024-03-01T08:49:00.493" v="1851"/>
          <ac:spMkLst>
            <pc:docMk/>
            <pc:sldMk cId="1311325920" sldId="339"/>
            <ac:spMk id="4" creationId="{92DA8829-3FFF-003F-48F3-799B215E7B50}"/>
          </ac:spMkLst>
        </pc:spChg>
        <pc:spChg chg="add del mod modVis">
          <ac:chgData name="Nataliia Chornii (UA)" userId="4e4b8b3d-5f31-49bb-9f80-8a25c04abfff" providerId="ADAL" clId="{EE97D3FE-9ACA-4467-98E5-532EC45D9D1C}" dt="2024-03-01T08:49:33.886" v="2918"/>
          <ac:spMkLst>
            <pc:docMk/>
            <pc:sldMk cId="1311325920" sldId="339"/>
            <ac:spMk id="6" creationId="{DC5EA467-E7EF-3AC4-7513-5E03601A72B8}"/>
          </ac:spMkLst>
        </pc:spChg>
        <pc:spChg chg="add del mod modVis">
          <ac:chgData name="Nataliia Chornii (UA)" userId="4e4b8b3d-5f31-49bb-9f80-8a25c04abfff" providerId="ADAL" clId="{EE97D3FE-9ACA-4467-98E5-532EC45D9D1C}" dt="2024-03-01T08:49:59.898" v="3906"/>
          <ac:spMkLst>
            <pc:docMk/>
            <pc:sldMk cId="1311325920" sldId="339"/>
            <ac:spMk id="7" creationId="{9ABB3D73-7C4A-03FE-68E4-9D291E91DF60}"/>
          </ac:spMkLst>
        </pc:spChg>
        <pc:spChg chg="add del mod modVis">
          <ac:chgData name="Nataliia Chornii (UA)" userId="4e4b8b3d-5f31-49bb-9f80-8a25c04abfff" providerId="ADAL" clId="{EE97D3FE-9ACA-4467-98E5-532EC45D9D1C}" dt="2024-03-01T08:51:26.217" v="4894"/>
          <ac:spMkLst>
            <pc:docMk/>
            <pc:sldMk cId="1311325920" sldId="339"/>
            <ac:spMk id="8" creationId="{520A7FB5-EF27-CECC-4A94-35C43A736E2B}"/>
          </ac:spMkLst>
        </pc:spChg>
        <pc:spChg chg="add del mod modVis">
          <ac:chgData name="Nataliia Chornii (UA)" userId="4e4b8b3d-5f31-49bb-9f80-8a25c04abfff" providerId="ADAL" clId="{EE97D3FE-9ACA-4467-98E5-532EC45D9D1C}" dt="2024-03-01T08:51:56.230" v="5883"/>
          <ac:spMkLst>
            <pc:docMk/>
            <pc:sldMk cId="1311325920" sldId="339"/>
            <ac:spMk id="9" creationId="{9AE52F99-CE46-F556-4E89-E0DA02373FD5}"/>
          </ac:spMkLst>
        </pc:spChg>
        <pc:spChg chg="add del mod modVis">
          <ac:chgData name="Nataliia Chornii (UA)" userId="4e4b8b3d-5f31-49bb-9f80-8a25c04abfff" providerId="ADAL" clId="{EE97D3FE-9ACA-4467-98E5-532EC45D9D1C}" dt="2024-03-01T08:52:18.391" v="6871"/>
          <ac:spMkLst>
            <pc:docMk/>
            <pc:sldMk cId="1311325920" sldId="339"/>
            <ac:spMk id="10" creationId="{B464B2D0-B675-E657-30C6-E3BA7C72E9F8}"/>
          </ac:spMkLst>
        </pc:spChg>
        <pc:graphicFrameChg chg="add mod ord modVis replST">
          <ac:chgData name="Nataliia Chornii (UA)" userId="4e4b8b3d-5f31-49bb-9f80-8a25c04abfff" providerId="ADAL" clId="{EE97D3FE-9ACA-4467-98E5-532EC45D9D1C}" dt="2024-03-01T08:52:18.391" v="6873"/>
          <ac:graphicFrameMkLst>
            <pc:docMk/>
            <pc:sldMk cId="1311325920" sldId="339"/>
            <ac:graphicFrameMk id="5" creationId="{BDF5C055-D4A1-F706-9979-1748DB37614B}"/>
          </ac:graphicFrameMkLst>
        </pc:graphicFrameChg>
      </pc:sldChg>
      <pc:sldChg chg="addSp delSp modSp mod">
        <pc:chgData name="Nataliia Chornii (UA)" userId="4e4b8b3d-5f31-49bb-9f80-8a25c04abfff" providerId="ADAL" clId="{EE97D3FE-9ACA-4467-98E5-532EC45D9D1C}" dt="2024-03-01T08:52:18.391" v="6881"/>
        <pc:sldMkLst>
          <pc:docMk/>
          <pc:sldMk cId="3750811665" sldId="340"/>
        </pc:sldMkLst>
        <pc:spChg chg="mod">
          <ac:chgData name="Nataliia Chornii (UA)" userId="4e4b8b3d-5f31-49bb-9f80-8a25c04abfff" providerId="ADAL" clId="{EE97D3FE-9ACA-4467-98E5-532EC45D9D1C}" dt="2024-03-01T08:52:18.122" v="6647" actId="948"/>
          <ac:spMkLst>
            <pc:docMk/>
            <pc:sldMk cId="3750811665" sldId="340"/>
            <ac:spMk id="2" creationId="{5F1DCD49-0841-7F1C-09A1-3AB5A0A1839C}"/>
          </ac:spMkLst>
        </pc:spChg>
        <pc:spChg chg="add del mod modVis">
          <ac:chgData name="Nataliia Chornii (UA)" userId="4e4b8b3d-5f31-49bb-9f80-8a25c04abfff" providerId="ADAL" clId="{EE97D3FE-9ACA-4467-98E5-532EC45D9D1C}" dt="2024-03-01T08:49:00.572" v="1885"/>
          <ac:spMkLst>
            <pc:docMk/>
            <pc:sldMk cId="3750811665" sldId="340"/>
            <ac:spMk id="4" creationId="{9511BA3E-E37D-82DA-FA4B-7C29459ECA5A}"/>
          </ac:spMkLst>
        </pc:spChg>
        <pc:spChg chg="add del mod modVis">
          <ac:chgData name="Nataliia Chornii (UA)" userId="4e4b8b3d-5f31-49bb-9f80-8a25c04abfff" providerId="ADAL" clId="{EE97D3FE-9ACA-4467-98E5-532EC45D9D1C}" dt="2024-03-01T08:49:33.902" v="2926"/>
          <ac:spMkLst>
            <pc:docMk/>
            <pc:sldMk cId="3750811665" sldId="340"/>
            <ac:spMk id="6" creationId="{2FDF7589-C7EB-237B-0E02-64EFB8BB64C6}"/>
          </ac:spMkLst>
        </pc:spChg>
        <pc:spChg chg="add del mod modVis">
          <ac:chgData name="Nataliia Chornii (UA)" userId="4e4b8b3d-5f31-49bb-9f80-8a25c04abfff" providerId="ADAL" clId="{EE97D3FE-9ACA-4467-98E5-532EC45D9D1C}" dt="2024-03-01T08:49:59.913" v="3914"/>
          <ac:spMkLst>
            <pc:docMk/>
            <pc:sldMk cId="3750811665" sldId="340"/>
            <ac:spMk id="7" creationId="{D7D29D3C-4708-BFF3-41AC-2A7299438F6C}"/>
          </ac:spMkLst>
        </pc:spChg>
        <pc:spChg chg="add del mod modVis">
          <ac:chgData name="Nataliia Chornii (UA)" userId="4e4b8b3d-5f31-49bb-9f80-8a25c04abfff" providerId="ADAL" clId="{EE97D3FE-9ACA-4467-98E5-532EC45D9D1C}" dt="2024-03-01T08:51:26.225" v="4902"/>
          <ac:spMkLst>
            <pc:docMk/>
            <pc:sldMk cId="3750811665" sldId="340"/>
            <ac:spMk id="8" creationId="{30B12456-2CEC-DDF9-CB74-86CEC37909F4}"/>
          </ac:spMkLst>
        </pc:spChg>
        <pc:spChg chg="add del mod modVis">
          <ac:chgData name="Nataliia Chornii (UA)" userId="4e4b8b3d-5f31-49bb-9f80-8a25c04abfff" providerId="ADAL" clId="{EE97D3FE-9ACA-4467-98E5-532EC45D9D1C}" dt="2024-03-01T08:51:56.242" v="5891"/>
          <ac:spMkLst>
            <pc:docMk/>
            <pc:sldMk cId="3750811665" sldId="340"/>
            <ac:spMk id="9" creationId="{EB303941-8856-1D7F-543A-EFD7D12D142B}"/>
          </ac:spMkLst>
        </pc:spChg>
        <pc:spChg chg="add del mod modVis">
          <ac:chgData name="Nataliia Chornii (UA)" userId="4e4b8b3d-5f31-49bb-9f80-8a25c04abfff" providerId="ADAL" clId="{EE97D3FE-9ACA-4467-98E5-532EC45D9D1C}" dt="2024-03-01T08:52:18.391" v="6879"/>
          <ac:spMkLst>
            <pc:docMk/>
            <pc:sldMk cId="3750811665" sldId="340"/>
            <ac:spMk id="10" creationId="{D2A8D8B9-7BFA-E198-859B-ED34E76AEB6D}"/>
          </ac:spMkLst>
        </pc:spChg>
        <pc:graphicFrameChg chg="add mod ord modVis replST">
          <ac:chgData name="Nataliia Chornii (UA)" userId="4e4b8b3d-5f31-49bb-9f80-8a25c04abfff" providerId="ADAL" clId="{EE97D3FE-9ACA-4467-98E5-532EC45D9D1C}" dt="2024-03-01T08:52:18.391" v="6881"/>
          <ac:graphicFrameMkLst>
            <pc:docMk/>
            <pc:sldMk cId="3750811665" sldId="340"/>
            <ac:graphicFrameMk id="5" creationId="{0075F278-E0FC-9E8D-EDCF-B8809EDC1B2B}"/>
          </ac:graphicFrameMkLst>
        </pc:graphicFrameChg>
      </pc:sldChg>
      <pc:sldChg chg="addSp delSp modSp mod">
        <pc:chgData name="Nataliia Chornii (UA)" userId="4e4b8b3d-5f31-49bb-9f80-8a25c04abfff" providerId="ADAL" clId="{EE97D3FE-9ACA-4467-98E5-532EC45D9D1C}" dt="2024-03-01T08:52:18.391" v="6877"/>
        <pc:sldMkLst>
          <pc:docMk/>
          <pc:sldMk cId="633515575" sldId="341"/>
        </pc:sldMkLst>
        <pc:spChg chg="mod">
          <ac:chgData name="Nataliia Chornii (UA)" userId="4e4b8b3d-5f31-49bb-9f80-8a25c04abfff" providerId="ADAL" clId="{EE97D3FE-9ACA-4467-98E5-532EC45D9D1C}" dt="2024-03-01T08:52:18.092" v="6627" actId="948"/>
          <ac:spMkLst>
            <pc:docMk/>
            <pc:sldMk cId="633515575" sldId="341"/>
            <ac:spMk id="2" creationId="{46267CAE-0DD6-29A0-1BA7-3E0C02825001}"/>
          </ac:spMkLst>
        </pc:spChg>
        <pc:spChg chg="add del mod modVis">
          <ac:chgData name="Nataliia Chornii (UA)" userId="4e4b8b3d-5f31-49bb-9f80-8a25c04abfff" providerId="ADAL" clId="{EE97D3FE-9ACA-4467-98E5-532EC45D9D1C}" dt="2024-03-01T08:49:00.524" v="1868"/>
          <ac:spMkLst>
            <pc:docMk/>
            <pc:sldMk cId="633515575" sldId="341"/>
            <ac:spMk id="4" creationId="{4AC9DF4E-E96F-1C67-1868-752B56D8EA96}"/>
          </ac:spMkLst>
        </pc:spChg>
        <pc:spChg chg="add del mod modVis">
          <ac:chgData name="Nataliia Chornii (UA)" userId="4e4b8b3d-5f31-49bb-9f80-8a25c04abfff" providerId="ADAL" clId="{EE97D3FE-9ACA-4467-98E5-532EC45D9D1C}" dt="2024-03-01T08:49:33.886" v="2922"/>
          <ac:spMkLst>
            <pc:docMk/>
            <pc:sldMk cId="633515575" sldId="341"/>
            <ac:spMk id="6" creationId="{9828F8F4-3069-1B24-D4E9-B3A2BED0ED32}"/>
          </ac:spMkLst>
        </pc:spChg>
        <pc:spChg chg="add del mod modVis">
          <ac:chgData name="Nataliia Chornii (UA)" userId="4e4b8b3d-5f31-49bb-9f80-8a25c04abfff" providerId="ADAL" clId="{EE97D3FE-9ACA-4467-98E5-532EC45D9D1C}" dt="2024-03-01T08:49:59.898" v="3910"/>
          <ac:spMkLst>
            <pc:docMk/>
            <pc:sldMk cId="633515575" sldId="341"/>
            <ac:spMk id="7" creationId="{2ACD013E-0BBC-B3F3-3A85-E46799163B7E}"/>
          </ac:spMkLst>
        </pc:spChg>
        <pc:spChg chg="add del mod modVis">
          <ac:chgData name="Nataliia Chornii (UA)" userId="4e4b8b3d-5f31-49bb-9f80-8a25c04abfff" providerId="ADAL" clId="{EE97D3FE-9ACA-4467-98E5-532EC45D9D1C}" dt="2024-03-01T08:51:26.220" v="4898"/>
          <ac:spMkLst>
            <pc:docMk/>
            <pc:sldMk cId="633515575" sldId="341"/>
            <ac:spMk id="8" creationId="{D547953D-0BE2-820A-4356-DFBF5186D821}"/>
          </ac:spMkLst>
        </pc:spChg>
        <pc:spChg chg="add del mod modVis">
          <ac:chgData name="Nataliia Chornii (UA)" userId="4e4b8b3d-5f31-49bb-9f80-8a25c04abfff" providerId="ADAL" clId="{EE97D3FE-9ACA-4467-98E5-532EC45D9D1C}" dt="2024-03-01T08:51:56.236" v="5887"/>
          <ac:spMkLst>
            <pc:docMk/>
            <pc:sldMk cId="633515575" sldId="341"/>
            <ac:spMk id="9" creationId="{1C9ACDA9-EB20-AE21-0DAE-B45FEADD27D1}"/>
          </ac:spMkLst>
        </pc:spChg>
        <pc:spChg chg="add del mod modVis">
          <ac:chgData name="Nataliia Chornii (UA)" userId="4e4b8b3d-5f31-49bb-9f80-8a25c04abfff" providerId="ADAL" clId="{EE97D3FE-9ACA-4467-98E5-532EC45D9D1C}" dt="2024-03-01T08:52:18.391" v="6875"/>
          <ac:spMkLst>
            <pc:docMk/>
            <pc:sldMk cId="633515575" sldId="341"/>
            <ac:spMk id="10" creationId="{4D6836D7-E5BA-2044-7BFF-E3AFB0139C11}"/>
          </ac:spMkLst>
        </pc:spChg>
        <pc:graphicFrameChg chg="add mod ord modVis replST">
          <ac:chgData name="Nataliia Chornii (UA)" userId="4e4b8b3d-5f31-49bb-9f80-8a25c04abfff" providerId="ADAL" clId="{EE97D3FE-9ACA-4467-98E5-532EC45D9D1C}" dt="2024-03-01T08:52:18.391" v="6877"/>
          <ac:graphicFrameMkLst>
            <pc:docMk/>
            <pc:sldMk cId="633515575" sldId="341"/>
            <ac:graphicFrameMk id="5" creationId="{D1A940A3-DD12-848A-F577-A5EA579E8927}"/>
          </ac:graphicFrameMkLst>
        </pc:graphicFrameChg>
      </pc:sldChg>
      <pc:sldChg chg="addSp modSp mod">
        <pc:chgData name="Nataliia Chornii (UA)" userId="4e4b8b3d-5f31-49bb-9f80-8a25c04abfff" providerId="ADAL" clId="{EE97D3FE-9ACA-4467-98E5-532EC45D9D1C}" dt="2024-03-01T08:52:18.359" v="6849"/>
        <pc:sldMkLst>
          <pc:docMk/>
          <pc:sldMk cId="0" sldId="351"/>
        </pc:sldMkLst>
        <pc:graphicFrameChg chg="add mod ord modVis replST">
          <ac:chgData name="Nataliia Chornii (UA)" userId="4e4b8b3d-5f31-49bb-9f80-8a25c04abfff" providerId="ADAL" clId="{EE97D3FE-9ACA-4467-98E5-532EC45D9D1C}" dt="2024-03-01T08:52:18.359" v="6849"/>
          <ac:graphicFrameMkLst>
            <pc:docMk/>
            <pc:sldMk cId="0" sldId="351"/>
            <ac:graphicFrameMk id="6" creationId="{1E461650-678A-AE9E-3014-658FE2B9ADD5}"/>
          </ac:graphicFrameMkLst>
        </pc:graphicFrameChg>
      </pc:sldChg>
      <pc:sldChg chg="addSp modSp mod">
        <pc:chgData name="Nataliia Chornii (UA)" userId="4e4b8b3d-5f31-49bb-9f80-8a25c04abfff" providerId="ADAL" clId="{EE97D3FE-9ACA-4467-98E5-532EC45D9D1C}" dt="2024-03-01T08:52:18.345" v="6827"/>
        <pc:sldMkLst>
          <pc:docMk/>
          <pc:sldMk cId="0" sldId="371"/>
        </pc:sldMkLst>
        <pc:graphicFrameChg chg="add mod ord modVis replST">
          <ac:chgData name="Nataliia Chornii (UA)" userId="4e4b8b3d-5f31-49bb-9f80-8a25c04abfff" providerId="ADAL" clId="{EE97D3FE-9ACA-4467-98E5-532EC45D9D1C}" dt="2024-03-01T08:52:18.345" v="6827"/>
          <ac:graphicFrameMkLst>
            <pc:docMk/>
            <pc:sldMk cId="0" sldId="371"/>
            <ac:graphicFrameMk id="5" creationId="{E15C02D9-843F-69D2-CFA5-3D3A8E1BF3D8}"/>
          </ac:graphicFrameMkLst>
        </pc:graphicFrameChg>
      </pc:sldChg>
      <pc:sldChg chg="addSp modSp mod">
        <pc:chgData name="Nataliia Chornii (UA)" userId="4e4b8b3d-5f31-49bb-9f80-8a25c04abfff" providerId="ADAL" clId="{EE97D3FE-9ACA-4467-98E5-532EC45D9D1C}" dt="2024-03-01T08:52:18.359" v="6847"/>
        <pc:sldMkLst>
          <pc:docMk/>
          <pc:sldMk cId="0" sldId="392"/>
        </pc:sldMkLst>
        <pc:graphicFrameChg chg="add mod ord modVis replST">
          <ac:chgData name="Nataliia Chornii (UA)" userId="4e4b8b3d-5f31-49bb-9f80-8a25c04abfff" providerId="ADAL" clId="{EE97D3FE-9ACA-4467-98E5-532EC45D9D1C}" dt="2024-03-01T08:52:18.359" v="6847"/>
          <ac:graphicFrameMkLst>
            <pc:docMk/>
            <pc:sldMk cId="0" sldId="392"/>
            <ac:graphicFrameMk id="49" creationId="{4A96142F-411E-C238-68F0-5037CB00F132}"/>
          </ac:graphicFrameMkLst>
        </pc:graphicFrameChg>
      </pc:sldChg>
      <pc:sldChg chg="addSp modSp mod">
        <pc:chgData name="Nataliia Chornii (UA)" userId="4e4b8b3d-5f31-49bb-9f80-8a25c04abfff" providerId="ADAL" clId="{EE97D3FE-9ACA-4467-98E5-532EC45D9D1C}" dt="2024-03-01T08:52:18.408" v="6887"/>
        <pc:sldMkLst>
          <pc:docMk/>
          <pc:sldMk cId="0" sldId="419"/>
        </pc:sldMkLst>
        <pc:graphicFrameChg chg="add mod ord modVis replST">
          <ac:chgData name="Nataliia Chornii (UA)" userId="4e4b8b3d-5f31-49bb-9f80-8a25c04abfff" providerId="ADAL" clId="{EE97D3FE-9ACA-4467-98E5-532EC45D9D1C}" dt="2024-03-01T08:52:18.408" v="6887"/>
          <ac:graphicFrameMkLst>
            <pc:docMk/>
            <pc:sldMk cId="0" sldId="419"/>
            <ac:graphicFrameMk id="5" creationId="{3C8DF7DF-5829-5DE3-0597-14DAC4C69E07}"/>
          </ac:graphicFrameMkLst>
        </pc:graphicFrameChg>
      </pc:sldChg>
      <pc:sldChg chg="addSp delSp modSp mod">
        <pc:chgData name="Nataliia Chornii (UA)" userId="4e4b8b3d-5f31-49bb-9f80-8a25c04abfff" providerId="ADAL" clId="{EE97D3FE-9ACA-4467-98E5-532EC45D9D1C}" dt="2024-03-01T08:52:18.359" v="6845"/>
        <pc:sldMkLst>
          <pc:docMk/>
          <pc:sldMk cId="0" sldId="431"/>
        </pc:sldMkLst>
        <pc:spChg chg="add del mod modVis">
          <ac:chgData name="Nataliia Chornii (UA)" userId="4e4b8b3d-5f31-49bb-9f80-8a25c04abfff" providerId="ADAL" clId="{EE97D3FE-9ACA-4467-98E5-532EC45D9D1C}" dt="2024-03-01T08:49:00.211" v="1719"/>
          <ac:spMkLst>
            <pc:docMk/>
            <pc:sldMk cId="0" sldId="431"/>
            <ac:spMk id="3" creationId="{E09BB54B-53F6-BE73-5132-F549CFB225F2}"/>
          </ac:spMkLst>
        </pc:spChg>
        <pc:spChg chg="add del mod modVis">
          <ac:chgData name="Nataliia Chornii (UA)" userId="4e4b8b3d-5f31-49bb-9f80-8a25c04abfff" providerId="ADAL" clId="{EE97D3FE-9ACA-4467-98E5-532EC45D9D1C}" dt="2024-03-01T08:49:33.839" v="2890"/>
          <ac:spMkLst>
            <pc:docMk/>
            <pc:sldMk cId="0" sldId="431"/>
            <ac:spMk id="6" creationId="{B094F011-7685-99C1-4633-DE8AABF858AE}"/>
          </ac:spMkLst>
        </pc:spChg>
        <pc:spChg chg="add del mod modVis">
          <ac:chgData name="Nataliia Chornii (UA)" userId="4e4b8b3d-5f31-49bb-9f80-8a25c04abfff" providerId="ADAL" clId="{EE97D3FE-9ACA-4467-98E5-532EC45D9D1C}" dt="2024-03-01T08:49:59.867" v="3878"/>
          <ac:spMkLst>
            <pc:docMk/>
            <pc:sldMk cId="0" sldId="431"/>
            <ac:spMk id="7" creationId="{C3509DFB-C3F1-B77C-8B8F-A0C36EB100FF}"/>
          </ac:spMkLst>
        </pc:spChg>
        <pc:spChg chg="add del mod modVis">
          <ac:chgData name="Nataliia Chornii (UA)" userId="4e4b8b3d-5f31-49bb-9f80-8a25c04abfff" providerId="ADAL" clId="{EE97D3FE-9ACA-4467-98E5-532EC45D9D1C}" dt="2024-03-01T08:51:26.187" v="4866"/>
          <ac:spMkLst>
            <pc:docMk/>
            <pc:sldMk cId="0" sldId="431"/>
            <ac:spMk id="9" creationId="{C2B1B11A-8A75-1767-5B69-4DF8D9BE5F6E}"/>
          </ac:spMkLst>
        </pc:spChg>
        <pc:spChg chg="add del mod modVis">
          <ac:chgData name="Nataliia Chornii (UA)" userId="4e4b8b3d-5f31-49bb-9f80-8a25c04abfff" providerId="ADAL" clId="{EE97D3FE-9ACA-4467-98E5-532EC45D9D1C}" dt="2024-03-01T08:51:56.204" v="5855"/>
          <ac:spMkLst>
            <pc:docMk/>
            <pc:sldMk cId="0" sldId="431"/>
            <ac:spMk id="10" creationId="{A285E15A-A895-06DF-0296-072A945B7E61}"/>
          </ac:spMkLst>
        </pc:spChg>
        <pc:spChg chg="add del mod modVis">
          <ac:chgData name="Nataliia Chornii (UA)" userId="4e4b8b3d-5f31-49bb-9f80-8a25c04abfff" providerId="ADAL" clId="{EE97D3FE-9ACA-4467-98E5-532EC45D9D1C}" dt="2024-03-01T08:52:18.359" v="6843"/>
          <ac:spMkLst>
            <pc:docMk/>
            <pc:sldMk cId="0" sldId="431"/>
            <ac:spMk id="11" creationId="{A5784770-D66C-B89B-DBAA-0407BAC603D1}"/>
          </ac:spMkLst>
        </pc:spChg>
        <pc:spChg chg="mod">
          <ac:chgData name="Nataliia Chornii (UA)" userId="4e4b8b3d-5f31-49bb-9f80-8a25c04abfff" providerId="ADAL" clId="{EE97D3FE-9ACA-4467-98E5-532EC45D9D1C}" dt="2024-03-01T08:52:17.901" v="6487" actId="948"/>
          <ac:spMkLst>
            <pc:docMk/>
            <pc:sldMk cId="0" sldId="431"/>
            <ac:spMk id="8194" creationId="{445EBD0D-2ECD-91E6-3E4C-93F9AE778EEC}"/>
          </ac:spMkLst>
        </pc:spChg>
        <pc:graphicFrameChg chg="add mod ord modVis replST">
          <ac:chgData name="Nataliia Chornii (UA)" userId="4e4b8b3d-5f31-49bb-9f80-8a25c04abfff" providerId="ADAL" clId="{EE97D3FE-9ACA-4467-98E5-532EC45D9D1C}" dt="2024-03-01T08:52:18.359" v="6845"/>
          <ac:graphicFrameMkLst>
            <pc:docMk/>
            <pc:sldMk cId="0" sldId="431"/>
            <ac:graphicFrameMk id="5" creationId="{47EED099-C308-E200-28BF-3CF1C9E38A80}"/>
          </ac:graphicFrameMkLst>
        </pc:graphicFrameChg>
      </pc:sldChg>
      <pc:sldChg chg="addSp modSp mod">
        <pc:chgData name="Nataliia Chornii (UA)" userId="4e4b8b3d-5f31-49bb-9f80-8a25c04abfff" providerId="ADAL" clId="{EE97D3FE-9ACA-4467-98E5-532EC45D9D1C}" dt="2024-03-01T08:52:18.359" v="6841"/>
        <pc:sldMkLst>
          <pc:docMk/>
          <pc:sldMk cId="0" sldId="432"/>
        </pc:sldMkLst>
        <pc:graphicFrameChg chg="add mod ord modVis replST">
          <ac:chgData name="Nataliia Chornii (UA)" userId="4e4b8b3d-5f31-49bb-9f80-8a25c04abfff" providerId="ADAL" clId="{EE97D3FE-9ACA-4467-98E5-532EC45D9D1C}" dt="2024-03-01T08:52:18.359" v="6841"/>
          <ac:graphicFrameMkLst>
            <pc:docMk/>
            <pc:sldMk cId="0" sldId="432"/>
            <ac:graphicFrameMk id="3" creationId="{FDD9EADE-82A1-0801-3A9F-388D98E43F3D}"/>
          </ac:graphicFrameMkLst>
        </pc:graphicFrameChg>
      </pc:sldChg>
      <pc:sldChg chg="addSp delSp modSp mod">
        <pc:chgData name="Nataliia Chornii (UA)" userId="4e4b8b3d-5f31-49bb-9f80-8a25c04abfff" providerId="ADAL" clId="{EE97D3FE-9ACA-4467-98E5-532EC45D9D1C}" dt="2024-03-01T08:52:18.418" v="6891"/>
        <pc:sldMkLst>
          <pc:docMk/>
          <pc:sldMk cId="0" sldId="434"/>
        </pc:sldMkLst>
        <pc:spChg chg="add del mod modVis">
          <ac:chgData name="Nataliia Chornii (UA)" userId="4e4b8b3d-5f31-49bb-9f80-8a25c04abfff" providerId="ADAL" clId="{EE97D3FE-9ACA-4467-98E5-532EC45D9D1C}" dt="2024-03-01T08:49:00.682" v="1934"/>
          <ac:spMkLst>
            <pc:docMk/>
            <pc:sldMk cId="0" sldId="434"/>
            <ac:spMk id="3" creationId="{68A80960-C76D-B9D5-4FFE-7BF43E4E608B}"/>
          </ac:spMkLst>
        </pc:spChg>
        <pc:spChg chg="add del mod modVis">
          <ac:chgData name="Nataliia Chornii (UA)" userId="4e4b8b3d-5f31-49bb-9f80-8a25c04abfff" providerId="ADAL" clId="{EE97D3FE-9ACA-4467-98E5-532EC45D9D1C}" dt="2024-03-01T08:49:33.902" v="2936"/>
          <ac:spMkLst>
            <pc:docMk/>
            <pc:sldMk cId="0" sldId="434"/>
            <ac:spMk id="6" creationId="{4EBF2B21-DE98-B42A-ED61-C04BD45A2584}"/>
          </ac:spMkLst>
        </pc:spChg>
        <pc:spChg chg="add del mod modVis">
          <ac:chgData name="Nataliia Chornii (UA)" userId="4e4b8b3d-5f31-49bb-9f80-8a25c04abfff" providerId="ADAL" clId="{EE97D3FE-9ACA-4467-98E5-532EC45D9D1C}" dt="2024-03-01T08:49:59.913" v="3924"/>
          <ac:spMkLst>
            <pc:docMk/>
            <pc:sldMk cId="0" sldId="434"/>
            <ac:spMk id="7" creationId="{38507D43-AF89-A7EB-934E-162111172BB7}"/>
          </ac:spMkLst>
        </pc:spChg>
        <pc:spChg chg="add del mod modVis">
          <ac:chgData name="Nataliia Chornii (UA)" userId="4e4b8b3d-5f31-49bb-9f80-8a25c04abfff" providerId="ADAL" clId="{EE97D3FE-9ACA-4467-98E5-532EC45D9D1C}" dt="2024-03-01T08:51:26.242" v="4912"/>
          <ac:spMkLst>
            <pc:docMk/>
            <pc:sldMk cId="0" sldId="434"/>
            <ac:spMk id="8" creationId="{06052257-46BB-5B85-020C-E475936DB60A}"/>
          </ac:spMkLst>
        </pc:spChg>
        <pc:spChg chg="add del mod modVis">
          <ac:chgData name="Nataliia Chornii (UA)" userId="4e4b8b3d-5f31-49bb-9f80-8a25c04abfff" providerId="ADAL" clId="{EE97D3FE-9ACA-4467-98E5-532EC45D9D1C}" dt="2024-03-01T08:51:56.253" v="5901"/>
          <ac:spMkLst>
            <pc:docMk/>
            <pc:sldMk cId="0" sldId="434"/>
            <ac:spMk id="9" creationId="{46F0CE4E-90B1-A7BC-8660-A1290D01D91E}"/>
          </ac:spMkLst>
        </pc:spChg>
        <pc:spChg chg="add del mod modVis">
          <ac:chgData name="Nataliia Chornii (UA)" userId="4e4b8b3d-5f31-49bb-9f80-8a25c04abfff" providerId="ADAL" clId="{EE97D3FE-9ACA-4467-98E5-532EC45D9D1C}" dt="2024-03-01T08:52:18.408" v="6889"/>
          <ac:spMkLst>
            <pc:docMk/>
            <pc:sldMk cId="0" sldId="434"/>
            <ac:spMk id="10" creationId="{52C52EE1-79B8-5062-1936-9F4EABFDE9A0}"/>
          </ac:spMkLst>
        </pc:spChg>
        <pc:spChg chg="mod">
          <ac:chgData name="Nataliia Chornii (UA)" userId="4e4b8b3d-5f31-49bb-9f80-8a25c04abfff" providerId="ADAL" clId="{EE97D3FE-9ACA-4467-98E5-532EC45D9D1C}" dt="2024-03-01T08:52:18.186" v="6687" actId="948"/>
          <ac:spMkLst>
            <pc:docMk/>
            <pc:sldMk cId="0" sldId="434"/>
            <ac:spMk id="22530" creationId="{90803F70-EEC1-AA9F-C765-C47998E60961}"/>
          </ac:spMkLst>
        </pc:spChg>
        <pc:graphicFrameChg chg="add mod ord modVis replST">
          <ac:chgData name="Nataliia Chornii (UA)" userId="4e4b8b3d-5f31-49bb-9f80-8a25c04abfff" providerId="ADAL" clId="{EE97D3FE-9ACA-4467-98E5-532EC45D9D1C}" dt="2024-03-01T08:52:18.418" v="6891"/>
          <ac:graphicFrameMkLst>
            <pc:docMk/>
            <pc:sldMk cId="0" sldId="434"/>
            <ac:graphicFrameMk id="5" creationId="{3057BDF6-FFE0-651F-6A27-9B179C325AFB}"/>
          </ac:graphicFrameMkLst>
        </pc:graphicFrameChg>
      </pc:sldChg>
      <pc:sldChg chg="addSp delSp modSp mod">
        <pc:chgData name="Nataliia Chornii (UA)" userId="4e4b8b3d-5f31-49bb-9f80-8a25c04abfff" providerId="ADAL" clId="{EE97D3FE-9ACA-4467-98E5-532EC45D9D1C}" dt="2024-03-01T08:52:18.375" v="6865"/>
        <pc:sldMkLst>
          <pc:docMk/>
          <pc:sldMk cId="0" sldId="435"/>
        </pc:sldMkLst>
        <pc:spChg chg="add del mod modVis">
          <ac:chgData name="Nataliia Chornii (UA)" userId="4e4b8b3d-5f31-49bb-9f80-8a25c04abfff" providerId="ADAL" clId="{EE97D3FE-9ACA-4467-98E5-532EC45D9D1C}" dt="2024-03-01T08:49:00.430" v="1817"/>
          <ac:spMkLst>
            <pc:docMk/>
            <pc:sldMk cId="0" sldId="435"/>
            <ac:spMk id="3" creationId="{B0CD7726-E847-54E9-7260-236F5DA0BA13}"/>
          </ac:spMkLst>
        </pc:spChg>
        <pc:spChg chg="add del mod modVis">
          <ac:chgData name="Nataliia Chornii (UA)" userId="4e4b8b3d-5f31-49bb-9f80-8a25c04abfff" providerId="ADAL" clId="{EE97D3FE-9ACA-4467-98E5-532EC45D9D1C}" dt="2024-03-01T08:49:33.886" v="2910"/>
          <ac:spMkLst>
            <pc:docMk/>
            <pc:sldMk cId="0" sldId="435"/>
            <ac:spMk id="6" creationId="{F335C3E9-6994-FAA5-06F3-BD107BFFD870}"/>
          </ac:spMkLst>
        </pc:spChg>
        <pc:spChg chg="add del mod modVis">
          <ac:chgData name="Nataliia Chornii (UA)" userId="4e4b8b3d-5f31-49bb-9f80-8a25c04abfff" providerId="ADAL" clId="{EE97D3FE-9ACA-4467-98E5-532EC45D9D1C}" dt="2024-03-01T08:49:59.898" v="3898"/>
          <ac:spMkLst>
            <pc:docMk/>
            <pc:sldMk cId="0" sldId="435"/>
            <ac:spMk id="7" creationId="{C79C417A-5264-E62A-2259-75701385FEB9}"/>
          </ac:spMkLst>
        </pc:spChg>
        <pc:spChg chg="add del mod modVis">
          <ac:chgData name="Nataliia Chornii (UA)" userId="4e4b8b3d-5f31-49bb-9f80-8a25c04abfff" providerId="ADAL" clId="{EE97D3FE-9ACA-4467-98E5-532EC45D9D1C}" dt="2024-03-01T08:51:26.202" v="4886"/>
          <ac:spMkLst>
            <pc:docMk/>
            <pc:sldMk cId="0" sldId="435"/>
            <ac:spMk id="8" creationId="{9427E240-0493-AFD5-60C5-4C3573B7660A}"/>
          </ac:spMkLst>
        </pc:spChg>
        <pc:spChg chg="add del mod modVis">
          <ac:chgData name="Nataliia Chornii (UA)" userId="4e4b8b3d-5f31-49bb-9f80-8a25c04abfff" providerId="ADAL" clId="{EE97D3FE-9ACA-4467-98E5-532EC45D9D1C}" dt="2024-03-01T08:51:56.219" v="5875"/>
          <ac:spMkLst>
            <pc:docMk/>
            <pc:sldMk cId="0" sldId="435"/>
            <ac:spMk id="9" creationId="{B50CB155-97CB-30CC-484D-8D096A1980B3}"/>
          </ac:spMkLst>
        </pc:spChg>
        <pc:spChg chg="add del mod modVis">
          <ac:chgData name="Nataliia Chornii (UA)" userId="4e4b8b3d-5f31-49bb-9f80-8a25c04abfff" providerId="ADAL" clId="{EE97D3FE-9ACA-4467-98E5-532EC45D9D1C}" dt="2024-03-01T08:52:18.375" v="6863"/>
          <ac:spMkLst>
            <pc:docMk/>
            <pc:sldMk cId="0" sldId="435"/>
            <ac:spMk id="10" creationId="{10F2ED7B-1B24-BBF7-333B-3F5047000B02}"/>
          </ac:spMkLst>
        </pc:spChg>
        <pc:spChg chg="mod">
          <ac:chgData name="Nataliia Chornii (UA)" userId="4e4b8b3d-5f31-49bb-9f80-8a25c04abfff" providerId="ADAL" clId="{EE97D3FE-9ACA-4467-98E5-532EC45D9D1C}" dt="2024-03-01T08:52:18.012" v="6567" actId="948"/>
          <ac:spMkLst>
            <pc:docMk/>
            <pc:sldMk cId="0" sldId="435"/>
            <ac:spMk id="16386" creationId="{3A50658C-86F4-F398-CFB3-E88EF2F2A615}"/>
          </ac:spMkLst>
        </pc:spChg>
        <pc:graphicFrameChg chg="add mod ord modVis replST">
          <ac:chgData name="Nataliia Chornii (UA)" userId="4e4b8b3d-5f31-49bb-9f80-8a25c04abfff" providerId="ADAL" clId="{EE97D3FE-9ACA-4467-98E5-532EC45D9D1C}" dt="2024-03-01T08:52:18.375" v="6865"/>
          <ac:graphicFrameMkLst>
            <pc:docMk/>
            <pc:sldMk cId="0" sldId="435"/>
            <ac:graphicFrameMk id="5" creationId="{26D0D581-64AC-0E97-E10A-92DEE6D64B9F}"/>
          </ac:graphicFrameMkLst>
        </pc:graphicFrameChg>
      </pc:sldChg>
      <pc:sldChg chg="addSp delSp modSp mod">
        <pc:chgData name="Nataliia Chornii (UA)" userId="4e4b8b3d-5f31-49bb-9f80-8a25c04abfff" providerId="ADAL" clId="{EE97D3FE-9ACA-4467-98E5-532EC45D9D1C}" dt="2024-03-01T08:52:18.375" v="6857"/>
        <pc:sldMkLst>
          <pc:docMk/>
          <pc:sldMk cId="0" sldId="436"/>
        </pc:sldMkLst>
        <pc:spChg chg="add del mod modVis">
          <ac:chgData name="Nataliia Chornii (UA)" userId="4e4b8b3d-5f31-49bb-9f80-8a25c04abfff" providerId="ADAL" clId="{EE97D3FE-9ACA-4467-98E5-532EC45D9D1C}" dt="2024-03-01T08:49:00.351" v="1783"/>
          <ac:spMkLst>
            <pc:docMk/>
            <pc:sldMk cId="0" sldId="436"/>
            <ac:spMk id="3" creationId="{080E237C-45A8-D5D4-0DB7-0C513C8792CA}"/>
          </ac:spMkLst>
        </pc:spChg>
        <pc:spChg chg="add del mod modVis">
          <ac:chgData name="Nataliia Chornii (UA)" userId="4e4b8b3d-5f31-49bb-9f80-8a25c04abfff" providerId="ADAL" clId="{EE97D3FE-9ACA-4467-98E5-532EC45D9D1C}" dt="2024-03-01T08:49:33.862" v="2902"/>
          <ac:spMkLst>
            <pc:docMk/>
            <pc:sldMk cId="0" sldId="436"/>
            <ac:spMk id="6" creationId="{D729359F-9631-6F54-8530-8731F2AF900D}"/>
          </ac:spMkLst>
        </pc:spChg>
        <pc:spChg chg="add del mod modVis">
          <ac:chgData name="Nataliia Chornii (UA)" userId="4e4b8b3d-5f31-49bb-9f80-8a25c04abfff" providerId="ADAL" clId="{EE97D3FE-9ACA-4467-98E5-532EC45D9D1C}" dt="2024-03-01T08:49:59.885" v="3890"/>
          <ac:spMkLst>
            <pc:docMk/>
            <pc:sldMk cId="0" sldId="436"/>
            <ac:spMk id="7" creationId="{19C04AC0-9B70-B957-B85E-C09F979DD33B}"/>
          </ac:spMkLst>
        </pc:spChg>
        <pc:spChg chg="add del mod modVis">
          <ac:chgData name="Nataliia Chornii (UA)" userId="4e4b8b3d-5f31-49bb-9f80-8a25c04abfff" providerId="ADAL" clId="{EE97D3FE-9ACA-4467-98E5-532EC45D9D1C}" dt="2024-03-01T08:51:26.202" v="4878"/>
          <ac:spMkLst>
            <pc:docMk/>
            <pc:sldMk cId="0" sldId="436"/>
            <ac:spMk id="8" creationId="{F1022A89-6D6C-490C-3152-E533F8C0A4A3}"/>
          </ac:spMkLst>
        </pc:spChg>
        <pc:spChg chg="add del mod modVis">
          <ac:chgData name="Nataliia Chornii (UA)" userId="4e4b8b3d-5f31-49bb-9f80-8a25c04abfff" providerId="ADAL" clId="{EE97D3FE-9ACA-4467-98E5-532EC45D9D1C}" dt="2024-03-01T08:51:56.219" v="5867"/>
          <ac:spMkLst>
            <pc:docMk/>
            <pc:sldMk cId="0" sldId="436"/>
            <ac:spMk id="9" creationId="{F4D19794-257B-CDB9-A077-49E966C4A7D6}"/>
          </ac:spMkLst>
        </pc:spChg>
        <pc:spChg chg="add del mod modVis">
          <ac:chgData name="Nataliia Chornii (UA)" userId="4e4b8b3d-5f31-49bb-9f80-8a25c04abfff" providerId="ADAL" clId="{EE97D3FE-9ACA-4467-98E5-532EC45D9D1C}" dt="2024-03-01T08:52:18.375" v="6855"/>
          <ac:spMkLst>
            <pc:docMk/>
            <pc:sldMk cId="0" sldId="436"/>
            <ac:spMk id="10" creationId="{A4A07E9A-A36A-93B8-6871-0839C4D39985}"/>
          </ac:spMkLst>
        </pc:spChg>
        <pc:spChg chg="mod">
          <ac:chgData name="Nataliia Chornii (UA)" userId="4e4b8b3d-5f31-49bb-9f80-8a25c04abfff" providerId="ADAL" clId="{EE97D3FE-9ACA-4467-98E5-532EC45D9D1C}" dt="2024-03-01T08:52:17.964" v="6527" actId="948"/>
          <ac:spMkLst>
            <pc:docMk/>
            <pc:sldMk cId="0" sldId="436"/>
            <ac:spMk id="14338" creationId="{E852B5DF-031C-809A-E3D0-97AA441A35D2}"/>
          </ac:spMkLst>
        </pc:spChg>
        <pc:graphicFrameChg chg="add mod ord modVis replST">
          <ac:chgData name="Nataliia Chornii (UA)" userId="4e4b8b3d-5f31-49bb-9f80-8a25c04abfff" providerId="ADAL" clId="{EE97D3FE-9ACA-4467-98E5-532EC45D9D1C}" dt="2024-03-01T08:52:18.375" v="6857"/>
          <ac:graphicFrameMkLst>
            <pc:docMk/>
            <pc:sldMk cId="0" sldId="436"/>
            <ac:graphicFrameMk id="5" creationId="{94D73DF1-C344-D6B2-0B86-9E8541BE5460}"/>
          </ac:graphicFrameMkLst>
        </pc:graphicFrameChg>
      </pc:sldChg>
      <pc:sldChg chg="addSp delSp modSp mod">
        <pc:chgData name="Nataliia Chornii (UA)" userId="4e4b8b3d-5f31-49bb-9f80-8a25c04abfff" providerId="ADAL" clId="{EE97D3FE-9ACA-4467-98E5-532EC45D9D1C}" dt="2024-03-01T08:52:18.408" v="6885"/>
        <pc:sldMkLst>
          <pc:docMk/>
          <pc:sldMk cId="0" sldId="437"/>
        </pc:sldMkLst>
        <pc:spChg chg="add del mod modVis">
          <ac:chgData name="Nataliia Chornii (UA)" userId="4e4b8b3d-5f31-49bb-9f80-8a25c04abfff" providerId="ADAL" clId="{EE97D3FE-9ACA-4467-98E5-532EC45D9D1C}" dt="2024-03-01T08:49:00.603" v="1902"/>
          <ac:spMkLst>
            <pc:docMk/>
            <pc:sldMk cId="0" sldId="437"/>
            <ac:spMk id="3" creationId="{69E3DA32-1D52-3875-4D9F-A05F62325654}"/>
          </ac:spMkLst>
        </pc:spChg>
        <pc:spChg chg="add del mod modVis">
          <ac:chgData name="Nataliia Chornii (UA)" userId="4e4b8b3d-5f31-49bb-9f80-8a25c04abfff" providerId="ADAL" clId="{EE97D3FE-9ACA-4467-98E5-532EC45D9D1C}" dt="2024-03-01T08:49:33.902" v="2930"/>
          <ac:spMkLst>
            <pc:docMk/>
            <pc:sldMk cId="0" sldId="437"/>
            <ac:spMk id="6" creationId="{35E94DA4-7CD5-7C57-E9C2-6D2507EAFE55}"/>
          </ac:spMkLst>
        </pc:spChg>
        <pc:spChg chg="add del mod modVis">
          <ac:chgData name="Nataliia Chornii (UA)" userId="4e4b8b3d-5f31-49bb-9f80-8a25c04abfff" providerId="ADAL" clId="{EE97D3FE-9ACA-4467-98E5-532EC45D9D1C}" dt="2024-03-01T08:49:59.913" v="3918"/>
          <ac:spMkLst>
            <pc:docMk/>
            <pc:sldMk cId="0" sldId="437"/>
            <ac:spMk id="7" creationId="{5E1845B6-F9F8-CAC7-5F0E-466E3948287E}"/>
          </ac:spMkLst>
        </pc:spChg>
        <pc:spChg chg="add del mod modVis">
          <ac:chgData name="Nataliia Chornii (UA)" userId="4e4b8b3d-5f31-49bb-9f80-8a25c04abfff" providerId="ADAL" clId="{EE97D3FE-9ACA-4467-98E5-532EC45D9D1C}" dt="2024-03-01T08:51:26.233" v="4906"/>
          <ac:spMkLst>
            <pc:docMk/>
            <pc:sldMk cId="0" sldId="437"/>
            <ac:spMk id="8" creationId="{DCF00BFF-8A48-2E9F-6F7E-C6D5E6DB1956}"/>
          </ac:spMkLst>
        </pc:spChg>
        <pc:spChg chg="add del mod modVis">
          <ac:chgData name="Nataliia Chornii (UA)" userId="4e4b8b3d-5f31-49bb-9f80-8a25c04abfff" providerId="ADAL" clId="{EE97D3FE-9ACA-4467-98E5-532EC45D9D1C}" dt="2024-03-01T08:51:56.244" v="5895"/>
          <ac:spMkLst>
            <pc:docMk/>
            <pc:sldMk cId="0" sldId="437"/>
            <ac:spMk id="9" creationId="{A05214B4-C71E-FB2A-8C12-C30F9120E4FC}"/>
          </ac:spMkLst>
        </pc:spChg>
        <pc:spChg chg="add del mod modVis">
          <ac:chgData name="Nataliia Chornii (UA)" userId="4e4b8b3d-5f31-49bb-9f80-8a25c04abfff" providerId="ADAL" clId="{EE97D3FE-9ACA-4467-98E5-532EC45D9D1C}" dt="2024-03-01T08:52:18.406" v="6883"/>
          <ac:spMkLst>
            <pc:docMk/>
            <pc:sldMk cId="0" sldId="437"/>
            <ac:spMk id="10" creationId="{406130C5-30B7-D4FF-1820-85E5F8FEF121}"/>
          </ac:spMkLst>
        </pc:spChg>
        <pc:spChg chg="mod">
          <ac:chgData name="Nataliia Chornii (UA)" userId="4e4b8b3d-5f31-49bb-9f80-8a25c04abfff" providerId="ADAL" clId="{EE97D3FE-9ACA-4467-98E5-532EC45D9D1C}" dt="2024-03-01T08:52:18.154" v="6667" actId="948"/>
          <ac:spMkLst>
            <pc:docMk/>
            <pc:sldMk cId="0" sldId="437"/>
            <ac:spMk id="20482" creationId="{E2B7FBCA-76E7-3F92-809D-F9B8703DB69A}"/>
          </ac:spMkLst>
        </pc:spChg>
        <pc:graphicFrameChg chg="add mod ord modVis replST">
          <ac:chgData name="Nataliia Chornii (UA)" userId="4e4b8b3d-5f31-49bb-9f80-8a25c04abfff" providerId="ADAL" clId="{EE97D3FE-9ACA-4467-98E5-532EC45D9D1C}" dt="2024-03-01T08:52:18.408" v="6885"/>
          <ac:graphicFrameMkLst>
            <pc:docMk/>
            <pc:sldMk cId="0" sldId="437"/>
            <ac:graphicFrameMk id="5" creationId="{34B00F0B-F275-B8CE-649A-C5EF32FB1F1B}"/>
          </ac:graphicFrameMkLst>
        </pc:graphicFrameChg>
      </pc:sldChg>
      <pc:sldChg chg="addSp delSp modSp mod">
        <pc:chgData name="Nataliia Chornii (UA)" userId="4e4b8b3d-5f31-49bb-9f80-8a25c04abfff" providerId="ADAL" clId="{EE97D3FE-9ACA-4467-98E5-532EC45D9D1C}" dt="2024-03-01T08:52:18.391" v="6869"/>
        <pc:sldMkLst>
          <pc:docMk/>
          <pc:sldMk cId="0" sldId="438"/>
        </pc:sldMkLst>
        <pc:spChg chg="add del mod modVis">
          <ac:chgData name="Nataliia Chornii (UA)" userId="4e4b8b3d-5f31-49bb-9f80-8a25c04abfff" providerId="ADAL" clId="{EE97D3FE-9ACA-4467-98E5-532EC45D9D1C}" dt="2024-03-01T08:49:00.461" v="1834"/>
          <ac:spMkLst>
            <pc:docMk/>
            <pc:sldMk cId="0" sldId="438"/>
            <ac:spMk id="3" creationId="{2F433DF6-2682-2E66-4315-154E299928F6}"/>
          </ac:spMkLst>
        </pc:spChg>
        <pc:spChg chg="add del mod modVis">
          <ac:chgData name="Nataliia Chornii (UA)" userId="4e4b8b3d-5f31-49bb-9f80-8a25c04abfff" providerId="ADAL" clId="{EE97D3FE-9ACA-4467-98E5-532EC45D9D1C}" dt="2024-03-01T08:49:33.886" v="2914"/>
          <ac:spMkLst>
            <pc:docMk/>
            <pc:sldMk cId="0" sldId="438"/>
            <ac:spMk id="6" creationId="{19C0DCDE-5AE9-9348-79DF-7FAD563EE024}"/>
          </ac:spMkLst>
        </pc:spChg>
        <pc:spChg chg="add del mod modVis">
          <ac:chgData name="Nataliia Chornii (UA)" userId="4e4b8b3d-5f31-49bb-9f80-8a25c04abfff" providerId="ADAL" clId="{EE97D3FE-9ACA-4467-98E5-532EC45D9D1C}" dt="2024-03-01T08:49:59.898" v="3902"/>
          <ac:spMkLst>
            <pc:docMk/>
            <pc:sldMk cId="0" sldId="438"/>
            <ac:spMk id="7" creationId="{401E0C68-897C-D3E6-3580-5BEB521CF5A5}"/>
          </ac:spMkLst>
        </pc:spChg>
        <pc:spChg chg="add del mod modVis">
          <ac:chgData name="Nataliia Chornii (UA)" userId="4e4b8b3d-5f31-49bb-9f80-8a25c04abfff" providerId="ADAL" clId="{EE97D3FE-9ACA-4467-98E5-532EC45D9D1C}" dt="2024-03-01T08:51:26.214" v="4890"/>
          <ac:spMkLst>
            <pc:docMk/>
            <pc:sldMk cId="0" sldId="438"/>
            <ac:spMk id="8" creationId="{DB92BDF4-C69A-536D-AFF4-8BE66EF6E97A}"/>
          </ac:spMkLst>
        </pc:spChg>
        <pc:spChg chg="add del mod modVis">
          <ac:chgData name="Nataliia Chornii (UA)" userId="4e4b8b3d-5f31-49bb-9f80-8a25c04abfff" providerId="ADAL" clId="{EE97D3FE-9ACA-4467-98E5-532EC45D9D1C}" dt="2024-03-01T08:51:56.230" v="5879"/>
          <ac:spMkLst>
            <pc:docMk/>
            <pc:sldMk cId="0" sldId="438"/>
            <ac:spMk id="9" creationId="{7DB3A309-1DD6-2D5D-0DD2-6CBBC4E293A3}"/>
          </ac:spMkLst>
        </pc:spChg>
        <pc:spChg chg="add del mod modVis">
          <ac:chgData name="Nataliia Chornii (UA)" userId="4e4b8b3d-5f31-49bb-9f80-8a25c04abfff" providerId="ADAL" clId="{EE97D3FE-9ACA-4467-98E5-532EC45D9D1C}" dt="2024-03-01T08:52:18.391" v="6867"/>
          <ac:spMkLst>
            <pc:docMk/>
            <pc:sldMk cId="0" sldId="438"/>
            <ac:spMk id="10" creationId="{7287D2E2-4A72-65E8-CFD5-6087236B2999}"/>
          </ac:spMkLst>
        </pc:spChg>
        <pc:spChg chg="mod">
          <ac:chgData name="Nataliia Chornii (UA)" userId="4e4b8b3d-5f31-49bb-9f80-8a25c04abfff" providerId="ADAL" clId="{EE97D3FE-9ACA-4467-98E5-532EC45D9D1C}" dt="2024-03-01T08:52:18.043" v="6587" actId="948"/>
          <ac:spMkLst>
            <pc:docMk/>
            <pc:sldMk cId="0" sldId="438"/>
            <ac:spMk id="18434" creationId="{FADB79CA-61AE-0EFE-9561-64AAE2B84507}"/>
          </ac:spMkLst>
        </pc:spChg>
        <pc:graphicFrameChg chg="add mod ord modVis replST">
          <ac:chgData name="Nataliia Chornii (UA)" userId="4e4b8b3d-5f31-49bb-9f80-8a25c04abfff" providerId="ADAL" clId="{EE97D3FE-9ACA-4467-98E5-532EC45D9D1C}" dt="2024-03-01T08:52:18.391" v="6869"/>
          <ac:graphicFrameMkLst>
            <pc:docMk/>
            <pc:sldMk cId="0" sldId="438"/>
            <ac:graphicFrameMk id="5" creationId="{DA8AD06A-AA59-D75B-A465-80FB4633415D}"/>
          </ac:graphicFrameMkLst>
        </pc:graphicFrameChg>
      </pc:sldChg>
      <pc:sldChg chg="addSp delSp modSp mod modClrScheme chgLayout">
        <pc:chgData name="Nataliia Chornii (UA)" userId="4e4b8b3d-5f31-49bb-9f80-8a25c04abfff" providerId="ADAL" clId="{EE97D3FE-9ACA-4467-98E5-532EC45D9D1C}" dt="2024-03-11T14:19:30.931" v="23933" actId="164"/>
        <pc:sldMkLst>
          <pc:docMk/>
          <pc:sldMk cId="399328488" sldId="450"/>
        </pc:sldMkLst>
        <pc:spChg chg="mod">
          <ac:chgData name="Nataliia Chornii (UA)" userId="4e4b8b3d-5f31-49bb-9f80-8a25c04abfff" providerId="ADAL" clId="{EE97D3FE-9ACA-4467-98E5-532EC45D9D1C}" dt="2024-03-11T14:04:59.503" v="23369" actId="1035"/>
          <ac:spMkLst>
            <pc:docMk/>
            <pc:sldMk cId="399328488" sldId="450"/>
            <ac:spMk id="2" creationId="{06CA5123-FA6E-5376-B3D9-BDF5B08EA25B}"/>
          </ac:spMkLst>
        </pc:spChg>
        <pc:spChg chg="del mod ord">
          <ac:chgData name="Nataliia Chornii (UA)" userId="4e4b8b3d-5f31-49bb-9f80-8a25c04abfff" providerId="ADAL" clId="{EE97D3FE-9ACA-4467-98E5-532EC45D9D1C}" dt="2024-03-01T08:54:18.195" v="6927" actId="478"/>
          <ac:spMkLst>
            <pc:docMk/>
            <pc:sldMk cId="399328488" sldId="450"/>
            <ac:spMk id="2" creationId="{20E40FBF-934F-95FE-8778-92F849DEC1EA}"/>
          </ac:spMkLst>
        </pc:spChg>
        <pc:spChg chg="mod ord">
          <ac:chgData name="Nataliia Chornii (UA)" userId="4e4b8b3d-5f31-49bb-9f80-8a25c04abfff" providerId="ADAL" clId="{EE97D3FE-9ACA-4467-98E5-532EC45D9D1C}" dt="2024-03-11T14:04:06.306" v="23347" actId="948"/>
          <ac:spMkLst>
            <pc:docMk/>
            <pc:sldMk cId="399328488" sldId="450"/>
            <ac:spMk id="3" creationId="{AAFE076C-9B8C-9BB3-8680-7E4B60DEC21C}"/>
          </ac:spMkLst>
        </pc:spChg>
        <pc:spChg chg="mod ord">
          <ac:chgData name="Nataliia Chornii (UA)" userId="4e4b8b3d-5f31-49bb-9f80-8a25c04abfff" providerId="ADAL" clId="{EE97D3FE-9ACA-4467-98E5-532EC45D9D1C}" dt="2024-03-01T13:01:20.637" v="12377" actId="207"/>
          <ac:spMkLst>
            <pc:docMk/>
            <pc:sldMk cId="399328488" sldId="450"/>
            <ac:spMk id="4" creationId="{51A056F4-4CF2-BBE9-52F6-908FF9154948}"/>
          </ac:spMkLst>
        </pc:spChg>
        <pc:spChg chg="del">
          <ac:chgData name="Nataliia Chornii (UA)" userId="4e4b8b3d-5f31-49bb-9f80-8a25c04abfff" providerId="ADAL" clId="{EE97D3FE-9ACA-4467-98E5-532EC45D9D1C}" dt="2024-03-01T08:54:13.163" v="6924" actId="478"/>
          <ac:spMkLst>
            <pc:docMk/>
            <pc:sldMk cId="399328488" sldId="450"/>
            <ac:spMk id="5" creationId="{1C73DC58-4723-3B96-46FC-CBBC7FA3EB02}"/>
          </ac:spMkLst>
        </pc:spChg>
        <pc:spChg chg="del">
          <ac:chgData name="Nataliia Chornii (UA)" userId="4e4b8b3d-5f31-49bb-9f80-8a25c04abfff" providerId="ADAL" clId="{EE97D3FE-9ACA-4467-98E5-532EC45D9D1C}" dt="2024-03-11T14:03:10.571" v="23306" actId="478"/>
          <ac:spMkLst>
            <pc:docMk/>
            <pc:sldMk cId="399328488" sldId="450"/>
            <ac:spMk id="5" creationId="{B23D23F6-EAA1-C1CC-4EAD-63DE62A28506}"/>
          </ac:spMkLst>
        </pc:spChg>
        <pc:spChg chg="del mod ord">
          <ac:chgData name="Nataliia Chornii (UA)" userId="4e4b8b3d-5f31-49bb-9f80-8a25c04abfff" providerId="ADAL" clId="{EE97D3FE-9ACA-4467-98E5-532EC45D9D1C}" dt="2024-03-01T08:54:45.832" v="7004" actId="478"/>
          <ac:spMkLst>
            <pc:docMk/>
            <pc:sldMk cId="399328488" sldId="450"/>
            <ac:spMk id="6" creationId="{2E672114-781E-3E9E-07DD-B0CC53AC0021}"/>
          </ac:spMkLst>
        </pc:spChg>
        <pc:spChg chg="del mod">
          <ac:chgData name="Nataliia Chornii (UA)" userId="4e4b8b3d-5f31-49bb-9f80-8a25c04abfff" providerId="ADAL" clId="{EE97D3FE-9ACA-4467-98E5-532EC45D9D1C}" dt="2024-03-11T14:08:22.377" v="23498" actId="478"/>
          <ac:spMkLst>
            <pc:docMk/>
            <pc:sldMk cId="399328488" sldId="450"/>
            <ac:spMk id="6" creationId="{C921EC8E-0465-7791-299D-694BBCA764E9}"/>
          </ac:spMkLst>
        </pc:spChg>
        <pc:spChg chg="del mod">
          <ac:chgData name="Nataliia Chornii (UA)" userId="4e4b8b3d-5f31-49bb-9f80-8a25c04abfff" providerId="ADAL" clId="{EE97D3FE-9ACA-4467-98E5-532EC45D9D1C}" dt="2024-03-01T08:54:18.195" v="6927" actId="478"/>
          <ac:spMkLst>
            <pc:docMk/>
            <pc:sldMk cId="399328488" sldId="450"/>
            <ac:spMk id="7" creationId="{11B054F7-BD3F-CC04-8F9A-A47566ADA21E}"/>
          </ac:spMkLst>
        </pc:spChg>
        <pc:spChg chg="del">
          <ac:chgData name="Nataliia Chornii (UA)" userId="4e4b8b3d-5f31-49bb-9f80-8a25c04abfff" providerId="ADAL" clId="{EE97D3FE-9ACA-4467-98E5-532EC45D9D1C}" dt="2024-03-11T14:03:10.571" v="23306" actId="478"/>
          <ac:spMkLst>
            <pc:docMk/>
            <pc:sldMk cId="399328488" sldId="450"/>
            <ac:spMk id="7" creationId="{342010C7-05ED-A506-BB45-990074298A60}"/>
          </ac:spMkLst>
        </pc:spChg>
        <pc:spChg chg="del">
          <ac:chgData name="Nataliia Chornii (UA)" userId="4e4b8b3d-5f31-49bb-9f80-8a25c04abfff" providerId="ADAL" clId="{EE97D3FE-9ACA-4467-98E5-532EC45D9D1C}" dt="2024-03-11T14:18:23.466" v="23921" actId="478"/>
          <ac:spMkLst>
            <pc:docMk/>
            <pc:sldMk cId="399328488" sldId="450"/>
            <ac:spMk id="8" creationId="{8CC35DE3-4BB1-6CC3-3075-F8F54B9BCE23}"/>
          </ac:spMkLst>
        </pc:spChg>
        <pc:spChg chg="add del mod modVis">
          <ac:chgData name="Nataliia Chornii (UA)" userId="4e4b8b3d-5f31-49bb-9f80-8a25c04abfff" providerId="ADAL" clId="{EE97D3FE-9ACA-4467-98E5-532EC45D9D1C}" dt="2024-03-01T08:48:59.251" v="1242"/>
          <ac:spMkLst>
            <pc:docMk/>
            <pc:sldMk cId="399328488" sldId="450"/>
            <ac:spMk id="8" creationId="{A85CE0C6-99E6-DF65-9956-CFBE3457DF05}"/>
          </ac:spMkLst>
        </pc:spChg>
        <pc:spChg chg="add del mod modVis">
          <ac:chgData name="Nataliia Chornii (UA)" userId="4e4b8b3d-5f31-49bb-9f80-8a25c04abfff" providerId="ADAL" clId="{EE97D3FE-9ACA-4467-98E5-532EC45D9D1C}" dt="2024-03-11T14:03:24.722" v="23337"/>
          <ac:spMkLst>
            <pc:docMk/>
            <pc:sldMk cId="399328488" sldId="450"/>
            <ac:spMk id="10" creationId="{1AEBA408-07D1-C2A9-F4EB-F641D362E362}"/>
          </ac:spMkLst>
        </pc:spChg>
        <pc:spChg chg="del">
          <ac:chgData name="Nataliia Chornii (UA)" userId="4e4b8b3d-5f31-49bb-9f80-8a25c04abfff" providerId="ADAL" clId="{EE97D3FE-9ACA-4467-98E5-532EC45D9D1C}" dt="2024-03-01T08:54:02.046" v="6920" actId="478"/>
          <ac:spMkLst>
            <pc:docMk/>
            <pc:sldMk cId="399328488" sldId="450"/>
            <ac:spMk id="10" creationId="{9289F6C4-FC0B-0E3A-DAD4-24B0CD0E3DD5}"/>
          </ac:spMkLst>
        </pc:spChg>
        <pc:spChg chg="add del mod modVis">
          <ac:chgData name="Nataliia Chornii (UA)" userId="4e4b8b3d-5f31-49bb-9f80-8a25c04abfff" providerId="ADAL" clId="{EE97D3FE-9ACA-4467-98E5-532EC45D9D1C}" dt="2024-03-01T08:49:33.707" v="2790"/>
          <ac:spMkLst>
            <pc:docMk/>
            <pc:sldMk cId="399328488" sldId="450"/>
            <ac:spMk id="11" creationId="{D007A732-CBDF-AB11-F9C9-4AB0AF45C6A7}"/>
          </ac:spMkLst>
        </pc:spChg>
        <pc:spChg chg="mod topLvl">
          <ac:chgData name="Nataliia Chornii (UA)" userId="4e4b8b3d-5f31-49bb-9f80-8a25c04abfff" providerId="ADAL" clId="{EE97D3FE-9ACA-4467-98E5-532EC45D9D1C}" dt="2024-03-11T14:19:30.931" v="23933" actId="164"/>
          <ac:spMkLst>
            <pc:docMk/>
            <pc:sldMk cId="399328488" sldId="450"/>
            <ac:spMk id="12" creationId="{437AFA95-4629-E445-8011-A1331848A9C1}"/>
          </ac:spMkLst>
        </pc:spChg>
        <pc:spChg chg="del mod">
          <ac:chgData name="Nataliia Chornii (UA)" userId="4e4b8b3d-5f31-49bb-9f80-8a25c04abfff" providerId="ADAL" clId="{EE97D3FE-9ACA-4467-98E5-532EC45D9D1C}" dt="2024-03-01T08:54:10.085" v="6922" actId="478"/>
          <ac:spMkLst>
            <pc:docMk/>
            <pc:sldMk cId="399328488" sldId="450"/>
            <ac:spMk id="12" creationId="{5BA3FC79-5B8F-4417-8615-05D13DBFFB22}"/>
          </ac:spMkLst>
        </pc:spChg>
        <pc:spChg chg="mod topLvl">
          <ac:chgData name="Nataliia Chornii (UA)" userId="4e4b8b3d-5f31-49bb-9f80-8a25c04abfff" providerId="ADAL" clId="{EE97D3FE-9ACA-4467-98E5-532EC45D9D1C}" dt="2024-03-11T14:19:30.931" v="23933" actId="164"/>
          <ac:spMkLst>
            <pc:docMk/>
            <pc:sldMk cId="399328488" sldId="450"/>
            <ac:spMk id="13" creationId="{07F853EE-4954-F93E-0658-251452786CF6}"/>
          </ac:spMkLst>
        </pc:spChg>
        <pc:spChg chg="add del mod modVis">
          <ac:chgData name="Nataliia Chornii (UA)" userId="4e4b8b3d-5f31-49bb-9f80-8a25c04abfff" providerId="ADAL" clId="{EE97D3FE-9ACA-4467-98E5-532EC45D9D1C}" dt="2024-03-01T08:49:59.773" v="3778"/>
          <ac:spMkLst>
            <pc:docMk/>
            <pc:sldMk cId="399328488" sldId="450"/>
            <ac:spMk id="13" creationId="{89DB3D54-29A1-CDCA-5FC7-2CF9441B303C}"/>
          </ac:spMkLst>
        </pc:spChg>
        <pc:spChg chg="mod topLvl">
          <ac:chgData name="Nataliia Chornii (UA)" userId="4e4b8b3d-5f31-49bb-9f80-8a25c04abfff" providerId="ADAL" clId="{EE97D3FE-9ACA-4467-98E5-532EC45D9D1C}" dt="2024-03-11T14:19:30.931" v="23933" actId="164"/>
          <ac:spMkLst>
            <pc:docMk/>
            <pc:sldMk cId="399328488" sldId="450"/>
            <ac:spMk id="14" creationId="{47611A2B-87DE-E012-FBEB-CD8C3F27162D}"/>
          </ac:spMkLst>
        </pc:spChg>
        <pc:spChg chg="add del mod modVis">
          <ac:chgData name="Nataliia Chornii (UA)" userId="4e4b8b3d-5f31-49bb-9f80-8a25c04abfff" providerId="ADAL" clId="{EE97D3FE-9ACA-4467-98E5-532EC45D9D1C}" dt="2024-03-01T08:51:26.075" v="4766"/>
          <ac:spMkLst>
            <pc:docMk/>
            <pc:sldMk cId="399328488" sldId="450"/>
            <ac:spMk id="14" creationId="{B2F8F407-7B04-BF6F-173E-668E384A3E54}"/>
          </ac:spMkLst>
        </pc:spChg>
        <pc:spChg chg="add del mod modVis">
          <ac:chgData name="Nataliia Chornii (UA)" userId="4e4b8b3d-5f31-49bb-9f80-8a25c04abfff" providerId="ADAL" clId="{EE97D3FE-9ACA-4467-98E5-532EC45D9D1C}" dt="2024-03-01T08:51:56.079" v="5755"/>
          <ac:spMkLst>
            <pc:docMk/>
            <pc:sldMk cId="399328488" sldId="450"/>
            <ac:spMk id="15" creationId="{221F9FCE-8D39-B55C-A5CA-BF29D92AB3E5}"/>
          </ac:spMkLst>
        </pc:spChg>
        <pc:spChg chg="mod topLvl">
          <ac:chgData name="Nataliia Chornii (UA)" userId="4e4b8b3d-5f31-49bb-9f80-8a25c04abfff" providerId="ADAL" clId="{EE97D3FE-9ACA-4467-98E5-532EC45D9D1C}" dt="2024-03-11T14:19:30.931" v="23933" actId="164"/>
          <ac:spMkLst>
            <pc:docMk/>
            <pc:sldMk cId="399328488" sldId="450"/>
            <ac:spMk id="15" creationId="{F075C420-0F8B-D5BA-BC4C-BE0D5D4A9645}"/>
          </ac:spMkLst>
        </pc:spChg>
        <pc:spChg chg="add del mod modVis">
          <ac:chgData name="Nataliia Chornii (UA)" userId="4e4b8b3d-5f31-49bb-9f80-8a25c04abfff" providerId="ADAL" clId="{EE97D3FE-9ACA-4467-98E5-532EC45D9D1C}" dt="2024-03-01T08:52:18.249" v="6743"/>
          <ac:spMkLst>
            <pc:docMk/>
            <pc:sldMk cId="399328488" sldId="450"/>
            <ac:spMk id="16" creationId="{379E4BC4-5B7E-9B3E-DDEF-FA2BC67F0DFB}"/>
          </ac:spMkLst>
        </pc:spChg>
        <pc:spChg chg="mod topLvl">
          <ac:chgData name="Nataliia Chornii (UA)" userId="4e4b8b3d-5f31-49bb-9f80-8a25c04abfff" providerId="ADAL" clId="{EE97D3FE-9ACA-4467-98E5-532EC45D9D1C}" dt="2024-03-11T14:19:30.931" v="23933" actId="164"/>
          <ac:spMkLst>
            <pc:docMk/>
            <pc:sldMk cId="399328488" sldId="450"/>
            <ac:spMk id="16" creationId="{E8603D44-7F97-0FEA-D908-A5DDE8A41CC8}"/>
          </ac:spMkLst>
        </pc:spChg>
        <pc:spChg chg="add del mod">
          <ac:chgData name="Nataliia Chornii (UA)" userId="4e4b8b3d-5f31-49bb-9f80-8a25c04abfff" providerId="ADAL" clId="{EE97D3FE-9ACA-4467-98E5-532EC45D9D1C}" dt="2024-03-01T08:54:16.284" v="6926" actId="6264"/>
          <ac:spMkLst>
            <pc:docMk/>
            <pc:sldMk cId="399328488" sldId="450"/>
            <ac:spMk id="17" creationId="{6A25801D-BA8D-7C1E-896E-A8ACB1C104C2}"/>
          </ac:spMkLst>
        </pc:spChg>
        <pc:spChg chg="mod topLvl">
          <ac:chgData name="Nataliia Chornii (UA)" userId="4e4b8b3d-5f31-49bb-9f80-8a25c04abfff" providerId="ADAL" clId="{EE97D3FE-9ACA-4467-98E5-532EC45D9D1C}" dt="2024-03-11T14:19:30.931" v="23933" actId="164"/>
          <ac:spMkLst>
            <pc:docMk/>
            <pc:sldMk cId="399328488" sldId="450"/>
            <ac:spMk id="17" creationId="{F94A9033-6BFC-B403-C388-86F98F207B0B}"/>
          </ac:spMkLst>
        </pc:spChg>
        <pc:spChg chg="add del mod">
          <ac:chgData name="Nataliia Chornii (UA)" userId="4e4b8b3d-5f31-49bb-9f80-8a25c04abfff" providerId="ADAL" clId="{EE97D3FE-9ACA-4467-98E5-532EC45D9D1C}" dt="2024-03-01T08:54:16.284" v="6926" actId="6264"/>
          <ac:spMkLst>
            <pc:docMk/>
            <pc:sldMk cId="399328488" sldId="450"/>
            <ac:spMk id="18" creationId="{AE0E333A-974E-6328-3599-EDEDF071CBE8}"/>
          </ac:spMkLst>
        </pc:spChg>
        <pc:spChg chg="add del mod">
          <ac:chgData name="Nataliia Chornii (UA)" userId="4e4b8b3d-5f31-49bb-9f80-8a25c04abfff" providerId="ADAL" clId="{EE97D3FE-9ACA-4467-98E5-532EC45D9D1C}" dt="2024-03-01T08:54:16.284" v="6926" actId="6264"/>
          <ac:spMkLst>
            <pc:docMk/>
            <pc:sldMk cId="399328488" sldId="450"/>
            <ac:spMk id="19" creationId="{8D370E06-5C55-8277-3BE3-0CA9B68ED638}"/>
          </ac:spMkLst>
        </pc:spChg>
        <pc:spChg chg="add del mod">
          <ac:chgData name="Nataliia Chornii (UA)" userId="4e4b8b3d-5f31-49bb-9f80-8a25c04abfff" providerId="ADAL" clId="{EE97D3FE-9ACA-4467-98E5-532EC45D9D1C}" dt="2024-03-01T08:54:16.284" v="6926" actId="6264"/>
          <ac:spMkLst>
            <pc:docMk/>
            <pc:sldMk cId="399328488" sldId="450"/>
            <ac:spMk id="20" creationId="{8E45C418-1040-BEF3-E4E6-509967401DCD}"/>
          </ac:spMkLst>
        </pc:spChg>
        <pc:spChg chg="add del mod">
          <ac:chgData name="Nataliia Chornii (UA)" userId="4e4b8b3d-5f31-49bb-9f80-8a25c04abfff" providerId="ADAL" clId="{EE97D3FE-9ACA-4467-98E5-532EC45D9D1C}" dt="2024-03-01T08:54:24.964" v="6928" actId="700"/>
          <ac:spMkLst>
            <pc:docMk/>
            <pc:sldMk cId="399328488" sldId="450"/>
            <ac:spMk id="22" creationId="{545CCB76-132B-211A-AB48-3C880D9ECBD6}"/>
          </ac:spMkLst>
        </pc:spChg>
        <pc:spChg chg="add del mod modVis">
          <ac:chgData name="Nataliia Chornii (UA)" userId="4e4b8b3d-5f31-49bb-9f80-8a25c04abfff" providerId="ADAL" clId="{EE97D3FE-9ACA-4467-98E5-532EC45D9D1C}" dt="2024-03-01T08:54:25.514" v="6952"/>
          <ac:spMkLst>
            <pc:docMk/>
            <pc:sldMk cId="399328488" sldId="450"/>
            <ac:spMk id="23" creationId="{5B0ACADC-66D7-5C4B-8E7D-13FD73767EC7}"/>
          </ac:spMkLst>
        </pc:spChg>
        <pc:spChg chg="add del mod ord">
          <ac:chgData name="Nataliia Chornii (UA)" userId="4e4b8b3d-5f31-49bb-9f80-8a25c04abfff" providerId="ADAL" clId="{EE97D3FE-9ACA-4467-98E5-532EC45D9D1C}" dt="2024-03-01T09:05:53.133" v="7727" actId="478"/>
          <ac:spMkLst>
            <pc:docMk/>
            <pc:sldMk cId="399328488" sldId="450"/>
            <ac:spMk id="24" creationId="{645603F9-C712-0174-E256-7157458858BF}"/>
          </ac:spMkLst>
        </pc:spChg>
        <pc:spChg chg="add del mod ord">
          <ac:chgData name="Nataliia Chornii (UA)" userId="4e4b8b3d-5f31-49bb-9f80-8a25c04abfff" providerId="ADAL" clId="{EE97D3FE-9ACA-4467-98E5-532EC45D9D1C}" dt="2024-03-01T09:05:53.133" v="7727" actId="478"/>
          <ac:spMkLst>
            <pc:docMk/>
            <pc:sldMk cId="399328488" sldId="450"/>
            <ac:spMk id="25" creationId="{7A914F7E-4878-0D10-CAC6-DD7E7B9B70C4}"/>
          </ac:spMkLst>
        </pc:spChg>
        <pc:spChg chg="add del mod">
          <ac:chgData name="Nataliia Chornii (UA)" userId="4e4b8b3d-5f31-49bb-9f80-8a25c04abfff" providerId="ADAL" clId="{EE97D3FE-9ACA-4467-98E5-532EC45D9D1C}" dt="2024-03-01T08:54:28.481" v="6956" actId="6264"/>
          <ac:spMkLst>
            <pc:docMk/>
            <pc:sldMk cId="399328488" sldId="450"/>
            <ac:spMk id="26" creationId="{8843BCC2-73C6-B259-ECDD-6B65994E557C}"/>
          </ac:spMkLst>
        </pc:spChg>
        <pc:spChg chg="add del mod">
          <ac:chgData name="Nataliia Chornii (UA)" userId="4e4b8b3d-5f31-49bb-9f80-8a25c04abfff" providerId="ADAL" clId="{EE97D3FE-9ACA-4467-98E5-532EC45D9D1C}" dt="2024-03-01T08:54:28.481" v="6956" actId="6264"/>
          <ac:spMkLst>
            <pc:docMk/>
            <pc:sldMk cId="399328488" sldId="450"/>
            <ac:spMk id="27" creationId="{D5D88B24-1988-BDA3-A505-89F18D6A881E}"/>
          </ac:spMkLst>
        </pc:spChg>
        <pc:spChg chg="add del mod">
          <ac:chgData name="Nataliia Chornii (UA)" userId="4e4b8b3d-5f31-49bb-9f80-8a25c04abfff" providerId="ADAL" clId="{EE97D3FE-9ACA-4467-98E5-532EC45D9D1C}" dt="2024-03-01T08:54:28.481" v="6956" actId="6264"/>
          <ac:spMkLst>
            <pc:docMk/>
            <pc:sldMk cId="399328488" sldId="450"/>
            <ac:spMk id="28" creationId="{12375810-6F0A-B564-D103-5ED68F19FEFA}"/>
          </ac:spMkLst>
        </pc:spChg>
        <pc:spChg chg="add del mod modVis">
          <ac:chgData name="Nataliia Chornii (UA)" userId="4e4b8b3d-5f31-49bb-9f80-8a25c04abfff" providerId="ADAL" clId="{EE97D3FE-9ACA-4467-98E5-532EC45D9D1C}" dt="2024-03-01T08:54:29.161" v="6980"/>
          <ac:spMkLst>
            <pc:docMk/>
            <pc:sldMk cId="399328488" sldId="450"/>
            <ac:spMk id="29" creationId="{DC4538CE-FAD1-38F9-DBBA-4CDF2B89878D}"/>
          </ac:spMkLst>
        </pc:spChg>
        <pc:spChg chg="add del mod ord">
          <ac:chgData name="Nataliia Chornii (UA)" userId="4e4b8b3d-5f31-49bb-9f80-8a25c04abfff" providerId="ADAL" clId="{EE97D3FE-9ACA-4467-98E5-532EC45D9D1C}" dt="2024-03-01T08:58:13.082" v="7487" actId="478"/>
          <ac:spMkLst>
            <pc:docMk/>
            <pc:sldMk cId="399328488" sldId="450"/>
            <ac:spMk id="30" creationId="{01F0CB71-7CC1-4CDA-D857-3F7F99DF6CFB}"/>
          </ac:spMkLst>
        </pc:spChg>
        <pc:spChg chg="add del mod">
          <ac:chgData name="Nataliia Chornii (UA)" userId="4e4b8b3d-5f31-49bb-9f80-8a25c04abfff" providerId="ADAL" clId="{EE97D3FE-9ACA-4467-98E5-532EC45D9D1C}" dt="2024-03-01T08:54:48.247" v="7006" actId="6264"/>
          <ac:spMkLst>
            <pc:docMk/>
            <pc:sldMk cId="399328488" sldId="450"/>
            <ac:spMk id="31" creationId="{AAE70EF8-55F2-DFEC-A8FC-5006D8505F45}"/>
          </ac:spMkLst>
        </pc:spChg>
        <pc:spChg chg="add del mod">
          <ac:chgData name="Nataliia Chornii (UA)" userId="4e4b8b3d-5f31-49bb-9f80-8a25c04abfff" providerId="ADAL" clId="{EE97D3FE-9ACA-4467-98E5-532EC45D9D1C}" dt="2024-03-01T08:54:48.247" v="7006" actId="6264"/>
          <ac:spMkLst>
            <pc:docMk/>
            <pc:sldMk cId="399328488" sldId="450"/>
            <ac:spMk id="32" creationId="{60C31AB8-824F-0A71-2015-42D053AB21A4}"/>
          </ac:spMkLst>
        </pc:spChg>
        <pc:spChg chg="add del mod modVis">
          <ac:chgData name="Nataliia Chornii (UA)" userId="4e4b8b3d-5f31-49bb-9f80-8a25c04abfff" providerId="ADAL" clId="{EE97D3FE-9ACA-4467-98E5-532EC45D9D1C}" dt="2024-03-01T08:54:48.791" v="7030"/>
          <ac:spMkLst>
            <pc:docMk/>
            <pc:sldMk cId="399328488" sldId="450"/>
            <ac:spMk id="33" creationId="{355D6FBA-1B90-1C15-16E9-7DFD5065C5BD}"/>
          </ac:spMkLst>
        </pc:spChg>
        <pc:spChg chg="add del mod">
          <ac:chgData name="Nataliia Chornii (UA)" userId="4e4b8b3d-5f31-49bb-9f80-8a25c04abfff" providerId="ADAL" clId="{EE97D3FE-9ACA-4467-98E5-532EC45D9D1C}" dt="2024-03-01T08:54:53.932" v="7034" actId="6264"/>
          <ac:spMkLst>
            <pc:docMk/>
            <pc:sldMk cId="399328488" sldId="450"/>
            <ac:spMk id="34" creationId="{C1036AFB-6A31-A302-F927-2FE88E877020}"/>
          </ac:spMkLst>
        </pc:spChg>
        <pc:spChg chg="add del mod">
          <ac:chgData name="Nataliia Chornii (UA)" userId="4e4b8b3d-5f31-49bb-9f80-8a25c04abfff" providerId="ADAL" clId="{EE97D3FE-9ACA-4467-98E5-532EC45D9D1C}" dt="2024-03-01T08:54:53.932" v="7034" actId="6264"/>
          <ac:spMkLst>
            <pc:docMk/>
            <pc:sldMk cId="399328488" sldId="450"/>
            <ac:spMk id="35" creationId="{2BD42DAD-6EA6-F9C7-D318-550DE388336B}"/>
          </ac:spMkLst>
        </pc:spChg>
        <pc:spChg chg="add del mod modVis">
          <ac:chgData name="Nataliia Chornii (UA)" userId="4e4b8b3d-5f31-49bb-9f80-8a25c04abfff" providerId="ADAL" clId="{EE97D3FE-9ACA-4467-98E5-532EC45D9D1C}" dt="2024-03-01T08:54:54.469" v="7058"/>
          <ac:spMkLst>
            <pc:docMk/>
            <pc:sldMk cId="399328488" sldId="450"/>
            <ac:spMk id="36" creationId="{4BDBDF1E-79DE-64BF-7246-D319D7F85214}"/>
          </ac:spMkLst>
        </pc:spChg>
        <pc:spChg chg="add del mod">
          <ac:chgData name="Nataliia Chornii (UA)" userId="4e4b8b3d-5f31-49bb-9f80-8a25c04abfff" providerId="ADAL" clId="{EE97D3FE-9ACA-4467-98E5-532EC45D9D1C}" dt="2024-03-01T08:58:05.904" v="7457" actId="6264"/>
          <ac:spMkLst>
            <pc:docMk/>
            <pc:sldMk cId="399328488" sldId="450"/>
            <ac:spMk id="37" creationId="{92FBA8FF-3D5B-B566-C7D0-A20EEB2E7186}"/>
          </ac:spMkLst>
        </pc:spChg>
        <pc:spChg chg="add del mod">
          <ac:chgData name="Nataliia Chornii (UA)" userId="4e4b8b3d-5f31-49bb-9f80-8a25c04abfff" providerId="ADAL" clId="{EE97D3FE-9ACA-4467-98E5-532EC45D9D1C}" dt="2024-03-01T08:58:05.904" v="7457" actId="6264"/>
          <ac:spMkLst>
            <pc:docMk/>
            <pc:sldMk cId="399328488" sldId="450"/>
            <ac:spMk id="38" creationId="{EBDD2D52-28DD-3FB0-564D-22A065CDC36F}"/>
          </ac:spMkLst>
        </pc:spChg>
        <pc:spChg chg="add del mod ord">
          <ac:chgData name="Nataliia Chornii (UA)" userId="4e4b8b3d-5f31-49bb-9f80-8a25c04abfff" providerId="ADAL" clId="{EE97D3FE-9ACA-4467-98E5-532EC45D9D1C}" dt="2024-03-01T08:58:14.089" v="7488" actId="6264"/>
          <ac:spMkLst>
            <pc:docMk/>
            <pc:sldMk cId="399328488" sldId="450"/>
            <ac:spMk id="39" creationId="{0CF4DCE7-22CC-17EE-D1E1-15F558C67BDA}"/>
          </ac:spMkLst>
        </pc:spChg>
        <pc:spChg chg="add del mod modVis">
          <ac:chgData name="Nataliia Chornii (UA)" userId="4e4b8b3d-5f31-49bb-9f80-8a25c04abfff" providerId="ADAL" clId="{EE97D3FE-9ACA-4467-98E5-532EC45D9D1C}" dt="2024-03-01T08:58:06.443" v="7481"/>
          <ac:spMkLst>
            <pc:docMk/>
            <pc:sldMk cId="399328488" sldId="450"/>
            <ac:spMk id="40" creationId="{1936A31E-A7A6-1231-298D-00A343A2D6AC}"/>
          </ac:spMkLst>
        </pc:spChg>
        <pc:spChg chg="add del mod">
          <ac:chgData name="Nataliia Chornii (UA)" userId="4e4b8b3d-5f31-49bb-9f80-8a25c04abfff" providerId="ADAL" clId="{EE97D3FE-9ACA-4467-98E5-532EC45D9D1C}" dt="2024-03-01T08:58:14.089" v="7488" actId="6264"/>
          <ac:spMkLst>
            <pc:docMk/>
            <pc:sldMk cId="399328488" sldId="450"/>
            <ac:spMk id="41" creationId="{4D8DA02C-43E7-BA3A-8B8F-8C882EBFC60F}"/>
          </ac:spMkLst>
        </pc:spChg>
        <pc:spChg chg="add del mod">
          <ac:chgData name="Nataliia Chornii (UA)" userId="4e4b8b3d-5f31-49bb-9f80-8a25c04abfff" providerId="ADAL" clId="{EE97D3FE-9ACA-4467-98E5-532EC45D9D1C}" dt="2024-03-01T08:58:14.089" v="7488" actId="6264"/>
          <ac:spMkLst>
            <pc:docMk/>
            <pc:sldMk cId="399328488" sldId="450"/>
            <ac:spMk id="42" creationId="{19832979-F5E3-264C-3552-43F1741C50E8}"/>
          </ac:spMkLst>
        </pc:spChg>
        <pc:spChg chg="add mod ord">
          <ac:chgData name="Nataliia Chornii (UA)" userId="4e4b8b3d-5f31-49bb-9f80-8a25c04abfff" providerId="ADAL" clId="{EE97D3FE-9ACA-4467-98E5-532EC45D9D1C}" dt="2024-03-01T13:01:14.260" v="12354"/>
          <ac:spMkLst>
            <pc:docMk/>
            <pc:sldMk cId="399328488" sldId="450"/>
            <ac:spMk id="43" creationId="{E8E63795-2ECA-7132-F643-55B4A59C7A85}"/>
          </ac:spMkLst>
        </pc:spChg>
        <pc:spChg chg="add del mod modVis">
          <ac:chgData name="Nataliia Chornii (UA)" userId="4e4b8b3d-5f31-49bb-9f80-8a25c04abfff" providerId="ADAL" clId="{EE97D3FE-9ACA-4467-98E5-532EC45D9D1C}" dt="2024-03-01T08:58:14.624" v="7512"/>
          <ac:spMkLst>
            <pc:docMk/>
            <pc:sldMk cId="399328488" sldId="450"/>
            <ac:spMk id="44" creationId="{EE998702-9702-2F06-C203-DD6E976D791A}"/>
          </ac:spMkLst>
        </pc:spChg>
        <pc:spChg chg="add del mod">
          <ac:chgData name="Nataliia Chornii (UA)" userId="4e4b8b3d-5f31-49bb-9f80-8a25c04abfff" providerId="ADAL" clId="{EE97D3FE-9ACA-4467-98E5-532EC45D9D1C}" dt="2024-03-01T08:58:16.913" v="7516" actId="6264"/>
          <ac:spMkLst>
            <pc:docMk/>
            <pc:sldMk cId="399328488" sldId="450"/>
            <ac:spMk id="45" creationId="{3F02BD4C-A648-A3A7-B6CB-4C1D209B01EF}"/>
          </ac:spMkLst>
        </pc:spChg>
        <pc:spChg chg="add del mod">
          <ac:chgData name="Nataliia Chornii (UA)" userId="4e4b8b3d-5f31-49bb-9f80-8a25c04abfff" providerId="ADAL" clId="{EE97D3FE-9ACA-4467-98E5-532EC45D9D1C}" dt="2024-03-01T08:58:16.913" v="7516" actId="6264"/>
          <ac:spMkLst>
            <pc:docMk/>
            <pc:sldMk cId="399328488" sldId="450"/>
            <ac:spMk id="46" creationId="{B970A80A-C712-A9BF-EF05-0DB51239F449}"/>
          </ac:spMkLst>
        </pc:spChg>
        <pc:spChg chg="add del mod">
          <ac:chgData name="Nataliia Chornii (UA)" userId="4e4b8b3d-5f31-49bb-9f80-8a25c04abfff" providerId="ADAL" clId="{EE97D3FE-9ACA-4467-98E5-532EC45D9D1C}" dt="2024-03-01T08:58:16.913" v="7516" actId="6264"/>
          <ac:spMkLst>
            <pc:docMk/>
            <pc:sldMk cId="399328488" sldId="450"/>
            <ac:spMk id="47" creationId="{19371F69-4772-4C34-C37C-7B0BCCE63762}"/>
          </ac:spMkLst>
        </pc:spChg>
        <pc:spChg chg="add del mod modVis">
          <ac:chgData name="Nataliia Chornii (UA)" userId="4e4b8b3d-5f31-49bb-9f80-8a25c04abfff" providerId="ADAL" clId="{EE97D3FE-9ACA-4467-98E5-532EC45D9D1C}" dt="2024-03-01T08:58:17.478" v="7540"/>
          <ac:spMkLst>
            <pc:docMk/>
            <pc:sldMk cId="399328488" sldId="450"/>
            <ac:spMk id="48" creationId="{964D3633-F24D-CC09-9EE2-56722777A166}"/>
          </ac:spMkLst>
        </pc:spChg>
        <pc:spChg chg="add del mod">
          <ac:chgData name="Nataliia Chornii (UA)" userId="4e4b8b3d-5f31-49bb-9f80-8a25c04abfff" providerId="ADAL" clId="{EE97D3FE-9ACA-4467-98E5-532EC45D9D1C}" dt="2024-03-01T09:11:31.697" v="8000" actId="478"/>
          <ac:spMkLst>
            <pc:docMk/>
            <pc:sldMk cId="399328488" sldId="450"/>
            <ac:spMk id="49" creationId="{BEE9056F-2D7B-CA56-9E85-366DA86AC1B8}"/>
          </ac:spMkLst>
        </pc:spChg>
        <pc:spChg chg="add del mod">
          <ac:chgData name="Nataliia Chornii (UA)" userId="4e4b8b3d-5f31-49bb-9f80-8a25c04abfff" providerId="ADAL" clId="{EE97D3FE-9ACA-4467-98E5-532EC45D9D1C}" dt="2024-03-01T09:11:31.697" v="8000" actId="478"/>
          <ac:spMkLst>
            <pc:docMk/>
            <pc:sldMk cId="399328488" sldId="450"/>
            <ac:spMk id="50" creationId="{B161390D-D094-046C-0DEB-6F587C609875}"/>
          </ac:spMkLst>
        </pc:spChg>
        <pc:spChg chg="mod">
          <ac:chgData name="Nataliia Chornii (UA)" userId="4e4b8b3d-5f31-49bb-9f80-8a25c04abfff" providerId="ADAL" clId="{EE97D3FE-9ACA-4467-98E5-532EC45D9D1C}" dt="2024-03-01T09:05:53.480" v="7728"/>
          <ac:spMkLst>
            <pc:docMk/>
            <pc:sldMk cId="399328488" sldId="450"/>
            <ac:spMk id="52" creationId="{F2DF526E-BB66-790B-368B-29FCDC5C87AD}"/>
          </ac:spMkLst>
        </pc:spChg>
        <pc:spChg chg="mod">
          <ac:chgData name="Nataliia Chornii (UA)" userId="4e4b8b3d-5f31-49bb-9f80-8a25c04abfff" providerId="ADAL" clId="{EE97D3FE-9ACA-4467-98E5-532EC45D9D1C}" dt="2024-03-01T09:05:53.480" v="7728"/>
          <ac:spMkLst>
            <pc:docMk/>
            <pc:sldMk cId="399328488" sldId="450"/>
            <ac:spMk id="53" creationId="{C0E38A0C-F0E6-5B59-FB9C-0F007AA642BD}"/>
          </ac:spMkLst>
        </pc:spChg>
        <pc:spChg chg="mod">
          <ac:chgData name="Nataliia Chornii (UA)" userId="4e4b8b3d-5f31-49bb-9f80-8a25c04abfff" providerId="ADAL" clId="{EE97D3FE-9ACA-4467-98E5-532EC45D9D1C}" dt="2024-03-01T09:05:53.480" v="7728"/>
          <ac:spMkLst>
            <pc:docMk/>
            <pc:sldMk cId="399328488" sldId="450"/>
            <ac:spMk id="54" creationId="{AA635C4B-E423-67A1-6394-B53B74D29484}"/>
          </ac:spMkLst>
        </pc:spChg>
        <pc:spChg chg="mod">
          <ac:chgData name="Nataliia Chornii (UA)" userId="4e4b8b3d-5f31-49bb-9f80-8a25c04abfff" providerId="ADAL" clId="{EE97D3FE-9ACA-4467-98E5-532EC45D9D1C}" dt="2024-03-01T09:05:53.480" v="7728"/>
          <ac:spMkLst>
            <pc:docMk/>
            <pc:sldMk cId="399328488" sldId="450"/>
            <ac:spMk id="56" creationId="{ECC0DBC0-2C9E-C866-83FE-FED1275ED347}"/>
          </ac:spMkLst>
        </pc:spChg>
        <pc:spChg chg="mod">
          <ac:chgData name="Nataliia Chornii (UA)" userId="4e4b8b3d-5f31-49bb-9f80-8a25c04abfff" providerId="ADAL" clId="{EE97D3FE-9ACA-4467-98E5-532EC45D9D1C}" dt="2024-03-01T09:05:53.480" v="7728"/>
          <ac:spMkLst>
            <pc:docMk/>
            <pc:sldMk cId="399328488" sldId="450"/>
            <ac:spMk id="57" creationId="{F9CE2D31-62DB-A5BE-B7D8-ADB084E11B70}"/>
          </ac:spMkLst>
        </pc:spChg>
        <pc:spChg chg="mod">
          <ac:chgData name="Nataliia Chornii (UA)" userId="4e4b8b3d-5f31-49bb-9f80-8a25c04abfff" providerId="ADAL" clId="{EE97D3FE-9ACA-4467-98E5-532EC45D9D1C}" dt="2024-03-01T09:05:53.480" v="7728"/>
          <ac:spMkLst>
            <pc:docMk/>
            <pc:sldMk cId="399328488" sldId="450"/>
            <ac:spMk id="58" creationId="{0AF0B80A-E998-5DEC-A3E8-C5971E52E443}"/>
          </ac:spMkLst>
        </pc:spChg>
        <pc:spChg chg="add del mod">
          <ac:chgData name="Nataliia Chornii (UA)" userId="4e4b8b3d-5f31-49bb-9f80-8a25c04abfff" providerId="ADAL" clId="{EE97D3FE-9ACA-4467-98E5-532EC45D9D1C}" dt="2024-03-01T09:05:55.358" v="7729" actId="478"/>
          <ac:spMkLst>
            <pc:docMk/>
            <pc:sldMk cId="399328488" sldId="450"/>
            <ac:spMk id="59" creationId="{DEFA6305-7298-701E-064D-DD62E2486D84}"/>
          </ac:spMkLst>
        </pc:spChg>
        <pc:spChg chg="add del mod">
          <ac:chgData name="Nataliia Chornii (UA)" userId="4e4b8b3d-5f31-49bb-9f80-8a25c04abfff" providerId="ADAL" clId="{EE97D3FE-9ACA-4467-98E5-532EC45D9D1C}" dt="2024-03-01T09:07:24.482" v="7889" actId="6264"/>
          <ac:spMkLst>
            <pc:docMk/>
            <pc:sldMk cId="399328488" sldId="450"/>
            <ac:spMk id="60" creationId="{3D69295F-67C8-CE1C-ABF0-942725368162}"/>
          </ac:spMkLst>
        </pc:spChg>
        <pc:spChg chg="add del mod">
          <ac:chgData name="Nataliia Chornii (UA)" userId="4e4b8b3d-5f31-49bb-9f80-8a25c04abfff" providerId="ADAL" clId="{EE97D3FE-9ACA-4467-98E5-532EC45D9D1C}" dt="2024-03-01T09:07:24.482" v="7889" actId="6264"/>
          <ac:spMkLst>
            <pc:docMk/>
            <pc:sldMk cId="399328488" sldId="450"/>
            <ac:spMk id="61" creationId="{986C78F5-17B1-A34E-CE43-995C6361CD7F}"/>
          </ac:spMkLst>
        </pc:spChg>
        <pc:spChg chg="add del mod">
          <ac:chgData name="Nataliia Chornii (UA)" userId="4e4b8b3d-5f31-49bb-9f80-8a25c04abfff" providerId="ADAL" clId="{EE97D3FE-9ACA-4467-98E5-532EC45D9D1C}" dt="2024-03-01T09:07:24.482" v="7889" actId="6264"/>
          <ac:spMkLst>
            <pc:docMk/>
            <pc:sldMk cId="399328488" sldId="450"/>
            <ac:spMk id="62" creationId="{A028C8D5-12FF-3012-F000-BE4C95273744}"/>
          </ac:spMkLst>
        </pc:spChg>
        <pc:spChg chg="add del mod modVis">
          <ac:chgData name="Nataliia Chornii (UA)" userId="4e4b8b3d-5f31-49bb-9f80-8a25c04abfff" providerId="ADAL" clId="{EE97D3FE-9ACA-4467-98E5-532EC45D9D1C}" dt="2024-03-01T09:07:25.048" v="7913"/>
          <ac:spMkLst>
            <pc:docMk/>
            <pc:sldMk cId="399328488" sldId="450"/>
            <ac:spMk id="63" creationId="{F354D5A1-672C-3E75-1142-7AF87E38A33F}"/>
          </ac:spMkLst>
        </pc:spChg>
        <pc:spChg chg="add mod ord">
          <ac:chgData name="Nataliia Chornii (UA)" userId="4e4b8b3d-5f31-49bb-9f80-8a25c04abfff" providerId="ADAL" clId="{EE97D3FE-9ACA-4467-98E5-532EC45D9D1C}" dt="2024-03-01T13:01:14.260" v="12356"/>
          <ac:spMkLst>
            <pc:docMk/>
            <pc:sldMk cId="399328488" sldId="450"/>
            <ac:spMk id="64" creationId="{F5198B29-4548-5C2A-0DEF-90C53FD5EF11}"/>
          </ac:spMkLst>
        </pc:spChg>
        <pc:spChg chg="add mod ord">
          <ac:chgData name="Nataliia Chornii (UA)" userId="4e4b8b3d-5f31-49bb-9f80-8a25c04abfff" providerId="ADAL" clId="{EE97D3FE-9ACA-4467-98E5-532EC45D9D1C}" dt="2024-03-04T09:58:22.337" v="20141" actId="12789"/>
          <ac:spMkLst>
            <pc:docMk/>
            <pc:sldMk cId="399328488" sldId="450"/>
            <ac:spMk id="65" creationId="{7F6756C5-2CE3-DBCB-913A-8EAD5564B5E9}"/>
          </ac:spMkLst>
        </pc:spChg>
        <pc:spChg chg="add mod ord">
          <ac:chgData name="Nataliia Chornii (UA)" userId="4e4b8b3d-5f31-49bb-9f80-8a25c04abfff" providerId="ADAL" clId="{EE97D3FE-9ACA-4467-98E5-532EC45D9D1C}" dt="2024-03-04T09:58:28.802" v="20143" actId="12788"/>
          <ac:spMkLst>
            <pc:docMk/>
            <pc:sldMk cId="399328488" sldId="450"/>
            <ac:spMk id="66" creationId="{71E65A8B-1A0E-7189-CB1E-7B85B0FCDF92}"/>
          </ac:spMkLst>
        </pc:spChg>
        <pc:spChg chg="add mod ord">
          <ac:chgData name="Nataliia Chornii (UA)" userId="4e4b8b3d-5f31-49bb-9f80-8a25c04abfff" providerId="ADAL" clId="{EE97D3FE-9ACA-4467-98E5-532EC45D9D1C}" dt="2024-03-01T13:01:14.276" v="12362"/>
          <ac:spMkLst>
            <pc:docMk/>
            <pc:sldMk cId="399328488" sldId="450"/>
            <ac:spMk id="67" creationId="{C7BD28FD-69AC-2308-FAFB-928853CF7082}"/>
          </ac:spMkLst>
        </pc:spChg>
        <pc:spChg chg="add mod ord">
          <ac:chgData name="Nataliia Chornii (UA)" userId="4e4b8b3d-5f31-49bb-9f80-8a25c04abfff" providerId="ADAL" clId="{EE97D3FE-9ACA-4467-98E5-532EC45D9D1C}" dt="2024-03-04T09:58:25.537" v="20142" actId="12788"/>
          <ac:spMkLst>
            <pc:docMk/>
            <pc:sldMk cId="399328488" sldId="450"/>
            <ac:spMk id="68" creationId="{F3C0F73D-96F5-2632-9996-CB5D4313F69F}"/>
          </ac:spMkLst>
        </pc:spChg>
        <pc:spChg chg="mod">
          <ac:chgData name="Nataliia Chornii (UA)" userId="4e4b8b3d-5f31-49bb-9f80-8a25c04abfff" providerId="ADAL" clId="{EE97D3FE-9ACA-4467-98E5-532EC45D9D1C}" dt="2024-03-01T09:11:32.027" v="8001"/>
          <ac:spMkLst>
            <pc:docMk/>
            <pc:sldMk cId="399328488" sldId="450"/>
            <ac:spMk id="70" creationId="{F5955A8F-5764-221D-4746-8286D1ED814F}"/>
          </ac:spMkLst>
        </pc:spChg>
        <pc:spChg chg="mod">
          <ac:chgData name="Nataliia Chornii (UA)" userId="4e4b8b3d-5f31-49bb-9f80-8a25c04abfff" providerId="ADAL" clId="{EE97D3FE-9ACA-4467-98E5-532EC45D9D1C}" dt="2024-03-01T09:11:32.027" v="8001"/>
          <ac:spMkLst>
            <pc:docMk/>
            <pc:sldMk cId="399328488" sldId="450"/>
            <ac:spMk id="71" creationId="{89B91E98-FEBB-72AD-374C-0CAE052B6574}"/>
          </ac:spMkLst>
        </pc:spChg>
        <pc:spChg chg="mod">
          <ac:chgData name="Nataliia Chornii (UA)" userId="4e4b8b3d-5f31-49bb-9f80-8a25c04abfff" providerId="ADAL" clId="{EE97D3FE-9ACA-4467-98E5-532EC45D9D1C}" dt="2024-03-01T09:11:32.027" v="8001"/>
          <ac:spMkLst>
            <pc:docMk/>
            <pc:sldMk cId="399328488" sldId="450"/>
            <ac:spMk id="73" creationId="{7B6212B5-AEF3-09C7-BF95-F185ECA402E0}"/>
          </ac:spMkLst>
        </pc:spChg>
        <pc:spChg chg="mod">
          <ac:chgData name="Nataliia Chornii (UA)" userId="4e4b8b3d-5f31-49bb-9f80-8a25c04abfff" providerId="ADAL" clId="{EE97D3FE-9ACA-4467-98E5-532EC45D9D1C}" dt="2024-03-01T09:11:32.027" v="8001"/>
          <ac:spMkLst>
            <pc:docMk/>
            <pc:sldMk cId="399328488" sldId="450"/>
            <ac:spMk id="74" creationId="{0B2A879E-1978-42B5-0487-C00DB0806B7F}"/>
          </ac:spMkLst>
        </pc:spChg>
        <pc:spChg chg="mod">
          <ac:chgData name="Nataliia Chornii (UA)" userId="4e4b8b3d-5f31-49bb-9f80-8a25c04abfff" providerId="ADAL" clId="{EE97D3FE-9ACA-4467-98E5-532EC45D9D1C}" dt="2024-03-01T09:11:32.027" v="8001"/>
          <ac:spMkLst>
            <pc:docMk/>
            <pc:sldMk cId="399328488" sldId="450"/>
            <ac:spMk id="75" creationId="{99BB8356-A0C8-58E3-691C-EFB85DCB4F5C}"/>
          </ac:spMkLst>
        </pc:spChg>
        <pc:spChg chg="mod">
          <ac:chgData name="Nataliia Chornii (UA)" userId="4e4b8b3d-5f31-49bb-9f80-8a25c04abfff" providerId="ADAL" clId="{EE97D3FE-9ACA-4467-98E5-532EC45D9D1C}" dt="2024-03-01T09:11:32.027" v="8001"/>
          <ac:spMkLst>
            <pc:docMk/>
            <pc:sldMk cId="399328488" sldId="450"/>
            <ac:spMk id="76" creationId="{54E37425-B29E-D086-F8C5-72CECA15201B}"/>
          </ac:spMkLst>
        </pc:spChg>
        <pc:spChg chg="mod">
          <ac:chgData name="Nataliia Chornii (UA)" userId="4e4b8b3d-5f31-49bb-9f80-8a25c04abfff" providerId="ADAL" clId="{EE97D3FE-9ACA-4467-98E5-532EC45D9D1C}" dt="2024-03-01T09:11:32.027" v="8001"/>
          <ac:spMkLst>
            <pc:docMk/>
            <pc:sldMk cId="399328488" sldId="450"/>
            <ac:spMk id="77" creationId="{C04E4FD5-21F3-B258-F123-DBF326A6E4A3}"/>
          </ac:spMkLst>
        </pc:spChg>
        <pc:spChg chg="mod">
          <ac:chgData name="Nataliia Chornii (UA)" userId="4e4b8b3d-5f31-49bb-9f80-8a25c04abfff" providerId="ADAL" clId="{EE97D3FE-9ACA-4467-98E5-532EC45D9D1C}" dt="2024-03-01T09:11:32.027" v="8001"/>
          <ac:spMkLst>
            <pc:docMk/>
            <pc:sldMk cId="399328488" sldId="450"/>
            <ac:spMk id="78" creationId="{C38BDBA8-C60E-3B32-804B-9C21599C1EB3}"/>
          </ac:spMkLst>
        </pc:spChg>
        <pc:spChg chg="mod">
          <ac:chgData name="Nataliia Chornii (UA)" userId="4e4b8b3d-5f31-49bb-9f80-8a25c04abfff" providerId="ADAL" clId="{EE97D3FE-9ACA-4467-98E5-532EC45D9D1C}" dt="2024-03-01T09:11:32.027" v="8001"/>
          <ac:spMkLst>
            <pc:docMk/>
            <pc:sldMk cId="399328488" sldId="450"/>
            <ac:spMk id="79" creationId="{B8D8F72C-74AE-8317-14F4-B64632432806}"/>
          </ac:spMkLst>
        </pc:spChg>
        <pc:spChg chg="mod">
          <ac:chgData name="Nataliia Chornii (UA)" userId="4e4b8b3d-5f31-49bb-9f80-8a25c04abfff" providerId="ADAL" clId="{EE97D3FE-9ACA-4467-98E5-532EC45D9D1C}" dt="2024-03-01T09:11:32.027" v="8001"/>
          <ac:spMkLst>
            <pc:docMk/>
            <pc:sldMk cId="399328488" sldId="450"/>
            <ac:spMk id="80" creationId="{E4966998-2A81-4222-FAB6-08407DCDE413}"/>
          </ac:spMkLst>
        </pc:spChg>
        <pc:spChg chg="mod">
          <ac:chgData name="Nataliia Chornii (UA)" userId="4e4b8b3d-5f31-49bb-9f80-8a25c04abfff" providerId="ADAL" clId="{EE97D3FE-9ACA-4467-98E5-532EC45D9D1C}" dt="2024-03-01T09:11:32.027" v="8001"/>
          <ac:spMkLst>
            <pc:docMk/>
            <pc:sldMk cId="399328488" sldId="450"/>
            <ac:spMk id="81" creationId="{C27D324E-78CF-5109-A4A8-3FB8E8A86526}"/>
          </ac:spMkLst>
        </pc:spChg>
        <pc:spChg chg="mod">
          <ac:chgData name="Nataliia Chornii (UA)" userId="4e4b8b3d-5f31-49bb-9f80-8a25c04abfff" providerId="ADAL" clId="{EE97D3FE-9ACA-4467-98E5-532EC45D9D1C}" dt="2024-03-01T09:11:32.027" v="8001"/>
          <ac:spMkLst>
            <pc:docMk/>
            <pc:sldMk cId="399328488" sldId="450"/>
            <ac:spMk id="82" creationId="{1FA250DF-AA7A-C867-726E-0599271CD262}"/>
          </ac:spMkLst>
        </pc:spChg>
        <pc:spChg chg="mod">
          <ac:chgData name="Nataliia Chornii (UA)" userId="4e4b8b3d-5f31-49bb-9f80-8a25c04abfff" providerId="ADAL" clId="{EE97D3FE-9ACA-4467-98E5-532EC45D9D1C}" dt="2024-03-01T09:11:32.027" v="8001"/>
          <ac:spMkLst>
            <pc:docMk/>
            <pc:sldMk cId="399328488" sldId="450"/>
            <ac:spMk id="83" creationId="{7EAE60EC-5F19-C235-B8C9-161E7B875E14}"/>
          </ac:spMkLst>
        </pc:spChg>
        <pc:spChg chg="mod">
          <ac:chgData name="Nataliia Chornii (UA)" userId="4e4b8b3d-5f31-49bb-9f80-8a25c04abfff" providerId="ADAL" clId="{EE97D3FE-9ACA-4467-98E5-532EC45D9D1C}" dt="2024-03-01T09:11:32.027" v="8001"/>
          <ac:spMkLst>
            <pc:docMk/>
            <pc:sldMk cId="399328488" sldId="450"/>
            <ac:spMk id="84" creationId="{0DE1B29D-4A8B-427A-55FD-CBD5DE51C8B7}"/>
          </ac:spMkLst>
        </pc:spChg>
        <pc:spChg chg="mod">
          <ac:chgData name="Nataliia Chornii (UA)" userId="4e4b8b3d-5f31-49bb-9f80-8a25c04abfff" providerId="ADAL" clId="{EE97D3FE-9ACA-4467-98E5-532EC45D9D1C}" dt="2024-03-01T09:11:32.027" v="8001"/>
          <ac:spMkLst>
            <pc:docMk/>
            <pc:sldMk cId="399328488" sldId="450"/>
            <ac:spMk id="85" creationId="{CC31E929-99A2-84E9-A833-965C75326A58}"/>
          </ac:spMkLst>
        </pc:spChg>
        <pc:spChg chg="mod">
          <ac:chgData name="Nataliia Chornii (UA)" userId="4e4b8b3d-5f31-49bb-9f80-8a25c04abfff" providerId="ADAL" clId="{EE97D3FE-9ACA-4467-98E5-532EC45D9D1C}" dt="2024-03-01T09:11:32.027" v="8001"/>
          <ac:spMkLst>
            <pc:docMk/>
            <pc:sldMk cId="399328488" sldId="450"/>
            <ac:spMk id="86" creationId="{15545845-7745-1ECB-BF84-9C7592183F7A}"/>
          </ac:spMkLst>
        </pc:spChg>
        <pc:spChg chg="mod">
          <ac:chgData name="Nataliia Chornii (UA)" userId="4e4b8b3d-5f31-49bb-9f80-8a25c04abfff" providerId="ADAL" clId="{EE97D3FE-9ACA-4467-98E5-532EC45D9D1C}" dt="2024-03-01T09:11:32.027" v="8001"/>
          <ac:spMkLst>
            <pc:docMk/>
            <pc:sldMk cId="399328488" sldId="450"/>
            <ac:spMk id="87" creationId="{FDFD5712-4ACE-BB16-5B8D-25F96EC1BC2B}"/>
          </ac:spMkLst>
        </pc:spChg>
        <pc:spChg chg="mod">
          <ac:chgData name="Nataliia Chornii (UA)" userId="4e4b8b3d-5f31-49bb-9f80-8a25c04abfff" providerId="ADAL" clId="{EE97D3FE-9ACA-4467-98E5-532EC45D9D1C}" dt="2024-03-01T09:11:32.027" v="8001"/>
          <ac:spMkLst>
            <pc:docMk/>
            <pc:sldMk cId="399328488" sldId="450"/>
            <ac:spMk id="88" creationId="{DD248765-9838-3FD8-E6D3-1C7FFEEF9D7D}"/>
          </ac:spMkLst>
        </pc:spChg>
        <pc:spChg chg="add mod ord">
          <ac:chgData name="Nataliia Chornii (UA)" userId="4e4b8b3d-5f31-49bb-9f80-8a25c04abfff" providerId="ADAL" clId="{EE97D3FE-9ACA-4467-98E5-532EC45D9D1C}" dt="2024-03-01T13:01:14.276" v="12370"/>
          <ac:spMkLst>
            <pc:docMk/>
            <pc:sldMk cId="399328488" sldId="450"/>
            <ac:spMk id="89" creationId="{B8B03AD2-01F2-EE79-5FD2-B6C5C3225B69}"/>
          </ac:spMkLst>
        </pc:spChg>
        <pc:spChg chg="add del mod">
          <ac:chgData name="Nataliia Chornii (UA)" userId="4e4b8b3d-5f31-49bb-9f80-8a25c04abfff" providerId="ADAL" clId="{EE97D3FE-9ACA-4467-98E5-532EC45D9D1C}" dt="2024-03-01T09:11:34.659" v="8002" actId="478"/>
          <ac:spMkLst>
            <pc:docMk/>
            <pc:sldMk cId="399328488" sldId="450"/>
            <ac:spMk id="90" creationId="{7DB8A639-5FD7-D1CF-A840-B10B45CCB27F}"/>
          </ac:spMkLst>
        </pc:spChg>
        <pc:spChg chg="add mod ord">
          <ac:chgData name="Nataliia Chornii (UA)" userId="4e4b8b3d-5f31-49bb-9f80-8a25c04abfff" providerId="ADAL" clId="{EE97D3FE-9ACA-4467-98E5-532EC45D9D1C}" dt="2024-03-01T13:01:16.944" v="12376" actId="12789"/>
          <ac:spMkLst>
            <pc:docMk/>
            <pc:sldMk cId="399328488" sldId="450"/>
            <ac:spMk id="92" creationId="{9A291FD0-DB23-DD5D-0DB3-0069513F81E0}"/>
          </ac:spMkLst>
        </pc:spChg>
        <pc:spChg chg="add mod">
          <ac:chgData name="Nataliia Chornii (UA)" userId="4e4b8b3d-5f31-49bb-9f80-8a25c04abfff" providerId="ADAL" clId="{EE97D3FE-9ACA-4467-98E5-532EC45D9D1C}" dt="2024-03-01T13:01:29.107" v="12380" actId="20577"/>
          <ac:spMkLst>
            <pc:docMk/>
            <pc:sldMk cId="399328488" sldId="450"/>
            <ac:spMk id="93" creationId="{5D366C9B-225E-CEA0-72EB-D85F0DA52B9E}"/>
          </ac:spMkLst>
        </pc:spChg>
        <pc:spChg chg="add mod">
          <ac:chgData name="Nataliia Chornii (UA)" userId="4e4b8b3d-5f31-49bb-9f80-8a25c04abfff" providerId="ADAL" clId="{EE97D3FE-9ACA-4467-98E5-532EC45D9D1C}" dt="2024-03-01T13:01:27.973" v="12379" actId="20577"/>
          <ac:spMkLst>
            <pc:docMk/>
            <pc:sldMk cId="399328488" sldId="450"/>
            <ac:spMk id="94" creationId="{ECEF0416-3FCC-3A4B-65C3-F9459EDEFA45}"/>
          </ac:spMkLst>
        </pc:spChg>
        <pc:grpChg chg="add del mod">
          <ac:chgData name="Nataliia Chornii (UA)" userId="4e4b8b3d-5f31-49bb-9f80-8a25c04abfff" providerId="ADAL" clId="{EE97D3FE-9ACA-4467-98E5-532EC45D9D1C}" dt="2024-03-11T14:19:13.108" v="23922" actId="165"/>
          <ac:grpSpMkLst>
            <pc:docMk/>
            <pc:sldMk cId="399328488" sldId="450"/>
            <ac:grpSpMk id="11" creationId="{D86B8A06-87BC-F26E-71D3-D99A2FFB9805}"/>
          </ac:grpSpMkLst>
        </pc:grpChg>
        <pc:grpChg chg="add mod">
          <ac:chgData name="Nataliia Chornii (UA)" userId="4e4b8b3d-5f31-49bb-9f80-8a25c04abfff" providerId="ADAL" clId="{EE97D3FE-9ACA-4467-98E5-532EC45D9D1C}" dt="2024-03-11T14:19:30.931" v="23933" actId="164"/>
          <ac:grpSpMkLst>
            <pc:docMk/>
            <pc:sldMk cId="399328488" sldId="450"/>
            <ac:grpSpMk id="18" creationId="{9B759D3A-70EC-3263-D767-3E553E4C2434}"/>
          </ac:grpSpMkLst>
        </pc:grpChg>
        <pc:grpChg chg="add del mod">
          <ac:chgData name="Nataliia Chornii (UA)" userId="4e4b8b3d-5f31-49bb-9f80-8a25c04abfff" providerId="ADAL" clId="{EE97D3FE-9ACA-4467-98E5-532EC45D9D1C}" dt="2024-03-01T09:11:31.697" v="8000" actId="478"/>
          <ac:grpSpMkLst>
            <pc:docMk/>
            <pc:sldMk cId="399328488" sldId="450"/>
            <ac:grpSpMk id="51" creationId="{FC22122D-27C6-3FBD-CF59-BD4E9FE6738A}"/>
          </ac:grpSpMkLst>
        </pc:grpChg>
        <pc:grpChg chg="add del mod">
          <ac:chgData name="Nataliia Chornii (UA)" userId="4e4b8b3d-5f31-49bb-9f80-8a25c04abfff" providerId="ADAL" clId="{EE97D3FE-9ACA-4467-98E5-532EC45D9D1C}" dt="2024-03-01T09:11:31.697" v="8000" actId="478"/>
          <ac:grpSpMkLst>
            <pc:docMk/>
            <pc:sldMk cId="399328488" sldId="450"/>
            <ac:grpSpMk id="55" creationId="{3C3F3BCB-6A6A-00D5-A876-EA3ACFD9C8DD}"/>
          </ac:grpSpMkLst>
        </pc:grpChg>
        <pc:grpChg chg="add mod ord">
          <ac:chgData name="Nataliia Chornii (UA)" userId="4e4b8b3d-5f31-49bb-9f80-8a25c04abfff" providerId="ADAL" clId="{EE97D3FE-9ACA-4467-98E5-532EC45D9D1C}" dt="2024-03-04T09:58:25.537" v="20142" actId="12788"/>
          <ac:grpSpMkLst>
            <pc:docMk/>
            <pc:sldMk cId="399328488" sldId="450"/>
            <ac:grpSpMk id="69" creationId="{3E85C73C-761E-2FBC-4444-75116D559392}"/>
          </ac:grpSpMkLst>
        </pc:grpChg>
        <pc:grpChg chg="add mod ord">
          <ac:chgData name="Nataliia Chornii (UA)" userId="4e4b8b3d-5f31-49bb-9f80-8a25c04abfff" providerId="ADAL" clId="{EE97D3FE-9ACA-4467-98E5-532EC45D9D1C}" dt="2024-03-04T09:58:28.802" v="20143" actId="12788"/>
          <ac:grpSpMkLst>
            <pc:docMk/>
            <pc:sldMk cId="399328488" sldId="450"/>
            <ac:grpSpMk id="72" creationId="{8FEA0D19-AAD4-085C-E5AD-B7997ACDC4C3}"/>
          </ac:grpSpMkLst>
        </pc:grpChg>
        <pc:graphicFrameChg chg="add mod ord modVis replST">
          <ac:chgData name="Nataliia Chornii (UA)" userId="4e4b8b3d-5f31-49bb-9f80-8a25c04abfff" providerId="ADAL" clId="{EE97D3FE-9ACA-4467-98E5-532EC45D9D1C}" dt="2024-03-11T14:04:06.328" v="23355"/>
          <ac:graphicFrameMkLst>
            <pc:docMk/>
            <pc:sldMk cId="399328488" sldId="450"/>
            <ac:graphicFrameMk id="9" creationId="{BA03CC50-9C61-256C-1A44-DC0EDAE80704}"/>
          </ac:graphicFrameMkLst>
        </pc:graphicFrameChg>
        <pc:picChg chg="add mod ord">
          <ac:chgData name="Nataliia Chornii (UA)" userId="4e4b8b3d-5f31-49bb-9f80-8a25c04abfff" providerId="ADAL" clId="{EE97D3FE-9ACA-4467-98E5-532EC45D9D1C}" dt="2024-03-01T13:01:16.944" v="12376" actId="12789"/>
          <ac:picMkLst>
            <pc:docMk/>
            <pc:sldMk cId="399328488" sldId="450"/>
            <ac:picMk id="91" creationId="{76FDAB38-B63D-7CD4-14A0-D25CF75F9D4B}"/>
          </ac:picMkLst>
        </pc:picChg>
      </pc:sldChg>
      <pc:sldChg chg="addSp delSp modSp mod">
        <pc:chgData name="Nataliia Chornii (UA)" userId="4e4b8b3d-5f31-49bb-9f80-8a25c04abfff" providerId="ADAL" clId="{EE97D3FE-9ACA-4467-98E5-532EC45D9D1C}" dt="2024-03-11T14:20:52.474" v="23961" actId="478"/>
        <pc:sldMkLst>
          <pc:docMk/>
          <pc:sldMk cId="192098022" sldId="769"/>
        </pc:sldMkLst>
        <pc:spChg chg="mod ord">
          <ac:chgData name="Nataliia Chornii (UA)" userId="4e4b8b3d-5f31-49bb-9f80-8a25c04abfff" providerId="ADAL" clId="{EE97D3FE-9ACA-4467-98E5-532EC45D9D1C}" dt="2024-03-11T14:15:12.659" v="23640"/>
          <ac:spMkLst>
            <pc:docMk/>
            <pc:sldMk cId="192098022" sldId="769"/>
            <ac:spMk id="2" creationId="{44641C4F-F07F-7C71-88DD-EEFC9A9A1906}"/>
          </ac:spMkLst>
        </pc:spChg>
        <pc:spChg chg="del mod ord">
          <ac:chgData name="Nataliia Chornii (UA)" userId="4e4b8b3d-5f31-49bb-9f80-8a25c04abfff" providerId="ADAL" clId="{EE97D3FE-9ACA-4467-98E5-532EC45D9D1C}" dt="2024-03-11T14:15:19.405" v="23662" actId="478"/>
          <ac:spMkLst>
            <pc:docMk/>
            <pc:sldMk cId="192098022" sldId="769"/>
            <ac:spMk id="3" creationId="{490C57A7-69EE-C28F-972B-2E8CBABC00B6}"/>
          </ac:spMkLst>
        </pc:spChg>
        <pc:spChg chg="mod ord">
          <ac:chgData name="Nataliia Chornii (UA)" userId="4e4b8b3d-5f31-49bb-9f80-8a25c04abfff" providerId="ADAL" clId="{EE97D3FE-9ACA-4467-98E5-532EC45D9D1C}" dt="2024-03-11T14:15:12.659" v="23652"/>
          <ac:spMkLst>
            <pc:docMk/>
            <pc:sldMk cId="192098022" sldId="769"/>
            <ac:spMk id="5" creationId="{88400727-FB91-F4FE-5805-13D74D98FADF}"/>
          </ac:spMkLst>
        </pc:spChg>
        <pc:spChg chg="mod ord">
          <ac:chgData name="Nataliia Chornii (UA)" userId="4e4b8b3d-5f31-49bb-9f80-8a25c04abfff" providerId="ADAL" clId="{EE97D3FE-9ACA-4467-98E5-532EC45D9D1C}" dt="2024-03-11T14:15:12.659" v="23642"/>
          <ac:spMkLst>
            <pc:docMk/>
            <pc:sldMk cId="192098022" sldId="769"/>
            <ac:spMk id="6" creationId="{2CB3F9F5-858C-1D21-4D13-EAEDABE2E74A}"/>
          </ac:spMkLst>
        </pc:spChg>
        <pc:spChg chg="mod ord">
          <ac:chgData name="Nataliia Chornii (UA)" userId="4e4b8b3d-5f31-49bb-9f80-8a25c04abfff" providerId="ADAL" clId="{EE97D3FE-9ACA-4467-98E5-532EC45D9D1C}" dt="2024-03-11T14:15:12.659" v="23644"/>
          <ac:spMkLst>
            <pc:docMk/>
            <pc:sldMk cId="192098022" sldId="769"/>
            <ac:spMk id="8" creationId="{B6BFA0E2-7135-FFE5-3283-2EDC43146D38}"/>
          </ac:spMkLst>
        </pc:spChg>
        <pc:spChg chg="add del mod modVis">
          <ac:chgData name="Nataliia Chornii (UA)" userId="4e4b8b3d-5f31-49bb-9f80-8a25c04abfff" providerId="ADAL" clId="{EE97D3FE-9ACA-4467-98E5-532EC45D9D1C}" dt="2024-03-11T14:15:12.659" v="23658"/>
          <ac:spMkLst>
            <pc:docMk/>
            <pc:sldMk cId="192098022" sldId="769"/>
            <ac:spMk id="9" creationId="{54E46201-E3C3-24C6-8DD3-1C995E415292}"/>
          </ac:spMkLst>
        </pc:spChg>
        <pc:spChg chg="add del mod">
          <ac:chgData name="Nataliia Chornii (UA)" userId="4e4b8b3d-5f31-49bb-9f80-8a25c04abfff" providerId="ADAL" clId="{EE97D3FE-9ACA-4467-98E5-532EC45D9D1C}" dt="2024-03-11T14:20:30.515" v="23950"/>
          <ac:spMkLst>
            <pc:docMk/>
            <pc:sldMk cId="192098022" sldId="769"/>
            <ac:spMk id="10" creationId="{7A6F1F11-F8D6-1929-773A-C14C605B1330}"/>
          </ac:spMkLst>
        </pc:spChg>
        <pc:spChg chg="mod">
          <ac:chgData name="Nataliia Chornii (UA)" userId="4e4b8b3d-5f31-49bb-9f80-8a25c04abfff" providerId="ADAL" clId="{EE97D3FE-9ACA-4467-98E5-532EC45D9D1C}" dt="2024-03-11T14:19:38.735" v="23935"/>
          <ac:spMkLst>
            <pc:docMk/>
            <pc:sldMk cId="192098022" sldId="769"/>
            <ac:spMk id="12" creationId="{FB482096-F01C-1D07-EDCE-A0599AD37BE2}"/>
          </ac:spMkLst>
        </pc:spChg>
        <pc:spChg chg="mod">
          <ac:chgData name="Nataliia Chornii (UA)" userId="4e4b8b3d-5f31-49bb-9f80-8a25c04abfff" providerId="ADAL" clId="{EE97D3FE-9ACA-4467-98E5-532EC45D9D1C}" dt="2024-03-11T14:19:38.735" v="23935"/>
          <ac:spMkLst>
            <pc:docMk/>
            <pc:sldMk cId="192098022" sldId="769"/>
            <ac:spMk id="13" creationId="{CD34EAC0-5FC5-6AF1-AD77-FAF3763AEE98}"/>
          </ac:spMkLst>
        </pc:spChg>
        <pc:spChg chg="mod">
          <ac:chgData name="Nataliia Chornii (UA)" userId="4e4b8b3d-5f31-49bb-9f80-8a25c04abfff" providerId="ADAL" clId="{EE97D3FE-9ACA-4467-98E5-532EC45D9D1C}" dt="2024-03-11T14:19:38.735" v="23935"/>
          <ac:spMkLst>
            <pc:docMk/>
            <pc:sldMk cId="192098022" sldId="769"/>
            <ac:spMk id="14" creationId="{2644259F-C142-21E9-372D-23472B1FB75B}"/>
          </ac:spMkLst>
        </pc:spChg>
        <pc:spChg chg="mod">
          <ac:chgData name="Nataliia Chornii (UA)" userId="4e4b8b3d-5f31-49bb-9f80-8a25c04abfff" providerId="ADAL" clId="{EE97D3FE-9ACA-4467-98E5-532EC45D9D1C}" dt="2024-03-11T14:19:38.735" v="23935"/>
          <ac:spMkLst>
            <pc:docMk/>
            <pc:sldMk cId="192098022" sldId="769"/>
            <ac:spMk id="15" creationId="{DE11DED4-ED8A-4133-69D2-AC2BD1B061C7}"/>
          </ac:spMkLst>
        </pc:spChg>
        <pc:spChg chg="mod">
          <ac:chgData name="Nataliia Chornii (UA)" userId="4e4b8b3d-5f31-49bb-9f80-8a25c04abfff" providerId="ADAL" clId="{EE97D3FE-9ACA-4467-98E5-532EC45D9D1C}" dt="2024-03-11T14:19:38.735" v="23935"/>
          <ac:spMkLst>
            <pc:docMk/>
            <pc:sldMk cId="192098022" sldId="769"/>
            <ac:spMk id="16" creationId="{1DC3DD96-351E-888A-0C7D-8570737A5198}"/>
          </ac:spMkLst>
        </pc:spChg>
        <pc:spChg chg="mod">
          <ac:chgData name="Nataliia Chornii (UA)" userId="4e4b8b3d-5f31-49bb-9f80-8a25c04abfff" providerId="ADAL" clId="{EE97D3FE-9ACA-4467-98E5-532EC45D9D1C}" dt="2024-03-11T14:19:38.735" v="23935"/>
          <ac:spMkLst>
            <pc:docMk/>
            <pc:sldMk cId="192098022" sldId="769"/>
            <ac:spMk id="17" creationId="{4551333C-9944-E8C8-0865-50319B643653}"/>
          </ac:spMkLst>
        </pc:spChg>
        <pc:spChg chg="add mod">
          <ac:chgData name="Nataliia Chornii (UA)" userId="4e4b8b3d-5f31-49bb-9f80-8a25c04abfff" providerId="ADAL" clId="{EE97D3FE-9ACA-4467-98E5-532EC45D9D1C}" dt="2024-03-11T14:20:50.792" v="23960"/>
          <ac:spMkLst>
            <pc:docMk/>
            <pc:sldMk cId="192098022" sldId="769"/>
            <ac:spMk id="18" creationId="{31F5B033-E36B-F124-637C-AF0345D3C1E2}"/>
          </ac:spMkLst>
        </pc:spChg>
        <pc:spChg chg="mod">
          <ac:chgData name="Nataliia Chornii (UA)" userId="4e4b8b3d-5f31-49bb-9f80-8a25c04abfff" providerId="ADAL" clId="{EE97D3FE-9ACA-4467-98E5-532EC45D9D1C}" dt="2024-03-11T14:20:50.792" v="23960"/>
          <ac:spMkLst>
            <pc:docMk/>
            <pc:sldMk cId="192098022" sldId="769"/>
            <ac:spMk id="20" creationId="{3786E25B-C261-B1B6-88EC-455150837209}"/>
          </ac:spMkLst>
        </pc:spChg>
        <pc:spChg chg="mod">
          <ac:chgData name="Nataliia Chornii (UA)" userId="4e4b8b3d-5f31-49bb-9f80-8a25c04abfff" providerId="ADAL" clId="{EE97D3FE-9ACA-4467-98E5-532EC45D9D1C}" dt="2024-03-11T14:20:50.792" v="23960"/>
          <ac:spMkLst>
            <pc:docMk/>
            <pc:sldMk cId="192098022" sldId="769"/>
            <ac:spMk id="21" creationId="{C9135DDF-5CA6-49E5-83DF-8DFF77FB5D64}"/>
          </ac:spMkLst>
        </pc:spChg>
        <pc:spChg chg="mod">
          <ac:chgData name="Nataliia Chornii (UA)" userId="4e4b8b3d-5f31-49bb-9f80-8a25c04abfff" providerId="ADAL" clId="{EE97D3FE-9ACA-4467-98E5-532EC45D9D1C}" dt="2024-03-11T14:20:50.792" v="23960"/>
          <ac:spMkLst>
            <pc:docMk/>
            <pc:sldMk cId="192098022" sldId="769"/>
            <ac:spMk id="22" creationId="{67E038E3-418F-D7EE-D2E2-2F1F38A09124}"/>
          </ac:spMkLst>
        </pc:spChg>
        <pc:spChg chg="mod">
          <ac:chgData name="Nataliia Chornii (UA)" userId="4e4b8b3d-5f31-49bb-9f80-8a25c04abfff" providerId="ADAL" clId="{EE97D3FE-9ACA-4467-98E5-532EC45D9D1C}" dt="2024-03-11T14:20:50.792" v="23960"/>
          <ac:spMkLst>
            <pc:docMk/>
            <pc:sldMk cId="192098022" sldId="769"/>
            <ac:spMk id="24" creationId="{E0FD376E-8EE2-B194-B672-68AF0EEFC0B5}"/>
          </ac:spMkLst>
        </pc:spChg>
        <pc:spChg chg="mod ord">
          <ac:chgData name="Nataliia Chornii (UA)" userId="4e4b8b3d-5f31-49bb-9f80-8a25c04abfff" providerId="ADAL" clId="{EE97D3FE-9ACA-4467-98E5-532EC45D9D1C}" dt="2024-03-11T14:15:12.659" v="23646"/>
          <ac:spMkLst>
            <pc:docMk/>
            <pc:sldMk cId="192098022" sldId="769"/>
            <ac:spMk id="25" creationId="{014F40D3-F5E9-404A-8FA7-2C2BFB358B3B}"/>
          </ac:spMkLst>
        </pc:spChg>
        <pc:spChg chg="mod">
          <ac:chgData name="Nataliia Chornii (UA)" userId="4e4b8b3d-5f31-49bb-9f80-8a25c04abfff" providerId="ADAL" clId="{EE97D3FE-9ACA-4467-98E5-532EC45D9D1C}" dt="2024-03-11T14:20:50.792" v="23960"/>
          <ac:spMkLst>
            <pc:docMk/>
            <pc:sldMk cId="192098022" sldId="769"/>
            <ac:spMk id="26" creationId="{5810BD6D-E788-A7D6-3532-3A29D6EC3847}"/>
          </ac:spMkLst>
        </pc:spChg>
        <pc:spChg chg="mod">
          <ac:chgData name="Nataliia Chornii (UA)" userId="4e4b8b3d-5f31-49bb-9f80-8a25c04abfff" providerId="ADAL" clId="{EE97D3FE-9ACA-4467-98E5-532EC45D9D1C}" dt="2024-03-11T14:20:50.792" v="23960"/>
          <ac:spMkLst>
            <pc:docMk/>
            <pc:sldMk cId="192098022" sldId="769"/>
            <ac:spMk id="27" creationId="{3D226539-72A2-11D4-2EA5-43B80F80A9DB}"/>
          </ac:spMkLst>
        </pc:spChg>
        <pc:spChg chg="mod ord">
          <ac:chgData name="Nataliia Chornii (UA)" userId="4e4b8b3d-5f31-49bb-9f80-8a25c04abfff" providerId="ADAL" clId="{EE97D3FE-9ACA-4467-98E5-532EC45D9D1C}" dt="2024-03-11T14:15:12.659" v="23650"/>
          <ac:spMkLst>
            <pc:docMk/>
            <pc:sldMk cId="192098022" sldId="769"/>
            <ac:spMk id="29" creationId="{44B6CEDA-C06E-D816-412F-DE090CE2BE7B}"/>
          </ac:spMkLst>
        </pc:spChg>
        <pc:grpChg chg="add del mod">
          <ac:chgData name="Nataliia Chornii (UA)" userId="4e4b8b3d-5f31-49bb-9f80-8a25c04abfff" providerId="ADAL" clId="{EE97D3FE-9ACA-4467-98E5-532EC45D9D1C}" dt="2024-03-11T14:20:30.515" v="23950"/>
          <ac:grpSpMkLst>
            <pc:docMk/>
            <pc:sldMk cId="192098022" sldId="769"/>
            <ac:grpSpMk id="11" creationId="{E9EC0769-9FDD-F501-F265-203C0A89A781}"/>
          </ac:grpSpMkLst>
        </pc:grpChg>
        <pc:grpChg chg="add del mod">
          <ac:chgData name="Nataliia Chornii (UA)" userId="4e4b8b3d-5f31-49bb-9f80-8a25c04abfff" providerId="ADAL" clId="{EE97D3FE-9ACA-4467-98E5-532EC45D9D1C}" dt="2024-03-11T14:20:52.474" v="23961" actId="478"/>
          <ac:grpSpMkLst>
            <pc:docMk/>
            <pc:sldMk cId="192098022" sldId="769"/>
            <ac:grpSpMk id="19" creationId="{4EA9CBB0-D7DC-FB05-33AE-445615C09813}"/>
          </ac:grpSpMkLst>
        </pc:grpChg>
        <pc:graphicFrameChg chg="mod">
          <ac:chgData name="Nataliia Chornii (UA)" userId="4e4b8b3d-5f31-49bb-9f80-8a25c04abfff" providerId="ADAL" clId="{EE97D3FE-9ACA-4467-98E5-532EC45D9D1C}" dt="2024-03-11T14:15:12.659" v="23660"/>
          <ac:graphicFrameMkLst>
            <pc:docMk/>
            <pc:sldMk cId="192098022" sldId="769"/>
            <ac:graphicFrameMk id="23" creationId="{8DFB9B2E-C1F9-21A3-00BA-9A57ED0111F8}"/>
          </ac:graphicFrameMkLst>
        </pc:graphicFrameChg>
        <pc:picChg chg="add mod ord modCrop">
          <ac:chgData name="Nataliia Chornii (UA)" userId="4e4b8b3d-5f31-49bb-9f80-8a25c04abfff" providerId="ADAL" clId="{EE97D3FE-9ACA-4467-98E5-532EC45D9D1C}" dt="2024-03-11T14:15:12.658" v="23638"/>
          <ac:picMkLst>
            <pc:docMk/>
            <pc:sldMk cId="192098022" sldId="769"/>
            <ac:picMk id="7" creationId="{FF8B7B11-6660-0BCC-2F16-419ADE3449D2}"/>
          </ac:picMkLst>
        </pc:picChg>
        <pc:picChg chg="del mod ord">
          <ac:chgData name="Nataliia Chornii (UA)" userId="4e4b8b3d-5f31-49bb-9f80-8a25c04abfff" providerId="ADAL" clId="{EE97D3FE-9ACA-4467-98E5-532EC45D9D1C}" dt="2024-03-11T14:15:14.018" v="23661" actId="478"/>
          <ac:picMkLst>
            <pc:docMk/>
            <pc:sldMk cId="192098022" sldId="769"/>
            <ac:picMk id="28" creationId="{57146472-1E12-8599-0248-F6AE825AAC25}"/>
          </ac:picMkLst>
        </pc:picChg>
      </pc:sldChg>
      <pc:sldChg chg="addSp delSp modSp mod">
        <pc:chgData name="Nataliia Chornii (UA)" userId="4e4b8b3d-5f31-49bb-9f80-8a25c04abfff" providerId="ADAL" clId="{EE97D3FE-9ACA-4467-98E5-532EC45D9D1C}" dt="2024-03-11T14:22:26.329" v="24029" actId="164"/>
        <pc:sldMkLst>
          <pc:docMk/>
          <pc:sldMk cId="2067837237" sldId="899"/>
        </pc:sldMkLst>
        <pc:spChg chg="add del mod modVis">
          <ac:chgData name="Nataliia Chornii (UA)" userId="4e4b8b3d-5f31-49bb-9f80-8a25c04abfff" providerId="ADAL" clId="{EE97D3FE-9ACA-4467-98E5-532EC45D9D1C}" dt="2024-03-01T08:48:59.094" v="1157"/>
          <ac:spMkLst>
            <pc:docMk/>
            <pc:sldMk cId="2067837237" sldId="899"/>
            <ac:spMk id="2" creationId="{7AD8C006-012D-D74D-EA3A-1A8F371AA3DE}"/>
          </ac:spMkLst>
        </pc:spChg>
        <pc:spChg chg="mod">
          <ac:chgData name="Nataliia Chornii (UA)" userId="4e4b8b3d-5f31-49bb-9f80-8a25c04abfff" providerId="ADAL" clId="{EE97D3FE-9ACA-4467-98E5-532EC45D9D1C}" dt="2024-03-01T09:49:09.599" v="9144" actId="948"/>
          <ac:spMkLst>
            <pc:docMk/>
            <pc:sldMk cId="2067837237" sldId="899"/>
            <ac:spMk id="3" creationId="{02A7C9EB-E60F-E4DD-7BE8-A36BF399BA1F}"/>
          </ac:spMkLst>
        </pc:spChg>
        <pc:spChg chg="del">
          <ac:chgData name="Nataliia Chornii (UA)" userId="4e4b8b3d-5f31-49bb-9f80-8a25c04abfff" providerId="ADAL" clId="{EE97D3FE-9ACA-4467-98E5-532EC45D9D1C}" dt="2024-03-01T09:47:07.678" v="9054" actId="478"/>
          <ac:spMkLst>
            <pc:docMk/>
            <pc:sldMk cId="2067837237" sldId="899"/>
            <ac:spMk id="5" creationId="{0B17BD84-88AC-98C1-0560-846DD233D35D}"/>
          </ac:spMkLst>
        </pc:spChg>
        <pc:spChg chg="del">
          <ac:chgData name="Nataliia Chornii (UA)" userId="4e4b8b3d-5f31-49bb-9f80-8a25c04abfff" providerId="ADAL" clId="{EE97D3FE-9ACA-4467-98E5-532EC45D9D1C}" dt="2024-03-01T09:47:07.678" v="9054" actId="478"/>
          <ac:spMkLst>
            <pc:docMk/>
            <pc:sldMk cId="2067837237" sldId="899"/>
            <ac:spMk id="6" creationId="{85A3FF08-7671-32B6-5C7B-EA4FB751C16A}"/>
          </ac:spMkLst>
        </pc:spChg>
        <pc:spChg chg="add mod">
          <ac:chgData name="Nataliia Chornii (UA)" userId="4e4b8b3d-5f31-49bb-9f80-8a25c04abfff" providerId="ADAL" clId="{EE97D3FE-9ACA-4467-98E5-532EC45D9D1C}" dt="2024-03-11T14:21:28.366" v="23969"/>
          <ac:spMkLst>
            <pc:docMk/>
            <pc:sldMk cId="2067837237" sldId="899"/>
            <ac:spMk id="8" creationId="{C45B4B4D-811D-75BC-1C53-0D260614DCE2}"/>
          </ac:spMkLst>
        </pc:spChg>
        <pc:spChg chg="add del mod modVis">
          <ac:chgData name="Nataliia Chornii (UA)" userId="4e4b8b3d-5f31-49bb-9f80-8a25c04abfff" providerId="ADAL" clId="{EE97D3FE-9ACA-4467-98E5-532EC45D9D1C}" dt="2024-03-01T08:49:33.681" v="2770"/>
          <ac:spMkLst>
            <pc:docMk/>
            <pc:sldMk cId="2067837237" sldId="899"/>
            <ac:spMk id="8" creationId="{E0C57E80-D21D-37FF-E9EA-E8948E38047A}"/>
          </ac:spMkLst>
        </pc:spChg>
        <pc:spChg chg="mod">
          <ac:chgData name="Nataliia Chornii (UA)" userId="4e4b8b3d-5f31-49bb-9f80-8a25c04abfff" providerId="ADAL" clId="{EE97D3FE-9ACA-4467-98E5-532EC45D9D1C}" dt="2024-03-01T09:48:56.020" v="9139" actId="207"/>
          <ac:spMkLst>
            <pc:docMk/>
            <pc:sldMk cId="2067837237" sldId="899"/>
            <ac:spMk id="9" creationId="{4410BDA3-C70D-09A4-DA6C-34323C7C12E7}"/>
          </ac:spMkLst>
        </pc:spChg>
        <pc:spChg chg="mod">
          <ac:chgData name="Nataliia Chornii (UA)" userId="4e4b8b3d-5f31-49bb-9f80-8a25c04abfff" providerId="ADAL" clId="{EE97D3FE-9ACA-4467-98E5-532EC45D9D1C}" dt="2024-03-01T09:48:56.020" v="9139" actId="207"/>
          <ac:spMkLst>
            <pc:docMk/>
            <pc:sldMk cId="2067837237" sldId="899"/>
            <ac:spMk id="10" creationId="{62B42245-DA42-CBD7-0584-79D1BE955F34}"/>
          </ac:spMkLst>
        </pc:spChg>
        <pc:spChg chg="mod">
          <ac:chgData name="Nataliia Chornii (UA)" userId="4e4b8b3d-5f31-49bb-9f80-8a25c04abfff" providerId="ADAL" clId="{EE97D3FE-9ACA-4467-98E5-532EC45D9D1C}" dt="2024-03-01T09:48:56.020" v="9139" actId="207"/>
          <ac:spMkLst>
            <pc:docMk/>
            <pc:sldMk cId="2067837237" sldId="899"/>
            <ac:spMk id="11" creationId="{966F4E94-42AF-8C4C-9F85-A34218079A7B}"/>
          </ac:spMkLst>
        </pc:spChg>
        <pc:spChg chg="add del mod modVis">
          <ac:chgData name="Nataliia Chornii (UA)" userId="4e4b8b3d-5f31-49bb-9f80-8a25c04abfff" providerId="ADAL" clId="{EE97D3FE-9ACA-4467-98E5-532EC45D9D1C}" dt="2024-03-01T08:49:59.756" v="3758"/>
          <ac:spMkLst>
            <pc:docMk/>
            <pc:sldMk cId="2067837237" sldId="899"/>
            <ac:spMk id="12" creationId="{96E4EDC9-8E11-8CED-561F-1CD7DE5CC8D9}"/>
          </ac:spMkLst>
        </pc:spChg>
        <pc:spChg chg="add del mod modVis">
          <ac:chgData name="Nataliia Chornii (UA)" userId="4e4b8b3d-5f31-49bb-9f80-8a25c04abfff" providerId="ADAL" clId="{EE97D3FE-9ACA-4467-98E5-532EC45D9D1C}" dt="2024-03-01T08:51:26.061" v="4746"/>
          <ac:spMkLst>
            <pc:docMk/>
            <pc:sldMk cId="2067837237" sldId="899"/>
            <ac:spMk id="13" creationId="{1424C2B1-598C-0689-50CE-9830B6219951}"/>
          </ac:spMkLst>
        </pc:spChg>
        <pc:spChg chg="mod topLvl">
          <ac:chgData name="Nataliia Chornii (UA)" userId="4e4b8b3d-5f31-49bb-9f80-8a25c04abfff" providerId="ADAL" clId="{EE97D3FE-9ACA-4467-98E5-532EC45D9D1C}" dt="2024-03-11T14:22:26.329" v="24029" actId="164"/>
          <ac:spMkLst>
            <pc:docMk/>
            <pc:sldMk cId="2067837237" sldId="899"/>
            <ac:spMk id="13" creationId="{CE49DFAE-9602-9B51-7F68-1F0676F98EAA}"/>
          </ac:spMkLst>
        </pc:spChg>
        <pc:spChg chg="mod">
          <ac:chgData name="Nataliia Chornii (UA)" userId="4e4b8b3d-5f31-49bb-9f80-8a25c04abfff" providerId="ADAL" clId="{EE97D3FE-9ACA-4467-98E5-532EC45D9D1C}" dt="2024-03-01T09:48:56.020" v="9139" actId="207"/>
          <ac:spMkLst>
            <pc:docMk/>
            <pc:sldMk cId="2067837237" sldId="899"/>
            <ac:spMk id="14" creationId="{C12F4A68-0A98-B4BF-1D5E-5B0917DB284B}"/>
          </ac:spMkLst>
        </pc:spChg>
        <pc:spChg chg="mod">
          <ac:chgData name="Nataliia Chornii (UA)" userId="4e4b8b3d-5f31-49bb-9f80-8a25c04abfff" providerId="ADAL" clId="{EE97D3FE-9ACA-4467-98E5-532EC45D9D1C}" dt="2024-03-01T09:48:56.020" v="9139" actId="207"/>
          <ac:spMkLst>
            <pc:docMk/>
            <pc:sldMk cId="2067837237" sldId="899"/>
            <ac:spMk id="15" creationId="{18CF1D23-C8C0-7311-A610-9559FB968B61}"/>
          </ac:spMkLst>
        </pc:spChg>
        <pc:spChg chg="add del mod modVis">
          <ac:chgData name="Nataliia Chornii (UA)" userId="4e4b8b3d-5f31-49bb-9f80-8a25c04abfff" providerId="ADAL" clId="{EE97D3FE-9ACA-4467-98E5-532EC45D9D1C}" dt="2024-03-01T08:51:56.063" v="5735"/>
          <ac:spMkLst>
            <pc:docMk/>
            <pc:sldMk cId="2067837237" sldId="899"/>
            <ac:spMk id="16" creationId="{1E162942-0ECC-8F60-DC63-6A35F576EA53}"/>
          </ac:spMkLst>
        </pc:spChg>
        <pc:spChg chg="mod topLvl">
          <ac:chgData name="Nataliia Chornii (UA)" userId="4e4b8b3d-5f31-49bb-9f80-8a25c04abfff" providerId="ADAL" clId="{EE97D3FE-9ACA-4467-98E5-532EC45D9D1C}" dt="2024-03-11T14:22:26.329" v="24029" actId="164"/>
          <ac:spMkLst>
            <pc:docMk/>
            <pc:sldMk cId="2067837237" sldId="899"/>
            <ac:spMk id="16" creationId="{BBD61FA1-53B4-FE96-3144-6BA4D509ED90}"/>
          </ac:spMkLst>
        </pc:spChg>
        <pc:spChg chg="mod topLvl">
          <ac:chgData name="Nataliia Chornii (UA)" userId="4e4b8b3d-5f31-49bb-9f80-8a25c04abfff" providerId="ADAL" clId="{EE97D3FE-9ACA-4467-98E5-532EC45D9D1C}" dt="2024-03-11T14:22:26.329" v="24029" actId="164"/>
          <ac:spMkLst>
            <pc:docMk/>
            <pc:sldMk cId="2067837237" sldId="899"/>
            <ac:spMk id="17" creationId="{505A48E8-31D6-CC00-D638-F5453B1770D2}"/>
          </ac:spMkLst>
        </pc:spChg>
        <pc:spChg chg="add del mod modVis">
          <ac:chgData name="Nataliia Chornii (UA)" userId="4e4b8b3d-5f31-49bb-9f80-8a25c04abfff" providerId="ADAL" clId="{EE97D3FE-9ACA-4467-98E5-532EC45D9D1C}" dt="2024-03-01T08:52:18.230" v="6723"/>
          <ac:spMkLst>
            <pc:docMk/>
            <pc:sldMk cId="2067837237" sldId="899"/>
            <ac:spMk id="17" creationId="{9BA127C5-5767-0C6B-6E41-FB70B65E90C5}"/>
          </ac:spMkLst>
        </pc:spChg>
        <pc:spChg chg="add del mod modVis">
          <ac:chgData name="Nataliia Chornii (UA)" userId="4e4b8b3d-5f31-49bb-9f80-8a25c04abfff" providerId="ADAL" clId="{EE97D3FE-9ACA-4467-98E5-532EC45D9D1C}" dt="2024-03-01T09:39:00.723" v="8487"/>
          <ac:spMkLst>
            <pc:docMk/>
            <pc:sldMk cId="2067837237" sldId="899"/>
            <ac:spMk id="18" creationId="{910E2EAB-D7F7-B211-DD4C-5BE2DD43F002}"/>
          </ac:spMkLst>
        </pc:spChg>
        <pc:spChg chg="mod topLvl">
          <ac:chgData name="Nataliia Chornii (UA)" userId="4e4b8b3d-5f31-49bb-9f80-8a25c04abfff" providerId="ADAL" clId="{EE97D3FE-9ACA-4467-98E5-532EC45D9D1C}" dt="2024-03-11T14:22:26.329" v="24029" actId="164"/>
          <ac:spMkLst>
            <pc:docMk/>
            <pc:sldMk cId="2067837237" sldId="899"/>
            <ac:spMk id="18" creationId="{96D847B4-9689-1456-ACF2-BC9B473BDA59}"/>
          </ac:spMkLst>
        </pc:spChg>
        <pc:spChg chg="add mod">
          <ac:chgData name="Nataliia Chornii (UA)" userId="4e4b8b3d-5f31-49bb-9f80-8a25c04abfff" providerId="ADAL" clId="{EE97D3FE-9ACA-4467-98E5-532EC45D9D1C}" dt="2024-03-01T09:47:18.226" v="9057" actId="1076"/>
          <ac:spMkLst>
            <pc:docMk/>
            <pc:sldMk cId="2067837237" sldId="899"/>
            <ac:spMk id="19" creationId="{71843FC2-0134-C5A1-3413-D29A3E972CB9}"/>
          </ac:spMkLst>
        </pc:spChg>
        <pc:spChg chg="add mod">
          <ac:chgData name="Nataliia Chornii (UA)" userId="4e4b8b3d-5f31-49bb-9f80-8a25c04abfff" providerId="ADAL" clId="{EE97D3FE-9ACA-4467-98E5-532EC45D9D1C}" dt="2024-03-01T09:48:04.414" v="9134" actId="552"/>
          <ac:spMkLst>
            <pc:docMk/>
            <pc:sldMk cId="2067837237" sldId="899"/>
            <ac:spMk id="20" creationId="{5FE60873-156A-58E0-91C4-D2678DCF6C33}"/>
          </ac:spMkLst>
        </pc:spChg>
        <pc:spChg chg="mod topLvl">
          <ac:chgData name="Nataliia Chornii (UA)" userId="4e4b8b3d-5f31-49bb-9f80-8a25c04abfff" providerId="ADAL" clId="{EE97D3FE-9ACA-4467-98E5-532EC45D9D1C}" dt="2024-03-11T14:22:26.329" v="24029" actId="164"/>
          <ac:spMkLst>
            <pc:docMk/>
            <pc:sldMk cId="2067837237" sldId="899"/>
            <ac:spMk id="21" creationId="{3CDBF83B-5746-D5D4-544E-C151038D4DE9}"/>
          </ac:spMkLst>
        </pc:spChg>
        <pc:spChg chg="del">
          <ac:chgData name="Nataliia Chornii (UA)" userId="4e4b8b3d-5f31-49bb-9f80-8a25c04abfff" providerId="ADAL" clId="{EE97D3FE-9ACA-4467-98E5-532EC45D9D1C}" dt="2024-03-01T09:47:09.790" v="9055" actId="478"/>
          <ac:spMkLst>
            <pc:docMk/>
            <pc:sldMk cId="2067837237" sldId="899"/>
            <ac:spMk id="21" creationId="{7AE0AAE5-4EC9-DD53-56C2-33377686F8EF}"/>
          </ac:spMkLst>
        </pc:spChg>
        <pc:spChg chg="mod topLvl">
          <ac:chgData name="Nataliia Chornii (UA)" userId="4e4b8b3d-5f31-49bb-9f80-8a25c04abfff" providerId="ADAL" clId="{EE97D3FE-9ACA-4467-98E5-532EC45D9D1C}" dt="2024-03-11T14:22:26.329" v="24029" actId="164"/>
          <ac:spMkLst>
            <pc:docMk/>
            <pc:sldMk cId="2067837237" sldId="899"/>
            <ac:spMk id="22" creationId="{EA7DD34B-277F-8DF5-1D1D-40774DE42626}"/>
          </ac:spMkLst>
        </pc:spChg>
        <pc:spChg chg="del">
          <ac:chgData name="Nataliia Chornii (UA)" userId="4e4b8b3d-5f31-49bb-9f80-8a25c04abfff" providerId="ADAL" clId="{EE97D3FE-9ACA-4467-98E5-532EC45D9D1C}" dt="2024-03-01T09:47:09.790" v="9055" actId="478"/>
          <ac:spMkLst>
            <pc:docMk/>
            <pc:sldMk cId="2067837237" sldId="899"/>
            <ac:spMk id="22" creationId="{EC93622C-265E-D387-2605-AE4A4548EFAD}"/>
          </ac:spMkLst>
        </pc:spChg>
        <pc:spChg chg="del">
          <ac:chgData name="Nataliia Chornii (UA)" userId="4e4b8b3d-5f31-49bb-9f80-8a25c04abfff" providerId="ADAL" clId="{EE97D3FE-9ACA-4467-98E5-532EC45D9D1C}" dt="2024-03-01T09:47:09.790" v="9055" actId="478"/>
          <ac:spMkLst>
            <pc:docMk/>
            <pc:sldMk cId="2067837237" sldId="899"/>
            <ac:spMk id="23" creationId="{1B89C6A7-D4E1-CA3E-6BF6-16634CCB8552}"/>
          </ac:spMkLst>
        </pc:spChg>
        <pc:spChg chg="del">
          <ac:chgData name="Nataliia Chornii (UA)" userId="4e4b8b3d-5f31-49bb-9f80-8a25c04abfff" providerId="ADAL" clId="{EE97D3FE-9ACA-4467-98E5-532EC45D9D1C}" dt="2024-03-01T09:47:09.790" v="9055" actId="478"/>
          <ac:spMkLst>
            <pc:docMk/>
            <pc:sldMk cId="2067837237" sldId="899"/>
            <ac:spMk id="24" creationId="{5FEC99C6-C046-6B8B-B626-B348A583E386}"/>
          </ac:spMkLst>
        </pc:spChg>
        <pc:spChg chg="del">
          <ac:chgData name="Nataliia Chornii (UA)" userId="4e4b8b3d-5f31-49bb-9f80-8a25c04abfff" providerId="ADAL" clId="{EE97D3FE-9ACA-4467-98E5-532EC45D9D1C}" dt="2024-03-01T09:47:09.790" v="9055" actId="478"/>
          <ac:spMkLst>
            <pc:docMk/>
            <pc:sldMk cId="2067837237" sldId="899"/>
            <ac:spMk id="25" creationId="{E3A1C324-4553-CB6A-8B81-8B007C858F90}"/>
          </ac:spMkLst>
        </pc:spChg>
        <pc:spChg chg="add mod">
          <ac:chgData name="Nataliia Chornii (UA)" userId="4e4b8b3d-5f31-49bb-9f80-8a25c04abfff" providerId="ADAL" clId="{EE97D3FE-9ACA-4467-98E5-532EC45D9D1C}" dt="2024-03-01T09:47:18.226" v="9057" actId="1076"/>
          <ac:spMkLst>
            <pc:docMk/>
            <pc:sldMk cId="2067837237" sldId="899"/>
            <ac:spMk id="26" creationId="{D02ECC2D-3609-D901-FD99-81FB0F16D429}"/>
          </ac:spMkLst>
        </pc:spChg>
        <pc:spChg chg="del">
          <ac:chgData name="Nataliia Chornii (UA)" userId="4e4b8b3d-5f31-49bb-9f80-8a25c04abfff" providerId="ADAL" clId="{EE97D3FE-9ACA-4467-98E5-532EC45D9D1C}" dt="2024-03-01T09:47:09.790" v="9055" actId="478"/>
          <ac:spMkLst>
            <pc:docMk/>
            <pc:sldMk cId="2067837237" sldId="899"/>
            <ac:spMk id="27" creationId="{8ED5A468-3446-C52F-684C-4DAFAC567CBD}"/>
          </ac:spMkLst>
        </pc:spChg>
        <pc:spChg chg="del">
          <ac:chgData name="Nataliia Chornii (UA)" userId="4e4b8b3d-5f31-49bb-9f80-8a25c04abfff" providerId="ADAL" clId="{EE97D3FE-9ACA-4467-98E5-532EC45D9D1C}" dt="2024-03-01T09:47:09.790" v="9055" actId="478"/>
          <ac:spMkLst>
            <pc:docMk/>
            <pc:sldMk cId="2067837237" sldId="899"/>
            <ac:spMk id="28" creationId="{4D83F920-03F2-22B6-3A4C-F3510C600538}"/>
          </ac:spMkLst>
        </pc:spChg>
        <pc:spChg chg="del">
          <ac:chgData name="Nataliia Chornii (UA)" userId="4e4b8b3d-5f31-49bb-9f80-8a25c04abfff" providerId="ADAL" clId="{EE97D3FE-9ACA-4467-98E5-532EC45D9D1C}" dt="2024-03-01T09:47:09.790" v="9055" actId="478"/>
          <ac:spMkLst>
            <pc:docMk/>
            <pc:sldMk cId="2067837237" sldId="899"/>
            <ac:spMk id="29" creationId="{A36EBB3A-5319-594E-ADF6-54CF90574679}"/>
          </ac:spMkLst>
        </pc:spChg>
        <pc:spChg chg="del">
          <ac:chgData name="Nataliia Chornii (UA)" userId="4e4b8b3d-5f31-49bb-9f80-8a25c04abfff" providerId="ADAL" clId="{EE97D3FE-9ACA-4467-98E5-532EC45D9D1C}" dt="2024-03-01T09:47:09.790" v="9055" actId="478"/>
          <ac:spMkLst>
            <pc:docMk/>
            <pc:sldMk cId="2067837237" sldId="899"/>
            <ac:spMk id="30" creationId="{0E5402E0-269A-92B5-BC8D-30D2207F23A4}"/>
          </ac:spMkLst>
        </pc:spChg>
        <pc:spChg chg="del">
          <ac:chgData name="Nataliia Chornii (UA)" userId="4e4b8b3d-5f31-49bb-9f80-8a25c04abfff" providerId="ADAL" clId="{EE97D3FE-9ACA-4467-98E5-532EC45D9D1C}" dt="2024-03-01T09:47:09.790" v="9055" actId="478"/>
          <ac:spMkLst>
            <pc:docMk/>
            <pc:sldMk cId="2067837237" sldId="899"/>
            <ac:spMk id="31" creationId="{873D60D4-E5D9-76E3-AEF9-264F4B971AF2}"/>
          </ac:spMkLst>
        </pc:spChg>
        <pc:spChg chg="del">
          <ac:chgData name="Nataliia Chornii (UA)" userId="4e4b8b3d-5f31-49bb-9f80-8a25c04abfff" providerId="ADAL" clId="{EE97D3FE-9ACA-4467-98E5-532EC45D9D1C}" dt="2024-03-01T09:47:09.790" v="9055" actId="478"/>
          <ac:spMkLst>
            <pc:docMk/>
            <pc:sldMk cId="2067837237" sldId="899"/>
            <ac:spMk id="32" creationId="{828F63E3-7455-B74D-F267-F3ABBA37707E}"/>
          </ac:spMkLst>
        </pc:spChg>
        <pc:spChg chg="del">
          <ac:chgData name="Nataliia Chornii (UA)" userId="4e4b8b3d-5f31-49bb-9f80-8a25c04abfff" providerId="ADAL" clId="{EE97D3FE-9ACA-4467-98E5-532EC45D9D1C}" dt="2024-03-01T09:47:09.790" v="9055" actId="478"/>
          <ac:spMkLst>
            <pc:docMk/>
            <pc:sldMk cId="2067837237" sldId="899"/>
            <ac:spMk id="33" creationId="{5F327F10-6150-0B2C-F4B7-AC6868A99C72}"/>
          </ac:spMkLst>
        </pc:spChg>
        <pc:spChg chg="del">
          <ac:chgData name="Nataliia Chornii (UA)" userId="4e4b8b3d-5f31-49bb-9f80-8a25c04abfff" providerId="ADAL" clId="{EE97D3FE-9ACA-4467-98E5-532EC45D9D1C}" dt="2024-03-01T09:47:09.790" v="9055" actId="478"/>
          <ac:spMkLst>
            <pc:docMk/>
            <pc:sldMk cId="2067837237" sldId="899"/>
            <ac:spMk id="34" creationId="{EA15E7A7-0EEE-9431-1144-1E3F177D6BC3}"/>
          </ac:spMkLst>
        </pc:spChg>
        <pc:spChg chg="del">
          <ac:chgData name="Nataliia Chornii (UA)" userId="4e4b8b3d-5f31-49bb-9f80-8a25c04abfff" providerId="ADAL" clId="{EE97D3FE-9ACA-4467-98E5-532EC45D9D1C}" dt="2024-03-01T09:47:09.790" v="9055" actId="478"/>
          <ac:spMkLst>
            <pc:docMk/>
            <pc:sldMk cId="2067837237" sldId="899"/>
            <ac:spMk id="35" creationId="{E26A329B-76CE-04FA-D6CD-A9A7093BE66A}"/>
          </ac:spMkLst>
        </pc:spChg>
        <pc:spChg chg="add mod">
          <ac:chgData name="Nataliia Chornii (UA)" userId="4e4b8b3d-5f31-49bb-9f80-8a25c04abfff" providerId="ADAL" clId="{EE97D3FE-9ACA-4467-98E5-532EC45D9D1C}" dt="2024-03-01T09:47:18.226" v="9057" actId="1076"/>
          <ac:spMkLst>
            <pc:docMk/>
            <pc:sldMk cId="2067837237" sldId="899"/>
            <ac:spMk id="36" creationId="{1888B678-3547-6CC3-ADA0-12DDC28292A0}"/>
          </ac:spMkLst>
        </pc:spChg>
        <pc:spChg chg="add mod">
          <ac:chgData name="Nataliia Chornii (UA)" userId="4e4b8b3d-5f31-49bb-9f80-8a25c04abfff" providerId="ADAL" clId="{EE97D3FE-9ACA-4467-98E5-532EC45D9D1C}" dt="2024-03-01T09:47:26.948" v="9063" actId="20577"/>
          <ac:spMkLst>
            <pc:docMk/>
            <pc:sldMk cId="2067837237" sldId="899"/>
            <ac:spMk id="37" creationId="{B6DDB0A2-47C9-76F8-7A2C-69EB8DD17565}"/>
          </ac:spMkLst>
        </pc:spChg>
        <pc:spChg chg="add mod">
          <ac:chgData name="Nataliia Chornii (UA)" userId="4e4b8b3d-5f31-49bb-9f80-8a25c04abfff" providerId="ADAL" clId="{EE97D3FE-9ACA-4467-98E5-532EC45D9D1C}" dt="2024-03-01T09:47:18.226" v="9057" actId="1076"/>
          <ac:spMkLst>
            <pc:docMk/>
            <pc:sldMk cId="2067837237" sldId="899"/>
            <ac:spMk id="38" creationId="{97202C5A-6B65-75B4-361A-B6E81DBA1028}"/>
          </ac:spMkLst>
        </pc:spChg>
        <pc:spChg chg="add mod">
          <ac:chgData name="Nataliia Chornii (UA)" userId="4e4b8b3d-5f31-49bb-9f80-8a25c04abfff" providerId="ADAL" clId="{EE97D3FE-9ACA-4467-98E5-532EC45D9D1C}" dt="2024-03-01T09:47:18.226" v="9057" actId="1076"/>
          <ac:spMkLst>
            <pc:docMk/>
            <pc:sldMk cId="2067837237" sldId="899"/>
            <ac:spMk id="39" creationId="{F5BCF2F7-5654-7170-9862-D0527312BE10}"/>
          </ac:spMkLst>
        </pc:spChg>
        <pc:spChg chg="add mod">
          <ac:chgData name="Nataliia Chornii (UA)" userId="4e4b8b3d-5f31-49bb-9f80-8a25c04abfff" providerId="ADAL" clId="{EE97D3FE-9ACA-4467-98E5-532EC45D9D1C}" dt="2024-03-01T09:47:28.488" v="9066" actId="20577"/>
          <ac:spMkLst>
            <pc:docMk/>
            <pc:sldMk cId="2067837237" sldId="899"/>
            <ac:spMk id="40" creationId="{29BA4A71-B7C9-A424-C282-D4ED9B1216C9}"/>
          </ac:spMkLst>
        </pc:spChg>
        <pc:spChg chg="add mod">
          <ac:chgData name="Nataliia Chornii (UA)" userId="4e4b8b3d-5f31-49bb-9f80-8a25c04abfff" providerId="ADAL" clId="{EE97D3FE-9ACA-4467-98E5-532EC45D9D1C}" dt="2024-03-01T09:47:18.226" v="9057" actId="1076"/>
          <ac:spMkLst>
            <pc:docMk/>
            <pc:sldMk cId="2067837237" sldId="899"/>
            <ac:spMk id="41" creationId="{0FF1845D-4220-25ED-DA95-9310DA52A0A7}"/>
          </ac:spMkLst>
        </pc:spChg>
        <pc:spChg chg="add mod">
          <ac:chgData name="Nataliia Chornii (UA)" userId="4e4b8b3d-5f31-49bb-9f80-8a25c04abfff" providerId="ADAL" clId="{EE97D3FE-9ACA-4467-98E5-532EC45D9D1C}" dt="2024-03-01T09:47:18.226" v="9057" actId="1076"/>
          <ac:spMkLst>
            <pc:docMk/>
            <pc:sldMk cId="2067837237" sldId="899"/>
            <ac:spMk id="42" creationId="{55FA582E-FF70-3B73-B78C-A3C26481B26E}"/>
          </ac:spMkLst>
        </pc:spChg>
        <pc:spChg chg="add mod">
          <ac:chgData name="Nataliia Chornii (UA)" userId="4e4b8b3d-5f31-49bb-9f80-8a25c04abfff" providerId="ADAL" clId="{EE97D3FE-9ACA-4467-98E5-532EC45D9D1C}" dt="2024-03-01T09:47:29.802" v="9069" actId="20577"/>
          <ac:spMkLst>
            <pc:docMk/>
            <pc:sldMk cId="2067837237" sldId="899"/>
            <ac:spMk id="43" creationId="{A4C86A5D-5866-D51D-FE31-1FACF697AC6E}"/>
          </ac:spMkLst>
        </pc:spChg>
        <pc:spChg chg="add mod">
          <ac:chgData name="Nataliia Chornii (UA)" userId="4e4b8b3d-5f31-49bb-9f80-8a25c04abfff" providerId="ADAL" clId="{EE97D3FE-9ACA-4467-98E5-532EC45D9D1C}" dt="2024-03-01T09:47:18.226" v="9057" actId="1076"/>
          <ac:spMkLst>
            <pc:docMk/>
            <pc:sldMk cId="2067837237" sldId="899"/>
            <ac:spMk id="44" creationId="{71332463-0F59-696D-65D0-086539192E2F}"/>
          </ac:spMkLst>
        </pc:spChg>
        <pc:spChg chg="add mod">
          <ac:chgData name="Nataliia Chornii (UA)" userId="4e4b8b3d-5f31-49bb-9f80-8a25c04abfff" providerId="ADAL" clId="{EE97D3FE-9ACA-4467-98E5-532EC45D9D1C}" dt="2024-03-01T09:47:18.226" v="9057" actId="1076"/>
          <ac:spMkLst>
            <pc:docMk/>
            <pc:sldMk cId="2067837237" sldId="899"/>
            <ac:spMk id="45" creationId="{A09F2D4C-59C0-4533-2F78-95B3165B33BF}"/>
          </ac:spMkLst>
        </pc:spChg>
        <pc:spChg chg="add mod">
          <ac:chgData name="Nataliia Chornii (UA)" userId="4e4b8b3d-5f31-49bb-9f80-8a25c04abfff" providerId="ADAL" clId="{EE97D3FE-9ACA-4467-98E5-532EC45D9D1C}" dt="2024-03-01T09:48:06.769" v="9135" actId="553"/>
          <ac:spMkLst>
            <pc:docMk/>
            <pc:sldMk cId="2067837237" sldId="899"/>
            <ac:spMk id="46" creationId="{D68576F3-035C-863F-7882-50755D2DB247}"/>
          </ac:spMkLst>
        </pc:spChg>
        <pc:spChg chg="add mod">
          <ac:chgData name="Nataliia Chornii (UA)" userId="4e4b8b3d-5f31-49bb-9f80-8a25c04abfff" providerId="ADAL" clId="{EE97D3FE-9ACA-4467-98E5-532EC45D9D1C}" dt="2024-03-01T09:47:18.226" v="9057" actId="1076"/>
          <ac:spMkLst>
            <pc:docMk/>
            <pc:sldMk cId="2067837237" sldId="899"/>
            <ac:spMk id="47" creationId="{29B25CBF-74E0-FC8C-7D77-DF0199AB19BA}"/>
          </ac:spMkLst>
        </pc:spChg>
        <pc:spChg chg="add mod">
          <ac:chgData name="Nataliia Chornii (UA)" userId="4e4b8b3d-5f31-49bb-9f80-8a25c04abfff" providerId="ADAL" clId="{EE97D3FE-9ACA-4467-98E5-532EC45D9D1C}" dt="2024-03-01T09:47:18.226" v="9057" actId="1076"/>
          <ac:spMkLst>
            <pc:docMk/>
            <pc:sldMk cId="2067837237" sldId="899"/>
            <ac:spMk id="48" creationId="{888917C4-07F0-CFA2-C0F7-9FA29AF00CB6}"/>
          </ac:spMkLst>
        </pc:spChg>
        <pc:spChg chg="add mod">
          <ac:chgData name="Nataliia Chornii (UA)" userId="4e4b8b3d-5f31-49bb-9f80-8a25c04abfff" providerId="ADAL" clId="{EE97D3FE-9ACA-4467-98E5-532EC45D9D1C}" dt="2024-03-01T09:47:18.226" v="9057" actId="1076"/>
          <ac:spMkLst>
            <pc:docMk/>
            <pc:sldMk cId="2067837237" sldId="899"/>
            <ac:spMk id="49" creationId="{D89C0A52-02D3-7AC3-F0C9-FF063EF637C1}"/>
          </ac:spMkLst>
        </pc:spChg>
        <pc:spChg chg="add mod">
          <ac:chgData name="Nataliia Chornii (UA)" userId="4e4b8b3d-5f31-49bb-9f80-8a25c04abfff" providerId="ADAL" clId="{EE97D3FE-9ACA-4467-98E5-532EC45D9D1C}" dt="2024-03-01T09:47:18.226" v="9057" actId="1076"/>
          <ac:spMkLst>
            <pc:docMk/>
            <pc:sldMk cId="2067837237" sldId="899"/>
            <ac:spMk id="50" creationId="{9AD9BCDB-1E9E-788D-9A3F-66335EA1644A}"/>
          </ac:spMkLst>
        </pc:spChg>
        <pc:spChg chg="add mod">
          <ac:chgData name="Nataliia Chornii (UA)" userId="4e4b8b3d-5f31-49bb-9f80-8a25c04abfff" providerId="ADAL" clId="{EE97D3FE-9ACA-4467-98E5-532EC45D9D1C}" dt="2024-03-01T09:47:18.226" v="9057" actId="1076"/>
          <ac:spMkLst>
            <pc:docMk/>
            <pc:sldMk cId="2067837237" sldId="899"/>
            <ac:spMk id="51" creationId="{ECC22457-F135-8C98-A349-CC508DDA20F2}"/>
          </ac:spMkLst>
        </pc:spChg>
        <pc:spChg chg="add mod">
          <ac:chgData name="Nataliia Chornii (UA)" userId="4e4b8b3d-5f31-49bb-9f80-8a25c04abfff" providerId="ADAL" clId="{EE97D3FE-9ACA-4467-98E5-532EC45D9D1C}" dt="2024-03-01T09:49:58.439" v="9164" actId="12789"/>
          <ac:spMkLst>
            <pc:docMk/>
            <pc:sldMk cId="2067837237" sldId="899"/>
            <ac:spMk id="52" creationId="{05743857-0CDF-A43A-5EA0-85F52B06DC59}"/>
          </ac:spMkLst>
        </pc:spChg>
        <pc:spChg chg="add mod">
          <ac:chgData name="Nataliia Chornii (UA)" userId="4e4b8b3d-5f31-49bb-9f80-8a25c04abfff" providerId="ADAL" clId="{EE97D3FE-9ACA-4467-98E5-532EC45D9D1C}" dt="2024-03-01T09:47:18.226" v="9057" actId="1076"/>
          <ac:spMkLst>
            <pc:docMk/>
            <pc:sldMk cId="2067837237" sldId="899"/>
            <ac:spMk id="53" creationId="{5E0B80E0-15A4-44DA-D0CB-1EFD5B42B5C8}"/>
          </ac:spMkLst>
        </pc:spChg>
        <pc:spChg chg="add mod">
          <ac:chgData name="Nataliia Chornii (UA)" userId="4e4b8b3d-5f31-49bb-9f80-8a25c04abfff" providerId="ADAL" clId="{EE97D3FE-9ACA-4467-98E5-532EC45D9D1C}" dt="2024-03-01T09:47:18.226" v="9057" actId="1076"/>
          <ac:spMkLst>
            <pc:docMk/>
            <pc:sldMk cId="2067837237" sldId="899"/>
            <ac:spMk id="54" creationId="{C75DD2F1-5D17-470B-3ED8-5421FE96E2B3}"/>
          </ac:spMkLst>
        </pc:spChg>
        <pc:spChg chg="add mod">
          <ac:chgData name="Nataliia Chornii (UA)" userId="4e4b8b3d-5f31-49bb-9f80-8a25c04abfff" providerId="ADAL" clId="{EE97D3FE-9ACA-4467-98E5-532EC45D9D1C}" dt="2024-03-01T09:47:18.226" v="9057" actId="1076"/>
          <ac:spMkLst>
            <pc:docMk/>
            <pc:sldMk cId="2067837237" sldId="899"/>
            <ac:spMk id="55" creationId="{6C2B476F-6CF6-01F8-AA2A-7A6F775F0248}"/>
          </ac:spMkLst>
        </pc:spChg>
        <pc:spChg chg="add mod">
          <ac:chgData name="Nataliia Chornii (UA)" userId="4e4b8b3d-5f31-49bb-9f80-8a25c04abfff" providerId="ADAL" clId="{EE97D3FE-9ACA-4467-98E5-532EC45D9D1C}" dt="2024-03-01T09:50:05.146" v="9170" actId="12788"/>
          <ac:spMkLst>
            <pc:docMk/>
            <pc:sldMk cId="2067837237" sldId="899"/>
            <ac:spMk id="56" creationId="{968930DB-9B23-525A-E054-12977143D86D}"/>
          </ac:spMkLst>
        </pc:spChg>
        <pc:spChg chg="del mod topLvl">
          <ac:chgData name="Nataliia Chornii (UA)" userId="4e4b8b3d-5f31-49bb-9f80-8a25c04abfff" providerId="ADAL" clId="{EE97D3FE-9ACA-4467-98E5-532EC45D9D1C}" dt="2024-03-01T09:49:07.277" v="9143" actId="478"/>
          <ac:spMkLst>
            <pc:docMk/>
            <pc:sldMk cId="2067837237" sldId="899"/>
            <ac:spMk id="59" creationId="{D3C7FAF1-E4E2-86B4-38AE-B2BAA96EF374}"/>
          </ac:spMkLst>
        </pc:spChg>
        <pc:spChg chg="del mod topLvl">
          <ac:chgData name="Nataliia Chornii (UA)" userId="4e4b8b3d-5f31-49bb-9f80-8a25c04abfff" providerId="ADAL" clId="{EE97D3FE-9ACA-4467-98E5-532EC45D9D1C}" dt="2024-03-01T09:49:07.277" v="9143" actId="478"/>
          <ac:spMkLst>
            <pc:docMk/>
            <pc:sldMk cId="2067837237" sldId="899"/>
            <ac:spMk id="60" creationId="{5A62B2EC-CB8F-3417-0AE8-849AEC77153B}"/>
          </ac:spMkLst>
        </pc:spChg>
        <pc:spChg chg="del mod topLvl">
          <ac:chgData name="Nataliia Chornii (UA)" userId="4e4b8b3d-5f31-49bb-9f80-8a25c04abfff" providerId="ADAL" clId="{EE97D3FE-9ACA-4467-98E5-532EC45D9D1C}" dt="2024-03-01T09:49:07.277" v="9143" actId="478"/>
          <ac:spMkLst>
            <pc:docMk/>
            <pc:sldMk cId="2067837237" sldId="899"/>
            <ac:spMk id="61" creationId="{16F82557-9389-F1F1-2304-8006322A6FDE}"/>
          </ac:spMkLst>
        </pc:spChg>
        <pc:spChg chg="del mod topLvl">
          <ac:chgData name="Nataliia Chornii (UA)" userId="4e4b8b3d-5f31-49bb-9f80-8a25c04abfff" providerId="ADAL" clId="{EE97D3FE-9ACA-4467-98E5-532EC45D9D1C}" dt="2024-03-01T09:49:07.277" v="9143" actId="478"/>
          <ac:spMkLst>
            <pc:docMk/>
            <pc:sldMk cId="2067837237" sldId="899"/>
            <ac:spMk id="62" creationId="{0B920AB4-021E-7BB8-39C6-B8EC0E9B6BC9}"/>
          </ac:spMkLst>
        </pc:spChg>
        <pc:spChg chg="del mod topLvl">
          <ac:chgData name="Nataliia Chornii (UA)" userId="4e4b8b3d-5f31-49bb-9f80-8a25c04abfff" providerId="ADAL" clId="{EE97D3FE-9ACA-4467-98E5-532EC45D9D1C}" dt="2024-03-01T09:49:07.277" v="9143" actId="478"/>
          <ac:spMkLst>
            <pc:docMk/>
            <pc:sldMk cId="2067837237" sldId="899"/>
            <ac:spMk id="63" creationId="{4A183527-5DCB-0674-AB73-46073BE91EF7}"/>
          </ac:spMkLst>
        </pc:spChg>
        <pc:spChg chg="del mod topLvl">
          <ac:chgData name="Nataliia Chornii (UA)" userId="4e4b8b3d-5f31-49bb-9f80-8a25c04abfff" providerId="ADAL" clId="{EE97D3FE-9ACA-4467-98E5-532EC45D9D1C}" dt="2024-03-01T09:49:07.277" v="9143" actId="478"/>
          <ac:spMkLst>
            <pc:docMk/>
            <pc:sldMk cId="2067837237" sldId="899"/>
            <ac:spMk id="64" creationId="{CAD622F6-C3D0-2FF2-09D9-D5118928C762}"/>
          </ac:spMkLst>
        </pc:spChg>
        <pc:spChg chg="add mod">
          <ac:chgData name="Nataliia Chornii (UA)" userId="4e4b8b3d-5f31-49bb-9f80-8a25c04abfff" providerId="ADAL" clId="{EE97D3FE-9ACA-4467-98E5-532EC45D9D1C}" dt="2024-03-01T09:49:58.439" v="9164" actId="12789"/>
          <ac:spMkLst>
            <pc:docMk/>
            <pc:sldMk cId="2067837237" sldId="899"/>
            <ac:spMk id="65" creationId="{DC677933-1B8A-C025-D261-38B3BC7D1CAB}"/>
          </ac:spMkLst>
        </pc:spChg>
        <pc:spChg chg="add mod">
          <ac:chgData name="Nataliia Chornii (UA)" userId="4e4b8b3d-5f31-49bb-9f80-8a25c04abfff" providerId="ADAL" clId="{EE97D3FE-9ACA-4467-98E5-532EC45D9D1C}" dt="2024-03-01T09:50:07.936" v="9171" actId="408"/>
          <ac:spMkLst>
            <pc:docMk/>
            <pc:sldMk cId="2067837237" sldId="899"/>
            <ac:spMk id="66" creationId="{845CCFB5-5C4C-F589-F3D4-D0E788F2288D}"/>
          </ac:spMkLst>
        </pc:spChg>
        <pc:spChg chg="add mod">
          <ac:chgData name="Nataliia Chornii (UA)" userId="4e4b8b3d-5f31-49bb-9f80-8a25c04abfff" providerId="ADAL" clId="{EE97D3FE-9ACA-4467-98E5-532EC45D9D1C}" dt="2024-03-01T09:50:07.936" v="9171" actId="408"/>
          <ac:spMkLst>
            <pc:docMk/>
            <pc:sldMk cId="2067837237" sldId="899"/>
            <ac:spMk id="67" creationId="{A50A144C-4C97-0872-3050-6D5F103E3262}"/>
          </ac:spMkLst>
        </pc:spChg>
        <pc:spChg chg="add mod">
          <ac:chgData name="Nataliia Chornii (UA)" userId="4e4b8b3d-5f31-49bb-9f80-8a25c04abfff" providerId="ADAL" clId="{EE97D3FE-9ACA-4467-98E5-532EC45D9D1C}" dt="2024-03-01T09:50:07.936" v="9171" actId="408"/>
          <ac:spMkLst>
            <pc:docMk/>
            <pc:sldMk cId="2067837237" sldId="899"/>
            <ac:spMk id="68" creationId="{34222193-1394-3356-2D2C-EB535CD93471}"/>
          </ac:spMkLst>
        </pc:spChg>
        <pc:spChg chg="add mod">
          <ac:chgData name="Nataliia Chornii (UA)" userId="4e4b8b3d-5f31-49bb-9f80-8a25c04abfff" providerId="ADAL" clId="{EE97D3FE-9ACA-4467-98E5-532EC45D9D1C}" dt="2024-03-01T09:50:05.146" v="9170" actId="12788"/>
          <ac:spMkLst>
            <pc:docMk/>
            <pc:sldMk cId="2067837237" sldId="899"/>
            <ac:spMk id="69" creationId="{8411A793-66D5-DBCC-A794-EB381877B75D}"/>
          </ac:spMkLst>
        </pc:spChg>
        <pc:grpChg chg="add del mod">
          <ac:chgData name="Nataliia Chornii (UA)" userId="4e4b8b3d-5f31-49bb-9f80-8a25c04abfff" providerId="ADAL" clId="{EE97D3FE-9ACA-4467-98E5-532EC45D9D1C}" dt="2024-03-11T14:21:39.997" v="23971" actId="165"/>
          <ac:grpSpMkLst>
            <pc:docMk/>
            <pc:sldMk cId="2067837237" sldId="899"/>
            <ac:grpSpMk id="12" creationId="{599F4E59-2B4D-12F4-6EC7-1D59E06E1DAB}"/>
          </ac:grpSpMkLst>
        </pc:grpChg>
        <pc:grpChg chg="add mod">
          <ac:chgData name="Nataliia Chornii (UA)" userId="4e4b8b3d-5f31-49bb-9f80-8a25c04abfff" providerId="ADAL" clId="{EE97D3FE-9ACA-4467-98E5-532EC45D9D1C}" dt="2024-03-11T14:22:26.329" v="24029" actId="164"/>
          <ac:grpSpMkLst>
            <pc:docMk/>
            <pc:sldMk cId="2067837237" sldId="899"/>
            <ac:grpSpMk id="23" creationId="{42EFEEDE-6CBD-2377-66ED-B2064FDA7EAB}"/>
          </ac:grpSpMkLst>
        </pc:grpChg>
        <pc:grpChg chg="add del mod">
          <ac:chgData name="Nataliia Chornii (UA)" userId="4e4b8b3d-5f31-49bb-9f80-8a25c04abfff" providerId="ADAL" clId="{EE97D3FE-9ACA-4467-98E5-532EC45D9D1C}" dt="2024-03-01T09:49:05.096" v="9142" actId="165"/>
          <ac:grpSpMkLst>
            <pc:docMk/>
            <pc:sldMk cId="2067837237" sldId="899"/>
            <ac:grpSpMk id="57" creationId="{2A296883-BFE4-3721-112F-2253B0AB6BC4}"/>
          </ac:grpSpMkLst>
        </pc:grpChg>
        <pc:graphicFrameChg chg="add mod ord modVis replST">
          <ac:chgData name="Nataliia Chornii (UA)" userId="4e4b8b3d-5f31-49bb-9f80-8a25c04abfff" providerId="ADAL" clId="{EE97D3FE-9ACA-4467-98E5-532EC45D9D1C}" dt="2024-03-01T09:49:09.599" v="9152"/>
          <ac:graphicFrameMkLst>
            <pc:docMk/>
            <pc:sldMk cId="2067837237" sldId="899"/>
            <ac:graphicFrameMk id="7" creationId="{4055D6C6-0BE1-4332-EFB4-363940C0A63C}"/>
          </ac:graphicFrameMkLst>
        </pc:graphicFrameChg>
        <pc:cxnChg chg="mod topLvl">
          <ac:chgData name="Nataliia Chornii (UA)" userId="4e4b8b3d-5f31-49bb-9f80-8a25c04abfff" providerId="ADAL" clId="{EE97D3FE-9ACA-4467-98E5-532EC45D9D1C}" dt="2024-03-01T09:49:17.695" v="9154" actId="1076"/>
          <ac:cxnSpMkLst>
            <pc:docMk/>
            <pc:sldMk cId="2067837237" sldId="899"/>
            <ac:cxnSpMk id="58" creationId="{40D223D7-59FB-34E8-848D-B3340127E7BE}"/>
          </ac:cxnSpMkLst>
        </pc:cxnChg>
      </pc:sldChg>
      <pc:sldChg chg="addSp delSp modSp mod">
        <pc:chgData name="Nataliia Chornii (UA)" userId="4e4b8b3d-5f31-49bb-9f80-8a25c04abfff" providerId="ADAL" clId="{EE97D3FE-9ACA-4467-98E5-532EC45D9D1C}" dt="2024-03-11T14:22:35.765" v="24030"/>
        <pc:sldMkLst>
          <pc:docMk/>
          <pc:sldMk cId="1735191326" sldId="900"/>
        </pc:sldMkLst>
        <pc:spChg chg="mod ord">
          <ac:chgData name="Nataliia Chornii (UA)" userId="4e4b8b3d-5f31-49bb-9f80-8a25c04abfff" providerId="ADAL" clId="{EE97D3FE-9ACA-4467-98E5-532EC45D9D1C}" dt="2024-03-01T09:46:26.352" v="8996"/>
          <ac:spMkLst>
            <pc:docMk/>
            <pc:sldMk cId="1735191326" sldId="900"/>
            <ac:spMk id="2" creationId="{C697EF02-3183-316C-47B1-AAA43503E885}"/>
          </ac:spMkLst>
        </pc:spChg>
        <pc:spChg chg="mod ord">
          <ac:chgData name="Nataliia Chornii (UA)" userId="4e4b8b3d-5f31-49bb-9f80-8a25c04abfff" providerId="ADAL" clId="{EE97D3FE-9ACA-4467-98E5-532EC45D9D1C}" dt="2024-03-01T09:46:26.352" v="8990"/>
          <ac:spMkLst>
            <pc:docMk/>
            <pc:sldMk cId="1735191326" sldId="900"/>
            <ac:spMk id="3" creationId="{02A7C9EB-E60F-E4DD-7BE8-A36BF399BA1F}"/>
          </ac:spMkLst>
        </pc:spChg>
        <pc:spChg chg="mod ord">
          <ac:chgData name="Nataliia Chornii (UA)" userId="4e4b8b3d-5f31-49bb-9f80-8a25c04abfff" providerId="ADAL" clId="{EE97D3FE-9ACA-4467-98E5-532EC45D9D1C}" dt="2024-03-01T09:46:26.352" v="8992"/>
          <ac:spMkLst>
            <pc:docMk/>
            <pc:sldMk cId="1735191326" sldId="900"/>
            <ac:spMk id="4" creationId="{D7358D30-8A69-1769-6574-925287413D76}"/>
          </ac:spMkLst>
        </pc:spChg>
        <pc:spChg chg="del">
          <ac:chgData name="Nataliia Chornii (UA)" userId="4e4b8b3d-5f31-49bb-9f80-8a25c04abfff" providerId="ADAL" clId="{EE97D3FE-9ACA-4467-98E5-532EC45D9D1C}" dt="2024-03-01T09:39:16.235" v="8493" actId="478"/>
          <ac:spMkLst>
            <pc:docMk/>
            <pc:sldMk cId="1735191326" sldId="900"/>
            <ac:spMk id="5" creationId="{0B17BD84-88AC-98C1-0560-846DD233D35D}"/>
          </ac:spMkLst>
        </pc:spChg>
        <pc:spChg chg="add mod">
          <ac:chgData name="Nataliia Chornii (UA)" userId="4e4b8b3d-5f31-49bb-9f80-8a25c04abfff" providerId="ADAL" clId="{EE97D3FE-9ACA-4467-98E5-532EC45D9D1C}" dt="2024-03-11T14:22:35.765" v="24030"/>
          <ac:spMkLst>
            <pc:docMk/>
            <pc:sldMk cId="1735191326" sldId="900"/>
            <ac:spMk id="5" creationId="{775EC90E-5DCE-2B24-A5AB-0F9245BDD3E7}"/>
          </ac:spMkLst>
        </pc:spChg>
        <pc:spChg chg="del">
          <ac:chgData name="Nataliia Chornii (UA)" userId="4e4b8b3d-5f31-49bb-9f80-8a25c04abfff" providerId="ADAL" clId="{EE97D3FE-9ACA-4467-98E5-532EC45D9D1C}" dt="2024-03-01T09:39:16.235" v="8493" actId="478"/>
          <ac:spMkLst>
            <pc:docMk/>
            <pc:sldMk cId="1735191326" sldId="900"/>
            <ac:spMk id="6" creationId="{85A3FF08-7671-32B6-5C7B-EA4FB751C16A}"/>
          </ac:spMkLst>
        </pc:spChg>
        <pc:spChg chg="add del mod modVis">
          <ac:chgData name="Nataliia Chornii (UA)" userId="4e4b8b3d-5f31-49bb-9f80-8a25c04abfff" providerId="ADAL" clId="{EE97D3FE-9ACA-4467-98E5-532EC45D9D1C}" dt="2024-03-01T08:48:59.046" v="1140"/>
          <ac:spMkLst>
            <pc:docMk/>
            <pc:sldMk cId="1735191326" sldId="900"/>
            <ac:spMk id="7" creationId="{5C461453-637A-57A7-A162-2A2A4549E3EE}"/>
          </ac:spMkLst>
        </pc:spChg>
        <pc:spChg chg="mod">
          <ac:chgData name="Nataliia Chornii (UA)" userId="4e4b8b3d-5f31-49bb-9f80-8a25c04abfff" providerId="ADAL" clId="{EE97D3FE-9ACA-4467-98E5-532EC45D9D1C}" dt="2024-03-11T14:22:35.765" v="24030"/>
          <ac:spMkLst>
            <pc:docMk/>
            <pc:sldMk cId="1735191326" sldId="900"/>
            <ac:spMk id="7" creationId="{FD2B3D1E-AD95-A74D-FB6E-3BEB3BE67A20}"/>
          </ac:spMkLst>
        </pc:spChg>
        <pc:spChg chg="mod">
          <ac:chgData name="Nataliia Chornii (UA)" userId="4e4b8b3d-5f31-49bb-9f80-8a25c04abfff" providerId="ADAL" clId="{EE97D3FE-9ACA-4467-98E5-532EC45D9D1C}" dt="2024-03-11T14:22:35.765" v="24030"/>
          <ac:spMkLst>
            <pc:docMk/>
            <pc:sldMk cId="1735191326" sldId="900"/>
            <ac:spMk id="8" creationId="{0D78293A-C74F-1335-8212-2305127ACD61}"/>
          </ac:spMkLst>
        </pc:spChg>
        <pc:spChg chg="del">
          <ac:chgData name="Nataliia Chornii (UA)" userId="4e4b8b3d-5f31-49bb-9f80-8a25c04abfff" providerId="ADAL" clId="{EE97D3FE-9ACA-4467-98E5-532EC45D9D1C}" dt="2024-03-01T09:39:06.670" v="8490" actId="478"/>
          <ac:spMkLst>
            <pc:docMk/>
            <pc:sldMk cId="1735191326" sldId="900"/>
            <ac:spMk id="8" creationId="{6780DFA8-A076-77AE-8C21-E7D9C3E8632C}"/>
          </ac:spMkLst>
        </pc:spChg>
        <pc:spChg chg="add del mod modVis">
          <ac:chgData name="Nataliia Chornii (UA)" userId="4e4b8b3d-5f31-49bb-9f80-8a25c04abfff" providerId="ADAL" clId="{EE97D3FE-9ACA-4467-98E5-532EC45D9D1C}" dt="2024-03-01T08:49:33.677" v="2766"/>
          <ac:spMkLst>
            <pc:docMk/>
            <pc:sldMk cId="1735191326" sldId="900"/>
            <ac:spMk id="10" creationId="{978757F9-C2A3-1ADD-71D9-19DAA37F6789}"/>
          </ac:spMkLst>
        </pc:spChg>
        <pc:spChg chg="mod">
          <ac:chgData name="Nataliia Chornii (UA)" userId="4e4b8b3d-5f31-49bb-9f80-8a25c04abfff" providerId="ADAL" clId="{EE97D3FE-9ACA-4467-98E5-532EC45D9D1C}" dt="2024-03-11T14:22:35.765" v="24030"/>
          <ac:spMkLst>
            <pc:docMk/>
            <pc:sldMk cId="1735191326" sldId="900"/>
            <ac:spMk id="10" creationId="{D2FB12B5-A789-9937-D320-F306F221F4BF}"/>
          </ac:spMkLst>
        </pc:spChg>
        <pc:spChg chg="mod">
          <ac:chgData name="Nataliia Chornii (UA)" userId="4e4b8b3d-5f31-49bb-9f80-8a25c04abfff" providerId="ADAL" clId="{EE97D3FE-9ACA-4467-98E5-532EC45D9D1C}" dt="2024-03-11T14:22:35.765" v="24030"/>
          <ac:spMkLst>
            <pc:docMk/>
            <pc:sldMk cId="1735191326" sldId="900"/>
            <ac:spMk id="11" creationId="{00EA6F79-EF7C-9A4F-4131-6CCE0536F341}"/>
          </ac:spMkLst>
        </pc:spChg>
        <pc:spChg chg="add del mod modVis">
          <ac:chgData name="Nataliia Chornii (UA)" userId="4e4b8b3d-5f31-49bb-9f80-8a25c04abfff" providerId="ADAL" clId="{EE97D3FE-9ACA-4467-98E5-532EC45D9D1C}" dt="2024-03-01T08:49:59.741" v="3754"/>
          <ac:spMkLst>
            <pc:docMk/>
            <pc:sldMk cId="1735191326" sldId="900"/>
            <ac:spMk id="11" creationId="{27478A5C-DB92-CD34-E904-EDF6ED59F01F}"/>
          </ac:spMkLst>
        </pc:spChg>
        <pc:spChg chg="mod">
          <ac:chgData name="Nataliia Chornii (UA)" userId="4e4b8b3d-5f31-49bb-9f80-8a25c04abfff" providerId="ADAL" clId="{EE97D3FE-9ACA-4467-98E5-532EC45D9D1C}" dt="2024-03-11T14:22:35.765" v="24030"/>
          <ac:spMkLst>
            <pc:docMk/>
            <pc:sldMk cId="1735191326" sldId="900"/>
            <ac:spMk id="12" creationId="{A51AE326-133D-5E97-22A0-4425C676544E}"/>
          </ac:spMkLst>
        </pc:spChg>
        <pc:spChg chg="add del mod modVis">
          <ac:chgData name="Nataliia Chornii (UA)" userId="4e4b8b3d-5f31-49bb-9f80-8a25c04abfff" providerId="ADAL" clId="{EE97D3FE-9ACA-4467-98E5-532EC45D9D1C}" dt="2024-03-01T08:51:26.043" v="4742"/>
          <ac:spMkLst>
            <pc:docMk/>
            <pc:sldMk cId="1735191326" sldId="900"/>
            <ac:spMk id="12" creationId="{E01C8159-B252-B5FB-909A-A52F671AD1BA}"/>
          </ac:spMkLst>
        </pc:spChg>
        <pc:spChg chg="add del mod modVis">
          <ac:chgData name="Nataliia Chornii (UA)" userId="4e4b8b3d-5f31-49bb-9f80-8a25c04abfff" providerId="ADAL" clId="{EE97D3FE-9ACA-4467-98E5-532EC45D9D1C}" dt="2024-03-01T08:51:56.063" v="5731"/>
          <ac:spMkLst>
            <pc:docMk/>
            <pc:sldMk cId="1735191326" sldId="900"/>
            <ac:spMk id="13" creationId="{C77C3830-D694-0143-B15E-579B5CDC58D2}"/>
          </ac:spMkLst>
        </pc:spChg>
        <pc:spChg chg="mod">
          <ac:chgData name="Nataliia Chornii (UA)" userId="4e4b8b3d-5f31-49bb-9f80-8a25c04abfff" providerId="ADAL" clId="{EE97D3FE-9ACA-4467-98E5-532EC45D9D1C}" dt="2024-03-11T14:22:35.765" v="24030"/>
          <ac:spMkLst>
            <pc:docMk/>
            <pc:sldMk cId="1735191326" sldId="900"/>
            <ac:spMk id="13" creationId="{EF408812-6A8C-BBBB-2400-49E5D3E443FB}"/>
          </ac:spMkLst>
        </pc:spChg>
        <pc:spChg chg="add del mod modVis">
          <ac:chgData name="Nataliia Chornii (UA)" userId="4e4b8b3d-5f31-49bb-9f80-8a25c04abfff" providerId="ADAL" clId="{EE97D3FE-9ACA-4467-98E5-532EC45D9D1C}" dt="2024-03-01T08:52:18.218" v="6719"/>
          <ac:spMkLst>
            <pc:docMk/>
            <pc:sldMk cId="1735191326" sldId="900"/>
            <ac:spMk id="14" creationId="{DEF1CCE7-F7FC-6B58-D199-CF9F1DEFE188}"/>
          </ac:spMkLst>
        </pc:spChg>
        <pc:spChg chg="add del mod modVis">
          <ac:chgData name="Nataliia Chornii (UA)" userId="4e4b8b3d-5f31-49bb-9f80-8a25c04abfff" providerId="ADAL" clId="{EE97D3FE-9ACA-4467-98E5-532EC45D9D1C}" dt="2024-03-01T09:37:25.895" v="8460"/>
          <ac:spMkLst>
            <pc:docMk/>
            <pc:sldMk cId="1735191326" sldId="900"/>
            <ac:spMk id="15" creationId="{2591292E-D8C8-6E13-7A49-16D0B494AD15}"/>
          </ac:spMkLst>
        </pc:spChg>
        <pc:spChg chg="add mod ord">
          <ac:chgData name="Nataliia Chornii (UA)" userId="4e4b8b3d-5f31-49bb-9f80-8a25c04abfff" providerId="ADAL" clId="{EE97D3FE-9ACA-4467-98E5-532EC45D9D1C}" dt="2024-03-01T09:46:26.352" v="8998"/>
          <ac:spMkLst>
            <pc:docMk/>
            <pc:sldMk cId="1735191326" sldId="900"/>
            <ac:spMk id="16" creationId="{BA798A18-B6C9-5AD5-0309-542D9063F7F3}"/>
          </ac:spMkLst>
        </pc:spChg>
        <pc:spChg chg="add mod ord">
          <ac:chgData name="Nataliia Chornii (UA)" userId="4e4b8b3d-5f31-49bb-9f80-8a25c04abfff" providerId="ADAL" clId="{EE97D3FE-9ACA-4467-98E5-532EC45D9D1C}" dt="2024-03-01T09:46:26.352" v="9000"/>
          <ac:spMkLst>
            <pc:docMk/>
            <pc:sldMk cId="1735191326" sldId="900"/>
            <ac:spMk id="17" creationId="{8151CA2C-8981-B68D-64B7-28A4A90DA327}"/>
          </ac:spMkLst>
        </pc:spChg>
        <pc:spChg chg="mod">
          <ac:chgData name="Nataliia Chornii (UA)" userId="4e4b8b3d-5f31-49bb-9f80-8a25c04abfff" providerId="ADAL" clId="{EE97D3FE-9ACA-4467-98E5-532EC45D9D1C}" dt="2024-03-01T09:40:23.586" v="8497"/>
          <ac:spMkLst>
            <pc:docMk/>
            <pc:sldMk cId="1735191326" sldId="900"/>
            <ac:spMk id="19" creationId="{E2DA1586-CCB8-A79F-6F44-B1FF87521F83}"/>
          </ac:spMkLst>
        </pc:spChg>
        <pc:spChg chg="mod">
          <ac:chgData name="Nataliia Chornii (UA)" userId="4e4b8b3d-5f31-49bb-9f80-8a25c04abfff" providerId="ADAL" clId="{EE97D3FE-9ACA-4467-98E5-532EC45D9D1C}" dt="2024-03-01T09:40:23.586" v="8497"/>
          <ac:spMkLst>
            <pc:docMk/>
            <pc:sldMk cId="1735191326" sldId="900"/>
            <ac:spMk id="20" creationId="{9474AE06-C533-880F-F864-C516A6DD22FA}"/>
          </ac:spMkLst>
        </pc:spChg>
        <pc:spChg chg="del mod">
          <ac:chgData name="Nataliia Chornii (UA)" userId="4e4b8b3d-5f31-49bb-9f80-8a25c04abfff" providerId="ADAL" clId="{EE97D3FE-9ACA-4467-98E5-532EC45D9D1C}" dt="2024-03-01T09:43:39.768" v="8724" actId="478"/>
          <ac:spMkLst>
            <pc:docMk/>
            <pc:sldMk cId="1735191326" sldId="900"/>
            <ac:spMk id="21" creationId="{7AE0AAE5-4EC9-DD53-56C2-33377686F8EF}"/>
          </ac:spMkLst>
        </pc:spChg>
        <pc:spChg chg="del mod">
          <ac:chgData name="Nataliia Chornii (UA)" userId="4e4b8b3d-5f31-49bb-9f80-8a25c04abfff" providerId="ADAL" clId="{EE97D3FE-9ACA-4467-98E5-532EC45D9D1C}" dt="2024-03-01T09:43:39.768" v="8724" actId="478"/>
          <ac:spMkLst>
            <pc:docMk/>
            <pc:sldMk cId="1735191326" sldId="900"/>
            <ac:spMk id="22" creationId="{EC93622C-265E-D387-2605-AE4A4548EFAD}"/>
          </ac:spMkLst>
        </pc:spChg>
        <pc:spChg chg="del mod">
          <ac:chgData name="Nataliia Chornii (UA)" userId="4e4b8b3d-5f31-49bb-9f80-8a25c04abfff" providerId="ADAL" clId="{EE97D3FE-9ACA-4467-98E5-532EC45D9D1C}" dt="2024-03-01T09:43:39.768" v="8724" actId="478"/>
          <ac:spMkLst>
            <pc:docMk/>
            <pc:sldMk cId="1735191326" sldId="900"/>
            <ac:spMk id="23" creationId="{1B89C6A7-D4E1-CA3E-6BF6-16634CCB8552}"/>
          </ac:spMkLst>
        </pc:spChg>
        <pc:spChg chg="del mod">
          <ac:chgData name="Nataliia Chornii (UA)" userId="4e4b8b3d-5f31-49bb-9f80-8a25c04abfff" providerId="ADAL" clId="{EE97D3FE-9ACA-4467-98E5-532EC45D9D1C}" dt="2024-03-01T09:43:39.768" v="8724" actId="478"/>
          <ac:spMkLst>
            <pc:docMk/>
            <pc:sldMk cId="1735191326" sldId="900"/>
            <ac:spMk id="24" creationId="{5FEC99C6-C046-6B8B-B626-B348A583E386}"/>
          </ac:spMkLst>
        </pc:spChg>
        <pc:spChg chg="del mod">
          <ac:chgData name="Nataliia Chornii (UA)" userId="4e4b8b3d-5f31-49bb-9f80-8a25c04abfff" providerId="ADAL" clId="{EE97D3FE-9ACA-4467-98E5-532EC45D9D1C}" dt="2024-03-01T09:43:35.291" v="8722" actId="478"/>
          <ac:spMkLst>
            <pc:docMk/>
            <pc:sldMk cId="1735191326" sldId="900"/>
            <ac:spMk id="25" creationId="{E3A1C324-4553-CB6A-8B81-8B007C858F90}"/>
          </ac:spMkLst>
        </pc:spChg>
        <pc:spChg chg="add mod ord">
          <ac:chgData name="Nataliia Chornii (UA)" userId="4e4b8b3d-5f31-49bb-9f80-8a25c04abfff" providerId="ADAL" clId="{EE97D3FE-9ACA-4467-98E5-532EC45D9D1C}" dt="2024-03-01T09:46:26.352" v="9002"/>
          <ac:spMkLst>
            <pc:docMk/>
            <pc:sldMk cId="1735191326" sldId="900"/>
            <ac:spMk id="26" creationId="{65EC1BE1-13D8-345C-448E-BFA1A08ADD25}"/>
          </ac:spMkLst>
        </pc:spChg>
        <pc:spChg chg="del mod">
          <ac:chgData name="Nataliia Chornii (UA)" userId="4e4b8b3d-5f31-49bb-9f80-8a25c04abfff" providerId="ADAL" clId="{EE97D3FE-9ACA-4467-98E5-532EC45D9D1C}" dt="2024-03-01T09:43:39.768" v="8724" actId="478"/>
          <ac:spMkLst>
            <pc:docMk/>
            <pc:sldMk cId="1735191326" sldId="900"/>
            <ac:spMk id="27" creationId="{8ED5A468-3446-C52F-684C-4DAFAC567CBD}"/>
          </ac:spMkLst>
        </pc:spChg>
        <pc:spChg chg="del mod">
          <ac:chgData name="Nataliia Chornii (UA)" userId="4e4b8b3d-5f31-49bb-9f80-8a25c04abfff" providerId="ADAL" clId="{EE97D3FE-9ACA-4467-98E5-532EC45D9D1C}" dt="2024-03-01T09:43:39.768" v="8724" actId="478"/>
          <ac:spMkLst>
            <pc:docMk/>
            <pc:sldMk cId="1735191326" sldId="900"/>
            <ac:spMk id="28" creationId="{4D83F920-03F2-22B6-3A4C-F3510C600538}"/>
          </ac:spMkLst>
        </pc:spChg>
        <pc:spChg chg="del mod">
          <ac:chgData name="Nataliia Chornii (UA)" userId="4e4b8b3d-5f31-49bb-9f80-8a25c04abfff" providerId="ADAL" clId="{EE97D3FE-9ACA-4467-98E5-532EC45D9D1C}" dt="2024-03-01T09:43:39.768" v="8724" actId="478"/>
          <ac:spMkLst>
            <pc:docMk/>
            <pc:sldMk cId="1735191326" sldId="900"/>
            <ac:spMk id="29" creationId="{A36EBB3A-5319-594E-ADF6-54CF90574679}"/>
          </ac:spMkLst>
        </pc:spChg>
        <pc:spChg chg="mod ord">
          <ac:chgData name="Nataliia Chornii (UA)" userId="4e4b8b3d-5f31-49bb-9f80-8a25c04abfff" providerId="ADAL" clId="{EE97D3FE-9ACA-4467-98E5-532EC45D9D1C}" dt="2024-03-01T09:46:26.352" v="8994"/>
          <ac:spMkLst>
            <pc:docMk/>
            <pc:sldMk cId="1735191326" sldId="900"/>
            <ac:spMk id="30" creationId="{0E5402E0-269A-92B5-BC8D-30D2207F23A4}"/>
          </ac:spMkLst>
        </pc:spChg>
        <pc:spChg chg="del mod">
          <ac:chgData name="Nataliia Chornii (UA)" userId="4e4b8b3d-5f31-49bb-9f80-8a25c04abfff" providerId="ADAL" clId="{EE97D3FE-9ACA-4467-98E5-532EC45D9D1C}" dt="2024-03-01T09:42:28.061" v="8699" actId="478"/>
          <ac:spMkLst>
            <pc:docMk/>
            <pc:sldMk cId="1735191326" sldId="900"/>
            <ac:spMk id="31" creationId="{873D60D4-E5D9-76E3-AEF9-264F4B971AF2}"/>
          </ac:spMkLst>
        </pc:spChg>
        <pc:spChg chg="del mod">
          <ac:chgData name="Nataliia Chornii (UA)" userId="4e4b8b3d-5f31-49bb-9f80-8a25c04abfff" providerId="ADAL" clId="{EE97D3FE-9ACA-4467-98E5-532EC45D9D1C}" dt="2024-03-01T09:42:28.061" v="8699" actId="478"/>
          <ac:spMkLst>
            <pc:docMk/>
            <pc:sldMk cId="1735191326" sldId="900"/>
            <ac:spMk id="32" creationId="{828F63E3-7455-B74D-F267-F3ABBA37707E}"/>
          </ac:spMkLst>
        </pc:spChg>
        <pc:spChg chg="del mod">
          <ac:chgData name="Nataliia Chornii (UA)" userId="4e4b8b3d-5f31-49bb-9f80-8a25c04abfff" providerId="ADAL" clId="{EE97D3FE-9ACA-4467-98E5-532EC45D9D1C}" dt="2024-03-01T09:42:28.061" v="8699" actId="478"/>
          <ac:spMkLst>
            <pc:docMk/>
            <pc:sldMk cId="1735191326" sldId="900"/>
            <ac:spMk id="33" creationId="{5F327F10-6150-0B2C-F4B7-AC6868A99C72}"/>
          </ac:spMkLst>
        </pc:spChg>
        <pc:spChg chg="del mod">
          <ac:chgData name="Nataliia Chornii (UA)" userId="4e4b8b3d-5f31-49bb-9f80-8a25c04abfff" providerId="ADAL" clId="{EE97D3FE-9ACA-4467-98E5-532EC45D9D1C}" dt="2024-03-01T09:42:28.061" v="8699" actId="478"/>
          <ac:spMkLst>
            <pc:docMk/>
            <pc:sldMk cId="1735191326" sldId="900"/>
            <ac:spMk id="34" creationId="{EA15E7A7-0EEE-9431-1144-1E3F177D6BC3}"/>
          </ac:spMkLst>
        </pc:spChg>
        <pc:spChg chg="del">
          <ac:chgData name="Nataliia Chornii (UA)" userId="4e4b8b3d-5f31-49bb-9f80-8a25c04abfff" providerId="ADAL" clId="{EE97D3FE-9ACA-4467-98E5-532EC45D9D1C}" dt="2024-03-01T09:43:37.889" v="8723" actId="478"/>
          <ac:spMkLst>
            <pc:docMk/>
            <pc:sldMk cId="1735191326" sldId="900"/>
            <ac:spMk id="35" creationId="{E26A329B-76CE-04FA-D6CD-A9A7093BE66A}"/>
          </ac:spMkLst>
        </pc:spChg>
        <pc:spChg chg="add del mod modVis">
          <ac:chgData name="Nataliia Chornii (UA)" userId="4e4b8b3d-5f31-49bb-9f80-8a25c04abfff" providerId="ADAL" clId="{EE97D3FE-9ACA-4467-98E5-532EC45D9D1C}" dt="2024-03-01T09:41:41.294" v="8634"/>
          <ac:spMkLst>
            <pc:docMk/>
            <pc:sldMk cId="1735191326" sldId="900"/>
            <ac:spMk id="36" creationId="{19649213-F3BD-BEE4-0924-01FE605DB8E5}"/>
          </ac:spMkLst>
        </pc:spChg>
        <pc:spChg chg="add del mod modVis">
          <ac:chgData name="Nataliia Chornii (UA)" userId="4e4b8b3d-5f31-49bb-9f80-8a25c04abfff" providerId="ADAL" clId="{EE97D3FE-9ACA-4467-98E5-532EC45D9D1C}" dt="2024-03-01T09:41:43.110" v="8672"/>
          <ac:spMkLst>
            <pc:docMk/>
            <pc:sldMk cId="1735191326" sldId="900"/>
            <ac:spMk id="37" creationId="{89FFEF4B-A020-3652-FBF4-AECD16F743CA}"/>
          </ac:spMkLst>
        </pc:spChg>
        <pc:spChg chg="add mod ord topLvl">
          <ac:chgData name="Nataliia Chornii (UA)" userId="4e4b8b3d-5f31-49bb-9f80-8a25c04abfff" providerId="ADAL" clId="{EE97D3FE-9ACA-4467-98E5-532EC45D9D1C}" dt="2024-03-01T09:46:26.352" v="9004"/>
          <ac:spMkLst>
            <pc:docMk/>
            <pc:sldMk cId="1735191326" sldId="900"/>
            <ac:spMk id="38" creationId="{B3BF45B1-878A-6384-B57A-0E2DDAE87F72}"/>
          </ac:spMkLst>
        </pc:spChg>
        <pc:spChg chg="add mod ord topLvl">
          <ac:chgData name="Nataliia Chornii (UA)" userId="4e4b8b3d-5f31-49bb-9f80-8a25c04abfff" providerId="ADAL" clId="{EE97D3FE-9ACA-4467-98E5-532EC45D9D1C}" dt="2024-03-01T09:46:26.352" v="9006"/>
          <ac:spMkLst>
            <pc:docMk/>
            <pc:sldMk cId="1735191326" sldId="900"/>
            <ac:spMk id="39" creationId="{6FBC0546-09C1-004A-40CC-EF2125A3E636}"/>
          </ac:spMkLst>
        </pc:spChg>
        <pc:spChg chg="add mod ord topLvl">
          <ac:chgData name="Nataliia Chornii (UA)" userId="4e4b8b3d-5f31-49bb-9f80-8a25c04abfff" providerId="ADAL" clId="{EE97D3FE-9ACA-4467-98E5-532EC45D9D1C}" dt="2024-03-01T09:46:26.352" v="9008"/>
          <ac:spMkLst>
            <pc:docMk/>
            <pc:sldMk cId="1735191326" sldId="900"/>
            <ac:spMk id="40" creationId="{57B73D69-1346-AB3E-2B83-74CE4618BD54}"/>
          </ac:spMkLst>
        </pc:spChg>
        <pc:spChg chg="mod ord topLvl">
          <ac:chgData name="Nataliia Chornii (UA)" userId="4e4b8b3d-5f31-49bb-9f80-8a25c04abfff" providerId="ADAL" clId="{EE97D3FE-9ACA-4467-98E5-532EC45D9D1C}" dt="2024-03-01T09:46:26.368" v="9010"/>
          <ac:spMkLst>
            <pc:docMk/>
            <pc:sldMk cId="1735191326" sldId="900"/>
            <ac:spMk id="43" creationId="{B7165ACE-6816-8C1A-0E1A-FCA6963F41F4}"/>
          </ac:spMkLst>
        </pc:spChg>
        <pc:spChg chg="mod ord topLvl">
          <ac:chgData name="Nataliia Chornii (UA)" userId="4e4b8b3d-5f31-49bb-9f80-8a25c04abfff" providerId="ADAL" clId="{EE97D3FE-9ACA-4467-98E5-532EC45D9D1C}" dt="2024-03-01T09:46:26.368" v="9012"/>
          <ac:spMkLst>
            <pc:docMk/>
            <pc:sldMk cId="1735191326" sldId="900"/>
            <ac:spMk id="44" creationId="{7B06B257-212B-0CF9-9F65-466A796A3B21}"/>
          </ac:spMkLst>
        </pc:spChg>
        <pc:spChg chg="mod ord topLvl">
          <ac:chgData name="Nataliia Chornii (UA)" userId="4e4b8b3d-5f31-49bb-9f80-8a25c04abfff" providerId="ADAL" clId="{EE97D3FE-9ACA-4467-98E5-532EC45D9D1C}" dt="2024-03-01T09:46:26.368" v="9014"/>
          <ac:spMkLst>
            <pc:docMk/>
            <pc:sldMk cId="1735191326" sldId="900"/>
            <ac:spMk id="45" creationId="{D55CC03F-D983-B21C-EA37-379DE9F97A03}"/>
          </ac:spMkLst>
        </pc:spChg>
        <pc:spChg chg="mod ord topLvl">
          <ac:chgData name="Nataliia Chornii (UA)" userId="4e4b8b3d-5f31-49bb-9f80-8a25c04abfff" providerId="ADAL" clId="{EE97D3FE-9ACA-4467-98E5-532EC45D9D1C}" dt="2024-03-01T09:46:26.368" v="9016"/>
          <ac:spMkLst>
            <pc:docMk/>
            <pc:sldMk cId="1735191326" sldId="900"/>
            <ac:spMk id="47" creationId="{2DD24A6F-2555-7D50-6B9E-19589A959683}"/>
          </ac:spMkLst>
        </pc:spChg>
        <pc:spChg chg="mod ord topLvl">
          <ac:chgData name="Nataliia Chornii (UA)" userId="4e4b8b3d-5f31-49bb-9f80-8a25c04abfff" providerId="ADAL" clId="{EE97D3FE-9ACA-4467-98E5-532EC45D9D1C}" dt="2024-03-01T09:46:26.368" v="9018"/>
          <ac:spMkLst>
            <pc:docMk/>
            <pc:sldMk cId="1735191326" sldId="900"/>
            <ac:spMk id="48" creationId="{CAAFFC2F-2EFD-CD7C-DEEE-DBA02C9CB423}"/>
          </ac:spMkLst>
        </pc:spChg>
        <pc:spChg chg="mod ord topLvl">
          <ac:chgData name="Nataliia Chornii (UA)" userId="4e4b8b3d-5f31-49bb-9f80-8a25c04abfff" providerId="ADAL" clId="{EE97D3FE-9ACA-4467-98E5-532EC45D9D1C}" dt="2024-03-01T09:46:26.368" v="9020"/>
          <ac:spMkLst>
            <pc:docMk/>
            <pc:sldMk cId="1735191326" sldId="900"/>
            <ac:spMk id="49" creationId="{53548C78-2935-71B8-851B-769FCB896034}"/>
          </ac:spMkLst>
        </pc:spChg>
        <pc:spChg chg="mod">
          <ac:chgData name="Nataliia Chornii (UA)" userId="4e4b8b3d-5f31-49bb-9f80-8a25c04abfff" providerId="ADAL" clId="{EE97D3FE-9ACA-4467-98E5-532EC45D9D1C}" dt="2024-03-01T09:42:10.296" v="8688" actId="571"/>
          <ac:spMkLst>
            <pc:docMk/>
            <pc:sldMk cId="1735191326" sldId="900"/>
            <ac:spMk id="51" creationId="{031C9E39-EFEB-1D9B-C790-AD12E36F2AAA}"/>
          </ac:spMkLst>
        </pc:spChg>
        <pc:spChg chg="mod">
          <ac:chgData name="Nataliia Chornii (UA)" userId="4e4b8b3d-5f31-49bb-9f80-8a25c04abfff" providerId="ADAL" clId="{EE97D3FE-9ACA-4467-98E5-532EC45D9D1C}" dt="2024-03-01T09:42:10.296" v="8688" actId="571"/>
          <ac:spMkLst>
            <pc:docMk/>
            <pc:sldMk cId="1735191326" sldId="900"/>
            <ac:spMk id="52" creationId="{2BD843A2-DD40-3CBD-0AB1-A4CF28788AEE}"/>
          </ac:spMkLst>
        </pc:spChg>
        <pc:spChg chg="mod">
          <ac:chgData name="Nataliia Chornii (UA)" userId="4e4b8b3d-5f31-49bb-9f80-8a25c04abfff" providerId="ADAL" clId="{EE97D3FE-9ACA-4467-98E5-532EC45D9D1C}" dt="2024-03-01T09:42:10.296" v="8688" actId="571"/>
          <ac:spMkLst>
            <pc:docMk/>
            <pc:sldMk cId="1735191326" sldId="900"/>
            <ac:spMk id="53" creationId="{C8C5B69A-3C11-93CC-5DAA-BD028FCFFAE4}"/>
          </ac:spMkLst>
        </pc:spChg>
        <pc:spChg chg="mod ord topLvl">
          <ac:chgData name="Nataliia Chornii (UA)" userId="4e4b8b3d-5f31-49bb-9f80-8a25c04abfff" providerId="ADAL" clId="{EE97D3FE-9ACA-4467-98E5-532EC45D9D1C}" dt="2024-03-01T09:46:26.368" v="9022"/>
          <ac:spMkLst>
            <pc:docMk/>
            <pc:sldMk cId="1735191326" sldId="900"/>
            <ac:spMk id="55" creationId="{D19AF0DB-E5A6-2252-087C-6AA7A679E44D}"/>
          </ac:spMkLst>
        </pc:spChg>
        <pc:spChg chg="mod ord topLvl">
          <ac:chgData name="Nataliia Chornii (UA)" userId="4e4b8b3d-5f31-49bb-9f80-8a25c04abfff" providerId="ADAL" clId="{EE97D3FE-9ACA-4467-98E5-532EC45D9D1C}" dt="2024-03-01T09:46:26.368" v="9024"/>
          <ac:spMkLst>
            <pc:docMk/>
            <pc:sldMk cId="1735191326" sldId="900"/>
            <ac:spMk id="56" creationId="{3A969FC1-A5DF-7F7A-364B-B4B37D4AA186}"/>
          </ac:spMkLst>
        </pc:spChg>
        <pc:spChg chg="mod ord topLvl">
          <ac:chgData name="Nataliia Chornii (UA)" userId="4e4b8b3d-5f31-49bb-9f80-8a25c04abfff" providerId="ADAL" clId="{EE97D3FE-9ACA-4467-98E5-532EC45D9D1C}" dt="2024-03-01T09:46:26.368" v="9026"/>
          <ac:spMkLst>
            <pc:docMk/>
            <pc:sldMk cId="1735191326" sldId="900"/>
            <ac:spMk id="57" creationId="{6E357888-D229-2881-630B-92EDB810D202}"/>
          </ac:spMkLst>
        </pc:spChg>
        <pc:spChg chg="add mod ord">
          <ac:chgData name="Nataliia Chornii (UA)" userId="4e4b8b3d-5f31-49bb-9f80-8a25c04abfff" providerId="ADAL" clId="{EE97D3FE-9ACA-4467-98E5-532EC45D9D1C}" dt="2024-03-01T09:46:26.368" v="9028"/>
          <ac:spMkLst>
            <pc:docMk/>
            <pc:sldMk cId="1735191326" sldId="900"/>
            <ac:spMk id="58" creationId="{73A5DA40-EC68-C1DD-E470-027AE8CCAA6A}"/>
          </ac:spMkLst>
        </pc:spChg>
        <pc:spChg chg="add mod ord">
          <ac:chgData name="Nataliia Chornii (UA)" userId="4e4b8b3d-5f31-49bb-9f80-8a25c04abfff" providerId="ADAL" clId="{EE97D3FE-9ACA-4467-98E5-532EC45D9D1C}" dt="2024-03-01T09:46:26.368" v="9030"/>
          <ac:spMkLst>
            <pc:docMk/>
            <pc:sldMk cId="1735191326" sldId="900"/>
            <ac:spMk id="59" creationId="{69BA0589-D566-AAB4-31E4-35DD4F0EA8AD}"/>
          </ac:spMkLst>
        </pc:spChg>
        <pc:spChg chg="add mod ord">
          <ac:chgData name="Nataliia Chornii (UA)" userId="4e4b8b3d-5f31-49bb-9f80-8a25c04abfff" providerId="ADAL" clId="{EE97D3FE-9ACA-4467-98E5-532EC45D9D1C}" dt="2024-03-01T09:46:26.368" v="9032"/>
          <ac:spMkLst>
            <pc:docMk/>
            <pc:sldMk cId="1735191326" sldId="900"/>
            <ac:spMk id="60" creationId="{CB6722E8-D1A5-E761-7A03-E5BE22B6FF50}"/>
          </ac:spMkLst>
        </pc:spChg>
        <pc:spChg chg="add mod ord">
          <ac:chgData name="Nataliia Chornii (UA)" userId="4e4b8b3d-5f31-49bb-9f80-8a25c04abfff" providerId="ADAL" clId="{EE97D3FE-9ACA-4467-98E5-532EC45D9D1C}" dt="2024-03-01T09:53:46.004" v="9279" actId="12788"/>
          <ac:spMkLst>
            <pc:docMk/>
            <pc:sldMk cId="1735191326" sldId="900"/>
            <ac:spMk id="61" creationId="{B96B44FD-B302-C466-E087-68303F31E913}"/>
          </ac:spMkLst>
        </pc:spChg>
        <pc:spChg chg="add mod ord">
          <ac:chgData name="Nataliia Chornii (UA)" userId="4e4b8b3d-5f31-49bb-9f80-8a25c04abfff" providerId="ADAL" clId="{EE97D3FE-9ACA-4467-98E5-532EC45D9D1C}" dt="2024-03-01T09:46:26.368" v="9036"/>
          <ac:spMkLst>
            <pc:docMk/>
            <pc:sldMk cId="1735191326" sldId="900"/>
            <ac:spMk id="62" creationId="{AAF63E4B-E49D-0898-F096-917EC5BB8784}"/>
          </ac:spMkLst>
        </pc:spChg>
        <pc:spChg chg="add mod ord">
          <ac:chgData name="Nataliia Chornii (UA)" userId="4e4b8b3d-5f31-49bb-9f80-8a25c04abfff" providerId="ADAL" clId="{EE97D3FE-9ACA-4467-98E5-532EC45D9D1C}" dt="2024-03-01T09:46:26.368" v="9038"/>
          <ac:spMkLst>
            <pc:docMk/>
            <pc:sldMk cId="1735191326" sldId="900"/>
            <ac:spMk id="63" creationId="{C107C544-9363-E16D-C21A-14EB3086FD5E}"/>
          </ac:spMkLst>
        </pc:spChg>
        <pc:spChg chg="add mod ord">
          <ac:chgData name="Nataliia Chornii (UA)" userId="4e4b8b3d-5f31-49bb-9f80-8a25c04abfff" providerId="ADAL" clId="{EE97D3FE-9ACA-4467-98E5-532EC45D9D1C}" dt="2024-03-01T09:46:26.368" v="9040"/>
          <ac:spMkLst>
            <pc:docMk/>
            <pc:sldMk cId="1735191326" sldId="900"/>
            <ac:spMk id="64" creationId="{BAC6FD31-C415-55AA-743A-8F036F3BF365}"/>
          </ac:spMkLst>
        </pc:spChg>
        <pc:spChg chg="add mod ord">
          <ac:chgData name="Nataliia Chornii (UA)" userId="4e4b8b3d-5f31-49bb-9f80-8a25c04abfff" providerId="ADAL" clId="{EE97D3FE-9ACA-4467-98E5-532EC45D9D1C}" dt="2024-03-01T09:53:49.103" v="9280" actId="12788"/>
          <ac:spMkLst>
            <pc:docMk/>
            <pc:sldMk cId="1735191326" sldId="900"/>
            <ac:spMk id="65" creationId="{DFB0571C-3F32-08BC-2216-A09604DF1E6C}"/>
          </ac:spMkLst>
        </pc:spChg>
        <pc:spChg chg="add mod ord topLvl">
          <ac:chgData name="Nataliia Chornii (UA)" userId="4e4b8b3d-5f31-49bb-9f80-8a25c04abfff" providerId="ADAL" clId="{EE97D3FE-9ACA-4467-98E5-532EC45D9D1C}" dt="2024-03-01T09:46:28.484" v="9053" actId="164"/>
          <ac:spMkLst>
            <pc:docMk/>
            <pc:sldMk cId="1735191326" sldId="900"/>
            <ac:spMk id="69" creationId="{326E79A8-DB05-0E8C-C83A-BE4E3C60AB93}"/>
          </ac:spMkLst>
        </pc:spChg>
        <pc:spChg chg="add mod ord topLvl">
          <ac:chgData name="Nataliia Chornii (UA)" userId="4e4b8b3d-5f31-49bb-9f80-8a25c04abfff" providerId="ADAL" clId="{EE97D3FE-9ACA-4467-98E5-532EC45D9D1C}" dt="2024-03-01T09:46:28.484" v="9053" actId="164"/>
          <ac:spMkLst>
            <pc:docMk/>
            <pc:sldMk cId="1735191326" sldId="900"/>
            <ac:spMk id="70" creationId="{CF682008-4016-07AA-D26B-E95268052C66}"/>
          </ac:spMkLst>
        </pc:spChg>
        <pc:spChg chg="add mod ord topLvl">
          <ac:chgData name="Nataliia Chornii (UA)" userId="4e4b8b3d-5f31-49bb-9f80-8a25c04abfff" providerId="ADAL" clId="{EE97D3FE-9ACA-4467-98E5-532EC45D9D1C}" dt="2024-03-01T09:46:28.484" v="9053" actId="164"/>
          <ac:spMkLst>
            <pc:docMk/>
            <pc:sldMk cId="1735191326" sldId="900"/>
            <ac:spMk id="71" creationId="{7DAB69D4-9C93-DE4E-6744-B5556D9203A5}"/>
          </ac:spMkLst>
        </pc:spChg>
        <pc:spChg chg="add del">
          <ac:chgData name="Nataliia Chornii (UA)" userId="4e4b8b3d-5f31-49bb-9f80-8a25c04abfff" providerId="ADAL" clId="{EE97D3FE-9ACA-4467-98E5-532EC45D9D1C}" dt="2024-03-01T09:45:42.801" v="8882" actId="478"/>
          <ac:spMkLst>
            <pc:docMk/>
            <pc:sldMk cId="1735191326" sldId="900"/>
            <ac:spMk id="75" creationId="{4E9CED31-9C90-BF93-B896-D364E2D8DA0F}"/>
          </ac:spMkLst>
        </pc:spChg>
        <pc:spChg chg="add del mod modVis">
          <ac:chgData name="Nataliia Chornii (UA)" userId="4e4b8b3d-5f31-49bb-9f80-8a25c04abfff" providerId="ADAL" clId="{EE97D3FE-9ACA-4467-98E5-532EC45D9D1C}" dt="2024-03-01T09:45:47.184" v="8964"/>
          <ac:spMkLst>
            <pc:docMk/>
            <pc:sldMk cId="1735191326" sldId="900"/>
            <ac:spMk id="76" creationId="{204F6D91-03C2-8696-B44D-1827BD14CC7A}"/>
          </ac:spMkLst>
        </pc:spChg>
        <pc:spChg chg="add mod ord">
          <ac:chgData name="Nataliia Chornii (UA)" userId="4e4b8b3d-5f31-49bb-9f80-8a25c04abfff" providerId="ADAL" clId="{EE97D3FE-9ACA-4467-98E5-532EC45D9D1C}" dt="2024-03-01T09:46:28.484" v="9053" actId="164"/>
          <ac:spMkLst>
            <pc:docMk/>
            <pc:sldMk cId="1735191326" sldId="900"/>
            <ac:spMk id="77" creationId="{C5B0266C-673F-07DD-2F60-FC169E43A4DF}"/>
          </ac:spMkLst>
        </pc:spChg>
        <pc:spChg chg="add mod ord">
          <ac:chgData name="Nataliia Chornii (UA)" userId="4e4b8b3d-5f31-49bb-9f80-8a25c04abfff" providerId="ADAL" clId="{EE97D3FE-9ACA-4467-98E5-532EC45D9D1C}" dt="2024-03-01T09:46:28.484" v="9053" actId="164"/>
          <ac:spMkLst>
            <pc:docMk/>
            <pc:sldMk cId="1735191326" sldId="900"/>
            <ac:spMk id="78" creationId="{DFE62713-DB24-82F8-B530-DB2B5AE42760}"/>
          </ac:spMkLst>
        </pc:spChg>
        <pc:spChg chg="add mod ord">
          <ac:chgData name="Nataliia Chornii (UA)" userId="4e4b8b3d-5f31-49bb-9f80-8a25c04abfff" providerId="ADAL" clId="{EE97D3FE-9ACA-4467-98E5-532EC45D9D1C}" dt="2024-03-01T09:46:28.484" v="9053" actId="164"/>
          <ac:spMkLst>
            <pc:docMk/>
            <pc:sldMk cId="1735191326" sldId="900"/>
            <ac:spMk id="79" creationId="{832CB56B-9DC0-1F1E-3972-5DDA898A7AB2}"/>
          </ac:spMkLst>
        </pc:spChg>
        <pc:spChg chg="add mod">
          <ac:chgData name="Nataliia Chornii (UA)" userId="4e4b8b3d-5f31-49bb-9f80-8a25c04abfff" providerId="ADAL" clId="{EE97D3FE-9ACA-4467-98E5-532EC45D9D1C}" dt="2024-03-01T09:53:46.004" v="9279" actId="12788"/>
          <ac:spMkLst>
            <pc:docMk/>
            <pc:sldMk cId="1735191326" sldId="900"/>
            <ac:spMk id="81" creationId="{DDCA628C-F107-F2EE-29A3-F9E29FA8073D}"/>
          </ac:spMkLst>
        </pc:spChg>
        <pc:spChg chg="mod">
          <ac:chgData name="Nataliia Chornii (UA)" userId="4e4b8b3d-5f31-49bb-9f80-8a25c04abfff" providerId="ADAL" clId="{EE97D3FE-9ACA-4467-98E5-532EC45D9D1C}" dt="2024-03-01T09:52:43.882" v="9253"/>
          <ac:spMkLst>
            <pc:docMk/>
            <pc:sldMk cId="1735191326" sldId="900"/>
            <ac:spMk id="83" creationId="{0E6A2134-BA4E-F1D6-4C61-74C950656B53}"/>
          </ac:spMkLst>
        </pc:spChg>
        <pc:spChg chg="mod">
          <ac:chgData name="Nataliia Chornii (UA)" userId="4e4b8b3d-5f31-49bb-9f80-8a25c04abfff" providerId="ADAL" clId="{EE97D3FE-9ACA-4467-98E5-532EC45D9D1C}" dt="2024-03-01T09:52:43.882" v="9253"/>
          <ac:spMkLst>
            <pc:docMk/>
            <pc:sldMk cId="1735191326" sldId="900"/>
            <ac:spMk id="84" creationId="{E32EE091-D3C1-06E6-9082-073AD5CF7765}"/>
          </ac:spMkLst>
        </pc:spChg>
        <pc:spChg chg="mod">
          <ac:chgData name="Nataliia Chornii (UA)" userId="4e4b8b3d-5f31-49bb-9f80-8a25c04abfff" providerId="ADAL" clId="{EE97D3FE-9ACA-4467-98E5-532EC45D9D1C}" dt="2024-03-01T09:52:43.882" v="9253"/>
          <ac:spMkLst>
            <pc:docMk/>
            <pc:sldMk cId="1735191326" sldId="900"/>
            <ac:spMk id="85" creationId="{9A2306D2-77A7-80C7-F244-EA7DEC804D5E}"/>
          </ac:spMkLst>
        </pc:spChg>
        <pc:spChg chg="mod">
          <ac:chgData name="Nataliia Chornii (UA)" userId="4e4b8b3d-5f31-49bb-9f80-8a25c04abfff" providerId="ADAL" clId="{EE97D3FE-9ACA-4467-98E5-532EC45D9D1C}" dt="2024-03-01T09:52:43.882" v="9253"/>
          <ac:spMkLst>
            <pc:docMk/>
            <pc:sldMk cId="1735191326" sldId="900"/>
            <ac:spMk id="86" creationId="{BBC2D154-4911-B47F-9B45-8A1CC3B13EFD}"/>
          </ac:spMkLst>
        </pc:spChg>
        <pc:spChg chg="mod">
          <ac:chgData name="Nataliia Chornii (UA)" userId="4e4b8b3d-5f31-49bb-9f80-8a25c04abfff" providerId="ADAL" clId="{EE97D3FE-9ACA-4467-98E5-532EC45D9D1C}" dt="2024-03-01T09:52:43.882" v="9253"/>
          <ac:spMkLst>
            <pc:docMk/>
            <pc:sldMk cId="1735191326" sldId="900"/>
            <ac:spMk id="87" creationId="{DFB5AA23-26C2-FB44-26CD-6286CF29ECC9}"/>
          </ac:spMkLst>
        </pc:spChg>
        <pc:spChg chg="mod">
          <ac:chgData name="Nataliia Chornii (UA)" userId="4e4b8b3d-5f31-49bb-9f80-8a25c04abfff" providerId="ADAL" clId="{EE97D3FE-9ACA-4467-98E5-532EC45D9D1C}" dt="2024-03-01T09:52:56.831" v="9255"/>
          <ac:spMkLst>
            <pc:docMk/>
            <pc:sldMk cId="1735191326" sldId="900"/>
            <ac:spMk id="89" creationId="{5BDDF6DF-E697-00B7-6FDF-654A81CBB5E7}"/>
          </ac:spMkLst>
        </pc:spChg>
        <pc:spChg chg="mod">
          <ac:chgData name="Nataliia Chornii (UA)" userId="4e4b8b3d-5f31-49bb-9f80-8a25c04abfff" providerId="ADAL" clId="{EE97D3FE-9ACA-4467-98E5-532EC45D9D1C}" dt="2024-03-01T09:52:56.831" v="9255"/>
          <ac:spMkLst>
            <pc:docMk/>
            <pc:sldMk cId="1735191326" sldId="900"/>
            <ac:spMk id="90" creationId="{4C849506-7AF9-F820-5CF0-7D6E33F03113}"/>
          </ac:spMkLst>
        </pc:spChg>
        <pc:spChg chg="mod">
          <ac:chgData name="Nataliia Chornii (UA)" userId="4e4b8b3d-5f31-49bb-9f80-8a25c04abfff" providerId="ADAL" clId="{EE97D3FE-9ACA-4467-98E5-532EC45D9D1C}" dt="2024-03-01T09:52:56.831" v="9255"/>
          <ac:spMkLst>
            <pc:docMk/>
            <pc:sldMk cId="1735191326" sldId="900"/>
            <ac:spMk id="91" creationId="{D5FD63F2-1B6A-7954-A06D-677EB870039A}"/>
          </ac:spMkLst>
        </pc:spChg>
        <pc:spChg chg="mod">
          <ac:chgData name="Nataliia Chornii (UA)" userId="4e4b8b3d-5f31-49bb-9f80-8a25c04abfff" providerId="ADAL" clId="{EE97D3FE-9ACA-4467-98E5-532EC45D9D1C}" dt="2024-03-01T09:52:56.831" v="9255"/>
          <ac:spMkLst>
            <pc:docMk/>
            <pc:sldMk cId="1735191326" sldId="900"/>
            <ac:spMk id="92" creationId="{F8FFD178-37DE-9024-CC8B-32143627DB53}"/>
          </ac:spMkLst>
        </pc:spChg>
        <pc:spChg chg="mod">
          <ac:chgData name="Nataliia Chornii (UA)" userId="4e4b8b3d-5f31-49bb-9f80-8a25c04abfff" providerId="ADAL" clId="{EE97D3FE-9ACA-4467-98E5-532EC45D9D1C}" dt="2024-03-01T09:52:56.831" v="9255"/>
          <ac:spMkLst>
            <pc:docMk/>
            <pc:sldMk cId="1735191326" sldId="900"/>
            <ac:spMk id="93" creationId="{D8F4B1B1-E4D3-8F38-0B75-A345F1876D56}"/>
          </ac:spMkLst>
        </pc:spChg>
        <pc:spChg chg="mod">
          <ac:chgData name="Nataliia Chornii (UA)" userId="4e4b8b3d-5f31-49bb-9f80-8a25c04abfff" providerId="ADAL" clId="{EE97D3FE-9ACA-4467-98E5-532EC45D9D1C}" dt="2024-03-01T09:53:12.014" v="9257"/>
          <ac:spMkLst>
            <pc:docMk/>
            <pc:sldMk cId="1735191326" sldId="900"/>
            <ac:spMk id="95" creationId="{0BF8B685-24EB-F6B7-6D96-1C3A29FAAB97}"/>
          </ac:spMkLst>
        </pc:spChg>
        <pc:spChg chg="mod">
          <ac:chgData name="Nataliia Chornii (UA)" userId="4e4b8b3d-5f31-49bb-9f80-8a25c04abfff" providerId="ADAL" clId="{EE97D3FE-9ACA-4467-98E5-532EC45D9D1C}" dt="2024-03-01T09:53:12.014" v="9257"/>
          <ac:spMkLst>
            <pc:docMk/>
            <pc:sldMk cId="1735191326" sldId="900"/>
            <ac:spMk id="96" creationId="{EE7AEC1C-C5B3-E723-B9E4-E1B584899F72}"/>
          </ac:spMkLst>
        </pc:spChg>
        <pc:spChg chg="mod">
          <ac:chgData name="Nataliia Chornii (UA)" userId="4e4b8b3d-5f31-49bb-9f80-8a25c04abfff" providerId="ADAL" clId="{EE97D3FE-9ACA-4467-98E5-532EC45D9D1C}" dt="2024-03-01T09:53:12.014" v="9257"/>
          <ac:spMkLst>
            <pc:docMk/>
            <pc:sldMk cId="1735191326" sldId="900"/>
            <ac:spMk id="97" creationId="{01F7ABBA-99EA-9BF1-9BB6-0E00A4C88043}"/>
          </ac:spMkLst>
        </pc:spChg>
        <pc:spChg chg="mod">
          <ac:chgData name="Nataliia Chornii (UA)" userId="4e4b8b3d-5f31-49bb-9f80-8a25c04abfff" providerId="ADAL" clId="{EE97D3FE-9ACA-4467-98E5-532EC45D9D1C}" dt="2024-03-01T09:53:12.014" v="9257"/>
          <ac:spMkLst>
            <pc:docMk/>
            <pc:sldMk cId="1735191326" sldId="900"/>
            <ac:spMk id="98" creationId="{67E0A6C9-5F93-35C3-BA83-3265A17A644E}"/>
          </ac:spMkLst>
        </pc:spChg>
        <pc:spChg chg="mod">
          <ac:chgData name="Nataliia Chornii (UA)" userId="4e4b8b3d-5f31-49bb-9f80-8a25c04abfff" providerId="ADAL" clId="{EE97D3FE-9ACA-4467-98E5-532EC45D9D1C}" dt="2024-03-01T09:53:12.014" v="9257"/>
          <ac:spMkLst>
            <pc:docMk/>
            <pc:sldMk cId="1735191326" sldId="900"/>
            <ac:spMk id="99" creationId="{4D545500-2FFA-ECE0-FA08-582982308EB9}"/>
          </ac:spMkLst>
        </pc:spChg>
        <pc:spChg chg="mod">
          <ac:chgData name="Nataliia Chornii (UA)" userId="4e4b8b3d-5f31-49bb-9f80-8a25c04abfff" providerId="ADAL" clId="{EE97D3FE-9ACA-4467-98E5-532EC45D9D1C}" dt="2024-03-01T09:53:12.014" v="9257"/>
          <ac:spMkLst>
            <pc:docMk/>
            <pc:sldMk cId="1735191326" sldId="900"/>
            <ac:spMk id="100" creationId="{2132EE1A-86EE-0738-ED0F-28A9295E2885}"/>
          </ac:spMkLst>
        </pc:spChg>
        <pc:spChg chg="mod">
          <ac:chgData name="Nataliia Chornii (UA)" userId="4e4b8b3d-5f31-49bb-9f80-8a25c04abfff" providerId="ADAL" clId="{EE97D3FE-9ACA-4467-98E5-532EC45D9D1C}" dt="2024-03-01T09:53:12.014" v="9257"/>
          <ac:spMkLst>
            <pc:docMk/>
            <pc:sldMk cId="1735191326" sldId="900"/>
            <ac:spMk id="101" creationId="{CFB7CC00-E26B-7DBA-041D-09E2981F93CA}"/>
          </ac:spMkLst>
        </pc:spChg>
        <pc:spChg chg="mod">
          <ac:chgData name="Nataliia Chornii (UA)" userId="4e4b8b3d-5f31-49bb-9f80-8a25c04abfff" providerId="ADAL" clId="{EE97D3FE-9ACA-4467-98E5-532EC45D9D1C}" dt="2024-03-01T09:53:12.014" v="9257"/>
          <ac:spMkLst>
            <pc:docMk/>
            <pc:sldMk cId="1735191326" sldId="900"/>
            <ac:spMk id="102" creationId="{15EC7B77-49D7-6AD2-FB2D-8180FD60E8B6}"/>
          </ac:spMkLst>
        </pc:spChg>
        <pc:spChg chg="mod">
          <ac:chgData name="Nataliia Chornii (UA)" userId="4e4b8b3d-5f31-49bb-9f80-8a25c04abfff" providerId="ADAL" clId="{EE97D3FE-9ACA-4467-98E5-532EC45D9D1C}" dt="2024-03-01T09:53:12.014" v="9257"/>
          <ac:spMkLst>
            <pc:docMk/>
            <pc:sldMk cId="1735191326" sldId="900"/>
            <ac:spMk id="103" creationId="{93B3CE46-1839-A491-018E-5C5D47EA5C53}"/>
          </ac:spMkLst>
        </pc:spChg>
        <pc:spChg chg="mod">
          <ac:chgData name="Nataliia Chornii (UA)" userId="4e4b8b3d-5f31-49bb-9f80-8a25c04abfff" providerId="ADAL" clId="{EE97D3FE-9ACA-4467-98E5-532EC45D9D1C}" dt="2024-03-01T09:53:12.014" v="9257"/>
          <ac:spMkLst>
            <pc:docMk/>
            <pc:sldMk cId="1735191326" sldId="900"/>
            <ac:spMk id="104" creationId="{F2DFFD91-F045-017F-AB94-50397BBD2076}"/>
          </ac:spMkLst>
        </pc:spChg>
        <pc:spChg chg="mod">
          <ac:chgData name="Nataliia Chornii (UA)" userId="4e4b8b3d-5f31-49bb-9f80-8a25c04abfff" providerId="ADAL" clId="{EE97D3FE-9ACA-4467-98E5-532EC45D9D1C}" dt="2024-03-01T09:53:12.014" v="9257"/>
          <ac:spMkLst>
            <pc:docMk/>
            <pc:sldMk cId="1735191326" sldId="900"/>
            <ac:spMk id="105" creationId="{952EFDB1-B39C-9CFF-195D-FFA30B863AED}"/>
          </ac:spMkLst>
        </pc:spChg>
        <pc:spChg chg="mod">
          <ac:chgData name="Nataliia Chornii (UA)" userId="4e4b8b3d-5f31-49bb-9f80-8a25c04abfff" providerId="ADAL" clId="{EE97D3FE-9ACA-4467-98E5-532EC45D9D1C}" dt="2024-03-01T09:53:12.014" v="9257"/>
          <ac:spMkLst>
            <pc:docMk/>
            <pc:sldMk cId="1735191326" sldId="900"/>
            <ac:spMk id="106" creationId="{2BF2D093-2A49-877E-57FB-C64EFE51EDD9}"/>
          </ac:spMkLst>
        </pc:spChg>
        <pc:spChg chg="mod">
          <ac:chgData name="Nataliia Chornii (UA)" userId="4e4b8b3d-5f31-49bb-9f80-8a25c04abfff" providerId="ADAL" clId="{EE97D3FE-9ACA-4467-98E5-532EC45D9D1C}" dt="2024-03-01T09:53:12.014" v="9257"/>
          <ac:spMkLst>
            <pc:docMk/>
            <pc:sldMk cId="1735191326" sldId="900"/>
            <ac:spMk id="107" creationId="{D821A797-6F35-403F-F3BD-1B2C96A9BB9E}"/>
          </ac:spMkLst>
        </pc:spChg>
        <pc:spChg chg="mod">
          <ac:chgData name="Nataliia Chornii (UA)" userId="4e4b8b3d-5f31-49bb-9f80-8a25c04abfff" providerId="ADAL" clId="{EE97D3FE-9ACA-4467-98E5-532EC45D9D1C}" dt="2024-03-01T09:53:12.014" v="9257"/>
          <ac:spMkLst>
            <pc:docMk/>
            <pc:sldMk cId="1735191326" sldId="900"/>
            <ac:spMk id="108" creationId="{90D09C20-B8D2-405F-DC35-7461DFF6F67B}"/>
          </ac:spMkLst>
        </pc:spChg>
        <pc:spChg chg="mod">
          <ac:chgData name="Nataliia Chornii (UA)" userId="4e4b8b3d-5f31-49bb-9f80-8a25c04abfff" providerId="ADAL" clId="{EE97D3FE-9ACA-4467-98E5-532EC45D9D1C}" dt="2024-03-01T09:53:12.014" v="9257"/>
          <ac:spMkLst>
            <pc:docMk/>
            <pc:sldMk cId="1735191326" sldId="900"/>
            <ac:spMk id="109" creationId="{420CBE9D-90E6-55AB-2247-F721592065BB}"/>
          </ac:spMkLst>
        </pc:spChg>
        <pc:spChg chg="mod">
          <ac:chgData name="Nataliia Chornii (UA)" userId="4e4b8b3d-5f31-49bb-9f80-8a25c04abfff" providerId="ADAL" clId="{EE97D3FE-9ACA-4467-98E5-532EC45D9D1C}" dt="2024-03-01T09:53:12.014" v="9257"/>
          <ac:spMkLst>
            <pc:docMk/>
            <pc:sldMk cId="1735191326" sldId="900"/>
            <ac:spMk id="110" creationId="{2FADEC4E-0BF5-23E5-656D-FB6FA5CA766B}"/>
          </ac:spMkLst>
        </pc:spChg>
        <pc:spChg chg="mod">
          <ac:chgData name="Nataliia Chornii (UA)" userId="4e4b8b3d-5f31-49bb-9f80-8a25c04abfff" providerId="ADAL" clId="{EE97D3FE-9ACA-4467-98E5-532EC45D9D1C}" dt="2024-03-01T09:53:24.236" v="9260"/>
          <ac:spMkLst>
            <pc:docMk/>
            <pc:sldMk cId="1735191326" sldId="900"/>
            <ac:spMk id="112" creationId="{1BE88429-4F3F-636B-DB20-E431D496B9EB}"/>
          </ac:spMkLst>
        </pc:spChg>
        <pc:spChg chg="mod">
          <ac:chgData name="Nataliia Chornii (UA)" userId="4e4b8b3d-5f31-49bb-9f80-8a25c04abfff" providerId="ADAL" clId="{EE97D3FE-9ACA-4467-98E5-532EC45D9D1C}" dt="2024-03-01T09:53:24.236" v="9260"/>
          <ac:spMkLst>
            <pc:docMk/>
            <pc:sldMk cId="1735191326" sldId="900"/>
            <ac:spMk id="113" creationId="{D285C823-677E-8121-1429-CCB32B027A8B}"/>
          </ac:spMkLst>
        </pc:spChg>
        <pc:grpChg chg="add mod">
          <ac:chgData name="Nataliia Chornii (UA)" userId="4e4b8b3d-5f31-49bb-9f80-8a25c04abfff" providerId="ADAL" clId="{EE97D3FE-9ACA-4467-98E5-532EC45D9D1C}" dt="2024-03-11T14:22:35.765" v="24030"/>
          <ac:grpSpMkLst>
            <pc:docMk/>
            <pc:sldMk cId="1735191326" sldId="900"/>
            <ac:grpSpMk id="6" creationId="{FF27E800-456C-291B-FA00-AE8AF5C51E72}"/>
          </ac:grpSpMkLst>
        </pc:grpChg>
        <pc:grpChg chg="add del mod">
          <ac:chgData name="Nataliia Chornii (UA)" userId="4e4b8b3d-5f31-49bb-9f80-8a25c04abfff" providerId="ADAL" clId="{EE97D3FE-9ACA-4467-98E5-532EC45D9D1C}" dt="2024-03-01T09:40:55.639" v="8506" actId="478"/>
          <ac:grpSpMkLst>
            <pc:docMk/>
            <pc:sldMk cId="1735191326" sldId="900"/>
            <ac:grpSpMk id="18" creationId="{B167741C-1EF9-7D76-F7C9-4C4259F90199}"/>
          </ac:grpSpMkLst>
        </pc:grpChg>
        <pc:grpChg chg="add del mod">
          <ac:chgData name="Nataliia Chornii (UA)" userId="4e4b8b3d-5f31-49bb-9f80-8a25c04abfff" providerId="ADAL" clId="{EE97D3FE-9ACA-4467-98E5-532EC45D9D1C}" dt="2024-03-01T09:42:39.140" v="8700" actId="165"/>
          <ac:grpSpMkLst>
            <pc:docMk/>
            <pc:sldMk cId="1735191326" sldId="900"/>
            <ac:grpSpMk id="41" creationId="{E6358C74-58BB-0F41-94D3-476B3CAE553E}"/>
          </ac:grpSpMkLst>
        </pc:grpChg>
        <pc:grpChg chg="add del mod">
          <ac:chgData name="Nataliia Chornii (UA)" userId="4e4b8b3d-5f31-49bb-9f80-8a25c04abfff" providerId="ADAL" clId="{EE97D3FE-9ACA-4467-98E5-532EC45D9D1C}" dt="2024-03-01T09:42:39.140" v="8700" actId="165"/>
          <ac:grpSpMkLst>
            <pc:docMk/>
            <pc:sldMk cId="1735191326" sldId="900"/>
            <ac:grpSpMk id="42" creationId="{B135120D-9AFC-0257-846F-25597A60C1D3}"/>
          </ac:grpSpMkLst>
        </pc:grpChg>
        <pc:grpChg chg="add del mod">
          <ac:chgData name="Nataliia Chornii (UA)" userId="4e4b8b3d-5f31-49bb-9f80-8a25c04abfff" providerId="ADAL" clId="{EE97D3FE-9ACA-4467-98E5-532EC45D9D1C}" dt="2024-03-01T09:42:39.140" v="8700" actId="165"/>
          <ac:grpSpMkLst>
            <pc:docMk/>
            <pc:sldMk cId="1735191326" sldId="900"/>
            <ac:grpSpMk id="46" creationId="{6C3B7503-0F1F-8289-D306-CAA802D4622A}"/>
          </ac:grpSpMkLst>
        </pc:grpChg>
        <pc:grpChg chg="add mod">
          <ac:chgData name="Nataliia Chornii (UA)" userId="4e4b8b3d-5f31-49bb-9f80-8a25c04abfff" providerId="ADAL" clId="{EE97D3FE-9ACA-4467-98E5-532EC45D9D1C}" dt="2024-03-01T09:42:10.296" v="8688" actId="571"/>
          <ac:grpSpMkLst>
            <pc:docMk/>
            <pc:sldMk cId="1735191326" sldId="900"/>
            <ac:grpSpMk id="50" creationId="{3C1A0A25-24A9-9EBE-9F75-F7D7F9D5CDB8}"/>
          </ac:grpSpMkLst>
        </pc:grpChg>
        <pc:grpChg chg="add del mod">
          <ac:chgData name="Nataliia Chornii (UA)" userId="4e4b8b3d-5f31-49bb-9f80-8a25c04abfff" providerId="ADAL" clId="{EE97D3FE-9ACA-4467-98E5-532EC45D9D1C}" dt="2024-03-01T09:42:39.140" v="8700" actId="165"/>
          <ac:grpSpMkLst>
            <pc:docMk/>
            <pc:sldMk cId="1735191326" sldId="900"/>
            <ac:grpSpMk id="54" creationId="{B6CF0FD4-02A9-A93D-DBA0-DE6C1FB0D2E6}"/>
          </ac:grpSpMkLst>
        </pc:grpChg>
        <pc:grpChg chg="add del mod ord">
          <ac:chgData name="Nataliia Chornii (UA)" userId="4e4b8b3d-5f31-49bb-9f80-8a25c04abfff" providerId="ADAL" clId="{EE97D3FE-9ACA-4467-98E5-532EC45D9D1C}" dt="2024-03-01T09:45:59.221" v="8969" actId="165"/>
          <ac:grpSpMkLst>
            <pc:docMk/>
            <pc:sldMk cId="1735191326" sldId="900"/>
            <ac:grpSpMk id="72" creationId="{48B14DA3-11E1-AF06-33CB-E80BA754E9B0}"/>
          </ac:grpSpMkLst>
        </pc:grpChg>
        <pc:grpChg chg="add mod">
          <ac:chgData name="Nataliia Chornii (UA)" userId="4e4b8b3d-5f31-49bb-9f80-8a25c04abfff" providerId="ADAL" clId="{EE97D3FE-9ACA-4467-98E5-532EC45D9D1C}" dt="2024-03-01T09:46:28.484" v="9053" actId="164"/>
          <ac:grpSpMkLst>
            <pc:docMk/>
            <pc:sldMk cId="1735191326" sldId="900"/>
            <ac:grpSpMk id="80" creationId="{A4F7EE97-2488-C4D0-BB25-B488D03588E8}"/>
          </ac:grpSpMkLst>
        </pc:grpChg>
        <pc:grpChg chg="add mod">
          <ac:chgData name="Nataliia Chornii (UA)" userId="4e4b8b3d-5f31-49bb-9f80-8a25c04abfff" providerId="ADAL" clId="{EE97D3FE-9ACA-4467-98E5-532EC45D9D1C}" dt="2024-03-01T09:53:51.587" v="9281" actId="408"/>
          <ac:grpSpMkLst>
            <pc:docMk/>
            <pc:sldMk cId="1735191326" sldId="900"/>
            <ac:grpSpMk id="82" creationId="{496FB1E0-A56A-675A-A493-CE87F37A3B9E}"/>
          </ac:grpSpMkLst>
        </pc:grpChg>
        <pc:grpChg chg="add mod">
          <ac:chgData name="Nataliia Chornii (UA)" userId="4e4b8b3d-5f31-49bb-9f80-8a25c04abfff" providerId="ADAL" clId="{EE97D3FE-9ACA-4467-98E5-532EC45D9D1C}" dt="2024-03-01T09:53:51.587" v="9281" actId="408"/>
          <ac:grpSpMkLst>
            <pc:docMk/>
            <pc:sldMk cId="1735191326" sldId="900"/>
            <ac:grpSpMk id="88" creationId="{35189943-8174-BDC5-E00B-6AA3B261EF4D}"/>
          </ac:grpSpMkLst>
        </pc:grpChg>
        <pc:grpChg chg="add mod">
          <ac:chgData name="Nataliia Chornii (UA)" userId="4e4b8b3d-5f31-49bb-9f80-8a25c04abfff" providerId="ADAL" clId="{EE97D3FE-9ACA-4467-98E5-532EC45D9D1C}" dt="2024-03-01T09:53:49.103" v="9280" actId="12788"/>
          <ac:grpSpMkLst>
            <pc:docMk/>
            <pc:sldMk cId="1735191326" sldId="900"/>
            <ac:grpSpMk id="94" creationId="{594AAC2C-5B65-E8F9-8ECC-13E411076E0A}"/>
          </ac:grpSpMkLst>
        </pc:grpChg>
        <pc:grpChg chg="add mod">
          <ac:chgData name="Nataliia Chornii (UA)" userId="4e4b8b3d-5f31-49bb-9f80-8a25c04abfff" providerId="ADAL" clId="{EE97D3FE-9ACA-4467-98E5-532EC45D9D1C}" dt="2024-03-01T09:53:51.587" v="9281" actId="408"/>
          <ac:grpSpMkLst>
            <pc:docMk/>
            <pc:sldMk cId="1735191326" sldId="900"/>
            <ac:grpSpMk id="111" creationId="{25E49F92-0710-7B61-8355-C954630A29B3}"/>
          </ac:grpSpMkLst>
        </pc:grpChg>
        <pc:graphicFrameChg chg="add mod ord modVis replST">
          <ac:chgData name="Nataliia Chornii (UA)" userId="4e4b8b3d-5f31-49bb-9f80-8a25c04abfff" providerId="ADAL" clId="{EE97D3FE-9ACA-4467-98E5-532EC45D9D1C}" dt="2024-03-01T09:46:26.368" v="9052"/>
          <ac:graphicFrameMkLst>
            <pc:docMk/>
            <pc:sldMk cId="1735191326" sldId="900"/>
            <ac:graphicFrameMk id="9" creationId="{16EF7C33-FF6D-2EC0-BE2C-041D2DDCEFC9}"/>
          </ac:graphicFrameMkLst>
        </pc:graphicFrameChg>
        <pc:cxnChg chg="add del mod">
          <ac:chgData name="Nataliia Chornii (UA)" userId="4e4b8b3d-5f31-49bb-9f80-8a25c04abfff" providerId="ADAL" clId="{EE97D3FE-9ACA-4467-98E5-532EC45D9D1C}" dt="2024-03-01T09:45:09.277" v="8756" actId="478"/>
          <ac:cxnSpMkLst>
            <pc:docMk/>
            <pc:sldMk cId="1735191326" sldId="900"/>
            <ac:cxnSpMk id="67" creationId="{DB93AF92-2093-25DC-5038-078448D0067B}"/>
          </ac:cxnSpMkLst>
        </pc:cxnChg>
        <pc:cxnChg chg="add mod ord">
          <ac:chgData name="Nataliia Chornii (UA)" userId="4e4b8b3d-5f31-49bb-9f80-8a25c04abfff" providerId="ADAL" clId="{EE97D3FE-9ACA-4467-98E5-532EC45D9D1C}" dt="2024-03-01T09:46:28.484" v="9053" actId="164"/>
          <ac:cxnSpMkLst>
            <pc:docMk/>
            <pc:sldMk cId="1735191326" sldId="900"/>
            <ac:cxnSpMk id="74" creationId="{A8DECBD2-2863-5ED3-4429-484529B7452F}"/>
          </ac:cxnSpMkLst>
        </pc:cxnChg>
      </pc:sldChg>
      <pc:sldChg chg="del">
        <pc:chgData name="Nataliia Chornii (UA)" userId="4e4b8b3d-5f31-49bb-9f80-8a25c04abfff" providerId="ADAL" clId="{EE97D3FE-9ACA-4467-98E5-532EC45D9D1C}" dt="2024-03-01T08:32:34.089" v="211" actId="47"/>
        <pc:sldMkLst>
          <pc:docMk/>
          <pc:sldMk cId="1633958630" sldId="901"/>
        </pc:sldMkLst>
      </pc:sldChg>
      <pc:sldChg chg="addSp delSp modSp del mod">
        <pc:chgData name="Nataliia Chornii (UA)" userId="4e4b8b3d-5f31-49bb-9f80-8a25c04abfff" providerId="ADAL" clId="{EE97D3FE-9ACA-4467-98E5-532EC45D9D1C}" dt="2024-03-01T09:51:06.018" v="9227" actId="47"/>
        <pc:sldMkLst>
          <pc:docMk/>
          <pc:sldMk cId="3784150892" sldId="902"/>
        </pc:sldMkLst>
        <pc:spChg chg="mod">
          <ac:chgData name="Nataliia Chornii (UA)" userId="4e4b8b3d-5f31-49bb-9f80-8a25c04abfff" providerId="ADAL" clId="{EE97D3FE-9ACA-4467-98E5-532EC45D9D1C}" dt="2024-03-01T08:52:17.136" v="5926" actId="948"/>
          <ac:spMkLst>
            <pc:docMk/>
            <pc:sldMk cId="3784150892" sldId="902"/>
            <ac:spMk id="2" creationId="{DFA3F87B-F232-7860-4612-ADEBE46AD28C}"/>
          </ac:spMkLst>
        </pc:spChg>
        <pc:spChg chg="add del mod modVis">
          <ac:chgData name="Nataliia Chornii (UA)" userId="4e4b8b3d-5f31-49bb-9f80-8a25c04abfff" providerId="ADAL" clId="{EE97D3FE-9ACA-4467-98E5-532EC45D9D1C}" dt="2024-03-01T08:48:59.015" v="1123"/>
          <ac:spMkLst>
            <pc:docMk/>
            <pc:sldMk cId="3784150892" sldId="902"/>
            <ac:spMk id="4" creationId="{9C58AE95-BB96-1339-A799-E90B68B780C0}"/>
          </ac:spMkLst>
        </pc:spChg>
        <pc:spChg chg="add del mod modVis">
          <ac:chgData name="Nataliia Chornii (UA)" userId="4e4b8b3d-5f31-49bb-9f80-8a25c04abfff" providerId="ADAL" clId="{EE97D3FE-9ACA-4467-98E5-532EC45D9D1C}" dt="2024-03-01T08:49:33.666" v="2762"/>
          <ac:spMkLst>
            <pc:docMk/>
            <pc:sldMk cId="3784150892" sldId="902"/>
            <ac:spMk id="6" creationId="{ACED0781-EF40-2F95-4C6C-0FD018348F45}"/>
          </ac:spMkLst>
        </pc:spChg>
        <pc:spChg chg="add del mod modVis">
          <ac:chgData name="Nataliia Chornii (UA)" userId="4e4b8b3d-5f31-49bb-9f80-8a25c04abfff" providerId="ADAL" clId="{EE97D3FE-9ACA-4467-98E5-532EC45D9D1C}" dt="2024-03-01T08:49:59.741" v="3750"/>
          <ac:spMkLst>
            <pc:docMk/>
            <pc:sldMk cId="3784150892" sldId="902"/>
            <ac:spMk id="7" creationId="{F00D575D-FAB4-D598-6CD6-69ED1DD51463}"/>
          </ac:spMkLst>
        </pc:spChg>
        <pc:spChg chg="add del mod modVis">
          <ac:chgData name="Nataliia Chornii (UA)" userId="4e4b8b3d-5f31-49bb-9f80-8a25c04abfff" providerId="ADAL" clId="{EE97D3FE-9ACA-4467-98E5-532EC45D9D1C}" dt="2024-03-01T08:51:26.043" v="4738"/>
          <ac:spMkLst>
            <pc:docMk/>
            <pc:sldMk cId="3784150892" sldId="902"/>
            <ac:spMk id="8" creationId="{4036D083-EEC7-1BD2-1458-352DA03F72F3}"/>
          </ac:spMkLst>
        </pc:spChg>
        <pc:spChg chg="add del mod modVis">
          <ac:chgData name="Nataliia Chornii (UA)" userId="4e4b8b3d-5f31-49bb-9f80-8a25c04abfff" providerId="ADAL" clId="{EE97D3FE-9ACA-4467-98E5-532EC45D9D1C}" dt="2024-03-01T08:51:56.047" v="5727"/>
          <ac:spMkLst>
            <pc:docMk/>
            <pc:sldMk cId="3784150892" sldId="902"/>
            <ac:spMk id="9" creationId="{DC29C568-A2C6-9737-7AE6-BB19DD35A1BE}"/>
          </ac:spMkLst>
        </pc:spChg>
        <pc:spChg chg="add del mod modVis">
          <ac:chgData name="Nataliia Chornii (UA)" userId="4e4b8b3d-5f31-49bb-9f80-8a25c04abfff" providerId="ADAL" clId="{EE97D3FE-9ACA-4467-98E5-532EC45D9D1C}" dt="2024-03-01T08:52:18.218" v="6715"/>
          <ac:spMkLst>
            <pc:docMk/>
            <pc:sldMk cId="3784150892" sldId="902"/>
            <ac:spMk id="10" creationId="{9259F835-F502-5FD9-049A-AD2874A6FBEC}"/>
          </ac:spMkLst>
        </pc:spChg>
        <pc:graphicFrameChg chg="add mod ord modVis replST">
          <ac:chgData name="Nataliia Chornii (UA)" userId="4e4b8b3d-5f31-49bb-9f80-8a25c04abfff" providerId="ADAL" clId="{EE97D3FE-9ACA-4467-98E5-532EC45D9D1C}" dt="2024-03-01T08:52:18.218" v="6717"/>
          <ac:graphicFrameMkLst>
            <pc:docMk/>
            <pc:sldMk cId="3784150892" sldId="902"/>
            <ac:graphicFrameMk id="5" creationId="{9FF0C75E-EE25-13BB-4BD8-676305079473}"/>
          </ac:graphicFrameMkLst>
        </pc:graphicFrameChg>
      </pc:sldChg>
      <pc:sldChg chg="addSp delSp modSp mod modClrScheme chgLayout">
        <pc:chgData name="Nataliia Chornii (UA)" userId="4e4b8b3d-5f31-49bb-9f80-8a25c04abfff" providerId="ADAL" clId="{EE97D3FE-9ACA-4467-98E5-532EC45D9D1C}" dt="2024-03-11T14:22:40.001" v="24031"/>
        <pc:sldMkLst>
          <pc:docMk/>
          <pc:sldMk cId="3011875620" sldId="903"/>
        </pc:sldMkLst>
        <pc:spChg chg="mod ord">
          <ac:chgData name="Nataliia Chornii (UA)" userId="4e4b8b3d-5f31-49bb-9f80-8a25c04abfff" providerId="ADAL" clId="{EE97D3FE-9ACA-4467-98E5-532EC45D9D1C}" dt="2024-03-01T10:27:35.217" v="10081" actId="948"/>
          <ac:spMkLst>
            <pc:docMk/>
            <pc:sldMk cId="3011875620" sldId="903"/>
            <ac:spMk id="2" creationId="{EDFBCEAB-7D4A-91D0-E036-AAFACC3ABE8D}"/>
          </ac:spMkLst>
        </pc:spChg>
        <pc:spChg chg="add del mod ord">
          <ac:chgData name="Nataliia Chornii (UA)" userId="4e4b8b3d-5f31-49bb-9f80-8a25c04abfff" providerId="ADAL" clId="{EE97D3FE-9ACA-4467-98E5-532EC45D9D1C}" dt="2024-03-01T09:13:34.171" v="8101" actId="478"/>
          <ac:spMkLst>
            <pc:docMk/>
            <pc:sldMk cId="3011875620" sldId="903"/>
            <ac:spMk id="3" creationId="{26614F0E-2835-BB69-9173-4B170029D0DD}"/>
          </ac:spMkLst>
        </pc:spChg>
        <pc:spChg chg="add mod">
          <ac:chgData name="Nataliia Chornii (UA)" userId="4e4b8b3d-5f31-49bb-9f80-8a25c04abfff" providerId="ADAL" clId="{EE97D3FE-9ACA-4467-98E5-532EC45D9D1C}" dt="2024-03-11T14:22:40.001" v="24031"/>
          <ac:spMkLst>
            <pc:docMk/>
            <pc:sldMk cId="3011875620" sldId="903"/>
            <ac:spMk id="3" creationId="{33BB98B8-6827-4CCD-E4FE-A55C4C067AB3}"/>
          </ac:spMkLst>
        </pc:spChg>
        <pc:spChg chg="mod ord">
          <ac:chgData name="Nataliia Chornii (UA)" userId="4e4b8b3d-5f31-49bb-9f80-8a25c04abfff" providerId="ADAL" clId="{EE97D3FE-9ACA-4467-98E5-532EC45D9D1C}" dt="2024-03-01T10:27:34.723" v="10080" actId="700"/>
          <ac:spMkLst>
            <pc:docMk/>
            <pc:sldMk cId="3011875620" sldId="903"/>
            <ac:spMk id="4" creationId="{A6320228-D809-6F87-2500-99BCB217E23A}"/>
          </ac:spMkLst>
        </pc:spChg>
        <pc:spChg chg="del mod ord">
          <ac:chgData name="Nataliia Chornii (UA)" userId="4e4b8b3d-5f31-49bb-9f80-8a25c04abfff" providerId="ADAL" clId="{EE97D3FE-9ACA-4467-98E5-532EC45D9D1C}" dt="2024-03-01T09:13:36.007" v="8102" actId="478"/>
          <ac:spMkLst>
            <pc:docMk/>
            <pc:sldMk cId="3011875620" sldId="903"/>
            <ac:spMk id="5" creationId="{E03CB895-8BEB-5197-3BCF-F146EFC5500F}"/>
          </ac:spMkLst>
        </pc:spChg>
        <pc:spChg chg="add del mod ord">
          <ac:chgData name="Nataliia Chornii (UA)" userId="4e4b8b3d-5f31-49bb-9f80-8a25c04abfff" providerId="ADAL" clId="{EE97D3FE-9ACA-4467-98E5-532EC45D9D1C}" dt="2024-03-01T09:13:34.171" v="8101" actId="478"/>
          <ac:spMkLst>
            <pc:docMk/>
            <pc:sldMk cId="3011875620" sldId="903"/>
            <ac:spMk id="6" creationId="{34D7B216-0AF9-A245-CB30-410131422508}"/>
          </ac:spMkLst>
        </pc:spChg>
        <pc:spChg chg="mod">
          <ac:chgData name="Nataliia Chornii (UA)" userId="4e4b8b3d-5f31-49bb-9f80-8a25c04abfff" providerId="ADAL" clId="{EE97D3FE-9ACA-4467-98E5-532EC45D9D1C}" dt="2024-03-11T14:22:40.001" v="24031"/>
          <ac:spMkLst>
            <pc:docMk/>
            <pc:sldMk cId="3011875620" sldId="903"/>
            <ac:spMk id="6" creationId="{50E2AB2D-754A-C4F6-9350-624ECA322D05}"/>
          </ac:spMkLst>
        </pc:spChg>
        <pc:spChg chg="mod ord">
          <ac:chgData name="Nataliia Chornii (UA)" userId="4e4b8b3d-5f31-49bb-9f80-8a25c04abfff" providerId="ADAL" clId="{EE97D3FE-9ACA-4467-98E5-532EC45D9D1C}" dt="2024-03-01T09:36:34.447" v="8425" actId="164"/>
          <ac:spMkLst>
            <pc:docMk/>
            <pc:sldMk cId="3011875620" sldId="903"/>
            <ac:spMk id="7" creationId="{ABE8EE39-C466-6083-2B14-0237C935C96B}"/>
          </ac:spMkLst>
        </pc:spChg>
        <pc:spChg chg="mod ord">
          <ac:chgData name="Nataliia Chornii (UA)" userId="4e4b8b3d-5f31-49bb-9f80-8a25c04abfff" providerId="ADAL" clId="{EE97D3FE-9ACA-4467-98E5-532EC45D9D1C}" dt="2024-03-01T09:36:34.447" v="8425" actId="164"/>
          <ac:spMkLst>
            <pc:docMk/>
            <pc:sldMk cId="3011875620" sldId="903"/>
            <ac:spMk id="8" creationId="{D3075EA9-222C-FBAB-0F0E-D4775F00C87E}"/>
          </ac:spMkLst>
        </pc:spChg>
        <pc:spChg chg="mod ord">
          <ac:chgData name="Nataliia Chornii (UA)" userId="4e4b8b3d-5f31-49bb-9f80-8a25c04abfff" providerId="ADAL" clId="{EE97D3FE-9ACA-4467-98E5-532EC45D9D1C}" dt="2024-03-01T09:36:34.447" v="8425" actId="164"/>
          <ac:spMkLst>
            <pc:docMk/>
            <pc:sldMk cId="3011875620" sldId="903"/>
            <ac:spMk id="9" creationId="{08B6A8B7-7C80-74FA-BFD5-B86DDE664F74}"/>
          </ac:spMkLst>
        </pc:spChg>
        <pc:spChg chg="mod ord">
          <ac:chgData name="Nataliia Chornii (UA)" userId="4e4b8b3d-5f31-49bb-9f80-8a25c04abfff" providerId="ADAL" clId="{EE97D3FE-9ACA-4467-98E5-532EC45D9D1C}" dt="2024-03-01T09:36:34.447" v="8425" actId="164"/>
          <ac:spMkLst>
            <pc:docMk/>
            <pc:sldMk cId="3011875620" sldId="903"/>
            <ac:spMk id="10" creationId="{B337C822-0ACB-7395-4E9F-FE78A0258C7B}"/>
          </ac:spMkLst>
        </pc:spChg>
        <pc:spChg chg="mod ord">
          <ac:chgData name="Nataliia Chornii (UA)" userId="4e4b8b3d-5f31-49bb-9f80-8a25c04abfff" providerId="ADAL" clId="{EE97D3FE-9ACA-4467-98E5-532EC45D9D1C}" dt="2024-03-01T09:36:34.447" v="8425" actId="164"/>
          <ac:spMkLst>
            <pc:docMk/>
            <pc:sldMk cId="3011875620" sldId="903"/>
            <ac:spMk id="11" creationId="{BEFB8D44-5692-BC7D-1631-1623E5005441}"/>
          </ac:spMkLst>
        </pc:spChg>
        <pc:spChg chg="mod">
          <ac:chgData name="Nataliia Chornii (UA)" userId="4e4b8b3d-5f31-49bb-9f80-8a25c04abfff" providerId="ADAL" clId="{EE97D3FE-9ACA-4467-98E5-532EC45D9D1C}" dt="2024-03-11T14:22:40.001" v="24031"/>
          <ac:spMkLst>
            <pc:docMk/>
            <pc:sldMk cId="3011875620" sldId="903"/>
            <ac:spMk id="12" creationId="{6158C656-5A8A-CAA9-181E-CE47FCED7365}"/>
          </ac:spMkLst>
        </pc:spChg>
        <pc:spChg chg="del mod ord">
          <ac:chgData name="Nataliia Chornii (UA)" userId="4e4b8b3d-5f31-49bb-9f80-8a25c04abfff" providerId="ADAL" clId="{EE97D3FE-9ACA-4467-98E5-532EC45D9D1C}" dt="2024-03-01T09:19:40.024" v="8267" actId="478"/>
          <ac:spMkLst>
            <pc:docMk/>
            <pc:sldMk cId="3011875620" sldId="903"/>
            <ac:spMk id="12" creationId="{DBFB2BB3-C6FD-C05A-7AC0-6ECF93BB1AD1}"/>
          </ac:spMkLst>
        </pc:spChg>
        <pc:spChg chg="del mod ord">
          <ac:chgData name="Nataliia Chornii (UA)" userId="4e4b8b3d-5f31-49bb-9f80-8a25c04abfff" providerId="ADAL" clId="{EE97D3FE-9ACA-4467-98E5-532EC45D9D1C}" dt="2024-03-01T09:19:40.024" v="8267" actId="478"/>
          <ac:spMkLst>
            <pc:docMk/>
            <pc:sldMk cId="3011875620" sldId="903"/>
            <ac:spMk id="13" creationId="{9483E848-E37C-5DCE-0BB4-A09AE6853B17}"/>
          </ac:spMkLst>
        </pc:spChg>
        <pc:spChg chg="mod">
          <ac:chgData name="Nataliia Chornii (UA)" userId="4e4b8b3d-5f31-49bb-9f80-8a25c04abfff" providerId="ADAL" clId="{EE97D3FE-9ACA-4467-98E5-532EC45D9D1C}" dt="2024-03-11T14:22:40.001" v="24031"/>
          <ac:spMkLst>
            <pc:docMk/>
            <pc:sldMk cId="3011875620" sldId="903"/>
            <ac:spMk id="13" creationId="{EA43A31C-009C-105F-54A6-6DAA8B434B33}"/>
          </ac:spMkLst>
        </pc:spChg>
        <pc:spChg chg="add del mod modVis">
          <ac:chgData name="Nataliia Chornii (UA)" userId="4e4b8b3d-5f31-49bb-9f80-8a25c04abfff" providerId="ADAL" clId="{EE97D3FE-9ACA-4467-98E5-532EC45D9D1C}" dt="2024-03-01T08:48:59.125" v="1174"/>
          <ac:spMkLst>
            <pc:docMk/>
            <pc:sldMk cId="3011875620" sldId="903"/>
            <ac:spMk id="14" creationId="{06CB8C05-A8A5-E45B-A3C3-2CCA5DD17B6A}"/>
          </ac:spMkLst>
        </pc:spChg>
        <pc:spChg chg="mod">
          <ac:chgData name="Nataliia Chornii (UA)" userId="4e4b8b3d-5f31-49bb-9f80-8a25c04abfff" providerId="ADAL" clId="{EE97D3FE-9ACA-4467-98E5-532EC45D9D1C}" dt="2024-03-11T14:22:40.001" v="24031"/>
          <ac:spMkLst>
            <pc:docMk/>
            <pc:sldMk cId="3011875620" sldId="903"/>
            <ac:spMk id="14" creationId="{775AF9B8-6610-4857-987C-CC045B2E5B62}"/>
          </ac:spMkLst>
        </pc:spChg>
        <pc:spChg chg="mod">
          <ac:chgData name="Nataliia Chornii (UA)" userId="4e4b8b3d-5f31-49bb-9f80-8a25c04abfff" providerId="ADAL" clId="{EE97D3FE-9ACA-4467-98E5-532EC45D9D1C}" dt="2024-03-11T14:22:40.001" v="24031"/>
          <ac:spMkLst>
            <pc:docMk/>
            <pc:sldMk cId="3011875620" sldId="903"/>
            <ac:spMk id="16" creationId="{0518EBCE-7BE2-71F8-4BE1-780E7CD0E6D2}"/>
          </ac:spMkLst>
        </pc:spChg>
        <pc:spChg chg="add del mod modVis">
          <ac:chgData name="Nataliia Chornii (UA)" userId="4e4b8b3d-5f31-49bb-9f80-8a25c04abfff" providerId="ADAL" clId="{EE97D3FE-9ACA-4467-98E5-532EC45D9D1C}" dt="2024-03-01T08:49:33.687" v="2774"/>
          <ac:spMkLst>
            <pc:docMk/>
            <pc:sldMk cId="3011875620" sldId="903"/>
            <ac:spMk id="16" creationId="{EB63BB93-238C-CDA3-20D8-990803388357}"/>
          </ac:spMkLst>
        </pc:spChg>
        <pc:spChg chg="add del mod modVis">
          <ac:chgData name="Nataliia Chornii (UA)" userId="4e4b8b3d-5f31-49bb-9f80-8a25c04abfff" providerId="ADAL" clId="{EE97D3FE-9ACA-4467-98E5-532EC45D9D1C}" dt="2024-03-01T08:49:59.757" v="3762"/>
          <ac:spMkLst>
            <pc:docMk/>
            <pc:sldMk cId="3011875620" sldId="903"/>
            <ac:spMk id="17" creationId="{77791AAD-009F-15F1-155E-32C7B53F4FB6}"/>
          </ac:spMkLst>
        </pc:spChg>
        <pc:spChg chg="mod">
          <ac:chgData name="Nataliia Chornii (UA)" userId="4e4b8b3d-5f31-49bb-9f80-8a25c04abfff" providerId="ADAL" clId="{EE97D3FE-9ACA-4467-98E5-532EC45D9D1C}" dt="2024-03-11T14:22:40.001" v="24031"/>
          <ac:spMkLst>
            <pc:docMk/>
            <pc:sldMk cId="3011875620" sldId="903"/>
            <ac:spMk id="17" creationId="{EBD10C6D-EAD1-B7A2-7CCD-5108133E2B63}"/>
          </ac:spMkLst>
        </pc:spChg>
        <pc:spChg chg="add del mod modVis">
          <ac:chgData name="Nataliia Chornii (UA)" userId="4e4b8b3d-5f31-49bb-9f80-8a25c04abfff" providerId="ADAL" clId="{EE97D3FE-9ACA-4467-98E5-532EC45D9D1C}" dt="2024-03-01T08:51:26.065" v="4750"/>
          <ac:spMkLst>
            <pc:docMk/>
            <pc:sldMk cId="3011875620" sldId="903"/>
            <ac:spMk id="18" creationId="{9736B491-E02A-609D-B15C-55CA4A540B30}"/>
          </ac:spMkLst>
        </pc:spChg>
        <pc:spChg chg="add del mod modVis">
          <ac:chgData name="Nataliia Chornii (UA)" userId="4e4b8b3d-5f31-49bb-9f80-8a25c04abfff" providerId="ADAL" clId="{EE97D3FE-9ACA-4467-98E5-532EC45D9D1C}" dt="2024-03-01T08:51:56.063" v="5739"/>
          <ac:spMkLst>
            <pc:docMk/>
            <pc:sldMk cId="3011875620" sldId="903"/>
            <ac:spMk id="19" creationId="{DAB858D0-65E4-0A4E-C338-CD1D745712D7}"/>
          </ac:spMkLst>
        </pc:spChg>
        <pc:spChg chg="add del mod modVis">
          <ac:chgData name="Nataliia Chornii (UA)" userId="4e4b8b3d-5f31-49bb-9f80-8a25c04abfff" providerId="ADAL" clId="{EE97D3FE-9ACA-4467-98E5-532EC45D9D1C}" dt="2024-03-01T08:52:18.233" v="6727"/>
          <ac:spMkLst>
            <pc:docMk/>
            <pc:sldMk cId="3011875620" sldId="903"/>
            <ac:spMk id="20" creationId="{D023A0E5-5A89-6CC2-0620-6580047DA41B}"/>
          </ac:spMkLst>
        </pc:spChg>
        <pc:spChg chg="add del mod modVis">
          <ac:chgData name="Nataliia Chornii (UA)" userId="4e4b8b3d-5f31-49bb-9f80-8a25c04abfff" providerId="ADAL" clId="{EE97D3FE-9ACA-4467-98E5-532EC45D9D1C}" dt="2024-03-01T09:13:20.182" v="8091"/>
          <ac:spMkLst>
            <pc:docMk/>
            <pc:sldMk cId="3011875620" sldId="903"/>
            <ac:spMk id="21" creationId="{09123EA7-5358-38BB-6F4F-561DC8D001EC}"/>
          </ac:spMkLst>
        </pc:spChg>
        <pc:spChg chg="add del mod ord">
          <ac:chgData name="Nataliia Chornii (UA)" userId="4e4b8b3d-5f31-49bb-9f80-8a25c04abfff" providerId="ADAL" clId="{EE97D3FE-9ACA-4467-98E5-532EC45D9D1C}" dt="2024-03-01T09:14:31.546" v="8147" actId="478"/>
          <ac:spMkLst>
            <pc:docMk/>
            <pc:sldMk cId="3011875620" sldId="903"/>
            <ac:spMk id="23" creationId="{53D9E6A1-5786-9D9E-1313-55660CF565AD}"/>
          </ac:spMkLst>
        </pc:spChg>
        <pc:spChg chg="add mod ord">
          <ac:chgData name="Nataliia Chornii (UA)" userId="4e4b8b3d-5f31-49bb-9f80-8a25c04abfff" providerId="ADAL" clId="{EE97D3FE-9ACA-4467-98E5-532EC45D9D1C}" dt="2024-03-01T09:27:01.696" v="8315" actId="14100"/>
          <ac:spMkLst>
            <pc:docMk/>
            <pc:sldMk cId="3011875620" sldId="903"/>
            <ac:spMk id="24" creationId="{DA042BFC-9321-AE2A-D685-F5B36EFD0C0A}"/>
          </ac:spMkLst>
        </pc:spChg>
        <pc:spChg chg="add mod ord">
          <ac:chgData name="Nataliia Chornii (UA)" userId="4e4b8b3d-5f31-49bb-9f80-8a25c04abfff" providerId="ADAL" clId="{EE97D3FE-9ACA-4467-98E5-532EC45D9D1C}" dt="2024-03-01T09:26:49.870" v="8312" actId="1076"/>
          <ac:spMkLst>
            <pc:docMk/>
            <pc:sldMk cId="3011875620" sldId="903"/>
            <ac:spMk id="25" creationId="{F4EF9CAC-BCB4-3861-ABEC-9E1F2B71AD96}"/>
          </ac:spMkLst>
        </pc:spChg>
        <pc:spChg chg="add del mod ord">
          <ac:chgData name="Nataliia Chornii (UA)" userId="4e4b8b3d-5f31-49bb-9f80-8a25c04abfff" providerId="ADAL" clId="{EE97D3FE-9ACA-4467-98E5-532EC45D9D1C}" dt="2024-03-01T09:19:52.009" v="8270" actId="478"/>
          <ac:spMkLst>
            <pc:docMk/>
            <pc:sldMk cId="3011875620" sldId="903"/>
            <ac:spMk id="26" creationId="{5BEF4F66-0F8B-D263-7195-1FB12F20999C}"/>
          </ac:spMkLst>
        </pc:spChg>
        <pc:spChg chg="mod">
          <ac:chgData name="Nataliia Chornii (UA)" userId="4e4b8b3d-5f31-49bb-9f80-8a25c04abfff" providerId="ADAL" clId="{EE97D3FE-9ACA-4467-98E5-532EC45D9D1C}" dt="2024-03-01T09:14:08.888" v="8107"/>
          <ac:spMkLst>
            <pc:docMk/>
            <pc:sldMk cId="3011875620" sldId="903"/>
            <ac:spMk id="28" creationId="{AB6BDF94-7D7F-46FE-80AA-A64B6B1AB6FD}"/>
          </ac:spMkLst>
        </pc:spChg>
        <pc:spChg chg="mod">
          <ac:chgData name="Nataliia Chornii (UA)" userId="4e4b8b3d-5f31-49bb-9f80-8a25c04abfff" providerId="ADAL" clId="{EE97D3FE-9ACA-4467-98E5-532EC45D9D1C}" dt="2024-03-01T09:14:08.888" v="8107"/>
          <ac:spMkLst>
            <pc:docMk/>
            <pc:sldMk cId="3011875620" sldId="903"/>
            <ac:spMk id="29" creationId="{425A3F11-8CFB-256F-22E8-2EECD6D05DCF}"/>
          </ac:spMkLst>
        </pc:spChg>
        <pc:spChg chg="add del mod ord">
          <ac:chgData name="Nataliia Chornii (UA)" userId="4e4b8b3d-5f31-49bb-9f80-8a25c04abfff" providerId="ADAL" clId="{EE97D3FE-9ACA-4467-98E5-532EC45D9D1C}" dt="2024-03-01T09:19:52.009" v="8270" actId="478"/>
          <ac:spMkLst>
            <pc:docMk/>
            <pc:sldMk cId="3011875620" sldId="903"/>
            <ac:spMk id="30" creationId="{B186FF50-F31B-BB22-EDE4-839349F5C551}"/>
          </ac:spMkLst>
        </pc:spChg>
        <pc:spChg chg="add mod ord">
          <ac:chgData name="Nataliia Chornii (UA)" userId="4e4b8b3d-5f31-49bb-9f80-8a25c04abfff" providerId="ADAL" clId="{EE97D3FE-9ACA-4467-98E5-532EC45D9D1C}" dt="2024-03-01T09:21:47.604" v="8281" actId="555"/>
          <ac:spMkLst>
            <pc:docMk/>
            <pc:sldMk cId="3011875620" sldId="903"/>
            <ac:spMk id="33" creationId="{91B5CAE0-F039-3450-C576-47A650EA1505}"/>
          </ac:spMkLst>
        </pc:spChg>
        <pc:spChg chg="add mod">
          <ac:chgData name="Nataliia Chornii (UA)" userId="4e4b8b3d-5f31-49bb-9f80-8a25c04abfff" providerId="ADAL" clId="{EE97D3FE-9ACA-4467-98E5-532EC45D9D1C}" dt="2024-03-01T09:27:01.696" v="8315" actId="14100"/>
          <ac:spMkLst>
            <pc:docMk/>
            <pc:sldMk cId="3011875620" sldId="903"/>
            <ac:spMk id="34" creationId="{48C56B3B-5C0E-89A6-1595-B0C15560EB71}"/>
          </ac:spMkLst>
        </pc:spChg>
        <pc:spChg chg="add mod">
          <ac:chgData name="Nataliia Chornii (UA)" userId="4e4b8b3d-5f31-49bb-9f80-8a25c04abfff" providerId="ADAL" clId="{EE97D3FE-9ACA-4467-98E5-532EC45D9D1C}" dt="2024-03-01T09:26:49.870" v="8312" actId="1076"/>
          <ac:spMkLst>
            <pc:docMk/>
            <pc:sldMk cId="3011875620" sldId="903"/>
            <ac:spMk id="35" creationId="{B766C826-6D08-3C51-A63F-286C166B5215}"/>
          </ac:spMkLst>
        </pc:spChg>
        <pc:spChg chg="add del mod">
          <ac:chgData name="Nataliia Chornii (UA)" userId="4e4b8b3d-5f31-49bb-9f80-8a25c04abfff" providerId="ADAL" clId="{EE97D3FE-9ACA-4467-98E5-532EC45D9D1C}" dt="2024-03-01T09:19:50.543" v="8269" actId="478"/>
          <ac:spMkLst>
            <pc:docMk/>
            <pc:sldMk cId="3011875620" sldId="903"/>
            <ac:spMk id="36" creationId="{0B0F7225-B1F4-26DB-8E47-D5866F7D0AFF}"/>
          </ac:spMkLst>
        </pc:spChg>
        <pc:spChg chg="add del mod">
          <ac:chgData name="Nataliia Chornii (UA)" userId="4e4b8b3d-5f31-49bb-9f80-8a25c04abfff" providerId="ADAL" clId="{EE97D3FE-9ACA-4467-98E5-532EC45D9D1C}" dt="2024-03-01T09:19:50.543" v="8269" actId="478"/>
          <ac:spMkLst>
            <pc:docMk/>
            <pc:sldMk cId="3011875620" sldId="903"/>
            <ac:spMk id="37" creationId="{86B2EC1A-8E04-61D4-DD85-48B745E31695}"/>
          </ac:spMkLst>
        </pc:spChg>
        <pc:spChg chg="add mod">
          <ac:chgData name="Nataliia Chornii (UA)" userId="4e4b8b3d-5f31-49bb-9f80-8a25c04abfff" providerId="ADAL" clId="{EE97D3FE-9ACA-4467-98E5-532EC45D9D1C}" dt="2024-03-01T09:27:01.696" v="8315" actId="14100"/>
          <ac:spMkLst>
            <pc:docMk/>
            <pc:sldMk cId="3011875620" sldId="903"/>
            <ac:spMk id="38" creationId="{ADCF57E4-22C5-26F3-DA4D-7482BC480F36}"/>
          </ac:spMkLst>
        </pc:spChg>
        <pc:spChg chg="add mod">
          <ac:chgData name="Nataliia Chornii (UA)" userId="4e4b8b3d-5f31-49bb-9f80-8a25c04abfff" providerId="ADAL" clId="{EE97D3FE-9ACA-4467-98E5-532EC45D9D1C}" dt="2024-03-01T09:26:49.870" v="8312" actId="1076"/>
          <ac:spMkLst>
            <pc:docMk/>
            <pc:sldMk cId="3011875620" sldId="903"/>
            <ac:spMk id="39" creationId="{3B3A753D-2643-22D3-98E8-407917D7B655}"/>
          </ac:spMkLst>
        </pc:spChg>
        <pc:spChg chg="add del mod">
          <ac:chgData name="Nataliia Chornii (UA)" userId="4e4b8b3d-5f31-49bb-9f80-8a25c04abfff" providerId="ADAL" clId="{EE97D3FE-9ACA-4467-98E5-532EC45D9D1C}" dt="2024-03-01T09:19:48.099" v="8268" actId="478"/>
          <ac:spMkLst>
            <pc:docMk/>
            <pc:sldMk cId="3011875620" sldId="903"/>
            <ac:spMk id="40" creationId="{7747CDD1-7A53-60A6-7F37-8711DC9B31D1}"/>
          </ac:spMkLst>
        </pc:spChg>
        <pc:spChg chg="add del mod">
          <ac:chgData name="Nataliia Chornii (UA)" userId="4e4b8b3d-5f31-49bb-9f80-8a25c04abfff" providerId="ADAL" clId="{EE97D3FE-9ACA-4467-98E5-532EC45D9D1C}" dt="2024-03-01T09:19:48.099" v="8268" actId="478"/>
          <ac:spMkLst>
            <pc:docMk/>
            <pc:sldMk cId="3011875620" sldId="903"/>
            <ac:spMk id="41" creationId="{7A7982D3-5466-05DD-67B3-421E2A623685}"/>
          </ac:spMkLst>
        </pc:spChg>
        <pc:spChg chg="add mod">
          <ac:chgData name="Nataliia Chornii (UA)" userId="4e4b8b3d-5f31-49bb-9f80-8a25c04abfff" providerId="ADAL" clId="{EE97D3FE-9ACA-4467-98E5-532EC45D9D1C}" dt="2024-03-01T09:26:49.870" v="8312" actId="1076"/>
          <ac:spMkLst>
            <pc:docMk/>
            <pc:sldMk cId="3011875620" sldId="903"/>
            <ac:spMk id="42" creationId="{68F2028E-9AD9-74A4-45F4-1624B4155640}"/>
          </ac:spMkLst>
        </pc:spChg>
        <pc:spChg chg="add mod">
          <ac:chgData name="Nataliia Chornii (UA)" userId="4e4b8b3d-5f31-49bb-9f80-8a25c04abfff" providerId="ADAL" clId="{EE97D3FE-9ACA-4467-98E5-532EC45D9D1C}" dt="2024-03-01T09:26:49.870" v="8312" actId="1076"/>
          <ac:spMkLst>
            <pc:docMk/>
            <pc:sldMk cId="3011875620" sldId="903"/>
            <ac:spMk id="43" creationId="{2B9AE07F-5163-AD73-9B73-F4ADAAB4CB84}"/>
          </ac:spMkLst>
        </pc:spChg>
        <pc:spChg chg="add mod">
          <ac:chgData name="Nataliia Chornii (UA)" userId="4e4b8b3d-5f31-49bb-9f80-8a25c04abfff" providerId="ADAL" clId="{EE97D3FE-9ACA-4467-98E5-532EC45D9D1C}" dt="2024-03-01T09:26:49.870" v="8312" actId="1076"/>
          <ac:spMkLst>
            <pc:docMk/>
            <pc:sldMk cId="3011875620" sldId="903"/>
            <ac:spMk id="44" creationId="{9EC2ECCE-24AA-0CA5-D23D-11487EDED9A5}"/>
          </ac:spMkLst>
        </pc:spChg>
        <pc:spChg chg="add del mod">
          <ac:chgData name="Nataliia Chornii (UA)" userId="4e4b8b3d-5f31-49bb-9f80-8a25c04abfff" providerId="ADAL" clId="{EE97D3FE-9ACA-4467-98E5-532EC45D9D1C}" dt="2024-03-01T09:24:01.954" v="8295" actId="478"/>
          <ac:spMkLst>
            <pc:docMk/>
            <pc:sldMk cId="3011875620" sldId="903"/>
            <ac:spMk id="45" creationId="{D606CCFF-0DEC-26A2-C81A-F4505F047824}"/>
          </ac:spMkLst>
        </pc:spChg>
        <pc:spChg chg="add del mod">
          <ac:chgData name="Nataliia Chornii (UA)" userId="4e4b8b3d-5f31-49bb-9f80-8a25c04abfff" providerId="ADAL" clId="{EE97D3FE-9ACA-4467-98E5-532EC45D9D1C}" dt="2024-03-01T09:24:28.813" v="8299" actId="478"/>
          <ac:spMkLst>
            <pc:docMk/>
            <pc:sldMk cId="3011875620" sldId="903"/>
            <ac:spMk id="46" creationId="{0A76A211-4826-5A60-5E67-513315AA54D1}"/>
          </ac:spMkLst>
        </pc:spChg>
        <pc:spChg chg="mod">
          <ac:chgData name="Nataliia Chornii (UA)" userId="4e4b8b3d-5f31-49bb-9f80-8a25c04abfff" providerId="ADAL" clId="{EE97D3FE-9ACA-4467-98E5-532EC45D9D1C}" dt="2024-03-01T09:28:35.004" v="8338" actId="207"/>
          <ac:spMkLst>
            <pc:docMk/>
            <pc:sldMk cId="3011875620" sldId="903"/>
            <ac:spMk id="48" creationId="{F2E39767-EDB9-484C-0B35-744F3795A6CD}"/>
          </ac:spMkLst>
        </pc:spChg>
        <pc:spChg chg="mod">
          <ac:chgData name="Nataliia Chornii (UA)" userId="4e4b8b3d-5f31-49bb-9f80-8a25c04abfff" providerId="ADAL" clId="{EE97D3FE-9ACA-4467-98E5-532EC45D9D1C}" dt="2024-03-01T09:28:35.004" v="8338" actId="207"/>
          <ac:spMkLst>
            <pc:docMk/>
            <pc:sldMk cId="3011875620" sldId="903"/>
            <ac:spMk id="49" creationId="{572A06AC-8F3F-01E9-3219-527A4685D974}"/>
          </ac:spMkLst>
        </pc:spChg>
        <pc:spChg chg="mod">
          <ac:chgData name="Nataliia Chornii (UA)" userId="4e4b8b3d-5f31-49bb-9f80-8a25c04abfff" providerId="ADAL" clId="{EE97D3FE-9ACA-4467-98E5-532EC45D9D1C}" dt="2024-03-01T09:28:35.004" v="8338" actId="207"/>
          <ac:spMkLst>
            <pc:docMk/>
            <pc:sldMk cId="3011875620" sldId="903"/>
            <ac:spMk id="50" creationId="{1F82D50F-0C5B-CC51-D43A-64D75E4976AB}"/>
          </ac:spMkLst>
        </pc:spChg>
        <pc:spChg chg="add mod">
          <ac:chgData name="Nataliia Chornii (UA)" userId="4e4b8b3d-5f31-49bb-9f80-8a25c04abfff" providerId="ADAL" clId="{EE97D3FE-9ACA-4467-98E5-532EC45D9D1C}" dt="2024-03-01T09:28:49.428" v="8361" actId="1038"/>
          <ac:spMkLst>
            <pc:docMk/>
            <pc:sldMk cId="3011875620" sldId="903"/>
            <ac:spMk id="51" creationId="{2398A36F-FA9A-0524-9E8D-120752F63E34}"/>
          </ac:spMkLst>
        </pc:spChg>
        <pc:spChg chg="mod">
          <ac:chgData name="Nataliia Chornii (UA)" userId="4e4b8b3d-5f31-49bb-9f80-8a25c04abfff" providerId="ADAL" clId="{EE97D3FE-9ACA-4467-98E5-532EC45D9D1C}" dt="2024-03-01T09:28:35.004" v="8338" actId="207"/>
          <ac:spMkLst>
            <pc:docMk/>
            <pc:sldMk cId="3011875620" sldId="903"/>
            <ac:spMk id="53" creationId="{24412FE5-C3CD-76F7-0B4A-2EB3610E5AE0}"/>
          </ac:spMkLst>
        </pc:spChg>
        <pc:spChg chg="mod">
          <ac:chgData name="Nataliia Chornii (UA)" userId="4e4b8b3d-5f31-49bb-9f80-8a25c04abfff" providerId="ADAL" clId="{EE97D3FE-9ACA-4467-98E5-532EC45D9D1C}" dt="2024-03-01T09:28:35.004" v="8338" actId="207"/>
          <ac:spMkLst>
            <pc:docMk/>
            <pc:sldMk cId="3011875620" sldId="903"/>
            <ac:spMk id="54" creationId="{2241AB89-0344-6E51-6FB0-574A73D5D9B3}"/>
          </ac:spMkLst>
        </pc:spChg>
        <pc:spChg chg="mod">
          <ac:chgData name="Nataliia Chornii (UA)" userId="4e4b8b3d-5f31-49bb-9f80-8a25c04abfff" providerId="ADAL" clId="{EE97D3FE-9ACA-4467-98E5-532EC45D9D1C}" dt="2024-03-01T09:28:35.004" v="8338" actId="207"/>
          <ac:spMkLst>
            <pc:docMk/>
            <pc:sldMk cId="3011875620" sldId="903"/>
            <ac:spMk id="55" creationId="{BDA037DD-5019-C486-399C-83EA9F08CA88}"/>
          </ac:spMkLst>
        </pc:spChg>
        <pc:spChg chg="mod">
          <ac:chgData name="Nataliia Chornii (UA)" userId="4e4b8b3d-5f31-49bb-9f80-8a25c04abfff" providerId="ADAL" clId="{EE97D3FE-9ACA-4467-98E5-532EC45D9D1C}" dt="2024-03-01T09:28:35.004" v="8338" actId="207"/>
          <ac:spMkLst>
            <pc:docMk/>
            <pc:sldMk cId="3011875620" sldId="903"/>
            <ac:spMk id="56" creationId="{29893079-D834-8AAA-98B1-C83D3CAC24F2}"/>
          </ac:spMkLst>
        </pc:spChg>
        <pc:spChg chg="add del mod ord">
          <ac:chgData name="Nataliia Chornii (UA)" userId="4e4b8b3d-5f31-49bb-9f80-8a25c04abfff" providerId="ADAL" clId="{EE97D3FE-9ACA-4467-98E5-532EC45D9D1C}" dt="2024-03-01T10:27:41.726" v="10157" actId="478"/>
          <ac:spMkLst>
            <pc:docMk/>
            <pc:sldMk cId="3011875620" sldId="903"/>
            <ac:spMk id="58" creationId="{AD0C46E0-E4CB-4701-EDBB-6F7977701A59}"/>
          </ac:spMkLst>
        </pc:spChg>
        <pc:spChg chg="add del mod modVis">
          <ac:chgData name="Nataliia Chornii (UA)" userId="4e4b8b3d-5f31-49bb-9f80-8a25c04abfff" providerId="ADAL" clId="{EE97D3FE-9ACA-4467-98E5-532EC45D9D1C}" dt="2024-03-01T10:27:35.270" v="10144"/>
          <ac:spMkLst>
            <pc:docMk/>
            <pc:sldMk cId="3011875620" sldId="903"/>
            <ac:spMk id="59" creationId="{DBB423AD-C36F-B281-A7B0-D84EE7BFBE8E}"/>
          </ac:spMkLst>
        </pc:spChg>
        <pc:grpChg chg="add mod">
          <ac:chgData name="Nataliia Chornii (UA)" userId="4e4b8b3d-5f31-49bb-9f80-8a25c04abfff" providerId="ADAL" clId="{EE97D3FE-9ACA-4467-98E5-532EC45D9D1C}" dt="2024-03-11T14:22:40.001" v="24031"/>
          <ac:grpSpMkLst>
            <pc:docMk/>
            <pc:sldMk cId="3011875620" sldId="903"/>
            <ac:grpSpMk id="5" creationId="{706A042E-96D3-EE24-FA5E-32D25A875506}"/>
          </ac:grpSpMkLst>
        </pc:grpChg>
        <pc:grpChg chg="add del mod ord">
          <ac:chgData name="Nataliia Chornii (UA)" userId="4e4b8b3d-5f31-49bb-9f80-8a25c04abfff" providerId="ADAL" clId="{EE97D3FE-9ACA-4467-98E5-532EC45D9D1C}" dt="2024-03-01T09:14:57.172" v="8151" actId="478"/>
          <ac:grpSpMkLst>
            <pc:docMk/>
            <pc:sldMk cId="3011875620" sldId="903"/>
            <ac:grpSpMk id="27" creationId="{F5227D46-2B99-548A-0FBE-CDD4B27748C3}"/>
          </ac:grpSpMkLst>
        </pc:grpChg>
        <pc:grpChg chg="add mod">
          <ac:chgData name="Nataliia Chornii (UA)" userId="4e4b8b3d-5f31-49bb-9f80-8a25c04abfff" providerId="ADAL" clId="{EE97D3FE-9ACA-4467-98E5-532EC45D9D1C}" dt="2024-03-01T09:28:52.709" v="8372" actId="1037"/>
          <ac:grpSpMkLst>
            <pc:docMk/>
            <pc:sldMk cId="3011875620" sldId="903"/>
            <ac:grpSpMk id="47" creationId="{C171BA25-5382-4AC1-434C-CF8A04131F54}"/>
          </ac:grpSpMkLst>
        </pc:grpChg>
        <pc:grpChg chg="add mod">
          <ac:chgData name="Nataliia Chornii (UA)" userId="4e4b8b3d-5f31-49bb-9f80-8a25c04abfff" providerId="ADAL" clId="{EE97D3FE-9ACA-4467-98E5-532EC45D9D1C}" dt="2024-03-01T09:28:45.473" v="8353" actId="1038"/>
          <ac:grpSpMkLst>
            <pc:docMk/>
            <pc:sldMk cId="3011875620" sldId="903"/>
            <ac:grpSpMk id="52" creationId="{D94BAF1D-42A1-21C7-F626-8E0107576297}"/>
          </ac:grpSpMkLst>
        </pc:grpChg>
        <pc:grpChg chg="add mod">
          <ac:chgData name="Nataliia Chornii (UA)" userId="4e4b8b3d-5f31-49bb-9f80-8a25c04abfff" providerId="ADAL" clId="{EE97D3FE-9ACA-4467-98E5-532EC45D9D1C}" dt="2024-03-01T09:36:34.447" v="8425" actId="164"/>
          <ac:grpSpMkLst>
            <pc:docMk/>
            <pc:sldMk cId="3011875620" sldId="903"/>
            <ac:grpSpMk id="57" creationId="{9F6F67FF-2EDF-5A97-61F2-6CC866CB9959}"/>
          </ac:grpSpMkLst>
        </pc:grpChg>
        <pc:graphicFrameChg chg="add mod ord modVis replST">
          <ac:chgData name="Nataliia Chornii (UA)" userId="4e4b8b3d-5f31-49bb-9f80-8a25c04abfff" providerId="ADAL" clId="{EE97D3FE-9ACA-4467-98E5-532EC45D9D1C}" dt="2024-03-01T10:27:35.270" v="10146"/>
          <ac:graphicFrameMkLst>
            <pc:docMk/>
            <pc:sldMk cId="3011875620" sldId="903"/>
            <ac:graphicFrameMk id="15" creationId="{5BA6788F-AF5C-AB56-A6FB-EB7116022A62}"/>
          </ac:graphicFrameMkLst>
        </pc:graphicFrameChg>
        <pc:picChg chg="add mod ord modCrop">
          <ac:chgData name="Nataliia Chornii (UA)" userId="4e4b8b3d-5f31-49bb-9f80-8a25c04abfff" providerId="ADAL" clId="{EE97D3FE-9ACA-4467-98E5-532EC45D9D1C}" dt="2024-03-01T09:21:46.164" v="8280" actId="555"/>
          <ac:picMkLst>
            <pc:docMk/>
            <pc:sldMk cId="3011875620" sldId="903"/>
            <ac:picMk id="32" creationId="{C99C3321-AADB-8522-5455-B67E37EB9B30}"/>
          </ac:picMkLst>
        </pc:picChg>
      </pc:sldChg>
      <pc:sldChg chg="addSp delSp modSp mod modClrScheme chgLayout">
        <pc:chgData name="Nataliia Chornii (UA)" userId="4e4b8b3d-5f31-49bb-9f80-8a25c04abfff" providerId="ADAL" clId="{EE97D3FE-9ACA-4467-98E5-532EC45D9D1C}" dt="2024-03-11T14:22:42.677" v="24032"/>
        <pc:sldMkLst>
          <pc:docMk/>
          <pc:sldMk cId="795685229" sldId="904"/>
        </pc:sldMkLst>
        <pc:spChg chg="mod ord">
          <ac:chgData name="Nataliia Chornii (UA)" userId="4e4b8b3d-5f31-49bb-9f80-8a25c04abfff" providerId="ADAL" clId="{EE97D3FE-9ACA-4467-98E5-532EC45D9D1C}" dt="2024-03-04T09:03:07.611" v="18356"/>
          <ac:spMkLst>
            <pc:docMk/>
            <pc:sldMk cId="795685229" sldId="904"/>
            <ac:spMk id="2" creationId="{EDFBCEAB-7D4A-91D0-E036-AAFACC3ABE8D}"/>
          </ac:spMkLst>
        </pc:spChg>
        <pc:spChg chg="del mod ord">
          <ac:chgData name="Nataliia Chornii (UA)" userId="4e4b8b3d-5f31-49bb-9f80-8a25c04abfff" providerId="ADAL" clId="{EE97D3FE-9ACA-4467-98E5-532EC45D9D1C}" dt="2024-03-01T10:27:10.494" v="10051" actId="478"/>
          <ac:spMkLst>
            <pc:docMk/>
            <pc:sldMk cId="795685229" sldId="904"/>
            <ac:spMk id="3" creationId="{26614F0E-2835-BB69-9173-4B170029D0DD}"/>
          </ac:spMkLst>
        </pc:spChg>
        <pc:spChg chg="add mod ord">
          <ac:chgData name="Nataliia Chornii (UA)" userId="4e4b8b3d-5f31-49bb-9f80-8a25c04abfff" providerId="ADAL" clId="{EE97D3FE-9ACA-4467-98E5-532EC45D9D1C}" dt="2024-03-04T09:03:07.626" v="18374"/>
          <ac:spMkLst>
            <pc:docMk/>
            <pc:sldMk cId="795685229" sldId="904"/>
            <ac:spMk id="3" creationId="{4C152C15-BC58-532B-E67E-FFA20C37B22F}"/>
          </ac:spMkLst>
        </pc:spChg>
        <pc:spChg chg="mod ord">
          <ac:chgData name="Nataliia Chornii (UA)" userId="4e4b8b3d-5f31-49bb-9f80-8a25c04abfff" providerId="ADAL" clId="{EE97D3FE-9ACA-4467-98E5-532EC45D9D1C}" dt="2024-03-04T09:03:07.611" v="18358"/>
          <ac:spMkLst>
            <pc:docMk/>
            <pc:sldMk cId="795685229" sldId="904"/>
            <ac:spMk id="4" creationId="{A6320228-D809-6F87-2500-99BCB217E23A}"/>
          </ac:spMkLst>
        </pc:spChg>
        <pc:spChg chg="add mod ord">
          <ac:chgData name="Nataliia Chornii (UA)" userId="4e4b8b3d-5f31-49bb-9f80-8a25c04abfff" providerId="ADAL" clId="{EE97D3FE-9ACA-4467-98E5-532EC45D9D1C}" dt="2024-03-04T09:03:07.626" v="18376"/>
          <ac:spMkLst>
            <pc:docMk/>
            <pc:sldMk cId="795685229" sldId="904"/>
            <ac:spMk id="5" creationId="{945044BE-2322-FDB2-86F2-2ACD1D763423}"/>
          </ac:spMkLst>
        </pc:spChg>
        <pc:spChg chg="del">
          <ac:chgData name="Nataliia Chornii (UA)" userId="4e4b8b3d-5f31-49bb-9f80-8a25c04abfff" providerId="ADAL" clId="{EE97D3FE-9ACA-4467-98E5-532EC45D9D1C}" dt="2024-03-01T09:59:08.243" v="9428" actId="478"/>
          <ac:spMkLst>
            <pc:docMk/>
            <pc:sldMk cId="795685229" sldId="904"/>
            <ac:spMk id="5" creationId="{E03CB895-8BEB-5197-3BCF-F146EFC5500F}"/>
          </ac:spMkLst>
        </pc:spChg>
        <pc:spChg chg="add mod">
          <ac:chgData name="Nataliia Chornii (UA)" userId="4e4b8b3d-5f31-49bb-9f80-8a25c04abfff" providerId="ADAL" clId="{EE97D3FE-9ACA-4467-98E5-532EC45D9D1C}" dt="2024-03-11T14:22:42.677" v="24032"/>
          <ac:spMkLst>
            <pc:docMk/>
            <pc:sldMk cId="795685229" sldId="904"/>
            <ac:spMk id="6" creationId="{236C7614-93A6-8AC7-7258-BAE206E1F0BE}"/>
          </ac:spMkLst>
        </pc:spChg>
        <pc:spChg chg="add del mod modVis">
          <ac:chgData name="Nataliia Chornii (UA)" userId="4e4b8b3d-5f31-49bb-9f80-8a25c04abfff" providerId="ADAL" clId="{EE97D3FE-9ACA-4467-98E5-532EC45D9D1C}" dt="2024-03-04T08:55:23.899" v="18120"/>
          <ac:spMkLst>
            <pc:docMk/>
            <pc:sldMk cId="795685229" sldId="904"/>
            <ac:spMk id="6" creationId="{2F3F12C8-A58C-32D9-3708-ED40DDB29DBE}"/>
          </ac:spMkLst>
        </pc:spChg>
        <pc:spChg chg="del">
          <ac:chgData name="Nataliia Chornii (UA)" userId="4e4b8b3d-5f31-49bb-9f80-8a25c04abfff" providerId="ADAL" clId="{EE97D3FE-9ACA-4467-98E5-532EC45D9D1C}" dt="2024-03-01T09:59:08.243" v="9428" actId="478"/>
          <ac:spMkLst>
            <pc:docMk/>
            <pc:sldMk cId="795685229" sldId="904"/>
            <ac:spMk id="6" creationId="{34D7B216-0AF9-A245-CB30-410131422508}"/>
          </ac:spMkLst>
        </pc:spChg>
        <pc:spChg chg="del">
          <ac:chgData name="Nataliia Chornii (UA)" userId="4e4b8b3d-5f31-49bb-9f80-8a25c04abfff" providerId="ADAL" clId="{EE97D3FE-9ACA-4467-98E5-532EC45D9D1C}" dt="2024-03-01T09:36:38.799" v="8426" actId="478"/>
          <ac:spMkLst>
            <pc:docMk/>
            <pc:sldMk cId="795685229" sldId="904"/>
            <ac:spMk id="7" creationId="{ABE8EE39-C466-6083-2B14-0237C935C96B}"/>
          </ac:spMkLst>
        </pc:spChg>
        <pc:spChg chg="add del mod">
          <ac:chgData name="Nataliia Chornii (UA)" userId="4e4b8b3d-5f31-49bb-9f80-8a25c04abfff" providerId="ADAL" clId="{EE97D3FE-9ACA-4467-98E5-532EC45D9D1C}" dt="2024-03-04T08:56:44.586" v="18163"/>
          <ac:spMkLst>
            <pc:docMk/>
            <pc:sldMk cId="795685229" sldId="904"/>
            <ac:spMk id="7" creationId="{BB9046EC-4565-C1E6-9F13-2DF6F9B4AA8A}"/>
          </ac:spMkLst>
        </pc:spChg>
        <pc:spChg chg="mod">
          <ac:chgData name="Nataliia Chornii (UA)" userId="4e4b8b3d-5f31-49bb-9f80-8a25c04abfff" providerId="ADAL" clId="{EE97D3FE-9ACA-4467-98E5-532EC45D9D1C}" dt="2024-03-11T14:22:42.677" v="24032"/>
          <ac:spMkLst>
            <pc:docMk/>
            <pc:sldMk cId="795685229" sldId="904"/>
            <ac:spMk id="8" creationId="{A09E2FC6-0F4D-227B-88CF-B52B5EE2EF82}"/>
          </ac:spMkLst>
        </pc:spChg>
        <pc:spChg chg="add del mod">
          <ac:chgData name="Nataliia Chornii (UA)" userId="4e4b8b3d-5f31-49bb-9f80-8a25c04abfff" providerId="ADAL" clId="{EE97D3FE-9ACA-4467-98E5-532EC45D9D1C}" dt="2024-03-04T08:56:44.586" v="18163"/>
          <ac:spMkLst>
            <pc:docMk/>
            <pc:sldMk cId="795685229" sldId="904"/>
            <ac:spMk id="8" creationId="{B8BDCA7C-7660-34BA-AE23-C584C10B1AAA}"/>
          </ac:spMkLst>
        </pc:spChg>
        <pc:spChg chg="del">
          <ac:chgData name="Nataliia Chornii (UA)" userId="4e4b8b3d-5f31-49bb-9f80-8a25c04abfff" providerId="ADAL" clId="{EE97D3FE-9ACA-4467-98E5-532EC45D9D1C}" dt="2024-03-01T09:36:38.799" v="8426" actId="478"/>
          <ac:spMkLst>
            <pc:docMk/>
            <pc:sldMk cId="795685229" sldId="904"/>
            <ac:spMk id="8" creationId="{D3075EA9-222C-FBAB-0F0E-D4775F00C87E}"/>
          </ac:spMkLst>
        </pc:spChg>
        <pc:spChg chg="del">
          <ac:chgData name="Nataliia Chornii (UA)" userId="4e4b8b3d-5f31-49bb-9f80-8a25c04abfff" providerId="ADAL" clId="{EE97D3FE-9ACA-4467-98E5-532EC45D9D1C}" dt="2024-03-01T09:36:38.799" v="8426" actId="478"/>
          <ac:spMkLst>
            <pc:docMk/>
            <pc:sldMk cId="795685229" sldId="904"/>
            <ac:spMk id="9" creationId="{08B6A8B7-7C80-74FA-BFD5-B86DDE664F74}"/>
          </ac:spMkLst>
        </pc:spChg>
        <pc:spChg chg="del mod">
          <ac:chgData name="Nataliia Chornii (UA)" userId="4e4b8b3d-5f31-49bb-9f80-8a25c04abfff" providerId="ADAL" clId="{EE97D3FE-9ACA-4467-98E5-532EC45D9D1C}" dt="2024-03-04T08:57:02.073" v="18164" actId="478"/>
          <ac:spMkLst>
            <pc:docMk/>
            <pc:sldMk cId="795685229" sldId="904"/>
            <ac:spMk id="9" creationId="{B626D9D9-67A4-C213-04DD-1EEEDC505736}"/>
          </ac:spMkLst>
        </pc:spChg>
        <pc:spChg chg="mod">
          <ac:chgData name="Nataliia Chornii (UA)" userId="4e4b8b3d-5f31-49bb-9f80-8a25c04abfff" providerId="ADAL" clId="{EE97D3FE-9ACA-4467-98E5-532EC45D9D1C}" dt="2024-03-11T14:22:42.677" v="24032"/>
          <ac:spMkLst>
            <pc:docMk/>
            <pc:sldMk cId="795685229" sldId="904"/>
            <ac:spMk id="9" creationId="{F340303E-8854-DFEE-889A-B1C7C7D24D61}"/>
          </ac:spMkLst>
        </pc:spChg>
        <pc:spChg chg="mod">
          <ac:chgData name="Nataliia Chornii (UA)" userId="4e4b8b3d-5f31-49bb-9f80-8a25c04abfff" providerId="ADAL" clId="{EE97D3FE-9ACA-4467-98E5-532EC45D9D1C}" dt="2024-03-11T14:22:42.677" v="24032"/>
          <ac:spMkLst>
            <pc:docMk/>
            <pc:sldMk cId="795685229" sldId="904"/>
            <ac:spMk id="10" creationId="{477AA8D4-26DB-B757-6665-E175F960AC70}"/>
          </ac:spMkLst>
        </pc:spChg>
        <pc:spChg chg="add del mod">
          <ac:chgData name="Nataliia Chornii (UA)" userId="4e4b8b3d-5f31-49bb-9f80-8a25c04abfff" providerId="ADAL" clId="{EE97D3FE-9ACA-4467-98E5-532EC45D9D1C}" dt="2024-03-04T08:57:18.238" v="18170"/>
          <ac:spMkLst>
            <pc:docMk/>
            <pc:sldMk cId="795685229" sldId="904"/>
            <ac:spMk id="10" creationId="{5C9B9BAC-6A79-22CB-CFD9-FAD2A0C59132}"/>
          </ac:spMkLst>
        </pc:spChg>
        <pc:spChg chg="del">
          <ac:chgData name="Nataliia Chornii (UA)" userId="4e4b8b3d-5f31-49bb-9f80-8a25c04abfff" providerId="ADAL" clId="{EE97D3FE-9ACA-4467-98E5-532EC45D9D1C}" dt="2024-03-01T09:36:38.799" v="8426" actId="478"/>
          <ac:spMkLst>
            <pc:docMk/>
            <pc:sldMk cId="795685229" sldId="904"/>
            <ac:spMk id="10" creationId="{B337C822-0ACB-7395-4E9F-FE78A0258C7B}"/>
          </ac:spMkLst>
        </pc:spChg>
        <pc:spChg chg="mod">
          <ac:chgData name="Nataliia Chornii (UA)" userId="4e4b8b3d-5f31-49bb-9f80-8a25c04abfff" providerId="ADAL" clId="{EE97D3FE-9ACA-4467-98E5-532EC45D9D1C}" dt="2024-03-11T14:22:42.677" v="24032"/>
          <ac:spMkLst>
            <pc:docMk/>
            <pc:sldMk cId="795685229" sldId="904"/>
            <ac:spMk id="11" creationId="{16066EFF-1B24-0CE5-A2BA-1971CDA1F298}"/>
          </ac:spMkLst>
        </pc:spChg>
        <pc:spChg chg="add del mod">
          <ac:chgData name="Nataliia Chornii (UA)" userId="4e4b8b3d-5f31-49bb-9f80-8a25c04abfff" providerId="ADAL" clId="{EE97D3FE-9ACA-4467-98E5-532EC45D9D1C}" dt="2024-03-04T08:57:18.238" v="18170"/>
          <ac:spMkLst>
            <pc:docMk/>
            <pc:sldMk cId="795685229" sldId="904"/>
            <ac:spMk id="11" creationId="{728404D7-30B4-F34C-F334-397F9521EC14}"/>
          </ac:spMkLst>
        </pc:spChg>
        <pc:spChg chg="del">
          <ac:chgData name="Nataliia Chornii (UA)" userId="4e4b8b3d-5f31-49bb-9f80-8a25c04abfff" providerId="ADAL" clId="{EE97D3FE-9ACA-4467-98E5-532EC45D9D1C}" dt="2024-03-01T09:36:38.799" v="8426" actId="478"/>
          <ac:spMkLst>
            <pc:docMk/>
            <pc:sldMk cId="795685229" sldId="904"/>
            <ac:spMk id="11" creationId="{BEFB8D44-5692-BC7D-1631-1623E5005441}"/>
          </ac:spMkLst>
        </pc:spChg>
        <pc:spChg chg="del mod">
          <ac:chgData name="Nataliia Chornii (UA)" userId="4e4b8b3d-5f31-49bb-9f80-8a25c04abfff" providerId="ADAL" clId="{EE97D3FE-9ACA-4467-98E5-532EC45D9D1C}" dt="2024-03-04T08:59:54.682" v="18222"/>
          <ac:spMkLst>
            <pc:docMk/>
            <pc:sldMk cId="795685229" sldId="904"/>
            <ac:spMk id="12" creationId="{A0859D0C-4801-B94D-3506-1DBC0FDB2131}"/>
          </ac:spMkLst>
        </pc:spChg>
        <pc:spChg chg="mod">
          <ac:chgData name="Nataliia Chornii (UA)" userId="4e4b8b3d-5f31-49bb-9f80-8a25c04abfff" providerId="ADAL" clId="{EE97D3FE-9ACA-4467-98E5-532EC45D9D1C}" dt="2024-03-11T14:22:42.677" v="24032"/>
          <ac:spMkLst>
            <pc:docMk/>
            <pc:sldMk cId="795685229" sldId="904"/>
            <ac:spMk id="12" creationId="{C88E7724-810C-24BD-753F-A290ECACBD79}"/>
          </ac:spMkLst>
        </pc:spChg>
        <pc:spChg chg="del mod ord">
          <ac:chgData name="Nataliia Chornii (UA)" userId="4e4b8b3d-5f31-49bb-9f80-8a25c04abfff" providerId="ADAL" clId="{EE97D3FE-9ACA-4467-98E5-532EC45D9D1C}" dt="2024-03-01T10:26:11.912" v="10033" actId="478"/>
          <ac:spMkLst>
            <pc:docMk/>
            <pc:sldMk cId="795685229" sldId="904"/>
            <ac:spMk id="12" creationId="{DBFB2BB3-C6FD-C05A-7AC0-6ECF93BB1AD1}"/>
          </ac:spMkLst>
        </pc:spChg>
        <pc:spChg chg="add del mod modVis">
          <ac:chgData name="Nataliia Chornii (UA)" userId="4e4b8b3d-5f31-49bb-9f80-8a25c04abfff" providerId="ADAL" clId="{EE97D3FE-9ACA-4467-98E5-532EC45D9D1C}" dt="2024-03-01T08:48:59.172" v="1208"/>
          <ac:spMkLst>
            <pc:docMk/>
            <pc:sldMk cId="795685229" sldId="904"/>
            <ac:spMk id="13" creationId="{3D48090A-B4D5-6503-E0F9-32D6C257AF08}"/>
          </ac:spMkLst>
        </pc:spChg>
        <pc:spChg chg="mod">
          <ac:chgData name="Nataliia Chornii (UA)" userId="4e4b8b3d-5f31-49bb-9f80-8a25c04abfff" providerId="ADAL" clId="{EE97D3FE-9ACA-4467-98E5-532EC45D9D1C}" dt="2024-03-11T14:22:42.677" v="24032"/>
          <ac:spMkLst>
            <pc:docMk/>
            <pc:sldMk cId="795685229" sldId="904"/>
            <ac:spMk id="13" creationId="{A03FA3EC-CEDD-C891-567A-102CF6DB11EF}"/>
          </ac:spMkLst>
        </pc:spChg>
        <pc:spChg chg="add del mod">
          <ac:chgData name="Nataliia Chornii (UA)" userId="4e4b8b3d-5f31-49bb-9f80-8a25c04abfff" providerId="ADAL" clId="{EE97D3FE-9ACA-4467-98E5-532EC45D9D1C}" dt="2024-03-04T08:59:57.754" v="18224" actId="478"/>
          <ac:spMkLst>
            <pc:docMk/>
            <pc:sldMk cId="795685229" sldId="904"/>
            <ac:spMk id="13" creationId="{AA36C8E1-DE1E-CC57-116E-C2701155E406}"/>
          </ac:spMkLst>
        </pc:spChg>
        <pc:spChg chg="add del mod ord">
          <ac:chgData name="Nataliia Chornii (UA)" userId="4e4b8b3d-5f31-49bb-9f80-8a25c04abfff" providerId="ADAL" clId="{EE97D3FE-9ACA-4467-98E5-532EC45D9D1C}" dt="2024-03-04T09:05:20.657" v="18427" actId="478"/>
          <ac:spMkLst>
            <pc:docMk/>
            <pc:sldMk cId="795685229" sldId="904"/>
            <ac:spMk id="15" creationId="{72CB0957-34C0-AC95-1036-CA548487FBA4}"/>
          </ac:spMkLst>
        </pc:spChg>
        <pc:spChg chg="add del mod modVis">
          <ac:chgData name="Nataliia Chornii (UA)" userId="4e4b8b3d-5f31-49bb-9f80-8a25c04abfff" providerId="ADAL" clId="{EE97D3FE-9ACA-4467-98E5-532EC45D9D1C}" dt="2024-03-01T08:49:33.698" v="2782"/>
          <ac:spMkLst>
            <pc:docMk/>
            <pc:sldMk cId="795685229" sldId="904"/>
            <ac:spMk id="15" creationId="{8A96AACF-4884-0737-F78A-92742D1F43D2}"/>
          </ac:spMkLst>
        </pc:spChg>
        <pc:spChg chg="add mod">
          <ac:chgData name="Nataliia Chornii (UA)" userId="4e4b8b3d-5f31-49bb-9f80-8a25c04abfff" providerId="ADAL" clId="{EE97D3FE-9ACA-4467-98E5-532EC45D9D1C}" dt="2024-03-04T09:00:10.680" v="18228" actId="164"/>
          <ac:spMkLst>
            <pc:docMk/>
            <pc:sldMk cId="795685229" sldId="904"/>
            <ac:spMk id="17" creationId="{8FD30F6C-45B2-493B-F163-05CBA98D5658}"/>
          </ac:spMkLst>
        </pc:spChg>
        <pc:spChg chg="add del mod modVis">
          <ac:chgData name="Nataliia Chornii (UA)" userId="4e4b8b3d-5f31-49bb-9f80-8a25c04abfff" providerId="ADAL" clId="{EE97D3FE-9ACA-4467-98E5-532EC45D9D1C}" dt="2024-03-01T08:49:59.757" v="3770"/>
          <ac:spMkLst>
            <pc:docMk/>
            <pc:sldMk cId="795685229" sldId="904"/>
            <ac:spMk id="17" creationId="{E89DCDA5-EB63-E8BF-2E9D-C056274314BB}"/>
          </ac:spMkLst>
        </pc:spChg>
        <pc:spChg chg="add mod ord">
          <ac:chgData name="Nataliia Chornii (UA)" userId="4e4b8b3d-5f31-49bb-9f80-8a25c04abfff" providerId="ADAL" clId="{EE97D3FE-9ACA-4467-98E5-532EC45D9D1C}" dt="2024-03-04T09:05:58.105" v="18433" actId="207"/>
          <ac:spMkLst>
            <pc:docMk/>
            <pc:sldMk cId="795685229" sldId="904"/>
            <ac:spMk id="18" creationId="{3F4BD676-48F2-7B9C-384D-46EE7BC0A345}"/>
          </ac:spMkLst>
        </pc:spChg>
        <pc:spChg chg="add del mod modVis">
          <ac:chgData name="Nataliia Chornii (UA)" userId="4e4b8b3d-5f31-49bb-9f80-8a25c04abfff" providerId="ADAL" clId="{EE97D3FE-9ACA-4467-98E5-532EC45D9D1C}" dt="2024-03-01T08:51:26.075" v="4758"/>
          <ac:spMkLst>
            <pc:docMk/>
            <pc:sldMk cId="795685229" sldId="904"/>
            <ac:spMk id="18" creationId="{D057D3EC-4A43-8EAE-D969-FB60BC8BCDEB}"/>
          </ac:spMkLst>
        </pc:spChg>
        <pc:spChg chg="del mod ord">
          <ac:chgData name="Nataliia Chornii (UA)" userId="4e4b8b3d-5f31-49bb-9f80-8a25c04abfff" providerId="ADAL" clId="{EE97D3FE-9ACA-4467-98E5-532EC45D9D1C}" dt="2024-03-04T09:07:03.822" v="18464" actId="478"/>
          <ac:spMkLst>
            <pc:docMk/>
            <pc:sldMk cId="795685229" sldId="904"/>
            <ac:spMk id="19" creationId="{048A5838-6D25-2779-8C89-C2A6CF8D5120}"/>
          </ac:spMkLst>
        </pc:spChg>
        <pc:spChg chg="del mod ord">
          <ac:chgData name="Nataliia Chornii (UA)" userId="4e4b8b3d-5f31-49bb-9f80-8a25c04abfff" providerId="ADAL" clId="{EE97D3FE-9ACA-4467-98E5-532EC45D9D1C}" dt="2024-03-04T09:10:56.535" v="18500" actId="478"/>
          <ac:spMkLst>
            <pc:docMk/>
            <pc:sldMk cId="795685229" sldId="904"/>
            <ac:spMk id="20" creationId="{13D2366C-A215-8EED-AC5E-4C4A9ACD1E0F}"/>
          </ac:spMkLst>
        </pc:spChg>
        <pc:spChg chg="del mod ord">
          <ac:chgData name="Nataliia Chornii (UA)" userId="4e4b8b3d-5f31-49bb-9f80-8a25c04abfff" providerId="ADAL" clId="{EE97D3FE-9ACA-4467-98E5-532EC45D9D1C}" dt="2024-03-04T08:54:56.947" v="18086" actId="478"/>
          <ac:spMkLst>
            <pc:docMk/>
            <pc:sldMk cId="795685229" sldId="904"/>
            <ac:spMk id="21" creationId="{2F5D67B3-FA6B-A9D2-F814-CB68500CCB66}"/>
          </ac:spMkLst>
        </pc:spChg>
        <pc:spChg chg="mod ord">
          <ac:chgData name="Nataliia Chornii (UA)" userId="4e4b8b3d-5f31-49bb-9f80-8a25c04abfff" providerId="ADAL" clId="{EE97D3FE-9ACA-4467-98E5-532EC45D9D1C}" dt="2024-03-04T09:03:07.626" v="18366"/>
          <ac:spMkLst>
            <pc:docMk/>
            <pc:sldMk cId="795685229" sldId="904"/>
            <ac:spMk id="22" creationId="{FD456066-D6DB-ED05-F1F7-BFB8E89B2676}"/>
          </ac:spMkLst>
        </pc:spChg>
        <pc:spChg chg="add del mod modVis">
          <ac:chgData name="Nataliia Chornii (UA)" userId="4e4b8b3d-5f31-49bb-9f80-8a25c04abfff" providerId="ADAL" clId="{EE97D3FE-9ACA-4467-98E5-532EC45D9D1C}" dt="2024-03-01T08:51:56.063" v="5747"/>
          <ac:spMkLst>
            <pc:docMk/>
            <pc:sldMk cId="795685229" sldId="904"/>
            <ac:spMk id="23" creationId="{6DAA3761-3AED-70A1-20C5-3B4F365A4425}"/>
          </ac:spMkLst>
        </pc:spChg>
        <pc:spChg chg="add del mod">
          <ac:chgData name="Nataliia Chornii (UA)" userId="4e4b8b3d-5f31-49bb-9f80-8a25c04abfff" providerId="ADAL" clId="{EE97D3FE-9ACA-4467-98E5-532EC45D9D1C}" dt="2024-03-04T08:59:36.457" v="18218" actId="478"/>
          <ac:spMkLst>
            <pc:docMk/>
            <pc:sldMk cId="795685229" sldId="904"/>
            <ac:spMk id="23" creationId="{D587C40B-895A-873A-1624-5D387CB424CD}"/>
          </ac:spMkLst>
        </pc:spChg>
        <pc:spChg chg="add del mod modVis">
          <ac:chgData name="Nataliia Chornii (UA)" userId="4e4b8b3d-5f31-49bb-9f80-8a25c04abfff" providerId="ADAL" clId="{EE97D3FE-9ACA-4467-98E5-532EC45D9D1C}" dt="2024-03-01T08:52:18.233" v="6735"/>
          <ac:spMkLst>
            <pc:docMk/>
            <pc:sldMk cId="795685229" sldId="904"/>
            <ac:spMk id="24" creationId="{1C15C029-95FD-7D0E-6AA7-CDC43F00C769}"/>
          </ac:spMkLst>
        </pc:spChg>
        <pc:spChg chg="add del mod">
          <ac:chgData name="Nataliia Chornii (UA)" userId="4e4b8b3d-5f31-49bb-9f80-8a25c04abfff" providerId="ADAL" clId="{EE97D3FE-9ACA-4467-98E5-532EC45D9D1C}" dt="2024-03-04T08:59:54.682" v="18222"/>
          <ac:spMkLst>
            <pc:docMk/>
            <pc:sldMk cId="795685229" sldId="904"/>
            <ac:spMk id="24" creationId="{7D973646-2524-51B4-C67E-761C01567EC3}"/>
          </ac:spMkLst>
        </pc:spChg>
        <pc:spChg chg="mod">
          <ac:chgData name="Nataliia Chornii (UA)" userId="4e4b8b3d-5f31-49bb-9f80-8a25c04abfff" providerId="ADAL" clId="{EE97D3FE-9ACA-4467-98E5-532EC45D9D1C}" dt="2024-03-01T09:36:49.864" v="8433" actId="207"/>
          <ac:spMkLst>
            <pc:docMk/>
            <pc:sldMk cId="795685229" sldId="904"/>
            <ac:spMk id="26" creationId="{CA90F111-E668-30BE-440B-5CC38462EB08}"/>
          </ac:spMkLst>
        </pc:spChg>
        <pc:spChg chg="mod">
          <ac:chgData name="Nataliia Chornii (UA)" userId="4e4b8b3d-5f31-49bb-9f80-8a25c04abfff" providerId="ADAL" clId="{EE97D3FE-9ACA-4467-98E5-532EC45D9D1C}" dt="2024-03-01T09:36:43.804" v="8430" actId="207"/>
          <ac:spMkLst>
            <pc:docMk/>
            <pc:sldMk cId="795685229" sldId="904"/>
            <ac:spMk id="27" creationId="{172E5147-E792-A60A-3E58-BBA21B93A3CD}"/>
          </ac:spMkLst>
        </pc:spChg>
        <pc:spChg chg="mod">
          <ac:chgData name="Nataliia Chornii (UA)" userId="4e4b8b3d-5f31-49bb-9f80-8a25c04abfff" providerId="ADAL" clId="{EE97D3FE-9ACA-4467-98E5-532EC45D9D1C}" dt="2024-03-01T09:36:39.132" v="8427"/>
          <ac:spMkLst>
            <pc:docMk/>
            <pc:sldMk cId="795685229" sldId="904"/>
            <ac:spMk id="28" creationId="{113D09D0-B233-D26A-50AA-AAC45C1DB393}"/>
          </ac:spMkLst>
        </pc:spChg>
        <pc:spChg chg="mod">
          <ac:chgData name="Nataliia Chornii (UA)" userId="4e4b8b3d-5f31-49bb-9f80-8a25c04abfff" providerId="ADAL" clId="{EE97D3FE-9ACA-4467-98E5-532EC45D9D1C}" dt="2024-03-01T09:36:59.039" v="8435" actId="207"/>
          <ac:spMkLst>
            <pc:docMk/>
            <pc:sldMk cId="795685229" sldId="904"/>
            <ac:spMk id="29" creationId="{42AFA3F6-67B6-DCB6-69E0-4FEA827E9A7D}"/>
          </ac:spMkLst>
        </pc:spChg>
        <pc:spChg chg="mod">
          <ac:chgData name="Nataliia Chornii (UA)" userId="4e4b8b3d-5f31-49bb-9f80-8a25c04abfff" providerId="ADAL" clId="{EE97D3FE-9ACA-4467-98E5-532EC45D9D1C}" dt="2024-03-01T09:36:59.039" v="8435" actId="207"/>
          <ac:spMkLst>
            <pc:docMk/>
            <pc:sldMk cId="795685229" sldId="904"/>
            <ac:spMk id="30" creationId="{062CCA3E-954F-6862-9874-A90D093D0984}"/>
          </ac:spMkLst>
        </pc:spChg>
        <pc:spChg chg="add mod ord">
          <ac:chgData name="Nataliia Chornii (UA)" userId="4e4b8b3d-5f31-49bb-9f80-8a25c04abfff" providerId="ADAL" clId="{EE97D3FE-9ACA-4467-98E5-532EC45D9D1C}" dt="2024-03-04T09:03:07.611" v="18346"/>
          <ac:spMkLst>
            <pc:docMk/>
            <pc:sldMk cId="795685229" sldId="904"/>
            <ac:spMk id="31" creationId="{E2CC0EEE-CAB2-2559-66CC-085D68FA85B6}"/>
          </ac:spMkLst>
        </pc:spChg>
        <pc:spChg chg="add mod ord">
          <ac:chgData name="Nataliia Chornii (UA)" userId="4e4b8b3d-5f31-49bb-9f80-8a25c04abfff" providerId="ADAL" clId="{EE97D3FE-9ACA-4467-98E5-532EC45D9D1C}" dt="2024-03-04T09:58:58.506" v="20213" actId="12789"/>
          <ac:spMkLst>
            <pc:docMk/>
            <pc:sldMk cId="795685229" sldId="904"/>
            <ac:spMk id="32" creationId="{6DC923B1-F81E-C41B-D732-20A592FD5A53}"/>
          </ac:spMkLst>
        </pc:spChg>
        <pc:spChg chg="add mod ord">
          <ac:chgData name="Nataliia Chornii (UA)" userId="4e4b8b3d-5f31-49bb-9f80-8a25c04abfff" providerId="ADAL" clId="{EE97D3FE-9ACA-4467-98E5-532EC45D9D1C}" dt="2024-03-04T09:03:07.611" v="18350"/>
          <ac:spMkLst>
            <pc:docMk/>
            <pc:sldMk cId="795685229" sldId="904"/>
            <ac:spMk id="33" creationId="{DF43E668-9F50-57B8-04D1-B9499347A2DE}"/>
          </ac:spMkLst>
        </pc:spChg>
        <pc:spChg chg="add mod ord">
          <ac:chgData name="Nataliia Chornii (UA)" userId="4e4b8b3d-5f31-49bb-9f80-8a25c04abfff" providerId="ADAL" clId="{EE97D3FE-9ACA-4467-98E5-532EC45D9D1C}" dt="2024-03-04T09:03:07.611" v="18352"/>
          <ac:spMkLst>
            <pc:docMk/>
            <pc:sldMk cId="795685229" sldId="904"/>
            <ac:spMk id="34" creationId="{66589027-9228-B89D-7E1A-9FECA5F1E1EF}"/>
          </ac:spMkLst>
        </pc:spChg>
        <pc:spChg chg="add mod ord">
          <ac:chgData name="Nataliia Chornii (UA)" userId="4e4b8b3d-5f31-49bb-9f80-8a25c04abfff" providerId="ADAL" clId="{EE97D3FE-9ACA-4467-98E5-532EC45D9D1C}" dt="2024-03-01T10:26:45.445" v="10043" actId="164"/>
          <ac:spMkLst>
            <pc:docMk/>
            <pc:sldMk cId="795685229" sldId="904"/>
            <ac:spMk id="35" creationId="{EB5B638A-E0A2-E95A-0C67-6BB415F0EFE3}"/>
          </ac:spMkLst>
        </pc:spChg>
        <pc:spChg chg="del mod">
          <ac:chgData name="Nataliia Chornii (UA)" userId="4e4b8b3d-5f31-49bb-9f80-8a25c04abfff" providerId="ADAL" clId="{EE97D3FE-9ACA-4467-98E5-532EC45D9D1C}" dt="2024-03-04T08:59:59.304" v="18225" actId="478"/>
          <ac:spMkLst>
            <pc:docMk/>
            <pc:sldMk cId="795685229" sldId="904"/>
            <ac:spMk id="36" creationId="{DF5652B9-3EBC-6BB8-1975-104A9B637B6F}"/>
          </ac:spMkLst>
        </pc:spChg>
        <pc:spChg chg="add del mod">
          <ac:chgData name="Nataliia Chornii (UA)" userId="4e4b8b3d-5f31-49bb-9f80-8a25c04abfff" providerId="ADAL" clId="{EE97D3FE-9ACA-4467-98E5-532EC45D9D1C}" dt="2024-03-04T09:00:46.586" v="18241" actId="478"/>
          <ac:spMkLst>
            <pc:docMk/>
            <pc:sldMk cId="795685229" sldId="904"/>
            <ac:spMk id="37" creationId="{C1B6628B-A456-4BA0-9770-73D1871226D1}"/>
          </ac:spMkLst>
        </pc:spChg>
        <pc:spChg chg="mod">
          <ac:chgData name="Nataliia Chornii (UA)" userId="4e4b8b3d-5f31-49bb-9f80-8a25c04abfff" providerId="ADAL" clId="{EE97D3FE-9ACA-4467-98E5-532EC45D9D1C}" dt="2024-03-01T10:25:53.012" v="9985"/>
          <ac:spMkLst>
            <pc:docMk/>
            <pc:sldMk cId="795685229" sldId="904"/>
            <ac:spMk id="37" creationId="{E7E1303A-5C92-0A65-848A-D85B1C60E755}"/>
          </ac:spMkLst>
        </pc:spChg>
        <pc:spChg chg="del mod">
          <ac:chgData name="Nataliia Chornii (UA)" userId="4e4b8b3d-5f31-49bb-9f80-8a25c04abfff" providerId="ADAL" clId="{EE97D3FE-9ACA-4467-98E5-532EC45D9D1C}" dt="2024-03-04T09:00:45.368" v="18239" actId="478"/>
          <ac:spMkLst>
            <pc:docMk/>
            <pc:sldMk cId="795685229" sldId="904"/>
            <ac:spMk id="38" creationId="{641C61C1-9361-E86A-D01A-8D3925380974}"/>
          </ac:spMkLst>
        </pc:spChg>
        <pc:spChg chg="mod">
          <ac:chgData name="Nataliia Chornii (UA)" userId="4e4b8b3d-5f31-49bb-9f80-8a25c04abfff" providerId="ADAL" clId="{EE97D3FE-9ACA-4467-98E5-532EC45D9D1C}" dt="2024-03-01T10:25:53.012" v="9985"/>
          <ac:spMkLst>
            <pc:docMk/>
            <pc:sldMk cId="795685229" sldId="904"/>
            <ac:spMk id="38" creationId="{C1EEF915-D5EA-5D04-73FD-739D7AAD852C}"/>
          </ac:spMkLst>
        </pc:spChg>
        <pc:spChg chg="mod">
          <ac:chgData name="Nataliia Chornii (UA)" userId="4e4b8b3d-5f31-49bb-9f80-8a25c04abfff" providerId="ADAL" clId="{EE97D3FE-9ACA-4467-98E5-532EC45D9D1C}" dt="2024-03-04T09:00:10.680" v="18228" actId="164"/>
          <ac:spMkLst>
            <pc:docMk/>
            <pc:sldMk cId="795685229" sldId="904"/>
            <ac:spMk id="39" creationId="{C0E962FD-3881-BD24-7B72-AA1509B548A4}"/>
          </ac:spMkLst>
        </pc:spChg>
        <pc:spChg chg="add del mod">
          <ac:chgData name="Nataliia Chornii (UA)" userId="4e4b8b3d-5f31-49bb-9f80-8a25c04abfff" providerId="ADAL" clId="{EE97D3FE-9ACA-4467-98E5-532EC45D9D1C}" dt="2024-03-04T09:00:46.026" v="18240" actId="478"/>
          <ac:spMkLst>
            <pc:docMk/>
            <pc:sldMk cId="795685229" sldId="904"/>
            <ac:spMk id="40" creationId="{10F9DEC1-1D6F-E3CD-C9F9-C94F65B24E2F}"/>
          </ac:spMkLst>
        </pc:spChg>
        <pc:spChg chg="mod">
          <ac:chgData name="Nataliia Chornii (UA)" userId="4e4b8b3d-5f31-49bb-9f80-8a25c04abfff" providerId="ADAL" clId="{EE97D3FE-9ACA-4467-98E5-532EC45D9D1C}" dt="2024-03-01T10:25:53.012" v="9985"/>
          <ac:spMkLst>
            <pc:docMk/>
            <pc:sldMk cId="795685229" sldId="904"/>
            <ac:spMk id="40" creationId="{F25E3F96-069F-AEEC-B259-4C8B7A001866}"/>
          </ac:spMkLst>
        </pc:spChg>
        <pc:spChg chg="mod">
          <ac:chgData name="Nataliia Chornii (UA)" userId="4e4b8b3d-5f31-49bb-9f80-8a25c04abfff" providerId="ADAL" clId="{EE97D3FE-9ACA-4467-98E5-532EC45D9D1C}" dt="2024-03-01T10:25:53.012" v="9985"/>
          <ac:spMkLst>
            <pc:docMk/>
            <pc:sldMk cId="795685229" sldId="904"/>
            <ac:spMk id="41" creationId="{6E81099A-9501-8D0C-2013-E83E735CE062}"/>
          </ac:spMkLst>
        </pc:spChg>
        <pc:spChg chg="del mod">
          <ac:chgData name="Nataliia Chornii (UA)" userId="4e4b8b3d-5f31-49bb-9f80-8a25c04abfff" providerId="ADAL" clId="{EE97D3FE-9ACA-4467-98E5-532EC45D9D1C}" dt="2024-03-04T09:00:00.219" v="18226" actId="478"/>
          <ac:spMkLst>
            <pc:docMk/>
            <pc:sldMk cId="795685229" sldId="904"/>
            <ac:spMk id="41" creationId="{8754AD39-42CF-1093-B3BC-4FC0282357E3}"/>
          </ac:spMkLst>
        </pc:spChg>
        <pc:spChg chg="mod">
          <ac:chgData name="Nataliia Chornii (UA)" userId="4e4b8b3d-5f31-49bb-9f80-8a25c04abfff" providerId="ADAL" clId="{EE97D3FE-9ACA-4467-98E5-532EC45D9D1C}" dt="2024-03-01T10:25:53.012" v="9985"/>
          <ac:spMkLst>
            <pc:docMk/>
            <pc:sldMk cId="795685229" sldId="904"/>
            <ac:spMk id="42" creationId="{0CB14006-2B31-9F1B-E924-154B682F8A5A}"/>
          </ac:spMkLst>
        </pc:spChg>
        <pc:spChg chg="add del mod">
          <ac:chgData name="Nataliia Chornii (UA)" userId="4e4b8b3d-5f31-49bb-9f80-8a25c04abfff" providerId="ADAL" clId="{EE97D3FE-9ACA-4467-98E5-532EC45D9D1C}" dt="2024-03-04T09:00:43.881" v="18238" actId="478"/>
          <ac:spMkLst>
            <pc:docMk/>
            <pc:sldMk cId="795685229" sldId="904"/>
            <ac:spMk id="42" creationId="{66E469AB-41F7-F136-0D4A-11ADC1B0812E}"/>
          </ac:spMkLst>
        </pc:spChg>
        <pc:spChg chg="del mod">
          <ac:chgData name="Nataliia Chornii (UA)" userId="4e4b8b3d-5f31-49bb-9f80-8a25c04abfff" providerId="ADAL" clId="{EE97D3FE-9ACA-4467-98E5-532EC45D9D1C}" dt="2024-03-04T09:00:01.237" v="18227" actId="478"/>
          <ac:spMkLst>
            <pc:docMk/>
            <pc:sldMk cId="795685229" sldId="904"/>
            <ac:spMk id="43" creationId="{35B1F3B5-BFB8-4260-6CAA-8088C2C732B8}"/>
          </ac:spMkLst>
        </pc:spChg>
        <pc:spChg chg="mod">
          <ac:chgData name="Nataliia Chornii (UA)" userId="4e4b8b3d-5f31-49bb-9f80-8a25c04abfff" providerId="ADAL" clId="{EE97D3FE-9ACA-4467-98E5-532EC45D9D1C}" dt="2024-03-01T10:25:53.012" v="9985"/>
          <ac:spMkLst>
            <pc:docMk/>
            <pc:sldMk cId="795685229" sldId="904"/>
            <ac:spMk id="43" creationId="{D52CF76A-6D81-88A7-BE9B-C90F180F36FC}"/>
          </ac:spMkLst>
        </pc:spChg>
        <pc:spChg chg="mod">
          <ac:chgData name="Nataliia Chornii (UA)" userId="4e4b8b3d-5f31-49bb-9f80-8a25c04abfff" providerId="ADAL" clId="{EE97D3FE-9ACA-4467-98E5-532EC45D9D1C}" dt="2024-03-01T10:25:53.012" v="9985"/>
          <ac:spMkLst>
            <pc:docMk/>
            <pc:sldMk cId="795685229" sldId="904"/>
            <ac:spMk id="44" creationId="{618E0A7D-968E-7EBC-1FF4-AA44E363C51E}"/>
          </ac:spMkLst>
        </pc:spChg>
        <pc:spChg chg="del mod">
          <ac:chgData name="Nataliia Chornii (UA)" userId="4e4b8b3d-5f31-49bb-9f80-8a25c04abfff" providerId="ADAL" clId="{EE97D3FE-9ACA-4467-98E5-532EC45D9D1C}" dt="2024-03-04T08:59:56.822" v="18223" actId="478"/>
          <ac:spMkLst>
            <pc:docMk/>
            <pc:sldMk cId="795685229" sldId="904"/>
            <ac:spMk id="44" creationId="{754440FC-403C-74FA-CDEF-7A82D3C524F5}"/>
          </ac:spMkLst>
        </pc:spChg>
        <pc:spChg chg="mod">
          <ac:chgData name="Nataliia Chornii (UA)" userId="4e4b8b3d-5f31-49bb-9f80-8a25c04abfff" providerId="ADAL" clId="{EE97D3FE-9ACA-4467-98E5-532EC45D9D1C}" dt="2024-03-01T10:25:53.012" v="9985"/>
          <ac:spMkLst>
            <pc:docMk/>
            <pc:sldMk cId="795685229" sldId="904"/>
            <ac:spMk id="45" creationId="{767BA91C-A3A6-F385-570F-50665DB4280E}"/>
          </ac:spMkLst>
        </pc:spChg>
        <pc:spChg chg="mod">
          <ac:chgData name="Nataliia Chornii (UA)" userId="4e4b8b3d-5f31-49bb-9f80-8a25c04abfff" providerId="ADAL" clId="{EE97D3FE-9ACA-4467-98E5-532EC45D9D1C}" dt="2024-03-01T10:25:53.012" v="9985"/>
          <ac:spMkLst>
            <pc:docMk/>
            <pc:sldMk cId="795685229" sldId="904"/>
            <ac:spMk id="46" creationId="{5440245F-CF09-2D8B-E547-DCC00104B784}"/>
          </ac:spMkLst>
        </pc:spChg>
        <pc:spChg chg="add del mod ord">
          <ac:chgData name="Nataliia Chornii (UA)" userId="4e4b8b3d-5f31-49bb-9f80-8a25c04abfff" providerId="ADAL" clId="{EE97D3FE-9ACA-4467-98E5-532EC45D9D1C}" dt="2024-03-04T09:02:45.928" v="18331"/>
          <ac:spMkLst>
            <pc:docMk/>
            <pc:sldMk cId="795685229" sldId="904"/>
            <ac:spMk id="46" creationId="{A70BF712-C8F0-19CC-35A4-940DDC5678A4}"/>
          </ac:spMkLst>
        </pc:spChg>
        <pc:spChg chg="add del mod ord">
          <ac:chgData name="Nataliia Chornii (UA)" userId="4e4b8b3d-5f31-49bb-9f80-8a25c04abfff" providerId="ADAL" clId="{EE97D3FE-9ACA-4467-98E5-532EC45D9D1C}" dt="2024-03-04T09:05:21.794" v="18428" actId="478"/>
          <ac:spMkLst>
            <pc:docMk/>
            <pc:sldMk cId="795685229" sldId="904"/>
            <ac:spMk id="47" creationId="{2887908E-6861-A728-7DA6-4D69413302F9}"/>
          </ac:spMkLst>
        </pc:spChg>
        <pc:spChg chg="mod">
          <ac:chgData name="Nataliia Chornii (UA)" userId="4e4b8b3d-5f31-49bb-9f80-8a25c04abfff" providerId="ADAL" clId="{EE97D3FE-9ACA-4467-98E5-532EC45D9D1C}" dt="2024-03-01T10:25:53.012" v="9985"/>
          <ac:spMkLst>
            <pc:docMk/>
            <pc:sldMk cId="795685229" sldId="904"/>
            <ac:spMk id="47" creationId="{B1C879F6-90D2-8F9B-936C-B16F72044511}"/>
          </ac:spMkLst>
        </pc:spChg>
        <pc:spChg chg="mod">
          <ac:chgData name="Nataliia Chornii (UA)" userId="4e4b8b3d-5f31-49bb-9f80-8a25c04abfff" providerId="ADAL" clId="{EE97D3FE-9ACA-4467-98E5-532EC45D9D1C}" dt="2024-03-01T10:25:53.012" v="9985"/>
          <ac:spMkLst>
            <pc:docMk/>
            <pc:sldMk cId="795685229" sldId="904"/>
            <ac:spMk id="48" creationId="{C62B710C-4E56-87D2-5036-FF544F7BD07E}"/>
          </ac:spMkLst>
        </pc:spChg>
        <pc:spChg chg="add del mod">
          <ac:chgData name="Nataliia Chornii (UA)" userId="4e4b8b3d-5f31-49bb-9f80-8a25c04abfff" providerId="ADAL" clId="{EE97D3FE-9ACA-4467-98E5-532EC45D9D1C}" dt="2024-03-04T09:02:45.928" v="18331"/>
          <ac:spMkLst>
            <pc:docMk/>
            <pc:sldMk cId="795685229" sldId="904"/>
            <ac:spMk id="48" creationId="{D96FEED2-E5A6-BD1C-ED85-789E534BC2C2}"/>
          </ac:spMkLst>
        </pc:spChg>
        <pc:spChg chg="mod">
          <ac:chgData name="Nataliia Chornii (UA)" userId="4e4b8b3d-5f31-49bb-9f80-8a25c04abfff" providerId="ADAL" clId="{EE97D3FE-9ACA-4467-98E5-532EC45D9D1C}" dt="2024-03-01T10:25:53.012" v="9985"/>
          <ac:spMkLst>
            <pc:docMk/>
            <pc:sldMk cId="795685229" sldId="904"/>
            <ac:spMk id="49" creationId="{13776CEE-EFE9-6F68-4F37-0C3E291A229F}"/>
          </ac:spMkLst>
        </pc:spChg>
        <pc:spChg chg="del mod">
          <ac:chgData name="Nataliia Chornii (UA)" userId="4e4b8b3d-5f31-49bb-9f80-8a25c04abfff" providerId="ADAL" clId="{EE97D3FE-9ACA-4467-98E5-532EC45D9D1C}" dt="2024-03-04T09:02:56.139" v="18338" actId="478"/>
          <ac:spMkLst>
            <pc:docMk/>
            <pc:sldMk cId="795685229" sldId="904"/>
            <ac:spMk id="49" creationId="{4CD88EA2-56D6-34F2-7C93-4D2909C8E277}"/>
          </ac:spMkLst>
        </pc:spChg>
        <pc:spChg chg="mod">
          <ac:chgData name="Nataliia Chornii (UA)" userId="4e4b8b3d-5f31-49bb-9f80-8a25c04abfff" providerId="ADAL" clId="{EE97D3FE-9ACA-4467-98E5-532EC45D9D1C}" dt="2024-03-01T10:25:53.012" v="9985"/>
          <ac:spMkLst>
            <pc:docMk/>
            <pc:sldMk cId="795685229" sldId="904"/>
            <ac:spMk id="50" creationId="{68A43BFC-07E5-E165-D561-FBB8AC1707F5}"/>
          </ac:spMkLst>
        </pc:spChg>
        <pc:spChg chg="del mod">
          <ac:chgData name="Nataliia Chornii (UA)" userId="4e4b8b3d-5f31-49bb-9f80-8a25c04abfff" providerId="ADAL" clId="{EE97D3FE-9ACA-4467-98E5-532EC45D9D1C}" dt="2024-03-04T09:02:52.870" v="18336" actId="478"/>
          <ac:spMkLst>
            <pc:docMk/>
            <pc:sldMk cId="795685229" sldId="904"/>
            <ac:spMk id="50" creationId="{E3EF8AC0-1B97-560B-329B-8AA78D66BBA3}"/>
          </ac:spMkLst>
        </pc:spChg>
        <pc:spChg chg="del mod">
          <ac:chgData name="Nataliia Chornii (UA)" userId="4e4b8b3d-5f31-49bb-9f80-8a25c04abfff" providerId="ADAL" clId="{EE97D3FE-9ACA-4467-98E5-532EC45D9D1C}" dt="2024-03-04T09:02:52.367" v="18335" actId="478"/>
          <ac:spMkLst>
            <pc:docMk/>
            <pc:sldMk cId="795685229" sldId="904"/>
            <ac:spMk id="51" creationId="{611A8E60-DE16-0C9D-9E11-51FAB7C433D5}"/>
          </ac:spMkLst>
        </pc:spChg>
        <pc:spChg chg="mod">
          <ac:chgData name="Nataliia Chornii (UA)" userId="4e4b8b3d-5f31-49bb-9f80-8a25c04abfff" providerId="ADAL" clId="{EE97D3FE-9ACA-4467-98E5-532EC45D9D1C}" dt="2024-03-01T10:25:53.012" v="9985"/>
          <ac:spMkLst>
            <pc:docMk/>
            <pc:sldMk cId="795685229" sldId="904"/>
            <ac:spMk id="51" creationId="{7FC0ED02-188B-F693-4F30-1499112614CF}"/>
          </ac:spMkLst>
        </pc:spChg>
        <pc:spChg chg="mod">
          <ac:chgData name="Nataliia Chornii (UA)" userId="4e4b8b3d-5f31-49bb-9f80-8a25c04abfff" providerId="ADAL" clId="{EE97D3FE-9ACA-4467-98E5-532EC45D9D1C}" dt="2024-03-01T10:25:53.012" v="9985"/>
          <ac:spMkLst>
            <pc:docMk/>
            <pc:sldMk cId="795685229" sldId="904"/>
            <ac:spMk id="52" creationId="{55276A98-36B0-9210-07B4-72958DDA4326}"/>
          </ac:spMkLst>
        </pc:spChg>
        <pc:spChg chg="del mod ord">
          <ac:chgData name="Nataliia Chornii (UA)" userId="4e4b8b3d-5f31-49bb-9f80-8a25c04abfff" providerId="ADAL" clId="{EE97D3FE-9ACA-4467-98E5-532EC45D9D1C}" dt="2024-03-04T09:04:23.614" v="18408"/>
          <ac:spMkLst>
            <pc:docMk/>
            <pc:sldMk cId="795685229" sldId="904"/>
            <ac:spMk id="52" creationId="{D45EC510-DD44-36AA-0933-E28D6AE1601A}"/>
          </ac:spMkLst>
        </pc:spChg>
        <pc:spChg chg="mod">
          <ac:chgData name="Nataliia Chornii (UA)" userId="4e4b8b3d-5f31-49bb-9f80-8a25c04abfff" providerId="ADAL" clId="{EE97D3FE-9ACA-4467-98E5-532EC45D9D1C}" dt="2024-03-01T10:25:53.012" v="9985"/>
          <ac:spMkLst>
            <pc:docMk/>
            <pc:sldMk cId="795685229" sldId="904"/>
            <ac:spMk id="53" creationId="{3D97D1CC-963E-530D-2023-A7FC3EEC6508}"/>
          </ac:spMkLst>
        </pc:spChg>
        <pc:spChg chg="del mod">
          <ac:chgData name="Nataliia Chornii (UA)" userId="4e4b8b3d-5f31-49bb-9f80-8a25c04abfff" providerId="ADAL" clId="{EE97D3FE-9ACA-4467-98E5-532EC45D9D1C}" dt="2024-03-04T09:02:57.740" v="18339" actId="478"/>
          <ac:spMkLst>
            <pc:docMk/>
            <pc:sldMk cId="795685229" sldId="904"/>
            <ac:spMk id="53" creationId="{DF2C2745-419B-5828-CEF7-0A598E9A8C68}"/>
          </ac:spMkLst>
        </pc:spChg>
        <pc:spChg chg="del mod">
          <ac:chgData name="Nataliia Chornii (UA)" userId="4e4b8b3d-5f31-49bb-9f80-8a25c04abfff" providerId="ADAL" clId="{EE97D3FE-9ACA-4467-98E5-532EC45D9D1C}" dt="2024-03-04T09:02:53.743" v="18337" actId="478"/>
          <ac:spMkLst>
            <pc:docMk/>
            <pc:sldMk cId="795685229" sldId="904"/>
            <ac:spMk id="54" creationId="{898E051F-E912-2128-2599-29184D0C6E92}"/>
          </ac:spMkLst>
        </pc:spChg>
        <pc:spChg chg="mod">
          <ac:chgData name="Nataliia Chornii (UA)" userId="4e4b8b3d-5f31-49bb-9f80-8a25c04abfff" providerId="ADAL" clId="{EE97D3FE-9ACA-4467-98E5-532EC45D9D1C}" dt="2024-03-01T10:25:53.012" v="9985"/>
          <ac:spMkLst>
            <pc:docMk/>
            <pc:sldMk cId="795685229" sldId="904"/>
            <ac:spMk id="54" creationId="{DFFC1BF4-86E4-E786-F051-3F1BB3F66337}"/>
          </ac:spMkLst>
        </pc:spChg>
        <pc:spChg chg="mod">
          <ac:chgData name="Nataliia Chornii (UA)" userId="4e4b8b3d-5f31-49bb-9f80-8a25c04abfff" providerId="ADAL" clId="{EE97D3FE-9ACA-4467-98E5-532EC45D9D1C}" dt="2024-03-01T10:25:53.012" v="9985"/>
          <ac:spMkLst>
            <pc:docMk/>
            <pc:sldMk cId="795685229" sldId="904"/>
            <ac:spMk id="55" creationId="{2CDA3731-1FB9-CB4E-5A3B-9D0B5BD415B5}"/>
          </ac:spMkLst>
        </pc:spChg>
        <pc:spChg chg="del mod">
          <ac:chgData name="Nataliia Chornii (UA)" userId="4e4b8b3d-5f31-49bb-9f80-8a25c04abfff" providerId="ADAL" clId="{EE97D3FE-9ACA-4467-98E5-532EC45D9D1C}" dt="2024-03-04T09:02:48.486" v="18333" actId="478"/>
          <ac:spMkLst>
            <pc:docMk/>
            <pc:sldMk cId="795685229" sldId="904"/>
            <ac:spMk id="55" creationId="{30CC0A80-3890-CCEF-3BCF-FD7D6964C1B3}"/>
          </ac:spMkLst>
        </pc:spChg>
        <pc:spChg chg="add mod ord">
          <ac:chgData name="Nataliia Chornii (UA)" userId="4e4b8b3d-5f31-49bb-9f80-8a25c04abfff" providerId="ADAL" clId="{EE97D3FE-9ACA-4467-98E5-532EC45D9D1C}" dt="2024-03-01T10:26:45.445" v="10043" actId="164"/>
          <ac:spMkLst>
            <pc:docMk/>
            <pc:sldMk cId="795685229" sldId="904"/>
            <ac:spMk id="56" creationId="{AA943CE1-3998-F2FA-5810-5F0CADCF2715}"/>
          </ac:spMkLst>
        </pc:spChg>
        <pc:spChg chg="add del mod ord">
          <ac:chgData name="Nataliia Chornii (UA)" userId="4e4b8b3d-5f31-49bb-9f80-8a25c04abfff" providerId="ADAL" clId="{EE97D3FE-9ACA-4467-98E5-532EC45D9D1C}" dt="2024-03-04T09:04:19.190" v="18407"/>
          <ac:spMkLst>
            <pc:docMk/>
            <pc:sldMk cId="795685229" sldId="904"/>
            <ac:spMk id="57" creationId="{7792A1D4-0F97-9122-9FB8-806E5B369A80}"/>
          </ac:spMkLst>
        </pc:spChg>
        <pc:spChg chg="add del mod ord">
          <ac:chgData name="Nataliia Chornii (UA)" userId="4e4b8b3d-5f31-49bb-9f80-8a25c04abfff" providerId="ADAL" clId="{EE97D3FE-9ACA-4467-98E5-532EC45D9D1C}" dt="2024-03-01T10:25:55.833" v="10029" actId="478"/>
          <ac:spMkLst>
            <pc:docMk/>
            <pc:sldMk cId="795685229" sldId="904"/>
            <ac:spMk id="57" creationId="{7AD129F9-704B-54D1-C486-5AD8C843C8F7}"/>
          </ac:spMkLst>
        </pc:spChg>
        <pc:spChg chg="add mod ord">
          <ac:chgData name="Nataliia Chornii (UA)" userId="4e4b8b3d-5f31-49bb-9f80-8a25c04abfff" providerId="ADAL" clId="{EE97D3FE-9ACA-4467-98E5-532EC45D9D1C}" dt="2024-03-04T09:03:07.626" v="18370"/>
          <ac:spMkLst>
            <pc:docMk/>
            <pc:sldMk cId="795685229" sldId="904"/>
            <ac:spMk id="59" creationId="{34CAA65D-F32B-4FFB-DA56-9F4BF785AA35}"/>
          </ac:spMkLst>
        </pc:spChg>
        <pc:spChg chg="del mod">
          <ac:chgData name="Nataliia Chornii (UA)" userId="4e4b8b3d-5f31-49bb-9f80-8a25c04abfff" providerId="ADAL" clId="{EE97D3FE-9ACA-4467-98E5-532EC45D9D1C}" dt="2024-03-04T09:02:47.586" v="18332" actId="478"/>
          <ac:spMkLst>
            <pc:docMk/>
            <pc:sldMk cId="795685229" sldId="904"/>
            <ac:spMk id="60" creationId="{34C89926-9D9A-54A3-F0E2-3C6CC4C5EF8B}"/>
          </ac:spMkLst>
        </pc:spChg>
        <pc:spChg chg="add del mod">
          <ac:chgData name="Nataliia Chornii (UA)" userId="4e4b8b3d-5f31-49bb-9f80-8a25c04abfff" providerId="ADAL" clId="{EE97D3FE-9ACA-4467-98E5-532EC45D9D1C}" dt="2024-03-04T09:03:38.329" v="18397" actId="478"/>
          <ac:spMkLst>
            <pc:docMk/>
            <pc:sldMk cId="795685229" sldId="904"/>
            <ac:spMk id="61" creationId="{C8135C83-F6DC-2BC9-CFD5-C01153DB3DEC}"/>
          </ac:spMkLst>
        </pc:spChg>
        <pc:spChg chg="add del mod ord">
          <ac:chgData name="Nataliia Chornii (UA)" userId="4e4b8b3d-5f31-49bb-9f80-8a25c04abfff" providerId="ADAL" clId="{EE97D3FE-9ACA-4467-98E5-532EC45D9D1C}" dt="2024-03-01T10:27:24.613" v="10052" actId="700"/>
          <ac:spMkLst>
            <pc:docMk/>
            <pc:sldMk cId="795685229" sldId="904"/>
            <ac:spMk id="61" creationId="{C85F9B2C-B94D-2096-EF9E-9DFB688DE9B6}"/>
          </ac:spMkLst>
        </pc:spChg>
        <pc:spChg chg="add del mod ord">
          <ac:chgData name="Nataliia Chornii (UA)" userId="4e4b8b3d-5f31-49bb-9f80-8a25c04abfff" providerId="ADAL" clId="{EE97D3FE-9ACA-4467-98E5-532EC45D9D1C}" dt="2024-03-01T10:27:27.366" v="10079" actId="478"/>
          <ac:spMkLst>
            <pc:docMk/>
            <pc:sldMk cId="795685229" sldId="904"/>
            <ac:spMk id="62" creationId="{B35F56A7-5F6C-C09D-C26F-176419F0F9CF}"/>
          </ac:spMkLst>
        </pc:spChg>
        <pc:spChg chg="add del mod">
          <ac:chgData name="Nataliia Chornii (UA)" userId="4e4b8b3d-5f31-49bb-9f80-8a25c04abfff" providerId="ADAL" clId="{EE97D3FE-9ACA-4467-98E5-532EC45D9D1C}" dt="2024-03-04T09:04:19.190" v="18407"/>
          <ac:spMkLst>
            <pc:docMk/>
            <pc:sldMk cId="795685229" sldId="904"/>
            <ac:spMk id="62" creationId="{C3DA67B4-BAFB-6424-45D5-0C7E9570085F}"/>
          </ac:spMkLst>
        </pc:spChg>
        <pc:spChg chg="del mod">
          <ac:chgData name="Nataliia Chornii (UA)" userId="4e4b8b3d-5f31-49bb-9f80-8a25c04abfff" providerId="ADAL" clId="{EE97D3FE-9ACA-4467-98E5-532EC45D9D1C}" dt="2024-03-04T09:04:23.614" v="18408"/>
          <ac:spMkLst>
            <pc:docMk/>
            <pc:sldMk cId="795685229" sldId="904"/>
            <ac:spMk id="63" creationId="{8D5D26E0-D6DD-610D-6BF8-B0753F152EA8}"/>
          </ac:spMkLst>
        </pc:spChg>
        <pc:spChg chg="add del mod modVis">
          <ac:chgData name="Nataliia Chornii (UA)" userId="4e4b8b3d-5f31-49bb-9f80-8a25c04abfff" providerId="ADAL" clId="{EE97D3FE-9ACA-4467-98E5-532EC45D9D1C}" dt="2024-03-01T10:27:25.150" v="10076"/>
          <ac:spMkLst>
            <pc:docMk/>
            <pc:sldMk cId="795685229" sldId="904"/>
            <ac:spMk id="63" creationId="{EB229E79-D7AF-D5A1-4A67-C7599D953B8F}"/>
          </ac:spMkLst>
        </pc:spChg>
        <pc:spChg chg="add del mod ord">
          <ac:chgData name="Nataliia Chornii (UA)" userId="4e4b8b3d-5f31-49bb-9f80-8a25c04abfff" providerId="ADAL" clId="{EE97D3FE-9ACA-4467-98E5-532EC45D9D1C}" dt="2024-03-01T10:27:39.942" v="10156" actId="478"/>
          <ac:spMkLst>
            <pc:docMk/>
            <pc:sldMk cId="795685229" sldId="904"/>
            <ac:spMk id="64" creationId="{27619029-E342-F60A-9C0C-31C352FF19E0}"/>
          </ac:spMkLst>
        </pc:spChg>
        <pc:spChg chg="mod">
          <ac:chgData name="Nataliia Chornii (UA)" userId="4e4b8b3d-5f31-49bb-9f80-8a25c04abfff" providerId="ADAL" clId="{EE97D3FE-9ACA-4467-98E5-532EC45D9D1C}" dt="2024-03-04T09:05:58.105" v="18433" actId="207"/>
          <ac:spMkLst>
            <pc:docMk/>
            <pc:sldMk cId="795685229" sldId="904"/>
            <ac:spMk id="64" creationId="{3C654F06-EE36-5136-7C56-3957DE035F93}"/>
          </ac:spMkLst>
        </pc:spChg>
        <pc:spChg chg="add del mod modVis">
          <ac:chgData name="Nataliia Chornii (UA)" userId="4e4b8b3d-5f31-49bb-9f80-8a25c04abfff" providerId="ADAL" clId="{EE97D3FE-9ACA-4467-98E5-532EC45D9D1C}" dt="2024-03-01T10:27:35.270" v="10148"/>
          <ac:spMkLst>
            <pc:docMk/>
            <pc:sldMk cId="795685229" sldId="904"/>
            <ac:spMk id="65" creationId="{29C5C1D8-2A7A-01FF-4A89-289FD6B94B31}"/>
          </ac:spMkLst>
        </pc:spChg>
        <pc:spChg chg="add mod ord">
          <ac:chgData name="Nataliia Chornii (UA)" userId="4e4b8b3d-5f31-49bb-9f80-8a25c04abfff" providerId="ADAL" clId="{EE97D3FE-9ACA-4467-98E5-532EC45D9D1C}" dt="2024-03-04T09:03:07.626" v="18372"/>
          <ac:spMkLst>
            <pc:docMk/>
            <pc:sldMk cId="795685229" sldId="904"/>
            <ac:spMk id="66" creationId="{CD026E74-0314-F99D-587A-EA39147E7DB9}"/>
          </ac:spMkLst>
        </pc:spChg>
        <pc:spChg chg="add mod ord">
          <ac:chgData name="Nataliia Chornii (UA)" userId="4e4b8b3d-5f31-49bb-9f80-8a25c04abfff" providerId="ADAL" clId="{EE97D3FE-9ACA-4467-98E5-532EC45D9D1C}" dt="2024-03-04T09:05:03.659" v="18420" actId="1076"/>
          <ac:spMkLst>
            <pc:docMk/>
            <pc:sldMk cId="795685229" sldId="904"/>
            <ac:spMk id="67" creationId="{A6669812-F1E7-B581-1037-FF52AE28937B}"/>
          </ac:spMkLst>
        </pc:spChg>
        <pc:spChg chg="mod">
          <ac:chgData name="Nataliia Chornii (UA)" userId="4e4b8b3d-5f31-49bb-9f80-8a25c04abfff" providerId="ADAL" clId="{EE97D3FE-9ACA-4467-98E5-532EC45D9D1C}" dt="2024-03-04T09:05:58.105" v="18433" actId="207"/>
          <ac:spMkLst>
            <pc:docMk/>
            <pc:sldMk cId="795685229" sldId="904"/>
            <ac:spMk id="69" creationId="{68269909-BD7C-6539-5A79-792889444B48}"/>
          </ac:spMkLst>
        </pc:spChg>
        <pc:spChg chg="mod">
          <ac:chgData name="Nataliia Chornii (UA)" userId="4e4b8b3d-5f31-49bb-9f80-8a25c04abfff" providerId="ADAL" clId="{EE97D3FE-9ACA-4467-98E5-532EC45D9D1C}" dt="2024-03-04T09:05:58.105" v="18433" actId="207"/>
          <ac:spMkLst>
            <pc:docMk/>
            <pc:sldMk cId="795685229" sldId="904"/>
            <ac:spMk id="70" creationId="{AAA0B9C4-3734-DA3F-B487-765070E1BF58}"/>
          </ac:spMkLst>
        </pc:spChg>
        <pc:spChg chg="mod">
          <ac:chgData name="Nataliia Chornii (UA)" userId="4e4b8b3d-5f31-49bb-9f80-8a25c04abfff" providerId="ADAL" clId="{EE97D3FE-9ACA-4467-98E5-532EC45D9D1C}" dt="2024-03-04T09:05:58.105" v="18433" actId="207"/>
          <ac:spMkLst>
            <pc:docMk/>
            <pc:sldMk cId="795685229" sldId="904"/>
            <ac:spMk id="72" creationId="{354D45FD-1024-B7C1-A0AA-33856BA00100}"/>
          </ac:spMkLst>
        </pc:spChg>
        <pc:spChg chg="mod">
          <ac:chgData name="Nataliia Chornii (UA)" userId="4e4b8b3d-5f31-49bb-9f80-8a25c04abfff" providerId="ADAL" clId="{EE97D3FE-9ACA-4467-98E5-532EC45D9D1C}" dt="2024-03-04T09:05:58.105" v="18433" actId="207"/>
          <ac:spMkLst>
            <pc:docMk/>
            <pc:sldMk cId="795685229" sldId="904"/>
            <ac:spMk id="73" creationId="{F7B60C51-4231-E9C2-75CA-50D3F940840B}"/>
          </ac:spMkLst>
        </pc:spChg>
        <pc:spChg chg="add del mod">
          <ac:chgData name="Nataliia Chornii (UA)" userId="4e4b8b3d-5f31-49bb-9f80-8a25c04abfff" providerId="ADAL" clId="{EE97D3FE-9ACA-4467-98E5-532EC45D9D1C}" dt="2024-03-04T09:11:13.752" v="18506" actId="478"/>
          <ac:spMkLst>
            <pc:docMk/>
            <pc:sldMk cId="795685229" sldId="904"/>
            <ac:spMk id="75" creationId="{A405E4A0-68AA-48AA-0B08-77F73B1BBF0F}"/>
          </ac:spMkLst>
        </pc:spChg>
        <pc:spChg chg="add del mod">
          <ac:chgData name="Nataliia Chornii (UA)" userId="4e4b8b3d-5f31-49bb-9f80-8a25c04abfff" providerId="ADAL" clId="{EE97D3FE-9ACA-4467-98E5-532EC45D9D1C}" dt="2024-03-04T09:11:13.752" v="18506" actId="478"/>
          <ac:spMkLst>
            <pc:docMk/>
            <pc:sldMk cId="795685229" sldId="904"/>
            <ac:spMk id="76" creationId="{7D0698F9-D64F-A08E-B3AE-79E61A449E69}"/>
          </ac:spMkLst>
        </pc:spChg>
        <pc:spChg chg="add del mod">
          <ac:chgData name="Nataliia Chornii (UA)" userId="4e4b8b3d-5f31-49bb-9f80-8a25c04abfff" providerId="ADAL" clId="{EE97D3FE-9ACA-4467-98E5-532EC45D9D1C}" dt="2024-03-04T09:11:13.752" v="18506" actId="478"/>
          <ac:spMkLst>
            <pc:docMk/>
            <pc:sldMk cId="795685229" sldId="904"/>
            <ac:spMk id="77" creationId="{10EDCD48-5A0E-DC6C-A274-1AA0D719AF2F}"/>
          </ac:spMkLst>
        </pc:spChg>
        <pc:spChg chg="mod">
          <ac:chgData name="Nataliia Chornii (UA)" userId="4e4b8b3d-5f31-49bb-9f80-8a25c04abfff" providerId="ADAL" clId="{EE97D3FE-9ACA-4467-98E5-532EC45D9D1C}" dt="2024-03-04T09:07:26.021" v="18474" actId="571"/>
          <ac:spMkLst>
            <pc:docMk/>
            <pc:sldMk cId="795685229" sldId="904"/>
            <ac:spMk id="82" creationId="{E92AA6FD-D439-7336-DD50-276C7442616B}"/>
          </ac:spMkLst>
        </pc:spChg>
        <pc:spChg chg="mod">
          <ac:chgData name="Nataliia Chornii (UA)" userId="4e4b8b3d-5f31-49bb-9f80-8a25c04abfff" providerId="ADAL" clId="{EE97D3FE-9ACA-4467-98E5-532EC45D9D1C}" dt="2024-03-04T09:07:26.021" v="18474" actId="571"/>
          <ac:spMkLst>
            <pc:docMk/>
            <pc:sldMk cId="795685229" sldId="904"/>
            <ac:spMk id="83" creationId="{5DD6EBF7-8FDC-BDF2-4163-E2AF8DDC0D37}"/>
          </ac:spMkLst>
        </pc:spChg>
        <pc:spChg chg="mod">
          <ac:chgData name="Nataliia Chornii (UA)" userId="4e4b8b3d-5f31-49bb-9f80-8a25c04abfff" providerId="ADAL" clId="{EE97D3FE-9ACA-4467-98E5-532EC45D9D1C}" dt="2024-03-04T09:07:26.021" v="18474" actId="571"/>
          <ac:spMkLst>
            <pc:docMk/>
            <pc:sldMk cId="795685229" sldId="904"/>
            <ac:spMk id="84" creationId="{6E4B014F-5C2E-10C9-FB50-691FE00093FC}"/>
          </ac:spMkLst>
        </pc:spChg>
        <pc:spChg chg="mod">
          <ac:chgData name="Nataliia Chornii (UA)" userId="4e4b8b3d-5f31-49bb-9f80-8a25c04abfff" providerId="ADAL" clId="{EE97D3FE-9ACA-4467-98E5-532EC45D9D1C}" dt="2024-03-04T09:07:26.021" v="18474" actId="571"/>
          <ac:spMkLst>
            <pc:docMk/>
            <pc:sldMk cId="795685229" sldId="904"/>
            <ac:spMk id="85" creationId="{2E78A4FD-6578-3E03-6CE2-BC0DDAC16029}"/>
          </ac:spMkLst>
        </pc:spChg>
        <pc:spChg chg="mod">
          <ac:chgData name="Nataliia Chornii (UA)" userId="4e4b8b3d-5f31-49bb-9f80-8a25c04abfff" providerId="ADAL" clId="{EE97D3FE-9ACA-4467-98E5-532EC45D9D1C}" dt="2024-03-04T09:07:26.021" v="18474" actId="571"/>
          <ac:spMkLst>
            <pc:docMk/>
            <pc:sldMk cId="795685229" sldId="904"/>
            <ac:spMk id="86" creationId="{721DF113-ACD8-EE55-D5B6-E28CD4BB6A2C}"/>
          </ac:spMkLst>
        </pc:spChg>
        <pc:spChg chg="mod">
          <ac:chgData name="Nataliia Chornii (UA)" userId="4e4b8b3d-5f31-49bb-9f80-8a25c04abfff" providerId="ADAL" clId="{EE97D3FE-9ACA-4467-98E5-532EC45D9D1C}" dt="2024-03-04T09:07:26.021" v="18474" actId="571"/>
          <ac:spMkLst>
            <pc:docMk/>
            <pc:sldMk cId="795685229" sldId="904"/>
            <ac:spMk id="87" creationId="{2CC442FB-39CA-A0D6-7019-004E9A73AB98}"/>
          </ac:spMkLst>
        </pc:spChg>
        <pc:spChg chg="mod">
          <ac:chgData name="Nataliia Chornii (UA)" userId="4e4b8b3d-5f31-49bb-9f80-8a25c04abfff" providerId="ADAL" clId="{EE97D3FE-9ACA-4467-98E5-532EC45D9D1C}" dt="2024-03-04T09:07:31.375" v="18475" actId="571"/>
          <ac:spMkLst>
            <pc:docMk/>
            <pc:sldMk cId="795685229" sldId="904"/>
            <ac:spMk id="92" creationId="{3815D5A9-1D18-7169-90DD-7EB5AB5FB82E}"/>
          </ac:spMkLst>
        </pc:spChg>
        <pc:spChg chg="mod">
          <ac:chgData name="Nataliia Chornii (UA)" userId="4e4b8b3d-5f31-49bb-9f80-8a25c04abfff" providerId="ADAL" clId="{EE97D3FE-9ACA-4467-98E5-532EC45D9D1C}" dt="2024-03-04T09:07:31.375" v="18475" actId="571"/>
          <ac:spMkLst>
            <pc:docMk/>
            <pc:sldMk cId="795685229" sldId="904"/>
            <ac:spMk id="93" creationId="{2224003A-228A-8257-7473-52F984FE3039}"/>
          </ac:spMkLst>
        </pc:spChg>
        <pc:spChg chg="mod">
          <ac:chgData name="Nataliia Chornii (UA)" userId="4e4b8b3d-5f31-49bb-9f80-8a25c04abfff" providerId="ADAL" clId="{EE97D3FE-9ACA-4467-98E5-532EC45D9D1C}" dt="2024-03-04T09:07:31.375" v="18475" actId="571"/>
          <ac:spMkLst>
            <pc:docMk/>
            <pc:sldMk cId="795685229" sldId="904"/>
            <ac:spMk id="94" creationId="{5A8CDACF-E08F-CEFD-9ED0-DE2A9BD16C60}"/>
          </ac:spMkLst>
        </pc:spChg>
        <pc:spChg chg="mod">
          <ac:chgData name="Nataliia Chornii (UA)" userId="4e4b8b3d-5f31-49bb-9f80-8a25c04abfff" providerId="ADAL" clId="{EE97D3FE-9ACA-4467-98E5-532EC45D9D1C}" dt="2024-03-04T09:07:31.375" v="18475" actId="571"/>
          <ac:spMkLst>
            <pc:docMk/>
            <pc:sldMk cId="795685229" sldId="904"/>
            <ac:spMk id="95" creationId="{94E2FDF1-35EF-1FFA-61E8-F971A7244A14}"/>
          </ac:spMkLst>
        </pc:spChg>
        <pc:spChg chg="mod">
          <ac:chgData name="Nataliia Chornii (UA)" userId="4e4b8b3d-5f31-49bb-9f80-8a25c04abfff" providerId="ADAL" clId="{EE97D3FE-9ACA-4467-98E5-532EC45D9D1C}" dt="2024-03-04T09:07:31.375" v="18475" actId="571"/>
          <ac:spMkLst>
            <pc:docMk/>
            <pc:sldMk cId="795685229" sldId="904"/>
            <ac:spMk id="96" creationId="{AB32D73B-756C-C47B-2BA9-6579723DC12C}"/>
          </ac:spMkLst>
        </pc:spChg>
        <pc:spChg chg="mod">
          <ac:chgData name="Nataliia Chornii (UA)" userId="4e4b8b3d-5f31-49bb-9f80-8a25c04abfff" providerId="ADAL" clId="{EE97D3FE-9ACA-4467-98E5-532EC45D9D1C}" dt="2024-03-04T09:07:31.375" v="18475" actId="571"/>
          <ac:spMkLst>
            <pc:docMk/>
            <pc:sldMk cId="795685229" sldId="904"/>
            <ac:spMk id="97" creationId="{3343E46E-BB0A-0309-6175-9E958ACC5C6A}"/>
          </ac:spMkLst>
        </pc:spChg>
        <pc:spChg chg="add del mod">
          <ac:chgData name="Nataliia Chornii (UA)" userId="4e4b8b3d-5f31-49bb-9f80-8a25c04abfff" providerId="ADAL" clId="{EE97D3FE-9ACA-4467-98E5-532EC45D9D1C}" dt="2024-03-04T09:09:05.958" v="18486" actId="478"/>
          <ac:spMkLst>
            <pc:docMk/>
            <pc:sldMk cId="795685229" sldId="904"/>
            <ac:spMk id="98" creationId="{488822EB-FA44-664D-BECD-98B341286CEA}"/>
          </ac:spMkLst>
        </pc:spChg>
        <pc:spChg chg="add del mod">
          <ac:chgData name="Nataliia Chornii (UA)" userId="4e4b8b3d-5f31-49bb-9f80-8a25c04abfff" providerId="ADAL" clId="{EE97D3FE-9ACA-4467-98E5-532EC45D9D1C}" dt="2024-03-04T09:09:05.958" v="18486" actId="478"/>
          <ac:spMkLst>
            <pc:docMk/>
            <pc:sldMk cId="795685229" sldId="904"/>
            <ac:spMk id="99" creationId="{34DDA028-5F02-E800-C495-085236CA3565}"/>
          </ac:spMkLst>
        </pc:spChg>
        <pc:spChg chg="add del mod">
          <ac:chgData name="Nataliia Chornii (UA)" userId="4e4b8b3d-5f31-49bb-9f80-8a25c04abfff" providerId="ADAL" clId="{EE97D3FE-9ACA-4467-98E5-532EC45D9D1C}" dt="2024-03-04T09:09:05.958" v="18486" actId="478"/>
          <ac:spMkLst>
            <pc:docMk/>
            <pc:sldMk cId="795685229" sldId="904"/>
            <ac:spMk id="100" creationId="{67E42D83-F182-434E-DC10-EF03103905D9}"/>
          </ac:spMkLst>
        </pc:spChg>
        <pc:spChg chg="add del mod">
          <ac:chgData name="Nataliia Chornii (UA)" userId="4e4b8b3d-5f31-49bb-9f80-8a25c04abfff" providerId="ADAL" clId="{EE97D3FE-9ACA-4467-98E5-532EC45D9D1C}" dt="2024-03-04T09:11:52.454" v="18521" actId="478"/>
          <ac:spMkLst>
            <pc:docMk/>
            <pc:sldMk cId="795685229" sldId="904"/>
            <ac:spMk id="101" creationId="{B0960AB5-B3FB-B453-E0E7-BF5B220461BC}"/>
          </ac:spMkLst>
        </pc:spChg>
        <pc:spChg chg="mod">
          <ac:chgData name="Nataliia Chornii (UA)" userId="4e4b8b3d-5f31-49bb-9f80-8a25c04abfff" providerId="ADAL" clId="{EE97D3FE-9ACA-4467-98E5-532EC45D9D1C}" dt="2024-03-04T09:11:02.374" v="18502" actId="571"/>
          <ac:spMkLst>
            <pc:docMk/>
            <pc:sldMk cId="795685229" sldId="904"/>
            <ac:spMk id="106" creationId="{E1524B23-DC96-4A50-C84C-C38FDCFAB167}"/>
          </ac:spMkLst>
        </pc:spChg>
        <pc:spChg chg="mod">
          <ac:chgData name="Nataliia Chornii (UA)" userId="4e4b8b3d-5f31-49bb-9f80-8a25c04abfff" providerId="ADAL" clId="{EE97D3FE-9ACA-4467-98E5-532EC45D9D1C}" dt="2024-03-04T09:11:02.374" v="18502" actId="571"/>
          <ac:spMkLst>
            <pc:docMk/>
            <pc:sldMk cId="795685229" sldId="904"/>
            <ac:spMk id="107" creationId="{B748478C-BE30-BB4D-8066-CAA305BBAE7A}"/>
          </ac:spMkLst>
        </pc:spChg>
        <pc:spChg chg="mod">
          <ac:chgData name="Nataliia Chornii (UA)" userId="4e4b8b3d-5f31-49bb-9f80-8a25c04abfff" providerId="ADAL" clId="{EE97D3FE-9ACA-4467-98E5-532EC45D9D1C}" dt="2024-03-04T09:11:02.374" v="18502" actId="571"/>
          <ac:spMkLst>
            <pc:docMk/>
            <pc:sldMk cId="795685229" sldId="904"/>
            <ac:spMk id="108" creationId="{C92A85EF-1759-6C28-8D10-25431C1ECFB5}"/>
          </ac:spMkLst>
        </pc:spChg>
        <pc:spChg chg="mod">
          <ac:chgData name="Nataliia Chornii (UA)" userId="4e4b8b3d-5f31-49bb-9f80-8a25c04abfff" providerId="ADAL" clId="{EE97D3FE-9ACA-4467-98E5-532EC45D9D1C}" dt="2024-03-04T09:11:02.374" v="18502" actId="571"/>
          <ac:spMkLst>
            <pc:docMk/>
            <pc:sldMk cId="795685229" sldId="904"/>
            <ac:spMk id="109" creationId="{83F88408-C96C-8F8C-E6FE-8DB5ECC750B2}"/>
          </ac:spMkLst>
        </pc:spChg>
        <pc:spChg chg="mod">
          <ac:chgData name="Nataliia Chornii (UA)" userId="4e4b8b3d-5f31-49bb-9f80-8a25c04abfff" providerId="ADAL" clId="{EE97D3FE-9ACA-4467-98E5-532EC45D9D1C}" dt="2024-03-04T09:11:02.374" v="18502" actId="571"/>
          <ac:spMkLst>
            <pc:docMk/>
            <pc:sldMk cId="795685229" sldId="904"/>
            <ac:spMk id="110" creationId="{72131DEF-2BFB-9590-58D3-7E526CA2AE06}"/>
          </ac:spMkLst>
        </pc:spChg>
        <pc:spChg chg="mod">
          <ac:chgData name="Nataliia Chornii (UA)" userId="4e4b8b3d-5f31-49bb-9f80-8a25c04abfff" providerId="ADAL" clId="{EE97D3FE-9ACA-4467-98E5-532EC45D9D1C}" dt="2024-03-04T09:11:02.374" v="18502" actId="571"/>
          <ac:spMkLst>
            <pc:docMk/>
            <pc:sldMk cId="795685229" sldId="904"/>
            <ac:spMk id="111" creationId="{FE15FEE3-58BA-08EA-C286-7BD714FE0ABB}"/>
          </ac:spMkLst>
        </pc:spChg>
        <pc:spChg chg="mod">
          <ac:chgData name="Nataliia Chornii (UA)" userId="4e4b8b3d-5f31-49bb-9f80-8a25c04abfff" providerId="ADAL" clId="{EE97D3FE-9ACA-4467-98E5-532EC45D9D1C}" dt="2024-03-04T09:11:07.744" v="18503" actId="571"/>
          <ac:spMkLst>
            <pc:docMk/>
            <pc:sldMk cId="795685229" sldId="904"/>
            <ac:spMk id="116" creationId="{0911658D-4F8D-7751-7C9D-2BB60E57CA06}"/>
          </ac:spMkLst>
        </pc:spChg>
        <pc:spChg chg="mod">
          <ac:chgData name="Nataliia Chornii (UA)" userId="4e4b8b3d-5f31-49bb-9f80-8a25c04abfff" providerId="ADAL" clId="{EE97D3FE-9ACA-4467-98E5-532EC45D9D1C}" dt="2024-03-04T09:11:07.744" v="18503" actId="571"/>
          <ac:spMkLst>
            <pc:docMk/>
            <pc:sldMk cId="795685229" sldId="904"/>
            <ac:spMk id="117" creationId="{720C14AF-2E3B-5595-0CE1-AA89F0821800}"/>
          </ac:spMkLst>
        </pc:spChg>
        <pc:spChg chg="mod">
          <ac:chgData name="Nataliia Chornii (UA)" userId="4e4b8b3d-5f31-49bb-9f80-8a25c04abfff" providerId="ADAL" clId="{EE97D3FE-9ACA-4467-98E5-532EC45D9D1C}" dt="2024-03-04T09:11:07.744" v="18503" actId="571"/>
          <ac:spMkLst>
            <pc:docMk/>
            <pc:sldMk cId="795685229" sldId="904"/>
            <ac:spMk id="118" creationId="{F150E54A-CAF6-6CD8-09D4-0805B27146CE}"/>
          </ac:spMkLst>
        </pc:spChg>
        <pc:spChg chg="mod">
          <ac:chgData name="Nataliia Chornii (UA)" userId="4e4b8b3d-5f31-49bb-9f80-8a25c04abfff" providerId="ADAL" clId="{EE97D3FE-9ACA-4467-98E5-532EC45D9D1C}" dt="2024-03-04T09:11:07.744" v="18503" actId="571"/>
          <ac:spMkLst>
            <pc:docMk/>
            <pc:sldMk cId="795685229" sldId="904"/>
            <ac:spMk id="119" creationId="{5D623F10-DC12-7A6D-BEA5-43C169E2FE3B}"/>
          </ac:spMkLst>
        </pc:spChg>
        <pc:spChg chg="mod">
          <ac:chgData name="Nataliia Chornii (UA)" userId="4e4b8b3d-5f31-49bb-9f80-8a25c04abfff" providerId="ADAL" clId="{EE97D3FE-9ACA-4467-98E5-532EC45D9D1C}" dt="2024-03-04T09:11:07.744" v="18503" actId="571"/>
          <ac:spMkLst>
            <pc:docMk/>
            <pc:sldMk cId="795685229" sldId="904"/>
            <ac:spMk id="120" creationId="{2C4ECBDD-D380-C0CD-F655-304F17E419DE}"/>
          </ac:spMkLst>
        </pc:spChg>
        <pc:spChg chg="mod">
          <ac:chgData name="Nataliia Chornii (UA)" userId="4e4b8b3d-5f31-49bb-9f80-8a25c04abfff" providerId="ADAL" clId="{EE97D3FE-9ACA-4467-98E5-532EC45D9D1C}" dt="2024-03-04T09:11:07.744" v="18503" actId="571"/>
          <ac:spMkLst>
            <pc:docMk/>
            <pc:sldMk cId="795685229" sldId="904"/>
            <ac:spMk id="121" creationId="{A4B6CF2E-FE3D-0F3A-53AB-081EC1E80CDB}"/>
          </ac:spMkLst>
        </pc:spChg>
        <pc:spChg chg="add mod">
          <ac:chgData name="Nataliia Chornii (UA)" userId="4e4b8b3d-5f31-49bb-9f80-8a25c04abfff" providerId="ADAL" clId="{EE97D3FE-9ACA-4467-98E5-532EC45D9D1C}" dt="2024-03-04T09:12:33.081" v="18535" actId="1076"/>
          <ac:spMkLst>
            <pc:docMk/>
            <pc:sldMk cId="795685229" sldId="904"/>
            <ac:spMk id="122" creationId="{6EC1D153-5C15-3EAE-F858-8A50316E93DD}"/>
          </ac:spMkLst>
        </pc:spChg>
        <pc:spChg chg="add mod">
          <ac:chgData name="Nataliia Chornii (UA)" userId="4e4b8b3d-5f31-49bb-9f80-8a25c04abfff" providerId="ADAL" clId="{EE97D3FE-9ACA-4467-98E5-532EC45D9D1C}" dt="2024-03-04T09:12:09.673" v="18526" actId="948"/>
          <ac:spMkLst>
            <pc:docMk/>
            <pc:sldMk cId="795685229" sldId="904"/>
            <ac:spMk id="123" creationId="{53FE2AD4-6665-1E07-01D8-F6C62B580128}"/>
          </ac:spMkLst>
        </pc:spChg>
        <pc:spChg chg="add mod">
          <ac:chgData name="Nataliia Chornii (UA)" userId="4e4b8b3d-5f31-49bb-9f80-8a25c04abfff" providerId="ADAL" clId="{EE97D3FE-9ACA-4467-98E5-532EC45D9D1C}" dt="2024-03-04T09:12:09.673" v="18526" actId="948"/>
          <ac:spMkLst>
            <pc:docMk/>
            <pc:sldMk cId="795685229" sldId="904"/>
            <ac:spMk id="124" creationId="{11BDF5B2-2755-2424-E4C1-A590DA713569}"/>
          </ac:spMkLst>
        </pc:spChg>
        <pc:spChg chg="add mod">
          <ac:chgData name="Nataliia Chornii (UA)" userId="4e4b8b3d-5f31-49bb-9f80-8a25c04abfff" providerId="ADAL" clId="{EE97D3FE-9ACA-4467-98E5-532EC45D9D1C}" dt="2024-03-04T09:11:59.320" v="18523" actId="255"/>
          <ac:spMkLst>
            <pc:docMk/>
            <pc:sldMk cId="795685229" sldId="904"/>
            <ac:spMk id="125" creationId="{1734212E-2EA2-B135-55B3-866F1CF570E1}"/>
          </ac:spMkLst>
        </pc:spChg>
        <pc:spChg chg="add mod">
          <ac:chgData name="Nataliia Chornii (UA)" userId="4e4b8b3d-5f31-49bb-9f80-8a25c04abfff" providerId="ADAL" clId="{EE97D3FE-9ACA-4467-98E5-532EC45D9D1C}" dt="2024-03-04T09:59:04.543" v="20214" actId="1076"/>
          <ac:spMkLst>
            <pc:docMk/>
            <pc:sldMk cId="795685229" sldId="904"/>
            <ac:spMk id="126" creationId="{A786E605-28E8-780E-8339-3A6A775DA0C0}"/>
          </ac:spMkLst>
        </pc:spChg>
        <pc:spChg chg="add mod">
          <ac:chgData name="Nataliia Chornii (UA)" userId="4e4b8b3d-5f31-49bb-9f80-8a25c04abfff" providerId="ADAL" clId="{EE97D3FE-9ACA-4467-98E5-532EC45D9D1C}" dt="2024-03-04T09:59:10.455" v="20215" actId="1076"/>
          <ac:spMkLst>
            <pc:docMk/>
            <pc:sldMk cId="795685229" sldId="904"/>
            <ac:spMk id="127" creationId="{1C1E571C-E6C1-D7AD-AF5E-49EF85BA448A}"/>
          </ac:spMkLst>
        </pc:spChg>
        <pc:grpChg chg="add mod">
          <ac:chgData name="Nataliia Chornii (UA)" userId="4e4b8b3d-5f31-49bb-9f80-8a25c04abfff" providerId="ADAL" clId="{EE97D3FE-9ACA-4467-98E5-532EC45D9D1C}" dt="2024-03-11T14:22:42.677" v="24032"/>
          <ac:grpSpMkLst>
            <pc:docMk/>
            <pc:sldMk cId="795685229" sldId="904"/>
            <ac:grpSpMk id="7" creationId="{C9C1E471-A029-C750-A876-BA87FF8A3FAF}"/>
          </ac:grpSpMkLst>
        </pc:grpChg>
        <pc:grpChg chg="add mod ord">
          <ac:chgData name="Nataliia Chornii (UA)" userId="4e4b8b3d-5f31-49bb-9f80-8a25c04abfff" providerId="ADAL" clId="{EE97D3FE-9ACA-4467-98E5-532EC45D9D1C}" dt="2024-03-04T09:03:07.626" v="18368"/>
          <ac:grpSpMkLst>
            <pc:docMk/>
            <pc:sldMk cId="795685229" sldId="904"/>
            <ac:grpSpMk id="25" creationId="{BACE7719-6924-A295-8F4C-2DE5F6D26049}"/>
          </ac:grpSpMkLst>
        </pc:grpChg>
        <pc:grpChg chg="add del mod ord">
          <ac:chgData name="Nataliia Chornii (UA)" userId="4e4b8b3d-5f31-49bb-9f80-8a25c04abfff" providerId="ADAL" clId="{EE97D3FE-9ACA-4467-98E5-532EC45D9D1C}" dt="2024-03-01T10:26:20.761" v="10034" actId="478"/>
          <ac:grpSpMkLst>
            <pc:docMk/>
            <pc:sldMk cId="795685229" sldId="904"/>
            <ac:grpSpMk id="36" creationId="{20C7307F-7841-E59D-9EFB-44EE749E7F94}"/>
          </ac:grpSpMkLst>
        </pc:grpChg>
        <pc:grpChg chg="add del mod ord">
          <ac:chgData name="Nataliia Chornii (UA)" userId="4e4b8b3d-5f31-49bb-9f80-8a25c04abfff" providerId="ADAL" clId="{EE97D3FE-9ACA-4467-98E5-532EC45D9D1C}" dt="2024-03-01T10:26:20.761" v="10034" actId="478"/>
          <ac:grpSpMkLst>
            <pc:docMk/>
            <pc:sldMk cId="795685229" sldId="904"/>
            <ac:grpSpMk id="39" creationId="{D0EABE82-913F-1021-A834-91983B6AB719}"/>
          </ac:grpSpMkLst>
        </pc:grpChg>
        <pc:grpChg chg="add del mod">
          <ac:chgData name="Nataliia Chornii (UA)" userId="4e4b8b3d-5f31-49bb-9f80-8a25c04abfff" providerId="ADAL" clId="{EE97D3FE-9ACA-4467-98E5-532EC45D9D1C}" dt="2024-03-04T09:00:41.983" v="18237" actId="478"/>
          <ac:grpSpMkLst>
            <pc:docMk/>
            <pc:sldMk cId="795685229" sldId="904"/>
            <ac:grpSpMk id="45" creationId="{D727D34E-18A1-40C5-D51B-25B5B8C091FB}"/>
          </ac:grpSpMkLst>
        </pc:grpChg>
        <pc:grpChg chg="add mod ord">
          <ac:chgData name="Nataliia Chornii (UA)" userId="4e4b8b3d-5f31-49bb-9f80-8a25c04abfff" providerId="ADAL" clId="{EE97D3FE-9ACA-4467-98E5-532EC45D9D1C}" dt="2024-03-04T09:14:29.015" v="18542" actId="12789"/>
          <ac:grpSpMkLst>
            <pc:docMk/>
            <pc:sldMk cId="795685229" sldId="904"/>
            <ac:grpSpMk id="58" creationId="{873550C4-4981-89FD-8CE8-B835669FAD87}"/>
          </ac:grpSpMkLst>
        </pc:grpChg>
        <pc:grpChg chg="add mod">
          <ac:chgData name="Nataliia Chornii (UA)" userId="4e4b8b3d-5f31-49bb-9f80-8a25c04abfff" providerId="ADAL" clId="{EE97D3FE-9ACA-4467-98E5-532EC45D9D1C}" dt="2024-03-04T09:06:07.665" v="18436" actId="164"/>
          <ac:grpSpMkLst>
            <pc:docMk/>
            <pc:sldMk cId="795685229" sldId="904"/>
            <ac:grpSpMk id="65" creationId="{EE585BA7-4753-1C81-3F52-1AB9955DFB9A}"/>
          </ac:grpSpMkLst>
        </pc:grpChg>
        <pc:grpChg chg="add mod">
          <ac:chgData name="Nataliia Chornii (UA)" userId="4e4b8b3d-5f31-49bb-9f80-8a25c04abfff" providerId="ADAL" clId="{EE97D3FE-9ACA-4467-98E5-532EC45D9D1C}" dt="2024-03-04T09:06:07.665" v="18436" actId="164"/>
          <ac:grpSpMkLst>
            <pc:docMk/>
            <pc:sldMk cId="795685229" sldId="904"/>
            <ac:grpSpMk id="68" creationId="{538FF60D-EFEA-CF8D-F512-1FE6C78AA87F}"/>
          </ac:grpSpMkLst>
        </pc:grpChg>
        <pc:grpChg chg="add mod">
          <ac:chgData name="Nataliia Chornii (UA)" userId="4e4b8b3d-5f31-49bb-9f80-8a25c04abfff" providerId="ADAL" clId="{EE97D3FE-9ACA-4467-98E5-532EC45D9D1C}" dt="2024-03-04T09:06:07.665" v="18436" actId="164"/>
          <ac:grpSpMkLst>
            <pc:docMk/>
            <pc:sldMk cId="795685229" sldId="904"/>
            <ac:grpSpMk id="71" creationId="{9602CF31-2F8C-833E-457D-AEEB16D027EA}"/>
          </ac:grpSpMkLst>
        </pc:grpChg>
        <pc:grpChg chg="add del mod">
          <ac:chgData name="Nataliia Chornii (UA)" userId="4e4b8b3d-5f31-49bb-9f80-8a25c04abfff" providerId="ADAL" clId="{EE97D3FE-9ACA-4467-98E5-532EC45D9D1C}" dt="2024-03-04T09:11:09.967" v="18504" actId="478"/>
          <ac:grpSpMkLst>
            <pc:docMk/>
            <pc:sldMk cId="795685229" sldId="904"/>
            <ac:grpSpMk id="74" creationId="{28D4C88D-7F61-B744-9DE9-373565EA79FD}"/>
          </ac:grpSpMkLst>
        </pc:grpChg>
        <pc:grpChg chg="add mod">
          <ac:chgData name="Nataliia Chornii (UA)" userId="4e4b8b3d-5f31-49bb-9f80-8a25c04abfff" providerId="ADAL" clId="{EE97D3FE-9ACA-4467-98E5-532EC45D9D1C}" dt="2024-03-04T09:07:26.021" v="18474" actId="571"/>
          <ac:grpSpMkLst>
            <pc:docMk/>
            <pc:sldMk cId="795685229" sldId="904"/>
            <ac:grpSpMk id="78" creationId="{6B84DB87-8C5C-ACB1-1BB6-BD3E26046E4B}"/>
          </ac:grpSpMkLst>
        </pc:grpChg>
        <pc:grpChg chg="mod">
          <ac:chgData name="Nataliia Chornii (UA)" userId="4e4b8b3d-5f31-49bb-9f80-8a25c04abfff" providerId="ADAL" clId="{EE97D3FE-9ACA-4467-98E5-532EC45D9D1C}" dt="2024-03-04T09:07:26.021" v="18474" actId="571"/>
          <ac:grpSpMkLst>
            <pc:docMk/>
            <pc:sldMk cId="795685229" sldId="904"/>
            <ac:grpSpMk id="79" creationId="{9FB3B16A-3C2F-CC32-8803-72FB8565832A}"/>
          </ac:grpSpMkLst>
        </pc:grpChg>
        <pc:grpChg chg="mod">
          <ac:chgData name="Nataliia Chornii (UA)" userId="4e4b8b3d-5f31-49bb-9f80-8a25c04abfff" providerId="ADAL" clId="{EE97D3FE-9ACA-4467-98E5-532EC45D9D1C}" dt="2024-03-04T09:07:26.021" v="18474" actId="571"/>
          <ac:grpSpMkLst>
            <pc:docMk/>
            <pc:sldMk cId="795685229" sldId="904"/>
            <ac:grpSpMk id="80" creationId="{9DA1957F-4763-5182-A70A-88483B2A7E03}"/>
          </ac:grpSpMkLst>
        </pc:grpChg>
        <pc:grpChg chg="mod">
          <ac:chgData name="Nataliia Chornii (UA)" userId="4e4b8b3d-5f31-49bb-9f80-8a25c04abfff" providerId="ADAL" clId="{EE97D3FE-9ACA-4467-98E5-532EC45D9D1C}" dt="2024-03-04T09:07:26.021" v="18474" actId="571"/>
          <ac:grpSpMkLst>
            <pc:docMk/>
            <pc:sldMk cId="795685229" sldId="904"/>
            <ac:grpSpMk id="81" creationId="{964B12D4-A5A6-6BD2-093E-F085B218D413}"/>
          </ac:grpSpMkLst>
        </pc:grpChg>
        <pc:grpChg chg="add del mod">
          <ac:chgData name="Nataliia Chornii (UA)" userId="4e4b8b3d-5f31-49bb-9f80-8a25c04abfff" providerId="ADAL" clId="{EE97D3FE-9ACA-4467-98E5-532EC45D9D1C}" dt="2024-03-04T09:09:05.958" v="18486" actId="478"/>
          <ac:grpSpMkLst>
            <pc:docMk/>
            <pc:sldMk cId="795685229" sldId="904"/>
            <ac:grpSpMk id="88" creationId="{DF12ADEA-CE67-7E5A-89B8-2B6262EB6257}"/>
          </ac:grpSpMkLst>
        </pc:grpChg>
        <pc:grpChg chg="mod">
          <ac:chgData name="Nataliia Chornii (UA)" userId="4e4b8b3d-5f31-49bb-9f80-8a25c04abfff" providerId="ADAL" clId="{EE97D3FE-9ACA-4467-98E5-532EC45D9D1C}" dt="2024-03-04T09:07:31.375" v="18475" actId="571"/>
          <ac:grpSpMkLst>
            <pc:docMk/>
            <pc:sldMk cId="795685229" sldId="904"/>
            <ac:grpSpMk id="89" creationId="{A7E9DEB0-9806-FFE0-A763-0FC91F62470D}"/>
          </ac:grpSpMkLst>
        </pc:grpChg>
        <pc:grpChg chg="mod">
          <ac:chgData name="Nataliia Chornii (UA)" userId="4e4b8b3d-5f31-49bb-9f80-8a25c04abfff" providerId="ADAL" clId="{EE97D3FE-9ACA-4467-98E5-532EC45D9D1C}" dt="2024-03-04T09:07:31.375" v="18475" actId="571"/>
          <ac:grpSpMkLst>
            <pc:docMk/>
            <pc:sldMk cId="795685229" sldId="904"/>
            <ac:grpSpMk id="90" creationId="{CD4CE705-1B65-FB9F-4F54-EEF7E5D4F63E}"/>
          </ac:grpSpMkLst>
        </pc:grpChg>
        <pc:grpChg chg="mod">
          <ac:chgData name="Nataliia Chornii (UA)" userId="4e4b8b3d-5f31-49bb-9f80-8a25c04abfff" providerId="ADAL" clId="{EE97D3FE-9ACA-4467-98E5-532EC45D9D1C}" dt="2024-03-04T09:07:31.375" v="18475" actId="571"/>
          <ac:grpSpMkLst>
            <pc:docMk/>
            <pc:sldMk cId="795685229" sldId="904"/>
            <ac:grpSpMk id="91" creationId="{7B2F5476-A876-A9BD-E843-A44917160C24}"/>
          </ac:grpSpMkLst>
        </pc:grpChg>
        <pc:grpChg chg="add mod">
          <ac:chgData name="Nataliia Chornii (UA)" userId="4e4b8b3d-5f31-49bb-9f80-8a25c04abfff" providerId="ADAL" clId="{EE97D3FE-9ACA-4467-98E5-532EC45D9D1C}" dt="2024-03-04T09:11:02.374" v="18502" actId="571"/>
          <ac:grpSpMkLst>
            <pc:docMk/>
            <pc:sldMk cId="795685229" sldId="904"/>
            <ac:grpSpMk id="102" creationId="{06D7D555-9DA5-FE03-CEF6-D3261741B092}"/>
          </ac:grpSpMkLst>
        </pc:grpChg>
        <pc:grpChg chg="mod">
          <ac:chgData name="Nataliia Chornii (UA)" userId="4e4b8b3d-5f31-49bb-9f80-8a25c04abfff" providerId="ADAL" clId="{EE97D3FE-9ACA-4467-98E5-532EC45D9D1C}" dt="2024-03-04T09:11:02.374" v="18502" actId="571"/>
          <ac:grpSpMkLst>
            <pc:docMk/>
            <pc:sldMk cId="795685229" sldId="904"/>
            <ac:grpSpMk id="103" creationId="{1622A453-C59E-D6C9-ECC4-5784A37EE6F1}"/>
          </ac:grpSpMkLst>
        </pc:grpChg>
        <pc:grpChg chg="mod">
          <ac:chgData name="Nataliia Chornii (UA)" userId="4e4b8b3d-5f31-49bb-9f80-8a25c04abfff" providerId="ADAL" clId="{EE97D3FE-9ACA-4467-98E5-532EC45D9D1C}" dt="2024-03-04T09:11:02.374" v="18502" actId="571"/>
          <ac:grpSpMkLst>
            <pc:docMk/>
            <pc:sldMk cId="795685229" sldId="904"/>
            <ac:grpSpMk id="104" creationId="{37AEAB2B-6A61-9E56-03BE-E440094021E3}"/>
          </ac:grpSpMkLst>
        </pc:grpChg>
        <pc:grpChg chg="mod">
          <ac:chgData name="Nataliia Chornii (UA)" userId="4e4b8b3d-5f31-49bb-9f80-8a25c04abfff" providerId="ADAL" clId="{EE97D3FE-9ACA-4467-98E5-532EC45D9D1C}" dt="2024-03-04T09:11:02.374" v="18502" actId="571"/>
          <ac:grpSpMkLst>
            <pc:docMk/>
            <pc:sldMk cId="795685229" sldId="904"/>
            <ac:grpSpMk id="105" creationId="{56A2C92E-DFE7-0FD0-02F0-2CB43666CD31}"/>
          </ac:grpSpMkLst>
        </pc:grpChg>
        <pc:grpChg chg="add mod">
          <ac:chgData name="Nataliia Chornii (UA)" userId="4e4b8b3d-5f31-49bb-9f80-8a25c04abfff" providerId="ADAL" clId="{EE97D3FE-9ACA-4467-98E5-532EC45D9D1C}" dt="2024-03-04T09:11:07.744" v="18503" actId="571"/>
          <ac:grpSpMkLst>
            <pc:docMk/>
            <pc:sldMk cId="795685229" sldId="904"/>
            <ac:grpSpMk id="112" creationId="{2DF38961-65A0-3CF0-F0C0-71EBA3C91784}"/>
          </ac:grpSpMkLst>
        </pc:grpChg>
        <pc:grpChg chg="mod">
          <ac:chgData name="Nataliia Chornii (UA)" userId="4e4b8b3d-5f31-49bb-9f80-8a25c04abfff" providerId="ADAL" clId="{EE97D3FE-9ACA-4467-98E5-532EC45D9D1C}" dt="2024-03-04T09:11:07.744" v="18503" actId="571"/>
          <ac:grpSpMkLst>
            <pc:docMk/>
            <pc:sldMk cId="795685229" sldId="904"/>
            <ac:grpSpMk id="113" creationId="{6F62761F-867A-573C-2EB7-18864D381AC8}"/>
          </ac:grpSpMkLst>
        </pc:grpChg>
        <pc:grpChg chg="mod">
          <ac:chgData name="Nataliia Chornii (UA)" userId="4e4b8b3d-5f31-49bb-9f80-8a25c04abfff" providerId="ADAL" clId="{EE97D3FE-9ACA-4467-98E5-532EC45D9D1C}" dt="2024-03-04T09:11:07.744" v="18503" actId="571"/>
          <ac:grpSpMkLst>
            <pc:docMk/>
            <pc:sldMk cId="795685229" sldId="904"/>
            <ac:grpSpMk id="114" creationId="{01725567-AA3F-4814-C353-07E52F0A22D0}"/>
          </ac:grpSpMkLst>
        </pc:grpChg>
        <pc:grpChg chg="mod">
          <ac:chgData name="Nataliia Chornii (UA)" userId="4e4b8b3d-5f31-49bb-9f80-8a25c04abfff" providerId="ADAL" clId="{EE97D3FE-9ACA-4467-98E5-532EC45D9D1C}" dt="2024-03-04T09:11:07.744" v="18503" actId="571"/>
          <ac:grpSpMkLst>
            <pc:docMk/>
            <pc:sldMk cId="795685229" sldId="904"/>
            <ac:grpSpMk id="115" creationId="{A65B5391-727D-8218-72D3-212247B17253}"/>
          </ac:grpSpMkLst>
        </pc:grpChg>
        <pc:graphicFrameChg chg="add mod ord modVis replST">
          <ac:chgData name="Nataliia Chornii (UA)" userId="4e4b8b3d-5f31-49bb-9f80-8a25c04abfff" providerId="ADAL" clId="{EE97D3FE-9ACA-4467-98E5-532EC45D9D1C}" dt="2024-03-04T09:03:07.643" v="18390"/>
          <ac:graphicFrameMkLst>
            <pc:docMk/>
            <pc:sldMk cId="795685229" sldId="904"/>
            <ac:graphicFrameMk id="14" creationId="{86C0963A-C5CC-2E7D-B418-A43C2733186F}"/>
          </ac:graphicFrameMkLst>
        </pc:graphicFrameChg>
        <pc:picChg chg="del mod ord">
          <ac:chgData name="Nataliia Chornii (UA)" userId="4e4b8b3d-5f31-49bb-9f80-8a25c04abfff" providerId="ADAL" clId="{EE97D3FE-9ACA-4467-98E5-532EC45D9D1C}" dt="2024-03-04T09:09:45.067" v="18498" actId="478"/>
          <ac:picMkLst>
            <pc:docMk/>
            <pc:sldMk cId="795685229" sldId="904"/>
            <ac:picMk id="16" creationId="{7CBA6D7D-8652-84AD-7984-01250C47A431}"/>
          </ac:picMkLst>
        </pc:picChg>
      </pc:sldChg>
      <pc:sldChg chg="addSp delSp modSp mod modClrScheme chgLayout">
        <pc:chgData name="Nataliia Chornii (UA)" userId="4e4b8b3d-5f31-49bb-9f80-8a25c04abfff" providerId="ADAL" clId="{EE97D3FE-9ACA-4467-98E5-532EC45D9D1C}" dt="2024-03-11T14:22:44.866" v="24033"/>
        <pc:sldMkLst>
          <pc:docMk/>
          <pc:sldMk cId="507333055" sldId="905"/>
        </pc:sldMkLst>
        <pc:spChg chg="mod ord">
          <ac:chgData name="Nataliia Chornii (UA)" userId="4e4b8b3d-5f31-49bb-9f80-8a25c04abfff" providerId="ADAL" clId="{EE97D3FE-9ACA-4467-98E5-532EC45D9D1C}" dt="2024-03-01T10:33:50.996" v="10281"/>
          <ac:spMkLst>
            <pc:docMk/>
            <pc:sldMk cId="507333055" sldId="905"/>
            <ac:spMk id="2" creationId="{EDFBCEAB-7D4A-91D0-E036-AAFACC3ABE8D}"/>
          </ac:spMkLst>
        </pc:spChg>
        <pc:spChg chg="add del mod modVis">
          <ac:chgData name="Nataliia Chornii (UA)" userId="4e4b8b3d-5f31-49bb-9f80-8a25c04abfff" providerId="ADAL" clId="{EE97D3FE-9ACA-4467-98E5-532EC45D9D1C}" dt="2024-03-01T08:48:59.220" v="1225"/>
          <ac:spMkLst>
            <pc:docMk/>
            <pc:sldMk cId="507333055" sldId="905"/>
            <ac:spMk id="3" creationId="{01874AA2-ADDC-ADF8-8977-50E443D83B48}"/>
          </ac:spMkLst>
        </pc:spChg>
        <pc:spChg chg="add mod">
          <ac:chgData name="Nataliia Chornii (UA)" userId="4e4b8b3d-5f31-49bb-9f80-8a25c04abfff" providerId="ADAL" clId="{EE97D3FE-9ACA-4467-98E5-532EC45D9D1C}" dt="2024-03-11T14:22:44.866" v="24033"/>
          <ac:spMkLst>
            <pc:docMk/>
            <pc:sldMk cId="507333055" sldId="905"/>
            <ac:spMk id="3" creationId="{70832196-8F04-2AE8-0728-1989AF43F84D}"/>
          </ac:spMkLst>
        </pc:spChg>
        <pc:spChg chg="mod ord">
          <ac:chgData name="Nataliia Chornii (UA)" userId="4e4b8b3d-5f31-49bb-9f80-8a25c04abfff" providerId="ADAL" clId="{EE97D3FE-9ACA-4467-98E5-532EC45D9D1C}" dt="2024-03-01T10:33:54.317" v="10308" actId="207"/>
          <ac:spMkLst>
            <pc:docMk/>
            <pc:sldMk cId="507333055" sldId="905"/>
            <ac:spMk id="4" creationId="{A6320228-D809-6F87-2500-99BCB217E23A}"/>
          </ac:spMkLst>
        </pc:spChg>
        <pc:spChg chg="del">
          <ac:chgData name="Nataliia Chornii (UA)" userId="4e4b8b3d-5f31-49bb-9f80-8a25c04abfff" providerId="ADAL" clId="{EE97D3FE-9ACA-4467-98E5-532EC45D9D1C}" dt="2024-03-01T09:58:56.464" v="9425" actId="478"/>
          <ac:spMkLst>
            <pc:docMk/>
            <pc:sldMk cId="507333055" sldId="905"/>
            <ac:spMk id="5" creationId="{E03CB895-8BEB-5197-3BCF-F146EFC5500F}"/>
          </ac:spMkLst>
        </pc:spChg>
        <pc:spChg chg="del">
          <ac:chgData name="Nataliia Chornii (UA)" userId="4e4b8b3d-5f31-49bb-9f80-8a25c04abfff" providerId="ADAL" clId="{EE97D3FE-9ACA-4467-98E5-532EC45D9D1C}" dt="2024-03-01T09:58:56.464" v="9425" actId="478"/>
          <ac:spMkLst>
            <pc:docMk/>
            <pc:sldMk cId="507333055" sldId="905"/>
            <ac:spMk id="6" creationId="{34D7B216-0AF9-A245-CB30-410131422508}"/>
          </ac:spMkLst>
        </pc:spChg>
        <pc:spChg chg="mod">
          <ac:chgData name="Nataliia Chornii (UA)" userId="4e4b8b3d-5f31-49bb-9f80-8a25c04abfff" providerId="ADAL" clId="{EE97D3FE-9ACA-4467-98E5-532EC45D9D1C}" dt="2024-03-11T14:22:44.866" v="24033"/>
          <ac:spMkLst>
            <pc:docMk/>
            <pc:sldMk cId="507333055" sldId="905"/>
            <ac:spMk id="6" creationId="{7B05A1CC-7504-0F93-3BA5-4DE99C347651}"/>
          </ac:spMkLst>
        </pc:spChg>
        <pc:spChg chg="mod">
          <ac:chgData name="Nataliia Chornii (UA)" userId="4e4b8b3d-5f31-49bb-9f80-8a25c04abfff" providerId="ADAL" clId="{EE97D3FE-9ACA-4467-98E5-532EC45D9D1C}" dt="2024-03-11T14:22:44.866" v="24033"/>
          <ac:spMkLst>
            <pc:docMk/>
            <pc:sldMk cId="507333055" sldId="905"/>
            <ac:spMk id="7" creationId="{7CCBCAB2-8042-8023-3371-75FC4CDDA556}"/>
          </ac:spMkLst>
        </pc:spChg>
        <pc:spChg chg="del">
          <ac:chgData name="Nataliia Chornii (UA)" userId="4e4b8b3d-5f31-49bb-9f80-8a25c04abfff" providerId="ADAL" clId="{EE97D3FE-9ACA-4467-98E5-532EC45D9D1C}" dt="2024-03-01T09:58:36.553" v="9417" actId="478"/>
          <ac:spMkLst>
            <pc:docMk/>
            <pc:sldMk cId="507333055" sldId="905"/>
            <ac:spMk id="7" creationId="{ABE8EE39-C466-6083-2B14-0237C935C96B}"/>
          </ac:spMkLst>
        </pc:spChg>
        <pc:spChg chg="mod">
          <ac:chgData name="Nataliia Chornii (UA)" userId="4e4b8b3d-5f31-49bb-9f80-8a25c04abfff" providerId="ADAL" clId="{EE97D3FE-9ACA-4467-98E5-532EC45D9D1C}" dt="2024-03-11T14:22:44.866" v="24033"/>
          <ac:spMkLst>
            <pc:docMk/>
            <pc:sldMk cId="507333055" sldId="905"/>
            <ac:spMk id="8" creationId="{19F7371B-DAF0-68B7-93FA-BDE4B01797F6}"/>
          </ac:spMkLst>
        </pc:spChg>
        <pc:spChg chg="del">
          <ac:chgData name="Nataliia Chornii (UA)" userId="4e4b8b3d-5f31-49bb-9f80-8a25c04abfff" providerId="ADAL" clId="{EE97D3FE-9ACA-4467-98E5-532EC45D9D1C}" dt="2024-03-01T09:58:36.553" v="9417" actId="478"/>
          <ac:spMkLst>
            <pc:docMk/>
            <pc:sldMk cId="507333055" sldId="905"/>
            <ac:spMk id="8" creationId="{D3075EA9-222C-FBAB-0F0E-D4775F00C87E}"/>
          </ac:spMkLst>
        </pc:spChg>
        <pc:spChg chg="del">
          <ac:chgData name="Nataliia Chornii (UA)" userId="4e4b8b3d-5f31-49bb-9f80-8a25c04abfff" providerId="ADAL" clId="{EE97D3FE-9ACA-4467-98E5-532EC45D9D1C}" dt="2024-03-01T09:58:36.553" v="9417" actId="478"/>
          <ac:spMkLst>
            <pc:docMk/>
            <pc:sldMk cId="507333055" sldId="905"/>
            <ac:spMk id="9" creationId="{08B6A8B7-7C80-74FA-BFD5-B86DDE664F74}"/>
          </ac:spMkLst>
        </pc:spChg>
        <pc:spChg chg="mod">
          <ac:chgData name="Nataliia Chornii (UA)" userId="4e4b8b3d-5f31-49bb-9f80-8a25c04abfff" providerId="ADAL" clId="{EE97D3FE-9ACA-4467-98E5-532EC45D9D1C}" dt="2024-03-11T14:22:44.866" v="24033"/>
          <ac:spMkLst>
            <pc:docMk/>
            <pc:sldMk cId="507333055" sldId="905"/>
            <ac:spMk id="9" creationId="{86697D7D-B946-E90D-2D2C-E2BA46D91B2B}"/>
          </ac:spMkLst>
        </pc:spChg>
        <pc:spChg chg="mod">
          <ac:chgData name="Nataliia Chornii (UA)" userId="4e4b8b3d-5f31-49bb-9f80-8a25c04abfff" providerId="ADAL" clId="{EE97D3FE-9ACA-4467-98E5-532EC45D9D1C}" dt="2024-03-11T14:22:44.866" v="24033"/>
          <ac:spMkLst>
            <pc:docMk/>
            <pc:sldMk cId="507333055" sldId="905"/>
            <ac:spMk id="10" creationId="{97ED17E7-DCE0-28AB-CD9D-4B6FADB71D15}"/>
          </ac:spMkLst>
        </pc:spChg>
        <pc:spChg chg="del">
          <ac:chgData name="Nataliia Chornii (UA)" userId="4e4b8b3d-5f31-49bb-9f80-8a25c04abfff" providerId="ADAL" clId="{EE97D3FE-9ACA-4467-98E5-532EC45D9D1C}" dt="2024-03-01T09:58:36.553" v="9417" actId="478"/>
          <ac:spMkLst>
            <pc:docMk/>
            <pc:sldMk cId="507333055" sldId="905"/>
            <ac:spMk id="10" creationId="{B337C822-0ACB-7395-4E9F-FE78A0258C7B}"/>
          </ac:spMkLst>
        </pc:spChg>
        <pc:spChg chg="mod">
          <ac:chgData name="Nataliia Chornii (UA)" userId="4e4b8b3d-5f31-49bb-9f80-8a25c04abfff" providerId="ADAL" clId="{EE97D3FE-9ACA-4467-98E5-532EC45D9D1C}" dt="2024-03-11T14:22:44.866" v="24033"/>
          <ac:spMkLst>
            <pc:docMk/>
            <pc:sldMk cId="507333055" sldId="905"/>
            <ac:spMk id="11" creationId="{A0930077-F578-EFD3-9AD7-72A9A79464CF}"/>
          </ac:spMkLst>
        </pc:spChg>
        <pc:spChg chg="del">
          <ac:chgData name="Nataliia Chornii (UA)" userId="4e4b8b3d-5f31-49bb-9f80-8a25c04abfff" providerId="ADAL" clId="{EE97D3FE-9ACA-4467-98E5-532EC45D9D1C}" dt="2024-03-01T09:58:36.553" v="9417" actId="478"/>
          <ac:spMkLst>
            <pc:docMk/>
            <pc:sldMk cId="507333055" sldId="905"/>
            <ac:spMk id="11" creationId="{BEFB8D44-5692-BC7D-1631-1623E5005441}"/>
          </ac:spMkLst>
        </pc:spChg>
        <pc:spChg chg="add del mod modVis">
          <ac:chgData name="Nataliia Chornii (UA)" userId="4e4b8b3d-5f31-49bb-9f80-8a25c04abfff" providerId="ADAL" clId="{EE97D3FE-9ACA-4467-98E5-532EC45D9D1C}" dt="2024-03-01T08:49:33.703" v="2786"/>
          <ac:spMkLst>
            <pc:docMk/>
            <pc:sldMk cId="507333055" sldId="905"/>
            <ac:spMk id="13" creationId="{A58C6272-EC6B-6B36-7F46-3CA957244F38}"/>
          </ac:spMkLst>
        </pc:spChg>
        <pc:spChg chg="add del mod modVis">
          <ac:chgData name="Nataliia Chornii (UA)" userId="4e4b8b3d-5f31-49bb-9f80-8a25c04abfff" providerId="ADAL" clId="{EE97D3FE-9ACA-4467-98E5-532EC45D9D1C}" dt="2024-03-01T08:49:59.757" v="3774"/>
          <ac:spMkLst>
            <pc:docMk/>
            <pc:sldMk cId="507333055" sldId="905"/>
            <ac:spMk id="14" creationId="{1BA7777D-4EBA-BAEF-B44E-265FDDDB9398}"/>
          </ac:spMkLst>
        </pc:spChg>
        <pc:spChg chg="add del mod modVis">
          <ac:chgData name="Nataliia Chornii (UA)" userId="4e4b8b3d-5f31-49bb-9f80-8a25c04abfff" providerId="ADAL" clId="{EE97D3FE-9ACA-4467-98E5-532EC45D9D1C}" dt="2024-03-01T08:51:26.075" v="4762"/>
          <ac:spMkLst>
            <pc:docMk/>
            <pc:sldMk cId="507333055" sldId="905"/>
            <ac:spMk id="15" creationId="{2F68CB46-4504-B7EA-130C-78AF11E12BD3}"/>
          </ac:spMkLst>
        </pc:spChg>
        <pc:spChg chg="add del mod modVis">
          <ac:chgData name="Nataliia Chornii (UA)" userId="4e4b8b3d-5f31-49bb-9f80-8a25c04abfff" providerId="ADAL" clId="{EE97D3FE-9ACA-4467-98E5-532EC45D9D1C}" dt="2024-03-01T08:51:56.079" v="5751"/>
          <ac:spMkLst>
            <pc:docMk/>
            <pc:sldMk cId="507333055" sldId="905"/>
            <ac:spMk id="16" creationId="{613C562E-AF1A-509C-FDD1-4A450C77620F}"/>
          </ac:spMkLst>
        </pc:spChg>
        <pc:spChg chg="add del mod modVis">
          <ac:chgData name="Nataliia Chornii (UA)" userId="4e4b8b3d-5f31-49bb-9f80-8a25c04abfff" providerId="ADAL" clId="{EE97D3FE-9ACA-4467-98E5-532EC45D9D1C}" dt="2024-03-01T08:52:18.233" v="6739"/>
          <ac:spMkLst>
            <pc:docMk/>
            <pc:sldMk cId="507333055" sldId="905"/>
            <ac:spMk id="17" creationId="{95317D95-738E-28D8-2E17-B5950605112D}"/>
          </ac:spMkLst>
        </pc:spChg>
        <pc:spChg chg="del mod">
          <ac:chgData name="Nataliia Chornii (UA)" userId="4e4b8b3d-5f31-49bb-9f80-8a25c04abfff" providerId="ADAL" clId="{EE97D3FE-9ACA-4467-98E5-532EC45D9D1C}" dt="2024-03-01T10:02:20.795" v="9443" actId="478"/>
          <ac:spMkLst>
            <pc:docMk/>
            <pc:sldMk cId="507333055" sldId="905"/>
            <ac:spMk id="18" creationId="{22980002-C01F-4035-66FB-BB909C9376A3}"/>
          </ac:spMkLst>
        </pc:spChg>
        <pc:spChg chg="del">
          <ac:chgData name="Nataliia Chornii (UA)" userId="4e4b8b3d-5f31-49bb-9f80-8a25c04abfff" providerId="ADAL" clId="{EE97D3FE-9ACA-4467-98E5-532EC45D9D1C}" dt="2024-03-01T10:02:23.673" v="9444" actId="478"/>
          <ac:spMkLst>
            <pc:docMk/>
            <pc:sldMk cId="507333055" sldId="905"/>
            <ac:spMk id="19" creationId="{E0084A30-D99D-E96E-31F4-0E0CFAAD99C4}"/>
          </ac:spMkLst>
        </pc:spChg>
        <pc:spChg chg="mod">
          <ac:chgData name="Nataliia Chornii (UA)" userId="4e4b8b3d-5f31-49bb-9f80-8a25c04abfff" providerId="ADAL" clId="{EE97D3FE-9ACA-4467-98E5-532EC45D9D1C}" dt="2024-03-01T09:58:36.964" v="9418"/>
          <ac:spMkLst>
            <pc:docMk/>
            <pc:sldMk cId="507333055" sldId="905"/>
            <ac:spMk id="21" creationId="{38BB8091-1076-C602-6CED-C2AE6678F5A9}"/>
          </ac:spMkLst>
        </pc:spChg>
        <pc:spChg chg="mod">
          <ac:chgData name="Nataliia Chornii (UA)" userId="4e4b8b3d-5f31-49bb-9f80-8a25c04abfff" providerId="ADAL" clId="{EE97D3FE-9ACA-4467-98E5-532EC45D9D1C}" dt="2024-03-01T09:58:52.547" v="9424" actId="113"/>
          <ac:spMkLst>
            <pc:docMk/>
            <pc:sldMk cId="507333055" sldId="905"/>
            <ac:spMk id="22" creationId="{14F35E1A-2C93-B6CB-918D-868C9B06B0A7}"/>
          </ac:spMkLst>
        </pc:spChg>
        <pc:spChg chg="mod">
          <ac:chgData name="Nataliia Chornii (UA)" userId="4e4b8b3d-5f31-49bb-9f80-8a25c04abfff" providerId="ADAL" clId="{EE97D3FE-9ACA-4467-98E5-532EC45D9D1C}" dt="2024-03-01T09:58:42.600" v="9421" actId="207"/>
          <ac:spMkLst>
            <pc:docMk/>
            <pc:sldMk cId="507333055" sldId="905"/>
            <ac:spMk id="23" creationId="{F97CB2C5-7142-8223-7214-B1FDFDA9926A}"/>
          </ac:spMkLst>
        </pc:spChg>
        <pc:spChg chg="mod">
          <ac:chgData name="Nataliia Chornii (UA)" userId="4e4b8b3d-5f31-49bb-9f80-8a25c04abfff" providerId="ADAL" clId="{EE97D3FE-9ACA-4467-98E5-532EC45D9D1C}" dt="2024-03-01T09:58:36.964" v="9418"/>
          <ac:spMkLst>
            <pc:docMk/>
            <pc:sldMk cId="507333055" sldId="905"/>
            <ac:spMk id="24" creationId="{F0AA07AA-4D21-8CE3-744C-AD9A127C8D02}"/>
          </ac:spMkLst>
        </pc:spChg>
        <pc:spChg chg="mod">
          <ac:chgData name="Nataliia Chornii (UA)" userId="4e4b8b3d-5f31-49bb-9f80-8a25c04abfff" providerId="ADAL" clId="{EE97D3FE-9ACA-4467-98E5-532EC45D9D1C}" dt="2024-03-01T09:58:36.964" v="9418"/>
          <ac:spMkLst>
            <pc:docMk/>
            <pc:sldMk cId="507333055" sldId="905"/>
            <ac:spMk id="25" creationId="{1CA1B5B0-7F3C-4506-0CFC-FC71900DAEB0}"/>
          </ac:spMkLst>
        </pc:spChg>
        <pc:spChg chg="add mod ord">
          <ac:chgData name="Nataliia Chornii (UA)" userId="4e4b8b3d-5f31-49bb-9f80-8a25c04abfff" providerId="ADAL" clId="{EE97D3FE-9ACA-4467-98E5-532EC45D9D1C}" dt="2024-03-01T10:34:08.441" v="10312" actId="207"/>
          <ac:spMkLst>
            <pc:docMk/>
            <pc:sldMk cId="507333055" sldId="905"/>
            <ac:spMk id="26" creationId="{CAFFDCE5-3051-49DF-AF83-5287E01B7716}"/>
          </ac:spMkLst>
        </pc:spChg>
        <pc:spChg chg="add mod ord">
          <ac:chgData name="Nataliia Chornii (UA)" userId="4e4b8b3d-5f31-49bb-9f80-8a25c04abfff" providerId="ADAL" clId="{EE97D3FE-9ACA-4467-98E5-532EC45D9D1C}" dt="2024-03-01T10:33:50.996" v="10289"/>
          <ac:spMkLst>
            <pc:docMk/>
            <pc:sldMk cId="507333055" sldId="905"/>
            <ac:spMk id="27" creationId="{D6EA5D0F-11EF-2398-660B-39FF89189180}"/>
          </ac:spMkLst>
        </pc:spChg>
        <pc:spChg chg="add mod ord">
          <ac:chgData name="Nataliia Chornii (UA)" userId="4e4b8b3d-5f31-49bb-9f80-8a25c04abfff" providerId="ADAL" clId="{EE97D3FE-9ACA-4467-98E5-532EC45D9D1C}" dt="2024-03-01T10:34:08.441" v="10312" actId="207"/>
          <ac:spMkLst>
            <pc:docMk/>
            <pc:sldMk cId="507333055" sldId="905"/>
            <ac:spMk id="28" creationId="{29F2449E-4ED8-5ADE-AE30-9E9AB83EF649}"/>
          </ac:spMkLst>
        </pc:spChg>
        <pc:spChg chg="add mod ord">
          <ac:chgData name="Nataliia Chornii (UA)" userId="4e4b8b3d-5f31-49bb-9f80-8a25c04abfff" providerId="ADAL" clId="{EE97D3FE-9ACA-4467-98E5-532EC45D9D1C}" dt="2024-03-01T10:33:50.996" v="10293"/>
          <ac:spMkLst>
            <pc:docMk/>
            <pc:sldMk cId="507333055" sldId="905"/>
            <ac:spMk id="29" creationId="{00134262-F6E7-5D0D-46C6-48E2647244CF}"/>
          </ac:spMkLst>
        </pc:spChg>
        <pc:spChg chg="add mod ord">
          <ac:chgData name="Nataliia Chornii (UA)" userId="4e4b8b3d-5f31-49bb-9f80-8a25c04abfff" providerId="ADAL" clId="{EE97D3FE-9ACA-4467-98E5-532EC45D9D1C}" dt="2024-03-01T10:34:08.441" v="10312" actId="207"/>
          <ac:spMkLst>
            <pc:docMk/>
            <pc:sldMk cId="507333055" sldId="905"/>
            <ac:spMk id="30" creationId="{9EFCB31E-34D9-1914-7367-57FB33E6D927}"/>
          </ac:spMkLst>
        </pc:spChg>
        <pc:spChg chg="add mod ord">
          <ac:chgData name="Nataliia Chornii (UA)" userId="4e4b8b3d-5f31-49bb-9f80-8a25c04abfff" providerId="ADAL" clId="{EE97D3FE-9ACA-4467-98E5-532EC45D9D1C}" dt="2024-03-01T10:33:50.996" v="10297"/>
          <ac:spMkLst>
            <pc:docMk/>
            <pc:sldMk cId="507333055" sldId="905"/>
            <ac:spMk id="31" creationId="{B24CF0FE-B844-4682-3534-6E167E9F0FFA}"/>
          </ac:spMkLst>
        </pc:spChg>
        <pc:spChg chg="add mod ord">
          <ac:chgData name="Nataliia Chornii (UA)" userId="4e4b8b3d-5f31-49bb-9f80-8a25c04abfff" providerId="ADAL" clId="{EE97D3FE-9ACA-4467-98E5-532EC45D9D1C}" dt="2024-03-01T10:33:50.996" v="10299"/>
          <ac:spMkLst>
            <pc:docMk/>
            <pc:sldMk cId="507333055" sldId="905"/>
            <ac:spMk id="32" creationId="{34992742-13EE-A536-FAEC-18532BDD82A6}"/>
          </ac:spMkLst>
        </pc:spChg>
        <pc:spChg chg="add mod ord">
          <ac:chgData name="Nataliia Chornii (UA)" userId="4e4b8b3d-5f31-49bb-9f80-8a25c04abfff" providerId="ADAL" clId="{EE97D3FE-9ACA-4467-98E5-532EC45D9D1C}" dt="2024-03-01T10:33:50.996" v="10301"/>
          <ac:spMkLst>
            <pc:docMk/>
            <pc:sldMk cId="507333055" sldId="905"/>
            <ac:spMk id="33" creationId="{6614B880-DCB4-A5EA-0F50-19A1C810C41E}"/>
          </ac:spMkLst>
        </pc:spChg>
        <pc:spChg chg="add mod ord">
          <ac:chgData name="Nataliia Chornii (UA)" userId="4e4b8b3d-5f31-49bb-9f80-8a25c04abfff" providerId="ADAL" clId="{EE97D3FE-9ACA-4467-98E5-532EC45D9D1C}" dt="2024-03-01T10:33:51.012" v="10303"/>
          <ac:spMkLst>
            <pc:docMk/>
            <pc:sldMk cId="507333055" sldId="905"/>
            <ac:spMk id="34" creationId="{92BD7321-AEC3-477C-EB5F-005F7DC540AF}"/>
          </ac:spMkLst>
        </pc:spChg>
        <pc:spChg chg="mod">
          <ac:chgData name="Nataliia Chornii (UA)" userId="4e4b8b3d-5f31-49bb-9f80-8a25c04abfff" providerId="ADAL" clId="{EE97D3FE-9ACA-4467-98E5-532EC45D9D1C}" dt="2024-03-01T10:01:24.265" v="9430"/>
          <ac:spMkLst>
            <pc:docMk/>
            <pc:sldMk cId="507333055" sldId="905"/>
            <ac:spMk id="36" creationId="{D4463574-A7CA-E672-E37E-F4DFBBAC6051}"/>
          </ac:spMkLst>
        </pc:spChg>
        <pc:spChg chg="mod">
          <ac:chgData name="Nataliia Chornii (UA)" userId="4e4b8b3d-5f31-49bb-9f80-8a25c04abfff" providerId="ADAL" clId="{EE97D3FE-9ACA-4467-98E5-532EC45D9D1C}" dt="2024-03-01T10:01:24.265" v="9430"/>
          <ac:spMkLst>
            <pc:docMk/>
            <pc:sldMk cId="507333055" sldId="905"/>
            <ac:spMk id="37" creationId="{5D2AB52E-0E30-35F4-CD95-2E8183690AFF}"/>
          </ac:spMkLst>
        </pc:spChg>
        <pc:spChg chg="mod">
          <ac:chgData name="Nataliia Chornii (UA)" userId="4e4b8b3d-5f31-49bb-9f80-8a25c04abfff" providerId="ADAL" clId="{EE97D3FE-9ACA-4467-98E5-532EC45D9D1C}" dt="2024-03-01T10:01:24.265" v="9430"/>
          <ac:spMkLst>
            <pc:docMk/>
            <pc:sldMk cId="507333055" sldId="905"/>
            <ac:spMk id="38" creationId="{6E026FEA-57F4-A3EC-B6A7-2BABBEE0F604}"/>
          </ac:spMkLst>
        </pc:spChg>
        <pc:spChg chg="add del mod">
          <ac:chgData name="Nataliia Chornii (UA)" userId="4e4b8b3d-5f31-49bb-9f80-8a25c04abfff" providerId="ADAL" clId="{EE97D3FE-9ACA-4467-98E5-532EC45D9D1C}" dt="2024-03-01T10:01:28.419" v="9431" actId="478"/>
          <ac:spMkLst>
            <pc:docMk/>
            <pc:sldMk cId="507333055" sldId="905"/>
            <ac:spMk id="39" creationId="{A7A4DF44-0D71-A678-4414-BEA92369A06F}"/>
          </ac:spMkLst>
        </pc:spChg>
        <pc:spChg chg="mod">
          <ac:chgData name="Nataliia Chornii (UA)" userId="4e4b8b3d-5f31-49bb-9f80-8a25c04abfff" providerId="ADAL" clId="{EE97D3FE-9ACA-4467-98E5-532EC45D9D1C}" dt="2024-03-01T10:01:24.265" v="9430"/>
          <ac:spMkLst>
            <pc:docMk/>
            <pc:sldMk cId="507333055" sldId="905"/>
            <ac:spMk id="41" creationId="{CDEB1028-AAF3-6EF6-5E84-3B1A7FFD23E0}"/>
          </ac:spMkLst>
        </pc:spChg>
        <pc:spChg chg="mod">
          <ac:chgData name="Nataliia Chornii (UA)" userId="4e4b8b3d-5f31-49bb-9f80-8a25c04abfff" providerId="ADAL" clId="{EE97D3FE-9ACA-4467-98E5-532EC45D9D1C}" dt="2024-03-01T10:01:24.265" v="9430"/>
          <ac:spMkLst>
            <pc:docMk/>
            <pc:sldMk cId="507333055" sldId="905"/>
            <ac:spMk id="42" creationId="{05DF2440-CC26-C228-73E4-1F40C1E120BE}"/>
          </ac:spMkLst>
        </pc:spChg>
        <pc:spChg chg="mod">
          <ac:chgData name="Nataliia Chornii (UA)" userId="4e4b8b3d-5f31-49bb-9f80-8a25c04abfff" providerId="ADAL" clId="{EE97D3FE-9ACA-4467-98E5-532EC45D9D1C}" dt="2024-03-01T10:01:24.265" v="9430"/>
          <ac:spMkLst>
            <pc:docMk/>
            <pc:sldMk cId="507333055" sldId="905"/>
            <ac:spMk id="43" creationId="{194BBA23-F0DC-42C9-270F-F9DBDE48DBF5}"/>
          </ac:spMkLst>
        </pc:spChg>
        <pc:spChg chg="mod">
          <ac:chgData name="Nataliia Chornii (UA)" userId="4e4b8b3d-5f31-49bb-9f80-8a25c04abfff" providerId="ADAL" clId="{EE97D3FE-9ACA-4467-98E5-532EC45D9D1C}" dt="2024-03-01T10:01:24.265" v="9430"/>
          <ac:spMkLst>
            <pc:docMk/>
            <pc:sldMk cId="507333055" sldId="905"/>
            <ac:spMk id="44" creationId="{A8A83BAF-46EA-9798-224E-038A0A53320A}"/>
          </ac:spMkLst>
        </pc:spChg>
        <pc:spChg chg="add del mod">
          <ac:chgData name="Nataliia Chornii (UA)" userId="4e4b8b3d-5f31-49bb-9f80-8a25c04abfff" providerId="ADAL" clId="{EE97D3FE-9ACA-4467-98E5-532EC45D9D1C}" dt="2024-03-01T10:03:20.834" v="9465" actId="478"/>
          <ac:spMkLst>
            <pc:docMk/>
            <pc:sldMk cId="507333055" sldId="905"/>
            <ac:spMk id="45" creationId="{3891F23C-4B8D-413D-231F-FB8DB24730F7}"/>
          </ac:spMkLst>
        </pc:spChg>
        <pc:spChg chg="add del mod ord">
          <ac:chgData name="Nataliia Chornii (UA)" userId="4e4b8b3d-5f31-49bb-9f80-8a25c04abfff" providerId="ADAL" clId="{EE97D3FE-9ACA-4467-98E5-532EC45D9D1C}" dt="2024-03-01T10:33:23.694" v="10231" actId="478"/>
          <ac:spMkLst>
            <pc:docMk/>
            <pc:sldMk cId="507333055" sldId="905"/>
            <ac:spMk id="46" creationId="{BEA827C9-3660-73E0-61ED-EACBEC6B3C4A}"/>
          </ac:spMkLst>
        </pc:spChg>
        <pc:spChg chg="add del mod ord">
          <ac:chgData name="Nataliia Chornii (UA)" userId="4e4b8b3d-5f31-49bb-9f80-8a25c04abfff" providerId="ADAL" clId="{EE97D3FE-9ACA-4467-98E5-532EC45D9D1C}" dt="2024-03-01T10:27:38.284" v="10155" actId="478"/>
          <ac:spMkLst>
            <pc:docMk/>
            <pc:sldMk cId="507333055" sldId="905"/>
            <ac:spMk id="47" creationId="{0528E376-71D1-DB19-6901-53D45C782110}"/>
          </ac:spMkLst>
        </pc:spChg>
        <pc:spChg chg="add del mod modVis">
          <ac:chgData name="Nataliia Chornii (UA)" userId="4e4b8b3d-5f31-49bb-9f80-8a25c04abfff" providerId="ADAL" clId="{EE97D3FE-9ACA-4467-98E5-532EC45D9D1C}" dt="2024-03-01T10:27:35.280" v="10152"/>
          <ac:spMkLst>
            <pc:docMk/>
            <pc:sldMk cId="507333055" sldId="905"/>
            <ac:spMk id="48" creationId="{EEF525B9-D895-7A11-CE9B-9FC18AD2D79B}"/>
          </ac:spMkLst>
        </pc:spChg>
        <pc:spChg chg="add mod ord">
          <ac:chgData name="Nataliia Chornii (UA)" userId="4e4b8b3d-5f31-49bb-9f80-8a25c04abfff" providerId="ADAL" clId="{EE97D3FE-9ACA-4467-98E5-532EC45D9D1C}" dt="2024-03-01T10:33:50.996" v="10279"/>
          <ac:spMkLst>
            <pc:docMk/>
            <pc:sldMk cId="507333055" sldId="905"/>
            <ac:spMk id="49" creationId="{2C40FD44-D961-01E3-E566-FEE845800AF9}"/>
          </ac:spMkLst>
        </pc:spChg>
        <pc:grpChg chg="add mod">
          <ac:chgData name="Nataliia Chornii (UA)" userId="4e4b8b3d-5f31-49bb-9f80-8a25c04abfff" providerId="ADAL" clId="{EE97D3FE-9ACA-4467-98E5-532EC45D9D1C}" dt="2024-03-11T14:22:44.866" v="24033"/>
          <ac:grpSpMkLst>
            <pc:docMk/>
            <pc:sldMk cId="507333055" sldId="905"/>
            <ac:grpSpMk id="5" creationId="{4622E805-89A5-4047-1C8F-D8F1098B5CCF}"/>
          </ac:grpSpMkLst>
        </pc:grpChg>
        <pc:grpChg chg="add mod ord">
          <ac:chgData name="Nataliia Chornii (UA)" userId="4e4b8b3d-5f31-49bb-9f80-8a25c04abfff" providerId="ADAL" clId="{EE97D3FE-9ACA-4467-98E5-532EC45D9D1C}" dt="2024-03-01T10:33:50.996" v="10285"/>
          <ac:grpSpMkLst>
            <pc:docMk/>
            <pc:sldMk cId="507333055" sldId="905"/>
            <ac:grpSpMk id="20" creationId="{32285829-6F0F-7CB7-1EB3-7D2BE58D87E4}"/>
          </ac:grpSpMkLst>
        </pc:grpChg>
        <pc:grpChg chg="add del mod">
          <ac:chgData name="Nataliia Chornii (UA)" userId="4e4b8b3d-5f31-49bb-9f80-8a25c04abfff" providerId="ADAL" clId="{EE97D3FE-9ACA-4467-98E5-532EC45D9D1C}" dt="2024-03-01T10:01:28.419" v="9431" actId="478"/>
          <ac:grpSpMkLst>
            <pc:docMk/>
            <pc:sldMk cId="507333055" sldId="905"/>
            <ac:grpSpMk id="35" creationId="{1C246A4B-4E5B-F9C8-CA76-90DC29C656E3}"/>
          </ac:grpSpMkLst>
        </pc:grpChg>
        <pc:grpChg chg="add del mod">
          <ac:chgData name="Nataliia Chornii (UA)" userId="4e4b8b3d-5f31-49bb-9f80-8a25c04abfff" providerId="ADAL" clId="{EE97D3FE-9ACA-4467-98E5-532EC45D9D1C}" dt="2024-03-01T10:01:28.419" v="9431" actId="478"/>
          <ac:grpSpMkLst>
            <pc:docMk/>
            <pc:sldMk cId="507333055" sldId="905"/>
            <ac:grpSpMk id="40" creationId="{81573D09-1AAA-3B62-81DD-235E44EF019C}"/>
          </ac:grpSpMkLst>
        </pc:grpChg>
        <pc:graphicFrameChg chg="add mod ord modVis replST">
          <ac:chgData name="Nataliia Chornii (UA)" userId="4e4b8b3d-5f31-49bb-9f80-8a25c04abfff" providerId="ADAL" clId="{EE97D3FE-9ACA-4467-98E5-532EC45D9D1C}" dt="2024-03-01T10:33:51.012" v="10307"/>
          <ac:graphicFrameMkLst>
            <pc:docMk/>
            <pc:sldMk cId="507333055" sldId="905"/>
            <ac:graphicFrameMk id="12" creationId="{DE7E1260-77C1-6B8B-40A7-CB041F0971E9}"/>
          </ac:graphicFrameMkLst>
        </pc:graphicFrameChg>
        <pc:picChg chg="add mod ord modCrop">
          <ac:chgData name="Nataliia Chornii (UA)" userId="4e4b8b3d-5f31-49bb-9f80-8a25c04abfff" providerId="ADAL" clId="{EE97D3FE-9ACA-4467-98E5-532EC45D9D1C}" dt="2024-03-01T10:33:50.996" v="10277"/>
          <ac:picMkLst>
            <pc:docMk/>
            <pc:sldMk cId="507333055" sldId="905"/>
            <ac:picMk id="51" creationId="{922F9593-A62D-AA28-4006-3500D3BEF8CC}"/>
          </ac:picMkLst>
        </pc:picChg>
      </pc:sldChg>
      <pc:sldChg chg="addSp delSp modSp mod modClrScheme chgLayout">
        <pc:chgData name="Nataliia Chornii (UA)" userId="4e4b8b3d-5f31-49bb-9f80-8a25c04abfff" providerId="ADAL" clId="{EE97D3FE-9ACA-4467-98E5-532EC45D9D1C}" dt="2024-03-11T14:28:18.244" v="24138" actId="164"/>
        <pc:sldMkLst>
          <pc:docMk/>
          <pc:sldMk cId="1164346809" sldId="906"/>
        </pc:sldMkLst>
        <pc:spChg chg="add del mod">
          <ac:chgData name="Nataliia Chornii (UA)" userId="4e4b8b3d-5f31-49bb-9f80-8a25c04abfff" providerId="ADAL" clId="{EE97D3FE-9ACA-4467-98E5-532EC45D9D1C}" dt="2024-03-11T14:20:29.664" v="23948"/>
          <ac:spMkLst>
            <pc:docMk/>
            <pc:sldMk cId="1164346809" sldId="906"/>
            <ac:spMk id="2" creationId="{46353EFC-64A5-28A6-66D4-86A725CC2FB4}"/>
          </ac:spMkLst>
        </pc:spChg>
        <pc:spChg chg="add del mod ord">
          <ac:chgData name="Nataliia Chornii (UA)" userId="4e4b8b3d-5f31-49bb-9f80-8a25c04abfff" providerId="ADAL" clId="{EE97D3FE-9ACA-4467-98E5-532EC45D9D1C}" dt="2024-03-01T09:12:06.558" v="8012" actId="478"/>
          <ac:spMkLst>
            <pc:docMk/>
            <pc:sldMk cId="1164346809" sldId="906"/>
            <ac:spMk id="2" creationId="{C4A22B0F-AF4B-A2E9-A8E1-27275AED3C0E}"/>
          </ac:spMkLst>
        </pc:spChg>
        <pc:spChg chg="mod ord">
          <ac:chgData name="Nataliia Chornii (UA)" userId="4e4b8b3d-5f31-49bb-9f80-8a25c04abfff" providerId="ADAL" clId="{EE97D3FE-9ACA-4467-98E5-532EC45D9D1C}" dt="2024-03-01T09:55:50.051" v="9390" actId="948"/>
          <ac:spMkLst>
            <pc:docMk/>
            <pc:sldMk cId="1164346809" sldId="906"/>
            <ac:spMk id="3" creationId="{686732B2-5FB3-221B-0CA8-0EE49D36265B}"/>
          </ac:spMkLst>
        </pc:spChg>
        <pc:spChg chg="mod ord">
          <ac:chgData name="Nataliia Chornii (UA)" userId="4e4b8b3d-5f31-49bb-9f80-8a25c04abfff" providerId="ADAL" clId="{EE97D3FE-9ACA-4467-98E5-532EC45D9D1C}" dt="2024-03-01T09:55:18.250" v="9375"/>
          <ac:spMkLst>
            <pc:docMk/>
            <pc:sldMk cId="1164346809" sldId="906"/>
            <ac:spMk id="4" creationId="{B15017A1-9F03-E2F0-38B2-768F2F133C21}"/>
          </ac:spMkLst>
        </pc:spChg>
        <pc:spChg chg="add del mod ord">
          <ac:chgData name="Nataliia Chornii (UA)" userId="4e4b8b3d-5f31-49bb-9f80-8a25c04abfff" providerId="ADAL" clId="{EE97D3FE-9ACA-4467-98E5-532EC45D9D1C}" dt="2024-03-01T09:12:06.722" v="8014" actId="478"/>
          <ac:spMkLst>
            <pc:docMk/>
            <pc:sldMk cId="1164346809" sldId="906"/>
            <ac:spMk id="5" creationId="{FEB32B5B-1AE8-578D-F759-C108F6FF20A5}"/>
          </ac:spMkLst>
        </pc:spChg>
        <pc:spChg chg="mod">
          <ac:chgData name="Nataliia Chornii (UA)" userId="4e4b8b3d-5f31-49bb-9f80-8a25c04abfff" providerId="ADAL" clId="{EE97D3FE-9ACA-4467-98E5-532EC45D9D1C}" dt="2024-03-11T14:20:27.269" v="23945" actId="207"/>
          <ac:spMkLst>
            <pc:docMk/>
            <pc:sldMk cId="1164346809" sldId="906"/>
            <ac:spMk id="6" creationId="{412BD736-DB83-EB4C-6597-8EA4071E1511}"/>
          </ac:spMkLst>
        </pc:spChg>
        <pc:spChg chg="add del mod ord">
          <ac:chgData name="Nataliia Chornii (UA)" userId="4e4b8b3d-5f31-49bb-9f80-8a25c04abfff" providerId="ADAL" clId="{EE97D3FE-9ACA-4467-98E5-532EC45D9D1C}" dt="2024-03-01T09:12:06.722" v="8014" actId="478"/>
          <ac:spMkLst>
            <pc:docMk/>
            <pc:sldMk cId="1164346809" sldId="906"/>
            <ac:spMk id="6" creationId="{BC6E2F76-9C0B-215C-3AA7-24AE5509480F}"/>
          </ac:spMkLst>
        </pc:spChg>
        <pc:spChg chg="mod">
          <ac:chgData name="Nataliia Chornii (UA)" userId="4e4b8b3d-5f31-49bb-9f80-8a25c04abfff" providerId="ADAL" clId="{EE97D3FE-9ACA-4467-98E5-532EC45D9D1C}" dt="2024-03-11T14:20:27.269" v="23945" actId="207"/>
          <ac:spMkLst>
            <pc:docMk/>
            <pc:sldMk cId="1164346809" sldId="906"/>
            <ac:spMk id="7" creationId="{93BCD5A9-6158-6283-FAA4-68F6CB12FA39}"/>
          </ac:spMkLst>
        </pc:spChg>
        <pc:spChg chg="add del mod modVis">
          <ac:chgData name="Nataliia Chornii (UA)" userId="4e4b8b3d-5f31-49bb-9f80-8a25c04abfff" providerId="ADAL" clId="{EE97D3FE-9ACA-4467-98E5-532EC45D9D1C}" dt="2024-03-01T08:48:58.968" v="1106"/>
          <ac:spMkLst>
            <pc:docMk/>
            <pc:sldMk cId="1164346809" sldId="906"/>
            <ac:spMk id="7" creationId="{E58BC416-BBF0-07E2-6F54-4568F2D0CEAA}"/>
          </ac:spMkLst>
        </pc:spChg>
        <pc:spChg chg="mod">
          <ac:chgData name="Nataliia Chornii (UA)" userId="4e4b8b3d-5f31-49bb-9f80-8a25c04abfff" providerId="ADAL" clId="{EE97D3FE-9ACA-4467-98E5-532EC45D9D1C}" dt="2024-03-11T14:20:28.610" v="23946" actId="207"/>
          <ac:spMkLst>
            <pc:docMk/>
            <pc:sldMk cId="1164346809" sldId="906"/>
            <ac:spMk id="9" creationId="{6EB188F6-DEFC-2DA1-31D0-B58ED462D8BD}"/>
          </ac:spMkLst>
        </pc:spChg>
        <pc:spChg chg="add del mod modVis">
          <ac:chgData name="Nataliia Chornii (UA)" userId="4e4b8b3d-5f31-49bb-9f80-8a25c04abfff" providerId="ADAL" clId="{EE97D3FE-9ACA-4467-98E5-532EC45D9D1C}" dt="2024-03-01T08:49:33.666" v="2758"/>
          <ac:spMkLst>
            <pc:docMk/>
            <pc:sldMk cId="1164346809" sldId="906"/>
            <ac:spMk id="9" creationId="{A07E66C3-E328-FA2D-9785-DEF7871D3BEA}"/>
          </ac:spMkLst>
        </pc:spChg>
        <pc:spChg chg="add del mod modVis">
          <ac:chgData name="Nataliia Chornii (UA)" userId="4e4b8b3d-5f31-49bb-9f80-8a25c04abfff" providerId="ADAL" clId="{EE97D3FE-9ACA-4467-98E5-532EC45D9D1C}" dt="2024-03-01T08:49:59.741" v="3746"/>
          <ac:spMkLst>
            <pc:docMk/>
            <pc:sldMk cId="1164346809" sldId="906"/>
            <ac:spMk id="10" creationId="{100A081B-048F-5D24-321B-FD78C5CA2153}"/>
          </ac:spMkLst>
        </pc:spChg>
        <pc:spChg chg="mod">
          <ac:chgData name="Nataliia Chornii (UA)" userId="4e4b8b3d-5f31-49bb-9f80-8a25c04abfff" providerId="ADAL" clId="{EE97D3FE-9ACA-4467-98E5-532EC45D9D1C}" dt="2024-03-11T14:20:28.610" v="23946" actId="207"/>
          <ac:spMkLst>
            <pc:docMk/>
            <pc:sldMk cId="1164346809" sldId="906"/>
            <ac:spMk id="10" creationId="{98C03DF0-D276-D243-73BC-498D3D623D87}"/>
          </ac:spMkLst>
        </pc:spChg>
        <pc:spChg chg="mod">
          <ac:chgData name="Nataliia Chornii (UA)" userId="4e4b8b3d-5f31-49bb-9f80-8a25c04abfff" providerId="ADAL" clId="{EE97D3FE-9ACA-4467-98E5-532EC45D9D1C}" dt="2024-03-11T14:20:29.066" v="23947" actId="1076"/>
          <ac:spMkLst>
            <pc:docMk/>
            <pc:sldMk cId="1164346809" sldId="906"/>
            <ac:spMk id="11" creationId="{53753A90-2C5C-8C38-C768-ADFA094EB48A}"/>
          </ac:spMkLst>
        </pc:spChg>
        <pc:spChg chg="add del mod modVis">
          <ac:chgData name="Nataliia Chornii (UA)" userId="4e4b8b3d-5f31-49bb-9f80-8a25c04abfff" providerId="ADAL" clId="{EE97D3FE-9ACA-4467-98E5-532EC45D9D1C}" dt="2024-03-01T08:51:26.043" v="4734"/>
          <ac:spMkLst>
            <pc:docMk/>
            <pc:sldMk cId="1164346809" sldId="906"/>
            <ac:spMk id="11" creationId="{75D2D98B-7E7A-ADF3-6334-8E4C8E387A7C}"/>
          </ac:spMkLst>
        </pc:spChg>
        <pc:spChg chg="add del mod modVis">
          <ac:chgData name="Nataliia Chornii (UA)" userId="4e4b8b3d-5f31-49bb-9f80-8a25c04abfff" providerId="ADAL" clId="{EE97D3FE-9ACA-4467-98E5-532EC45D9D1C}" dt="2024-03-01T08:51:56.047" v="5723"/>
          <ac:spMkLst>
            <pc:docMk/>
            <pc:sldMk cId="1164346809" sldId="906"/>
            <ac:spMk id="12" creationId="{2A317314-BDA6-5149-113D-6D8042B13ABC}"/>
          </ac:spMkLst>
        </pc:spChg>
        <pc:spChg chg="mod">
          <ac:chgData name="Nataliia Chornii (UA)" userId="4e4b8b3d-5f31-49bb-9f80-8a25c04abfff" providerId="ADAL" clId="{EE97D3FE-9ACA-4467-98E5-532EC45D9D1C}" dt="2024-03-11T14:20:29.066" v="23947" actId="1076"/>
          <ac:spMkLst>
            <pc:docMk/>
            <pc:sldMk cId="1164346809" sldId="906"/>
            <ac:spMk id="12" creationId="{BC76064A-FBA7-CA6D-E1E2-791F9EBADEEC}"/>
          </ac:spMkLst>
        </pc:spChg>
        <pc:spChg chg="add mod">
          <ac:chgData name="Nataliia Chornii (UA)" userId="4e4b8b3d-5f31-49bb-9f80-8a25c04abfff" providerId="ADAL" clId="{EE97D3FE-9ACA-4467-98E5-532EC45D9D1C}" dt="2024-03-11T14:21:05.224" v="23962"/>
          <ac:spMkLst>
            <pc:docMk/>
            <pc:sldMk cId="1164346809" sldId="906"/>
            <ac:spMk id="13" creationId="{513046AF-A675-0D25-6984-95A79FB25C75}"/>
          </ac:spMkLst>
        </pc:spChg>
        <pc:spChg chg="add del mod modVis">
          <ac:chgData name="Nataliia Chornii (UA)" userId="4e4b8b3d-5f31-49bb-9f80-8a25c04abfff" providerId="ADAL" clId="{EE97D3FE-9ACA-4467-98E5-532EC45D9D1C}" dt="2024-03-01T08:52:18.218" v="6711"/>
          <ac:spMkLst>
            <pc:docMk/>
            <pc:sldMk cId="1164346809" sldId="906"/>
            <ac:spMk id="13" creationId="{C86E51EE-F40A-D829-DEFC-9E0413B65E9D}"/>
          </ac:spMkLst>
        </pc:spChg>
        <pc:spChg chg="add del mod modVis">
          <ac:chgData name="Nataliia Chornii (UA)" userId="4e4b8b3d-5f31-49bb-9f80-8a25c04abfff" providerId="ADAL" clId="{EE97D3FE-9ACA-4467-98E5-532EC45D9D1C}" dt="2024-03-01T08:55:59.121" v="7119"/>
          <ac:spMkLst>
            <pc:docMk/>
            <pc:sldMk cId="1164346809" sldId="906"/>
            <ac:spMk id="14" creationId="{D04F3368-09CD-78BE-540A-8A37199F3B71}"/>
          </ac:spMkLst>
        </pc:spChg>
        <pc:spChg chg="mod topLvl">
          <ac:chgData name="Nataliia Chornii (UA)" userId="4e4b8b3d-5f31-49bb-9f80-8a25c04abfff" providerId="ADAL" clId="{EE97D3FE-9ACA-4467-98E5-532EC45D9D1C}" dt="2024-03-11T14:28:18.244" v="24138" actId="164"/>
          <ac:spMkLst>
            <pc:docMk/>
            <pc:sldMk cId="1164346809" sldId="906"/>
            <ac:spMk id="15" creationId="{511C2AD7-EB2A-922A-397F-0CF833477B7B}"/>
          </ac:spMkLst>
        </pc:spChg>
        <pc:spChg chg="add del mod">
          <ac:chgData name="Nataliia Chornii (UA)" userId="4e4b8b3d-5f31-49bb-9f80-8a25c04abfff" providerId="ADAL" clId="{EE97D3FE-9ACA-4467-98E5-532EC45D9D1C}" dt="2024-03-01T08:55:59.771" v="7126" actId="6264"/>
          <ac:spMkLst>
            <pc:docMk/>
            <pc:sldMk cId="1164346809" sldId="906"/>
            <ac:spMk id="15" creationId="{E0A13420-16D3-C073-78E5-53A5BBC16DB6}"/>
          </ac:spMkLst>
        </pc:spChg>
        <pc:spChg chg="mod topLvl">
          <ac:chgData name="Nataliia Chornii (UA)" userId="4e4b8b3d-5f31-49bb-9f80-8a25c04abfff" providerId="ADAL" clId="{EE97D3FE-9ACA-4467-98E5-532EC45D9D1C}" dt="2024-03-11T14:28:18.244" v="24138" actId="164"/>
          <ac:spMkLst>
            <pc:docMk/>
            <pc:sldMk cId="1164346809" sldId="906"/>
            <ac:spMk id="16" creationId="{5C955B82-DE89-FD55-C912-1FEEAA8DC3EF}"/>
          </ac:spMkLst>
        </pc:spChg>
        <pc:spChg chg="add del mod">
          <ac:chgData name="Nataliia Chornii (UA)" userId="4e4b8b3d-5f31-49bb-9f80-8a25c04abfff" providerId="ADAL" clId="{EE97D3FE-9ACA-4467-98E5-532EC45D9D1C}" dt="2024-03-01T08:55:59.771" v="7126" actId="6264"/>
          <ac:spMkLst>
            <pc:docMk/>
            <pc:sldMk cId="1164346809" sldId="906"/>
            <ac:spMk id="16" creationId="{7311ADC4-3C9D-7E23-7BFF-94BA6EBA1549}"/>
          </ac:spMkLst>
        </pc:spChg>
        <pc:spChg chg="add del mod">
          <ac:chgData name="Nataliia Chornii (UA)" userId="4e4b8b3d-5f31-49bb-9f80-8a25c04abfff" providerId="ADAL" clId="{EE97D3FE-9ACA-4467-98E5-532EC45D9D1C}" dt="2024-03-01T08:55:59.771" v="7126" actId="6264"/>
          <ac:spMkLst>
            <pc:docMk/>
            <pc:sldMk cId="1164346809" sldId="906"/>
            <ac:spMk id="17" creationId="{37A0D3DE-9098-C32F-C43E-293FDF660D5A}"/>
          </ac:spMkLst>
        </pc:spChg>
        <pc:spChg chg="mod topLvl">
          <ac:chgData name="Nataliia Chornii (UA)" userId="4e4b8b3d-5f31-49bb-9f80-8a25c04abfff" providerId="ADAL" clId="{EE97D3FE-9ACA-4467-98E5-532EC45D9D1C}" dt="2024-03-11T14:28:18.244" v="24138" actId="164"/>
          <ac:spMkLst>
            <pc:docMk/>
            <pc:sldMk cId="1164346809" sldId="906"/>
            <ac:spMk id="17" creationId="{D4E596F0-5E4A-EB69-91B9-76E94DC8627B}"/>
          </ac:spMkLst>
        </pc:spChg>
        <pc:spChg chg="add del mod">
          <ac:chgData name="Nataliia Chornii (UA)" userId="4e4b8b3d-5f31-49bb-9f80-8a25c04abfff" providerId="ADAL" clId="{EE97D3FE-9ACA-4467-98E5-532EC45D9D1C}" dt="2024-03-01T08:55:59.771" v="7126" actId="6264"/>
          <ac:spMkLst>
            <pc:docMk/>
            <pc:sldMk cId="1164346809" sldId="906"/>
            <ac:spMk id="18" creationId="{214287A9-F25E-CE0C-97B8-A98243831192}"/>
          </ac:spMkLst>
        </pc:spChg>
        <pc:spChg chg="mod topLvl">
          <ac:chgData name="Nataliia Chornii (UA)" userId="4e4b8b3d-5f31-49bb-9f80-8a25c04abfff" providerId="ADAL" clId="{EE97D3FE-9ACA-4467-98E5-532EC45D9D1C}" dt="2024-03-11T14:28:18.244" v="24138" actId="164"/>
          <ac:spMkLst>
            <pc:docMk/>
            <pc:sldMk cId="1164346809" sldId="906"/>
            <ac:spMk id="18" creationId="{F37CE017-2ADE-3C4B-87CE-08285FAE38C1}"/>
          </ac:spMkLst>
        </pc:spChg>
        <pc:spChg chg="mod topLvl">
          <ac:chgData name="Nataliia Chornii (UA)" userId="4e4b8b3d-5f31-49bb-9f80-8a25c04abfff" providerId="ADAL" clId="{EE97D3FE-9ACA-4467-98E5-532EC45D9D1C}" dt="2024-03-11T14:28:18.244" v="24138" actId="164"/>
          <ac:spMkLst>
            <pc:docMk/>
            <pc:sldMk cId="1164346809" sldId="906"/>
            <ac:spMk id="19" creationId="{339A9414-95B2-E54D-8973-154A18E76B84}"/>
          </ac:spMkLst>
        </pc:spChg>
        <pc:spChg chg="add del mod modVis">
          <ac:chgData name="Nataliia Chornii (UA)" userId="4e4b8b3d-5f31-49bb-9f80-8a25c04abfff" providerId="ADAL" clId="{EE97D3FE-9ACA-4467-98E5-532EC45D9D1C}" dt="2024-03-01T08:56:00.334" v="7150"/>
          <ac:spMkLst>
            <pc:docMk/>
            <pc:sldMk cId="1164346809" sldId="906"/>
            <ac:spMk id="19" creationId="{D3D9665C-D2D2-6069-37B2-AFA5CA9C01C7}"/>
          </ac:spMkLst>
        </pc:spChg>
        <pc:spChg chg="mod topLvl">
          <ac:chgData name="Nataliia Chornii (UA)" userId="4e4b8b3d-5f31-49bb-9f80-8a25c04abfff" providerId="ADAL" clId="{EE97D3FE-9ACA-4467-98E5-532EC45D9D1C}" dt="2024-03-11T14:28:18.244" v="24138" actId="164"/>
          <ac:spMkLst>
            <pc:docMk/>
            <pc:sldMk cId="1164346809" sldId="906"/>
            <ac:spMk id="20" creationId="{30B1C8C2-B09A-20BC-2B4C-3100FF4503CB}"/>
          </ac:spMkLst>
        </pc:spChg>
        <pc:spChg chg="add del mod ord">
          <ac:chgData name="Nataliia Chornii (UA)" userId="4e4b8b3d-5f31-49bb-9f80-8a25c04abfff" providerId="ADAL" clId="{EE97D3FE-9ACA-4467-98E5-532EC45D9D1C}" dt="2024-03-01T09:54:26.110" v="9330" actId="478"/>
          <ac:spMkLst>
            <pc:docMk/>
            <pc:sldMk cId="1164346809" sldId="906"/>
            <ac:spMk id="21" creationId="{475A2859-964D-BBC3-7345-183A5F85CA64}"/>
          </ac:spMkLst>
        </pc:spChg>
        <pc:spChg chg="add del mod modVis">
          <ac:chgData name="Nataliia Chornii (UA)" userId="4e4b8b3d-5f31-49bb-9f80-8a25c04abfff" providerId="ADAL" clId="{EE97D3FE-9ACA-4467-98E5-532EC45D9D1C}" dt="2024-03-01T09:54:04.366" v="9306"/>
          <ac:spMkLst>
            <pc:docMk/>
            <pc:sldMk cId="1164346809" sldId="906"/>
            <ac:spMk id="22" creationId="{093E38CF-E111-359F-F4BF-B98789099C8F}"/>
          </ac:spMkLst>
        </pc:spChg>
        <pc:spChg chg="add mod ord">
          <ac:chgData name="Nataliia Chornii (UA)" userId="4e4b8b3d-5f31-49bb-9f80-8a25c04abfff" providerId="ADAL" clId="{EE97D3FE-9ACA-4467-98E5-532EC45D9D1C}" dt="2024-03-01T09:57:59.646" v="9416" actId="948"/>
          <ac:spMkLst>
            <pc:docMk/>
            <pc:sldMk cId="1164346809" sldId="906"/>
            <ac:spMk id="25" creationId="{D0C17218-A0C6-A96B-4B0D-6C054C03A15C}"/>
          </ac:spMkLst>
        </pc:spChg>
        <pc:spChg chg="add mod ord">
          <ac:chgData name="Nataliia Chornii (UA)" userId="4e4b8b3d-5f31-49bb-9f80-8a25c04abfff" providerId="ADAL" clId="{EE97D3FE-9ACA-4467-98E5-532EC45D9D1C}" dt="2024-03-01T09:55:18.250" v="9369"/>
          <ac:spMkLst>
            <pc:docMk/>
            <pc:sldMk cId="1164346809" sldId="906"/>
            <ac:spMk id="26" creationId="{AB31CD91-794A-01A5-C25E-D48CF95CB5F1}"/>
          </ac:spMkLst>
        </pc:spChg>
        <pc:spChg chg="add mod">
          <ac:chgData name="Nataliia Chornii (UA)" userId="4e4b8b3d-5f31-49bb-9f80-8a25c04abfff" providerId="ADAL" clId="{EE97D3FE-9ACA-4467-98E5-532EC45D9D1C}" dt="2024-03-01T09:55:51.189" v="9399" actId="553"/>
          <ac:spMkLst>
            <pc:docMk/>
            <pc:sldMk cId="1164346809" sldId="906"/>
            <ac:spMk id="27" creationId="{D0A851C8-020D-2D8A-DE4B-611B133B1FEC}"/>
          </ac:spMkLst>
        </pc:spChg>
        <pc:spChg chg="add mod">
          <ac:chgData name="Nataliia Chornii (UA)" userId="4e4b8b3d-5f31-49bb-9f80-8a25c04abfff" providerId="ADAL" clId="{EE97D3FE-9ACA-4467-98E5-532EC45D9D1C}" dt="2024-03-01T09:55:56.635" v="9405" actId="1036"/>
          <ac:spMkLst>
            <pc:docMk/>
            <pc:sldMk cId="1164346809" sldId="906"/>
            <ac:spMk id="28" creationId="{33250D77-7690-93BB-B8A0-4CEE43B678D8}"/>
          </ac:spMkLst>
        </pc:spChg>
        <pc:grpChg chg="add del mod">
          <ac:chgData name="Nataliia Chornii (UA)" userId="4e4b8b3d-5f31-49bb-9f80-8a25c04abfff" providerId="ADAL" clId="{EE97D3FE-9ACA-4467-98E5-532EC45D9D1C}" dt="2024-03-11T14:20:29.664" v="23948"/>
          <ac:grpSpMkLst>
            <pc:docMk/>
            <pc:sldMk cId="1164346809" sldId="906"/>
            <ac:grpSpMk id="5" creationId="{E05911FF-59DC-8DA8-E8E4-469A7BE1CE3E}"/>
          </ac:grpSpMkLst>
        </pc:grpChg>
        <pc:grpChg chg="add del mod">
          <ac:chgData name="Nataliia Chornii (UA)" userId="4e4b8b3d-5f31-49bb-9f80-8a25c04abfff" providerId="ADAL" clId="{EE97D3FE-9ACA-4467-98E5-532EC45D9D1C}" dt="2024-03-11T14:21:09.829" v="23963" actId="165"/>
          <ac:grpSpMkLst>
            <pc:docMk/>
            <pc:sldMk cId="1164346809" sldId="906"/>
            <ac:grpSpMk id="14" creationId="{7A11E0FD-9293-8273-6308-A8472E798A24}"/>
          </ac:grpSpMkLst>
        </pc:grpChg>
        <pc:grpChg chg="add del mod">
          <ac:chgData name="Nataliia Chornii (UA)" userId="4e4b8b3d-5f31-49bb-9f80-8a25c04abfff" providerId="ADAL" clId="{EE97D3FE-9ACA-4467-98E5-532EC45D9D1C}" dt="2024-03-11T14:28:07.338" v="24135" actId="165"/>
          <ac:grpSpMkLst>
            <pc:docMk/>
            <pc:sldMk cId="1164346809" sldId="906"/>
            <ac:grpSpMk id="21" creationId="{532AA836-86C3-3D74-03CD-F146B885D9A9}"/>
          </ac:grpSpMkLst>
        </pc:grpChg>
        <pc:grpChg chg="add mod">
          <ac:chgData name="Nataliia Chornii (UA)" userId="4e4b8b3d-5f31-49bb-9f80-8a25c04abfff" providerId="ADAL" clId="{EE97D3FE-9ACA-4467-98E5-532EC45D9D1C}" dt="2024-03-11T14:28:18.244" v="24138" actId="164"/>
          <ac:grpSpMkLst>
            <pc:docMk/>
            <pc:sldMk cId="1164346809" sldId="906"/>
            <ac:grpSpMk id="22" creationId="{DF781B44-6703-AECB-AB7D-1E00FC248F25}"/>
          </ac:grpSpMkLst>
        </pc:grpChg>
        <pc:graphicFrameChg chg="add mod ord modVis replST">
          <ac:chgData name="Nataliia Chornii (UA)" userId="4e4b8b3d-5f31-49bb-9f80-8a25c04abfff" providerId="ADAL" clId="{EE97D3FE-9ACA-4467-98E5-532EC45D9D1C}" dt="2024-03-01T09:55:50.051" v="9398"/>
          <ac:graphicFrameMkLst>
            <pc:docMk/>
            <pc:sldMk cId="1164346809" sldId="906"/>
            <ac:graphicFrameMk id="8" creationId="{A92857C6-2061-3379-B3C3-55A440E4568C}"/>
          </ac:graphicFrameMkLst>
        </pc:graphicFrameChg>
        <pc:picChg chg="add mod ord modCrop">
          <ac:chgData name="Nataliia Chornii (UA)" userId="4e4b8b3d-5f31-49bb-9f80-8a25c04abfff" providerId="ADAL" clId="{EE97D3FE-9ACA-4467-98E5-532EC45D9D1C}" dt="2024-03-01T09:55:18.244" v="9367"/>
          <ac:picMkLst>
            <pc:docMk/>
            <pc:sldMk cId="1164346809" sldId="906"/>
            <ac:picMk id="24" creationId="{F8F64E5E-A437-00D3-A26C-9572A5268065}"/>
          </ac:picMkLst>
        </pc:picChg>
      </pc:sldChg>
      <pc:sldChg chg="addSp delSp modSp del mod">
        <pc:chgData name="Nataliia Chornii (UA)" userId="4e4b8b3d-5f31-49bb-9f80-8a25c04abfff" providerId="ADAL" clId="{EE97D3FE-9ACA-4467-98E5-532EC45D9D1C}" dt="2024-03-01T09:12:52.634" v="8066" actId="47"/>
        <pc:sldMkLst>
          <pc:docMk/>
          <pc:sldMk cId="1763387258" sldId="907"/>
        </pc:sldMkLst>
        <pc:spChg chg="mod">
          <ac:chgData name="Nataliia Chornii (UA)" userId="4e4b8b3d-5f31-49bb-9f80-8a25c04abfff" providerId="ADAL" clId="{EE97D3FE-9ACA-4467-98E5-532EC45D9D1C}" dt="2024-03-01T08:52:17.587" v="6247" actId="948"/>
          <ac:spMkLst>
            <pc:docMk/>
            <pc:sldMk cId="1763387258" sldId="907"/>
            <ac:spMk id="2" creationId="{A60D9000-B106-EBC6-D720-BB2BD8542F11}"/>
          </ac:spMkLst>
        </pc:spChg>
        <pc:spChg chg="add del mod modVis">
          <ac:chgData name="Nataliia Chornii (UA)" userId="4e4b8b3d-5f31-49bb-9f80-8a25c04abfff" providerId="ADAL" clId="{EE97D3FE-9ACA-4467-98E5-532EC45D9D1C}" dt="2024-03-01T08:48:59.566" v="1410"/>
          <ac:spMkLst>
            <pc:docMk/>
            <pc:sldMk cId="1763387258" sldId="907"/>
            <ac:spMk id="4" creationId="{3DFB8162-AEB4-A78A-77E6-88F01946C195}"/>
          </ac:spMkLst>
        </pc:spChg>
        <pc:spChg chg="add del mod modVis">
          <ac:chgData name="Nataliia Chornii (UA)" userId="4e4b8b3d-5f31-49bb-9f80-8a25c04abfff" providerId="ADAL" clId="{EE97D3FE-9ACA-4467-98E5-532EC45D9D1C}" dt="2024-03-01T08:49:33.770" v="2828"/>
          <ac:spMkLst>
            <pc:docMk/>
            <pc:sldMk cId="1763387258" sldId="907"/>
            <ac:spMk id="6" creationId="{9580857B-14AA-DE03-3185-4D8F1740186C}"/>
          </ac:spMkLst>
        </pc:spChg>
        <pc:spChg chg="add del mod modVis">
          <ac:chgData name="Nataliia Chornii (UA)" userId="4e4b8b3d-5f31-49bb-9f80-8a25c04abfff" providerId="ADAL" clId="{EE97D3FE-9ACA-4467-98E5-532EC45D9D1C}" dt="2024-03-01T08:49:59.804" v="3816"/>
          <ac:spMkLst>
            <pc:docMk/>
            <pc:sldMk cId="1763387258" sldId="907"/>
            <ac:spMk id="7" creationId="{DA51122C-5D74-885D-4842-F1891ECEC57B}"/>
          </ac:spMkLst>
        </pc:spChg>
        <pc:spChg chg="add del mod modVis">
          <ac:chgData name="Nataliia Chornii (UA)" userId="4e4b8b3d-5f31-49bb-9f80-8a25c04abfff" providerId="ADAL" clId="{EE97D3FE-9ACA-4467-98E5-532EC45D9D1C}" dt="2024-03-01T08:51:26.124" v="4804"/>
          <ac:spMkLst>
            <pc:docMk/>
            <pc:sldMk cId="1763387258" sldId="907"/>
            <ac:spMk id="8" creationId="{A12A5D64-88E3-5BC7-3102-02656701B3ED}"/>
          </ac:spMkLst>
        </pc:spChg>
        <pc:spChg chg="add del mod modVis">
          <ac:chgData name="Nataliia Chornii (UA)" userId="4e4b8b3d-5f31-49bb-9f80-8a25c04abfff" providerId="ADAL" clId="{EE97D3FE-9ACA-4467-98E5-532EC45D9D1C}" dt="2024-03-01T08:51:56.110" v="5793"/>
          <ac:spMkLst>
            <pc:docMk/>
            <pc:sldMk cId="1763387258" sldId="907"/>
            <ac:spMk id="9" creationId="{CA17963F-F963-9DD5-28C2-E27DEBC9CA7C}"/>
          </ac:spMkLst>
        </pc:spChg>
        <pc:spChg chg="add del mod modVis">
          <ac:chgData name="Nataliia Chornii (UA)" userId="4e4b8b3d-5f31-49bb-9f80-8a25c04abfff" providerId="ADAL" clId="{EE97D3FE-9ACA-4467-98E5-532EC45D9D1C}" dt="2024-03-01T08:52:18.284" v="6781"/>
          <ac:spMkLst>
            <pc:docMk/>
            <pc:sldMk cId="1763387258" sldId="907"/>
            <ac:spMk id="10" creationId="{F6EB9B75-8C74-8816-95D3-4A3E9F764882}"/>
          </ac:spMkLst>
        </pc:spChg>
        <pc:graphicFrameChg chg="add mod ord modVis replST">
          <ac:chgData name="Nataliia Chornii (UA)" userId="4e4b8b3d-5f31-49bb-9f80-8a25c04abfff" providerId="ADAL" clId="{EE97D3FE-9ACA-4467-98E5-532EC45D9D1C}" dt="2024-03-01T08:52:18.284" v="6783"/>
          <ac:graphicFrameMkLst>
            <pc:docMk/>
            <pc:sldMk cId="1763387258" sldId="907"/>
            <ac:graphicFrameMk id="5" creationId="{862D6B3D-CCE5-2EBC-4A67-DB490ADD39AB}"/>
          </ac:graphicFrameMkLst>
        </pc:graphicFrameChg>
      </pc:sldChg>
      <pc:sldChg chg="addSp delSp modSp mod">
        <pc:chgData name="Nataliia Chornii (UA)" userId="4e4b8b3d-5f31-49bb-9f80-8a25c04abfff" providerId="ADAL" clId="{EE97D3FE-9ACA-4467-98E5-532EC45D9D1C}" dt="2024-03-11T14:24:36.656" v="24060" actId="164"/>
        <pc:sldMkLst>
          <pc:docMk/>
          <pc:sldMk cId="2300626159" sldId="908"/>
        </pc:sldMkLst>
        <pc:spChg chg="add del mod modVis">
          <ac:chgData name="Nataliia Chornii (UA)" userId="4e4b8b3d-5f31-49bb-9f80-8a25c04abfff" providerId="ADAL" clId="{EE97D3FE-9ACA-4467-98E5-532EC45D9D1C}" dt="2024-03-01T08:48:59.310" v="1276"/>
          <ac:spMkLst>
            <pc:docMk/>
            <pc:sldMk cId="2300626159" sldId="908"/>
            <ac:spMk id="2" creationId="{83B58534-9D66-8A00-56BA-0F2C3484A056}"/>
          </ac:spMkLst>
        </pc:spChg>
        <pc:spChg chg="mod">
          <ac:chgData name="Nataliia Chornii (UA)" userId="4e4b8b3d-5f31-49bb-9f80-8a25c04abfff" providerId="ADAL" clId="{EE97D3FE-9ACA-4467-98E5-532EC45D9D1C}" dt="2024-03-11T14:16:35.516" v="23738" actId="14100"/>
          <ac:spMkLst>
            <pc:docMk/>
            <pc:sldMk cId="2300626159" sldId="908"/>
            <ac:spMk id="2" creationId="{B3B9B40C-89D0-00A8-E1FD-6C775139BEFB}"/>
          </ac:spMkLst>
        </pc:spChg>
        <pc:spChg chg="mod ord">
          <ac:chgData name="Nataliia Chornii (UA)" userId="4e4b8b3d-5f31-49bb-9f80-8a25c04abfff" providerId="ADAL" clId="{EE97D3FE-9ACA-4467-98E5-532EC45D9D1C}" dt="2024-03-11T14:15:35.198" v="23665" actId="948"/>
          <ac:spMkLst>
            <pc:docMk/>
            <pc:sldMk cId="2300626159" sldId="908"/>
            <ac:spMk id="3" creationId="{18D846C5-0FE1-0722-5504-7D4D452EA64C}"/>
          </ac:spMkLst>
        </pc:spChg>
        <pc:spChg chg="mod ord">
          <ac:chgData name="Nataliia Chornii (UA)" userId="4e4b8b3d-5f31-49bb-9f80-8a25c04abfff" providerId="ADAL" clId="{EE97D3FE-9ACA-4467-98E5-532EC45D9D1C}" dt="2024-03-01T10:24:05.559" v="9879"/>
          <ac:spMkLst>
            <pc:docMk/>
            <pc:sldMk cId="2300626159" sldId="908"/>
            <ac:spMk id="4" creationId="{1D0816AF-800B-D4B3-9F92-EA9CA8F47531}"/>
          </ac:spMkLst>
        </pc:spChg>
        <pc:spChg chg="del">
          <ac:chgData name="Nataliia Chornii (UA)" userId="4e4b8b3d-5f31-49bb-9f80-8a25c04abfff" providerId="ADAL" clId="{EE97D3FE-9ACA-4467-98E5-532EC45D9D1C}" dt="2024-03-01T10:12:57.095" v="9482" actId="478"/>
          <ac:spMkLst>
            <pc:docMk/>
            <pc:sldMk cId="2300626159" sldId="908"/>
            <ac:spMk id="5" creationId="{2186E193-AF17-420F-E248-E3683251A6FA}"/>
          </ac:spMkLst>
        </pc:spChg>
        <pc:spChg chg="mod">
          <ac:chgData name="Nataliia Chornii (UA)" userId="4e4b8b3d-5f31-49bb-9f80-8a25c04abfff" providerId="ADAL" clId="{EE97D3FE-9ACA-4467-98E5-532EC45D9D1C}" dt="2024-03-11T14:16:23.453" v="23736" actId="1076"/>
          <ac:spMkLst>
            <pc:docMk/>
            <pc:sldMk cId="2300626159" sldId="908"/>
            <ac:spMk id="5" creationId="{9B9A4561-429C-6EAE-F170-E90F8BD220FB}"/>
          </ac:spMkLst>
        </pc:spChg>
        <pc:spChg chg="del">
          <ac:chgData name="Nataliia Chornii (UA)" userId="4e4b8b3d-5f31-49bb-9f80-8a25c04abfff" providerId="ADAL" clId="{EE97D3FE-9ACA-4467-98E5-532EC45D9D1C}" dt="2024-03-11T14:16:26.517" v="23737" actId="478"/>
          <ac:spMkLst>
            <pc:docMk/>
            <pc:sldMk cId="2300626159" sldId="908"/>
            <ac:spMk id="6" creationId="{0AFC7914-6E3C-A739-5002-91A3B8F51557}"/>
          </ac:spMkLst>
        </pc:spChg>
        <pc:spChg chg="del">
          <ac:chgData name="Nataliia Chornii (UA)" userId="4e4b8b3d-5f31-49bb-9f80-8a25c04abfff" providerId="ADAL" clId="{EE97D3FE-9ACA-4467-98E5-532EC45D9D1C}" dt="2024-03-01T10:12:57.095" v="9482" actId="478"/>
          <ac:spMkLst>
            <pc:docMk/>
            <pc:sldMk cId="2300626159" sldId="908"/>
            <ac:spMk id="6" creationId="{C48D78C5-B6FD-229A-6E80-F07805DA8E16}"/>
          </ac:spMkLst>
        </pc:spChg>
        <pc:spChg chg="add del mod modVis">
          <ac:chgData name="Nataliia Chornii (UA)" userId="4e4b8b3d-5f31-49bb-9f80-8a25c04abfff" providerId="ADAL" clId="{EE97D3FE-9ACA-4467-98E5-532EC45D9D1C}" dt="2024-03-11T14:15:35.232" v="23692"/>
          <ac:spMkLst>
            <pc:docMk/>
            <pc:sldMk cId="2300626159" sldId="908"/>
            <ac:spMk id="7" creationId="{3274846D-0236-AA9E-A2EF-60778D839D6C}"/>
          </ac:spMkLst>
        </pc:spChg>
        <pc:spChg chg="add mod">
          <ac:chgData name="Nataliia Chornii (UA)" userId="4e4b8b3d-5f31-49bb-9f80-8a25c04abfff" providerId="ADAL" clId="{EE97D3FE-9ACA-4467-98E5-532EC45D9D1C}" dt="2024-03-11T14:22:48.047" v="24034"/>
          <ac:spMkLst>
            <pc:docMk/>
            <pc:sldMk cId="2300626159" sldId="908"/>
            <ac:spMk id="8" creationId="{2CA7E931-5A39-E16F-287D-26D8CB80F058}"/>
          </ac:spMkLst>
        </pc:spChg>
        <pc:spChg chg="mod ord topLvl">
          <ac:chgData name="Nataliia Chornii (UA)" userId="4e4b8b3d-5f31-49bb-9f80-8a25c04abfff" providerId="ADAL" clId="{EE97D3FE-9ACA-4467-98E5-532EC45D9D1C}" dt="2024-03-01T10:24:05.559" v="9905"/>
          <ac:spMkLst>
            <pc:docMk/>
            <pc:sldMk cId="2300626159" sldId="908"/>
            <ac:spMk id="9" creationId="{A2B233A5-ED06-3246-BD46-B7B39150B709}"/>
          </ac:spMkLst>
        </pc:spChg>
        <pc:spChg chg="mod ord topLvl">
          <ac:chgData name="Nataliia Chornii (UA)" userId="4e4b8b3d-5f31-49bb-9f80-8a25c04abfff" providerId="ADAL" clId="{EE97D3FE-9ACA-4467-98E5-532EC45D9D1C}" dt="2024-03-01T10:24:05.559" v="9881"/>
          <ac:spMkLst>
            <pc:docMk/>
            <pc:sldMk cId="2300626159" sldId="908"/>
            <ac:spMk id="10" creationId="{C3DFDFF4-18D2-A047-B0B2-4C063F2C571A}"/>
          </ac:spMkLst>
        </pc:spChg>
        <pc:spChg chg="mod ord topLvl">
          <ac:chgData name="Nataliia Chornii (UA)" userId="4e4b8b3d-5f31-49bb-9f80-8a25c04abfff" providerId="ADAL" clId="{EE97D3FE-9ACA-4467-98E5-532EC45D9D1C}" dt="2024-03-01T10:24:05.559" v="9883"/>
          <ac:spMkLst>
            <pc:docMk/>
            <pc:sldMk cId="2300626159" sldId="908"/>
            <ac:spMk id="11" creationId="{ABB70BD2-60C1-064D-95BB-38DE736A1572}"/>
          </ac:spMkLst>
        </pc:spChg>
        <pc:spChg chg="mod ord topLvl">
          <ac:chgData name="Nataliia Chornii (UA)" userId="4e4b8b3d-5f31-49bb-9f80-8a25c04abfff" providerId="ADAL" clId="{EE97D3FE-9ACA-4467-98E5-532EC45D9D1C}" dt="2024-03-01T10:24:05.559" v="9885"/>
          <ac:spMkLst>
            <pc:docMk/>
            <pc:sldMk cId="2300626159" sldId="908"/>
            <ac:spMk id="12" creationId="{90E04B7C-9E41-4641-A5D6-FF34530482E0}"/>
          </ac:spMkLst>
        </pc:spChg>
        <pc:spChg chg="mod ord topLvl">
          <ac:chgData name="Nataliia Chornii (UA)" userId="4e4b8b3d-5f31-49bb-9f80-8a25c04abfff" providerId="ADAL" clId="{EE97D3FE-9ACA-4467-98E5-532EC45D9D1C}" dt="2024-03-01T10:24:05.559" v="9887"/>
          <ac:spMkLst>
            <pc:docMk/>
            <pc:sldMk cId="2300626159" sldId="908"/>
            <ac:spMk id="13" creationId="{FFA0AA22-B08B-7F4A-B365-587EEE2D842D}"/>
          </ac:spMkLst>
        </pc:spChg>
        <pc:spChg chg="mod ord topLvl">
          <ac:chgData name="Nataliia Chornii (UA)" userId="4e4b8b3d-5f31-49bb-9f80-8a25c04abfff" providerId="ADAL" clId="{EE97D3FE-9ACA-4467-98E5-532EC45D9D1C}" dt="2024-03-01T10:24:05.559" v="9889"/>
          <ac:spMkLst>
            <pc:docMk/>
            <pc:sldMk cId="2300626159" sldId="908"/>
            <ac:spMk id="15" creationId="{817192BF-33DA-6E42-944F-7B2F09E52C43}"/>
          </ac:spMkLst>
        </pc:spChg>
        <pc:spChg chg="mod ord topLvl">
          <ac:chgData name="Nataliia Chornii (UA)" userId="4e4b8b3d-5f31-49bb-9f80-8a25c04abfff" providerId="ADAL" clId="{EE97D3FE-9ACA-4467-98E5-532EC45D9D1C}" dt="2024-03-01T10:24:05.559" v="9891"/>
          <ac:spMkLst>
            <pc:docMk/>
            <pc:sldMk cId="2300626159" sldId="908"/>
            <ac:spMk id="16" creationId="{2AA0056B-1B3F-9647-9399-DD6B5207FA3B}"/>
          </ac:spMkLst>
        </pc:spChg>
        <pc:spChg chg="mod ord topLvl">
          <ac:chgData name="Nataliia Chornii (UA)" userId="4e4b8b3d-5f31-49bb-9f80-8a25c04abfff" providerId="ADAL" clId="{EE97D3FE-9ACA-4467-98E5-532EC45D9D1C}" dt="2024-03-01T10:24:05.559" v="9893"/>
          <ac:spMkLst>
            <pc:docMk/>
            <pc:sldMk cId="2300626159" sldId="908"/>
            <ac:spMk id="17" creationId="{C1683A97-5B75-9940-AD67-614A9DFD6627}"/>
          </ac:spMkLst>
        </pc:spChg>
        <pc:spChg chg="mod ord topLvl">
          <ac:chgData name="Nataliia Chornii (UA)" userId="4e4b8b3d-5f31-49bb-9f80-8a25c04abfff" providerId="ADAL" clId="{EE97D3FE-9ACA-4467-98E5-532EC45D9D1C}" dt="2024-03-01T10:24:05.559" v="9895"/>
          <ac:spMkLst>
            <pc:docMk/>
            <pc:sldMk cId="2300626159" sldId="908"/>
            <ac:spMk id="18" creationId="{E4C5F8F0-E4BD-274A-8190-28583D21E512}"/>
          </ac:spMkLst>
        </pc:spChg>
        <pc:spChg chg="mod topLvl">
          <ac:chgData name="Nataliia Chornii (UA)" userId="4e4b8b3d-5f31-49bb-9f80-8a25c04abfff" providerId="ADAL" clId="{EE97D3FE-9ACA-4467-98E5-532EC45D9D1C}" dt="2024-03-11T14:24:36.656" v="24060" actId="164"/>
          <ac:spMkLst>
            <pc:docMk/>
            <pc:sldMk cId="2300626159" sldId="908"/>
            <ac:spMk id="19" creationId="{DE96E661-5736-8C3F-255F-9D2374B7F0FB}"/>
          </ac:spMkLst>
        </pc:spChg>
        <pc:spChg chg="mod topLvl">
          <ac:chgData name="Nataliia Chornii (UA)" userId="4e4b8b3d-5f31-49bb-9f80-8a25c04abfff" providerId="ADAL" clId="{EE97D3FE-9ACA-4467-98E5-532EC45D9D1C}" dt="2024-03-11T14:24:36.656" v="24060" actId="164"/>
          <ac:spMkLst>
            <pc:docMk/>
            <pc:sldMk cId="2300626159" sldId="908"/>
            <ac:spMk id="20" creationId="{36C24187-730C-71DC-948E-6236097A3FCE}"/>
          </ac:spMkLst>
        </pc:spChg>
        <pc:spChg chg="mod topLvl">
          <ac:chgData name="Nataliia Chornii (UA)" userId="4e4b8b3d-5f31-49bb-9f80-8a25c04abfff" providerId="ADAL" clId="{EE97D3FE-9ACA-4467-98E5-532EC45D9D1C}" dt="2024-03-11T14:24:36.656" v="24060" actId="164"/>
          <ac:spMkLst>
            <pc:docMk/>
            <pc:sldMk cId="2300626159" sldId="908"/>
            <ac:spMk id="21" creationId="{9DDA2F8A-B421-783A-8697-99B26276333A}"/>
          </ac:spMkLst>
        </pc:spChg>
        <pc:spChg chg="mod topLvl">
          <ac:chgData name="Nataliia Chornii (UA)" userId="4e4b8b3d-5f31-49bb-9f80-8a25c04abfff" providerId="ADAL" clId="{EE97D3FE-9ACA-4467-98E5-532EC45D9D1C}" dt="2024-03-11T14:24:36.656" v="24060" actId="164"/>
          <ac:spMkLst>
            <pc:docMk/>
            <pc:sldMk cId="2300626159" sldId="908"/>
            <ac:spMk id="22" creationId="{8E63E40A-7AB1-B534-4B2C-02E4311BEF4F}"/>
          </ac:spMkLst>
        </pc:spChg>
        <pc:spChg chg="mod ord topLvl">
          <ac:chgData name="Nataliia Chornii (UA)" userId="4e4b8b3d-5f31-49bb-9f80-8a25c04abfff" providerId="ADAL" clId="{EE97D3FE-9ACA-4467-98E5-532EC45D9D1C}" dt="2024-03-01T10:24:05.559" v="9897"/>
          <ac:spMkLst>
            <pc:docMk/>
            <pc:sldMk cId="2300626159" sldId="908"/>
            <ac:spMk id="23" creationId="{1DFA226E-CAF3-2D42-AC96-11A51BD07541}"/>
          </ac:spMkLst>
        </pc:spChg>
        <pc:spChg chg="mod ord topLvl">
          <ac:chgData name="Nataliia Chornii (UA)" userId="4e4b8b3d-5f31-49bb-9f80-8a25c04abfff" providerId="ADAL" clId="{EE97D3FE-9ACA-4467-98E5-532EC45D9D1C}" dt="2024-03-01T10:24:05.559" v="9899"/>
          <ac:spMkLst>
            <pc:docMk/>
            <pc:sldMk cId="2300626159" sldId="908"/>
            <ac:spMk id="24" creationId="{10B15265-346F-0349-AF94-74C872CA65DD}"/>
          </ac:spMkLst>
        </pc:spChg>
        <pc:spChg chg="mod ord topLvl">
          <ac:chgData name="Nataliia Chornii (UA)" userId="4e4b8b3d-5f31-49bb-9f80-8a25c04abfff" providerId="ADAL" clId="{EE97D3FE-9ACA-4467-98E5-532EC45D9D1C}" dt="2024-03-01T10:24:05.559" v="9901"/>
          <ac:spMkLst>
            <pc:docMk/>
            <pc:sldMk cId="2300626159" sldId="908"/>
            <ac:spMk id="25" creationId="{73F30B4C-A440-674A-9472-8F1EB39DA9F2}"/>
          </ac:spMkLst>
        </pc:spChg>
        <pc:spChg chg="mod ord topLvl">
          <ac:chgData name="Nataliia Chornii (UA)" userId="4e4b8b3d-5f31-49bb-9f80-8a25c04abfff" providerId="ADAL" clId="{EE97D3FE-9ACA-4467-98E5-532EC45D9D1C}" dt="2024-03-01T10:24:05.559" v="9903"/>
          <ac:spMkLst>
            <pc:docMk/>
            <pc:sldMk cId="2300626159" sldId="908"/>
            <ac:spMk id="26" creationId="{8B070493-BB90-AA4F-AE2F-427F4E058BD7}"/>
          </ac:spMkLst>
        </pc:spChg>
        <pc:spChg chg="mod topLvl">
          <ac:chgData name="Nataliia Chornii (UA)" userId="4e4b8b3d-5f31-49bb-9f80-8a25c04abfff" providerId="ADAL" clId="{EE97D3FE-9ACA-4467-98E5-532EC45D9D1C}" dt="2024-03-11T14:24:36.656" v="24060" actId="164"/>
          <ac:spMkLst>
            <pc:docMk/>
            <pc:sldMk cId="2300626159" sldId="908"/>
            <ac:spMk id="28" creationId="{D47F3DC6-4280-EA23-4A05-CF43D4483198}"/>
          </ac:spMkLst>
        </pc:spChg>
        <pc:spChg chg="del">
          <ac:chgData name="Nataliia Chornii (UA)" userId="4e4b8b3d-5f31-49bb-9f80-8a25c04abfff" providerId="ADAL" clId="{EE97D3FE-9ACA-4467-98E5-532EC45D9D1C}" dt="2024-03-01T10:12:38.456" v="9476" actId="478"/>
          <ac:spMkLst>
            <pc:docMk/>
            <pc:sldMk cId="2300626159" sldId="908"/>
            <ac:spMk id="29" creationId="{1C1F5916-342D-144A-EBAF-E126E12E2DB7}"/>
          </ac:spMkLst>
        </pc:spChg>
        <pc:spChg chg="mod topLvl">
          <ac:chgData name="Nataliia Chornii (UA)" userId="4e4b8b3d-5f31-49bb-9f80-8a25c04abfff" providerId="ADAL" clId="{EE97D3FE-9ACA-4467-98E5-532EC45D9D1C}" dt="2024-03-11T14:24:36.656" v="24060" actId="164"/>
          <ac:spMkLst>
            <pc:docMk/>
            <pc:sldMk cId="2300626159" sldId="908"/>
            <ac:spMk id="29" creationId="{43CABCC0-76A5-0C3F-920C-D7B1C1522A25}"/>
          </ac:spMkLst>
        </pc:spChg>
        <pc:spChg chg="add del mod modVis">
          <ac:chgData name="Nataliia Chornii (UA)" userId="4e4b8b3d-5f31-49bb-9f80-8a25c04abfff" providerId="ADAL" clId="{EE97D3FE-9ACA-4467-98E5-532EC45D9D1C}" dt="2024-03-01T08:49:33.717" v="2798"/>
          <ac:spMkLst>
            <pc:docMk/>
            <pc:sldMk cId="2300626159" sldId="908"/>
            <ac:spMk id="30" creationId="{AD21B1B5-B1BA-1159-77ED-97D5EF6BC978}"/>
          </ac:spMkLst>
        </pc:spChg>
        <pc:spChg chg="add del mod modVis">
          <ac:chgData name="Nataliia Chornii (UA)" userId="4e4b8b3d-5f31-49bb-9f80-8a25c04abfff" providerId="ADAL" clId="{EE97D3FE-9ACA-4467-98E5-532EC45D9D1C}" dt="2024-03-01T08:49:59.773" v="3786"/>
          <ac:spMkLst>
            <pc:docMk/>
            <pc:sldMk cId="2300626159" sldId="908"/>
            <ac:spMk id="31" creationId="{C28F0B23-0E47-F80E-807A-75DCA6CECDCC}"/>
          </ac:spMkLst>
        </pc:spChg>
        <pc:spChg chg="add del mod modVis">
          <ac:chgData name="Nataliia Chornii (UA)" userId="4e4b8b3d-5f31-49bb-9f80-8a25c04abfff" providerId="ADAL" clId="{EE97D3FE-9ACA-4467-98E5-532EC45D9D1C}" dt="2024-03-01T08:51:26.094" v="4774"/>
          <ac:spMkLst>
            <pc:docMk/>
            <pc:sldMk cId="2300626159" sldId="908"/>
            <ac:spMk id="32" creationId="{9B6765C7-7855-4EE3-3D71-34CA29623EC5}"/>
          </ac:spMkLst>
        </pc:spChg>
        <pc:spChg chg="add del mod modVis">
          <ac:chgData name="Nataliia Chornii (UA)" userId="4e4b8b3d-5f31-49bb-9f80-8a25c04abfff" providerId="ADAL" clId="{EE97D3FE-9ACA-4467-98E5-532EC45D9D1C}" dt="2024-03-01T08:51:56.079" v="5763"/>
          <ac:spMkLst>
            <pc:docMk/>
            <pc:sldMk cId="2300626159" sldId="908"/>
            <ac:spMk id="33" creationId="{9C9A2D52-CE20-FC51-3B34-6D9493057D65}"/>
          </ac:spMkLst>
        </pc:spChg>
        <pc:spChg chg="add del mod modVis">
          <ac:chgData name="Nataliia Chornii (UA)" userId="4e4b8b3d-5f31-49bb-9f80-8a25c04abfff" providerId="ADAL" clId="{EE97D3FE-9ACA-4467-98E5-532EC45D9D1C}" dt="2024-03-01T08:52:18.257" v="6751"/>
          <ac:spMkLst>
            <pc:docMk/>
            <pc:sldMk cId="2300626159" sldId="908"/>
            <ac:spMk id="34" creationId="{06C2B7E8-4E11-04F6-96E2-E2F29B45FFE7}"/>
          </ac:spMkLst>
        </pc:spChg>
        <pc:spChg chg="add del mod modVis">
          <ac:chgData name="Nataliia Chornii (UA)" userId="4e4b8b3d-5f31-49bb-9f80-8a25c04abfff" providerId="ADAL" clId="{EE97D3FE-9ACA-4467-98E5-532EC45D9D1C}" dt="2024-03-01T10:14:42.610" v="9564"/>
          <ac:spMkLst>
            <pc:docMk/>
            <pc:sldMk cId="2300626159" sldId="908"/>
            <ac:spMk id="35" creationId="{0829507E-BCEF-5DB8-1FE6-9CEE7293D4AA}"/>
          </ac:spMkLst>
        </pc:spChg>
        <pc:spChg chg="add mod ord">
          <ac:chgData name="Nataliia Chornii (UA)" userId="4e4b8b3d-5f31-49bb-9f80-8a25c04abfff" providerId="ADAL" clId="{EE97D3FE-9ACA-4467-98E5-532EC45D9D1C}" dt="2024-03-01T10:24:05.573" v="9933"/>
          <ac:spMkLst>
            <pc:docMk/>
            <pc:sldMk cId="2300626159" sldId="908"/>
            <ac:spMk id="80" creationId="{33F3258F-AFEA-7716-88A9-DEF866DBB873}"/>
          </ac:spMkLst>
        </pc:spChg>
        <pc:spChg chg="add mod ord">
          <ac:chgData name="Nataliia Chornii (UA)" userId="4e4b8b3d-5f31-49bb-9f80-8a25c04abfff" providerId="ADAL" clId="{EE97D3FE-9ACA-4467-98E5-532EC45D9D1C}" dt="2024-03-01T10:24:05.573" v="9935"/>
          <ac:spMkLst>
            <pc:docMk/>
            <pc:sldMk cId="2300626159" sldId="908"/>
            <ac:spMk id="81" creationId="{03A635FF-A78F-8735-A808-281BDB5E3F81}"/>
          </ac:spMkLst>
        </pc:spChg>
        <pc:spChg chg="add mod ord">
          <ac:chgData name="Nataliia Chornii (UA)" userId="4e4b8b3d-5f31-49bb-9f80-8a25c04abfff" providerId="ADAL" clId="{EE97D3FE-9ACA-4467-98E5-532EC45D9D1C}" dt="2024-03-01T10:24:05.573" v="9937"/>
          <ac:spMkLst>
            <pc:docMk/>
            <pc:sldMk cId="2300626159" sldId="908"/>
            <ac:spMk id="82" creationId="{65B4A675-6657-816B-877E-77046FB90EDE}"/>
          </ac:spMkLst>
        </pc:spChg>
        <pc:spChg chg="add mod ord">
          <ac:chgData name="Nataliia Chornii (UA)" userId="4e4b8b3d-5f31-49bb-9f80-8a25c04abfff" providerId="ADAL" clId="{EE97D3FE-9ACA-4467-98E5-532EC45D9D1C}" dt="2024-03-01T10:24:05.573" v="9939"/>
          <ac:spMkLst>
            <pc:docMk/>
            <pc:sldMk cId="2300626159" sldId="908"/>
            <ac:spMk id="83" creationId="{54F0AA69-8303-66A6-6FF1-F4A9B799A601}"/>
          </ac:spMkLst>
        </pc:spChg>
        <pc:spChg chg="add mod ord">
          <ac:chgData name="Nataliia Chornii (UA)" userId="4e4b8b3d-5f31-49bb-9f80-8a25c04abfff" providerId="ADAL" clId="{EE97D3FE-9ACA-4467-98E5-532EC45D9D1C}" dt="2024-03-11T14:15:36.583" v="23696" actId="555"/>
          <ac:spMkLst>
            <pc:docMk/>
            <pc:sldMk cId="2300626159" sldId="908"/>
            <ac:spMk id="86" creationId="{FAE45AAF-2F8E-201A-3A04-5A013ADD89B9}"/>
          </ac:spMkLst>
        </pc:spChg>
        <pc:spChg chg="add mod ord">
          <ac:chgData name="Nataliia Chornii (UA)" userId="4e4b8b3d-5f31-49bb-9f80-8a25c04abfff" providerId="ADAL" clId="{EE97D3FE-9ACA-4467-98E5-532EC45D9D1C}" dt="2024-03-01T10:23:09.103" v="9865" actId="164"/>
          <ac:spMkLst>
            <pc:docMk/>
            <pc:sldMk cId="2300626159" sldId="908"/>
            <ac:spMk id="87" creationId="{07B4B979-AFC3-C368-66E1-76AC98E806F0}"/>
          </ac:spMkLst>
        </pc:spChg>
        <pc:spChg chg="add mod ord">
          <ac:chgData name="Nataliia Chornii (UA)" userId="4e4b8b3d-5f31-49bb-9f80-8a25c04abfff" providerId="ADAL" clId="{EE97D3FE-9ACA-4467-98E5-532EC45D9D1C}" dt="2024-03-01T10:23:09.103" v="9865" actId="164"/>
          <ac:spMkLst>
            <pc:docMk/>
            <pc:sldMk cId="2300626159" sldId="908"/>
            <ac:spMk id="88" creationId="{20985D74-922A-3DAE-98C5-AF51EE93AFD1}"/>
          </ac:spMkLst>
        </pc:spChg>
        <pc:spChg chg="add del mod ord">
          <ac:chgData name="Nataliia Chornii (UA)" userId="4e4b8b3d-5f31-49bb-9f80-8a25c04abfff" providerId="ADAL" clId="{EE97D3FE-9ACA-4467-98E5-532EC45D9D1C}" dt="2024-03-01T10:24:10.502" v="9948" actId="478"/>
          <ac:spMkLst>
            <pc:docMk/>
            <pc:sldMk cId="2300626159" sldId="908"/>
            <ac:spMk id="90" creationId="{F9D5E472-93B1-1BEA-B30B-7E7F2EB08E62}"/>
          </ac:spMkLst>
        </pc:spChg>
        <pc:grpChg chg="del mod">
          <ac:chgData name="Nataliia Chornii (UA)" userId="4e4b8b3d-5f31-49bb-9f80-8a25c04abfff" providerId="ADAL" clId="{EE97D3FE-9ACA-4467-98E5-532EC45D9D1C}" dt="2024-03-01T10:13:05.223" v="9483" actId="165"/>
          <ac:grpSpMkLst>
            <pc:docMk/>
            <pc:sldMk cId="2300626159" sldId="908"/>
            <ac:grpSpMk id="7" creationId="{D6EAC053-21F2-E444-83CB-A1A2DC51780B}"/>
          </ac:grpSpMkLst>
        </pc:grpChg>
        <pc:grpChg chg="del mod topLvl">
          <ac:chgData name="Nataliia Chornii (UA)" userId="4e4b8b3d-5f31-49bb-9f80-8a25c04abfff" providerId="ADAL" clId="{EE97D3FE-9ACA-4467-98E5-532EC45D9D1C}" dt="2024-03-01T10:13:07.597" v="9484" actId="165"/>
          <ac:grpSpMkLst>
            <pc:docMk/>
            <pc:sldMk cId="2300626159" sldId="908"/>
            <ac:grpSpMk id="8" creationId="{86977D4D-C135-A840-81B7-0E87940ADF9D}"/>
          </ac:grpSpMkLst>
        </pc:grpChg>
        <pc:grpChg chg="add del mod">
          <ac:chgData name="Nataliia Chornii (UA)" userId="4e4b8b3d-5f31-49bb-9f80-8a25c04abfff" providerId="ADAL" clId="{EE97D3FE-9ACA-4467-98E5-532EC45D9D1C}" dt="2024-03-11T14:22:55.100" v="24035" actId="165"/>
          <ac:grpSpMkLst>
            <pc:docMk/>
            <pc:sldMk cId="2300626159" sldId="908"/>
            <ac:grpSpMk id="14" creationId="{BBFB35E1-E59A-9576-E24B-DC7909F22ED8}"/>
          </ac:grpSpMkLst>
        </pc:grpChg>
        <pc:grpChg chg="del mod topLvl">
          <ac:chgData name="Nataliia Chornii (UA)" userId="4e4b8b3d-5f31-49bb-9f80-8a25c04abfff" providerId="ADAL" clId="{EE97D3FE-9ACA-4467-98E5-532EC45D9D1C}" dt="2024-03-01T10:13:45.093" v="9492" actId="165"/>
          <ac:grpSpMkLst>
            <pc:docMk/>
            <pc:sldMk cId="2300626159" sldId="908"/>
            <ac:grpSpMk id="22" creationId="{B4EA56F4-F992-AF49-B00A-59645909B400}"/>
          </ac:grpSpMkLst>
        </pc:grpChg>
        <pc:grpChg chg="add del mod">
          <ac:chgData name="Nataliia Chornii (UA)" userId="4e4b8b3d-5f31-49bb-9f80-8a25c04abfff" providerId="ADAL" clId="{EE97D3FE-9ACA-4467-98E5-532EC45D9D1C}" dt="2024-03-11T14:23:31.820" v="24047" actId="165"/>
          <ac:grpSpMkLst>
            <pc:docMk/>
            <pc:sldMk cId="2300626159" sldId="908"/>
            <ac:grpSpMk id="30" creationId="{1A80C2AD-3AEF-00CE-1EC8-803375096FFE}"/>
          </ac:grpSpMkLst>
        </pc:grpChg>
        <pc:grpChg chg="add del mod">
          <ac:chgData name="Nataliia Chornii (UA)" userId="4e4b8b3d-5f31-49bb-9f80-8a25c04abfff" providerId="ADAL" clId="{EE97D3FE-9ACA-4467-98E5-532EC45D9D1C}" dt="2024-03-11T14:23:43.982" v="24049" actId="165"/>
          <ac:grpSpMkLst>
            <pc:docMk/>
            <pc:sldMk cId="2300626159" sldId="908"/>
            <ac:grpSpMk id="31" creationId="{543349DE-1505-8579-5321-4D3BC44BA54D}"/>
          </ac:grpSpMkLst>
        </pc:grpChg>
        <pc:grpChg chg="add del mod">
          <ac:chgData name="Nataliia Chornii (UA)" userId="4e4b8b3d-5f31-49bb-9f80-8a25c04abfff" providerId="ADAL" clId="{EE97D3FE-9ACA-4467-98E5-532EC45D9D1C}" dt="2024-03-11T14:24:20.425" v="24057" actId="165"/>
          <ac:grpSpMkLst>
            <pc:docMk/>
            <pc:sldMk cId="2300626159" sldId="908"/>
            <ac:grpSpMk id="32" creationId="{E608E4A7-6DE4-44A0-CD15-166F7502175D}"/>
          </ac:grpSpMkLst>
        </pc:grpChg>
        <pc:grpChg chg="add mod">
          <ac:chgData name="Nataliia Chornii (UA)" userId="4e4b8b3d-5f31-49bb-9f80-8a25c04abfff" providerId="ADAL" clId="{EE97D3FE-9ACA-4467-98E5-532EC45D9D1C}" dt="2024-03-11T14:24:36.656" v="24060" actId="164"/>
          <ac:grpSpMkLst>
            <pc:docMk/>
            <pc:sldMk cId="2300626159" sldId="908"/>
            <ac:grpSpMk id="33" creationId="{ABFF8037-8EB5-4B17-670B-F756F01C5E53}"/>
          </ac:grpSpMkLst>
        </pc:grpChg>
        <pc:grpChg chg="add del mod ord">
          <ac:chgData name="Nataliia Chornii (UA)" userId="4e4b8b3d-5f31-49bb-9f80-8a25c04abfff" providerId="ADAL" clId="{EE97D3FE-9ACA-4467-98E5-532EC45D9D1C}" dt="2024-03-11T14:15:45.491" v="23699" actId="478"/>
          <ac:grpSpMkLst>
            <pc:docMk/>
            <pc:sldMk cId="2300626159" sldId="908"/>
            <ac:grpSpMk id="89" creationId="{26DAFDD5-00C4-A2C0-7430-29B1265411CD}"/>
          </ac:grpSpMkLst>
        </pc:grpChg>
        <pc:graphicFrameChg chg="add mod ord modVis replST">
          <ac:chgData name="Nataliia Chornii (UA)" userId="4e4b8b3d-5f31-49bb-9f80-8a25c04abfff" providerId="ADAL" clId="{EE97D3FE-9ACA-4467-98E5-532EC45D9D1C}" dt="2024-03-11T14:15:35.232" v="23694"/>
          <ac:graphicFrameMkLst>
            <pc:docMk/>
            <pc:sldMk cId="2300626159" sldId="908"/>
            <ac:graphicFrameMk id="27" creationId="{2FC370B2-2DA5-53E8-AA4E-CE67427065F6}"/>
          </ac:graphicFrameMkLst>
        </pc:graphicFrameChg>
        <pc:picChg chg="mod ord">
          <ac:chgData name="Nataliia Chornii (UA)" userId="4e4b8b3d-5f31-49bb-9f80-8a25c04abfff" providerId="ADAL" clId="{EE97D3FE-9ACA-4467-98E5-532EC45D9D1C}" dt="2024-03-01T10:24:05.559" v="9907"/>
          <ac:picMkLst>
            <pc:docMk/>
            <pc:sldMk cId="2300626159" sldId="908"/>
            <ac:picMk id="28" creationId="{AD222C1E-263F-07AF-2E47-D775770A7384}"/>
          </ac:picMkLst>
        </pc:picChg>
        <pc:picChg chg="add mod ord modCrop">
          <ac:chgData name="Nataliia Chornii (UA)" userId="4e4b8b3d-5f31-49bb-9f80-8a25c04abfff" providerId="ADAL" clId="{EE97D3FE-9ACA-4467-98E5-532EC45D9D1C}" dt="2024-03-01T10:24:05.557" v="9875"/>
          <ac:picMkLst>
            <pc:docMk/>
            <pc:sldMk cId="2300626159" sldId="908"/>
            <ac:picMk id="85" creationId="{1A4AA579-AB1A-3855-190A-DAD2FE00F873}"/>
          </ac:picMkLst>
        </pc:picChg>
        <pc:cxnChg chg="del mod topLvl">
          <ac:chgData name="Nataliia Chornii (UA)" userId="4e4b8b3d-5f31-49bb-9f80-8a25c04abfff" providerId="ADAL" clId="{EE97D3FE-9ACA-4467-98E5-532EC45D9D1C}" dt="2024-03-01T10:13:35.858" v="9490" actId="478"/>
          <ac:cxnSpMkLst>
            <pc:docMk/>
            <pc:sldMk cId="2300626159" sldId="908"/>
            <ac:cxnSpMk id="14" creationId="{E144EF51-9752-2643-8FD1-0B2B33AE78C8}"/>
          </ac:cxnSpMkLst>
        </pc:cxnChg>
        <pc:cxnChg chg="del mod topLvl">
          <ac:chgData name="Nataliia Chornii (UA)" userId="4e4b8b3d-5f31-49bb-9f80-8a25c04abfff" providerId="ADAL" clId="{EE97D3FE-9ACA-4467-98E5-532EC45D9D1C}" dt="2024-03-01T10:13:35.858" v="9490" actId="478"/>
          <ac:cxnSpMkLst>
            <pc:docMk/>
            <pc:sldMk cId="2300626159" sldId="908"/>
            <ac:cxnSpMk id="19" creationId="{9284D3D4-0D07-EA44-BBB7-4997056954EB}"/>
          </ac:cxnSpMkLst>
        </pc:cxnChg>
        <pc:cxnChg chg="del mod topLvl">
          <ac:chgData name="Nataliia Chornii (UA)" userId="4e4b8b3d-5f31-49bb-9f80-8a25c04abfff" providerId="ADAL" clId="{EE97D3FE-9ACA-4467-98E5-532EC45D9D1C}" dt="2024-03-01T10:13:35.858" v="9490" actId="478"/>
          <ac:cxnSpMkLst>
            <pc:docMk/>
            <pc:sldMk cId="2300626159" sldId="908"/>
            <ac:cxnSpMk id="20" creationId="{7E5909C4-5B13-6F4C-A109-9212461D0EC8}"/>
          </ac:cxnSpMkLst>
        </pc:cxnChg>
        <pc:cxnChg chg="del mod topLvl">
          <ac:chgData name="Nataliia Chornii (UA)" userId="4e4b8b3d-5f31-49bb-9f80-8a25c04abfff" providerId="ADAL" clId="{EE97D3FE-9ACA-4467-98E5-532EC45D9D1C}" dt="2024-03-01T10:13:35.858" v="9490" actId="478"/>
          <ac:cxnSpMkLst>
            <pc:docMk/>
            <pc:sldMk cId="2300626159" sldId="908"/>
            <ac:cxnSpMk id="21" creationId="{3F449FC9-9CBC-9C40-9884-03C02B0890C5}"/>
          </ac:cxnSpMkLst>
        </pc:cxnChg>
        <pc:cxnChg chg="add mod ord">
          <ac:chgData name="Nataliia Chornii (UA)" userId="4e4b8b3d-5f31-49bb-9f80-8a25c04abfff" providerId="ADAL" clId="{EE97D3FE-9ACA-4467-98E5-532EC45D9D1C}" dt="2024-03-01T10:24:05.559" v="9909"/>
          <ac:cxnSpMkLst>
            <pc:docMk/>
            <pc:sldMk cId="2300626159" sldId="908"/>
            <ac:cxnSpMk id="37" creationId="{7C7236BE-4ADF-8153-6B39-AEF796CC913C}"/>
          </ac:cxnSpMkLst>
        </pc:cxnChg>
        <pc:cxnChg chg="add del mod">
          <ac:chgData name="Nataliia Chornii (UA)" userId="4e4b8b3d-5f31-49bb-9f80-8a25c04abfff" providerId="ADAL" clId="{EE97D3FE-9ACA-4467-98E5-532EC45D9D1C}" dt="2024-03-01T10:15:59.746" v="9586" actId="478"/>
          <ac:cxnSpMkLst>
            <pc:docMk/>
            <pc:sldMk cId="2300626159" sldId="908"/>
            <ac:cxnSpMk id="39" creationId="{654C3263-15FC-D9FF-87E8-5D8E1711068C}"/>
          </ac:cxnSpMkLst>
        </pc:cxnChg>
        <pc:cxnChg chg="add del mod">
          <ac:chgData name="Nataliia Chornii (UA)" userId="4e4b8b3d-5f31-49bb-9f80-8a25c04abfff" providerId="ADAL" clId="{EE97D3FE-9ACA-4467-98E5-532EC45D9D1C}" dt="2024-03-01T10:17:48.012" v="9624" actId="478"/>
          <ac:cxnSpMkLst>
            <pc:docMk/>
            <pc:sldMk cId="2300626159" sldId="908"/>
            <ac:cxnSpMk id="41" creationId="{0A5447B1-0674-81F5-152A-78988136F1FF}"/>
          </ac:cxnSpMkLst>
        </pc:cxnChg>
        <pc:cxnChg chg="add mod ord">
          <ac:chgData name="Nataliia Chornii (UA)" userId="4e4b8b3d-5f31-49bb-9f80-8a25c04abfff" providerId="ADAL" clId="{EE97D3FE-9ACA-4467-98E5-532EC45D9D1C}" dt="2024-03-01T10:24:05.559" v="9911"/>
          <ac:cxnSpMkLst>
            <pc:docMk/>
            <pc:sldMk cId="2300626159" sldId="908"/>
            <ac:cxnSpMk id="43" creationId="{72A0F912-B6F6-C429-1D73-5F944261C21E}"/>
          </ac:cxnSpMkLst>
        </pc:cxnChg>
        <pc:cxnChg chg="add mod ord">
          <ac:chgData name="Nataliia Chornii (UA)" userId="4e4b8b3d-5f31-49bb-9f80-8a25c04abfff" providerId="ADAL" clId="{EE97D3FE-9ACA-4467-98E5-532EC45D9D1C}" dt="2024-03-01T10:24:05.559" v="9913"/>
          <ac:cxnSpMkLst>
            <pc:docMk/>
            <pc:sldMk cId="2300626159" sldId="908"/>
            <ac:cxnSpMk id="45" creationId="{98FC76CB-92CA-79EB-0FCC-0279B07E4868}"/>
          </ac:cxnSpMkLst>
        </pc:cxnChg>
        <pc:cxnChg chg="add mod ord">
          <ac:chgData name="Nataliia Chornii (UA)" userId="4e4b8b3d-5f31-49bb-9f80-8a25c04abfff" providerId="ADAL" clId="{EE97D3FE-9ACA-4467-98E5-532EC45D9D1C}" dt="2024-03-01T10:24:05.559" v="9915"/>
          <ac:cxnSpMkLst>
            <pc:docMk/>
            <pc:sldMk cId="2300626159" sldId="908"/>
            <ac:cxnSpMk id="47" creationId="{8B8F284E-EAB2-AD04-A11A-3A260CFADB81}"/>
          </ac:cxnSpMkLst>
        </pc:cxnChg>
        <pc:cxnChg chg="add mod ord">
          <ac:chgData name="Nataliia Chornii (UA)" userId="4e4b8b3d-5f31-49bb-9f80-8a25c04abfff" providerId="ADAL" clId="{EE97D3FE-9ACA-4467-98E5-532EC45D9D1C}" dt="2024-03-01T10:24:05.559" v="9917"/>
          <ac:cxnSpMkLst>
            <pc:docMk/>
            <pc:sldMk cId="2300626159" sldId="908"/>
            <ac:cxnSpMk id="49" creationId="{21BD98F9-4C54-5F05-8131-645F83133AD1}"/>
          </ac:cxnSpMkLst>
        </pc:cxnChg>
        <pc:cxnChg chg="add mod ord">
          <ac:chgData name="Nataliia Chornii (UA)" userId="4e4b8b3d-5f31-49bb-9f80-8a25c04abfff" providerId="ADAL" clId="{EE97D3FE-9ACA-4467-98E5-532EC45D9D1C}" dt="2024-03-01T10:24:05.559" v="9919"/>
          <ac:cxnSpMkLst>
            <pc:docMk/>
            <pc:sldMk cId="2300626159" sldId="908"/>
            <ac:cxnSpMk id="51" creationId="{A247581D-B16A-3BCD-B844-5699CF8A122C}"/>
          </ac:cxnSpMkLst>
        </pc:cxnChg>
        <pc:cxnChg chg="add mod ord">
          <ac:chgData name="Nataliia Chornii (UA)" userId="4e4b8b3d-5f31-49bb-9f80-8a25c04abfff" providerId="ADAL" clId="{EE97D3FE-9ACA-4467-98E5-532EC45D9D1C}" dt="2024-03-01T10:24:05.559" v="9921"/>
          <ac:cxnSpMkLst>
            <pc:docMk/>
            <pc:sldMk cId="2300626159" sldId="908"/>
            <ac:cxnSpMk id="53" creationId="{AC15A7FB-62D3-912B-C6CE-5B0703B74AC4}"/>
          </ac:cxnSpMkLst>
        </pc:cxnChg>
        <pc:cxnChg chg="add mod ord">
          <ac:chgData name="Nataliia Chornii (UA)" userId="4e4b8b3d-5f31-49bb-9f80-8a25c04abfff" providerId="ADAL" clId="{EE97D3FE-9ACA-4467-98E5-532EC45D9D1C}" dt="2024-03-01T10:24:05.559" v="9923"/>
          <ac:cxnSpMkLst>
            <pc:docMk/>
            <pc:sldMk cId="2300626159" sldId="908"/>
            <ac:cxnSpMk id="55" creationId="{3F9B2E66-F81E-035C-3417-93CBB049A98A}"/>
          </ac:cxnSpMkLst>
        </pc:cxnChg>
        <pc:cxnChg chg="add mod ord">
          <ac:chgData name="Nataliia Chornii (UA)" userId="4e4b8b3d-5f31-49bb-9f80-8a25c04abfff" providerId="ADAL" clId="{EE97D3FE-9ACA-4467-98E5-532EC45D9D1C}" dt="2024-03-01T10:24:05.573" v="9925"/>
          <ac:cxnSpMkLst>
            <pc:docMk/>
            <pc:sldMk cId="2300626159" sldId="908"/>
            <ac:cxnSpMk id="57" creationId="{F235514F-D8B3-0248-2D25-0B8582D92491}"/>
          </ac:cxnSpMkLst>
        </pc:cxnChg>
        <pc:cxnChg chg="add mod ord">
          <ac:chgData name="Nataliia Chornii (UA)" userId="4e4b8b3d-5f31-49bb-9f80-8a25c04abfff" providerId="ADAL" clId="{EE97D3FE-9ACA-4467-98E5-532EC45D9D1C}" dt="2024-03-01T10:24:05.573" v="9927"/>
          <ac:cxnSpMkLst>
            <pc:docMk/>
            <pc:sldMk cId="2300626159" sldId="908"/>
            <ac:cxnSpMk id="59" creationId="{20A81309-2578-4335-8652-0E400C879DBE}"/>
          </ac:cxnSpMkLst>
        </pc:cxnChg>
        <pc:cxnChg chg="add mod ord">
          <ac:chgData name="Nataliia Chornii (UA)" userId="4e4b8b3d-5f31-49bb-9f80-8a25c04abfff" providerId="ADAL" clId="{EE97D3FE-9ACA-4467-98E5-532EC45D9D1C}" dt="2024-03-01T10:24:05.573" v="9929"/>
          <ac:cxnSpMkLst>
            <pc:docMk/>
            <pc:sldMk cId="2300626159" sldId="908"/>
            <ac:cxnSpMk id="61" creationId="{FCB0AFCF-B4F3-24DA-9277-A13964EAFAC5}"/>
          </ac:cxnSpMkLst>
        </pc:cxnChg>
        <pc:cxnChg chg="add mod ord">
          <ac:chgData name="Nataliia Chornii (UA)" userId="4e4b8b3d-5f31-49bb-9f80-8a25c04abfff" providerId="ADAL" clId="{EE97D3FE-9ACA-4467-98E5-532EC45D9D1C}" dt="2024-03-01T10:24:05.573" v="9931"/>
          <ac:cxnSpMkLst>
            <pc:docMk/>
            <pc:sldMk cId="2300626159" sldId="908"/>
            <ac:cxnSpMk id="62" creationId="{B56D4A98-332F-9244-0753-E78F9E7502E4}"/>
          </ac:cxnSpMkLst>
        </pc:cxnChg>
      </pc:sldChg>
      <pc:sldChg chg="addSp delSp modSp mod">
        <pc:chgData name="Nataliia Chornii (UA)" userId="4e4b8b3d-5f31-49bb-9f80-8a25c04abfff" providerId="ADAL" clId="{EE97D3FE-9ACA-4467-98E5-532EC45D9D1C}" dt="2024-03-11T14:24:08.878" v="24055"/>
        <pc:sldMkLst>
          <pc:docMk/>
          <pc:sldMk cId="1764034675" sldId="909"/>
        </pc:sldMkLst>
        <pc:spChg chg="add mod">
          <ac:chgData name="Nataliia Chornii (UA)" userId="4e4b8b3d-5f31-49bb-9f80-8a25c04abfff" providerId="ADAL" clId="{EE97D3FE-9ACA-4467-98E5-532EC45D9D1C}" dt="2024-03-11T14:24:08.878" v="24055"/>
          <ac:spMkLst>
            <pc:docMk/>
            <pc:sldMk cId="1764034675" sldId="909"/>
            <ac:spMk id="2" creationId="{2B9BA7A9-23FD-2573-72ED-860A236A3F30}"/>
          </ac:spMkLst>
        </pc:spChg>
        <pc:spChg chg="add del mod modVis">
          <ac:chgData name="Nataliia Chornii (UA)" userId="4e4b8b3d-5f31-49bb-9f80-8a25c04abfff" providerId="ADAL" clId="{EE97D3FE-9ACA-4467-98E5-532EC45D9D1C}" dt="2024-03-01T08:48:59.355" v="1293"/>
          <ac:spMkLst>
            <pc:docMk/>
            <pc:sldMk cId="1764034675" sldId="909"/>
            <ac:spMk id="2" creationId="{99199F0A-09C7-99B1-CB83-65DB6A251DE9}"/>
          </ac:spMkLst>
        </pc:spChg>
        <pc:spChg chg="mod ord">
          <ac:chgData name="Nataliia Chornii (UA)" userId="4e4b8b3d-5f31-49bb-9f80-8a25c04abfff" providerId="ADAL" clId="{EE97D3FE-9ACA-4467-98E5-532EC45D9D1C}" dt="2024-03-01T15:35:09.124" v="17437"/>
          <ac:spMkLst>
            <pc:docMk/>
            <pc:sldMk cId="1764034675" sldId="909"/>
            <ac:spMk id="3" creationId="{18D846C5-0FE1-0722-5504-7D4D452EA64C}"/>
          </ac:spMkLst>
        </pc:spChg>
        <pc:spChg chg="mod ord">
          <ac:chgData name="Nataliia Chornii (UA)" userId="4e4b8b3d-5f31-49bb-9f80-8a25c04abfff" providerId="ADAL" clId="{EE97D3FE-9ACA-4467-98E5-532EC45D9D1C}" dt="2024-03-01T15:35:12.358" v="17466" actId="207"/>
          <ac:spMkLst>
            <pc:docMk/>
            <pc:sldMk cId="1764034675" sldId="909"/>
            <ac:spMk id="4" creationId="{1D0816AF-800B-D4B3-9F92-EA9CA8F47531}"/>
          </ac:spMkLst>
        </pc:spChg>
        <pc:spChg chg="del">
          <ac:chgData name="Nataliia Chornii (UA)" userId="4e4b8b3d-5f31-49bb-9f80-8a25c04abfff" providerId="ADAL" clId="{EE97D3FE-9ACA-4467-98E5-532EC45D9D1C}" dt="2024-03-01T10:09:40.249" v="9471" actId="478"/>
          <ac:spMkLst>
            <pc:docMk/>
            <pc:sldMk cId="1764034675" sldId="909"/>
            <ac:spMk id="5" creationId="{2186E193-AF17-420F-E248-E3683251A6FA}"/>
          </ac:spMkLst>
        </pc:spChg>
        <pc:spChg chg="del">
          <ac:chgData name="Nataliia Chornii (UA)" userId="4e4b8b3d-5f31-49bb-9f80-8a25c04abfff" providerId="ADAL" clId="{EE97D3FE-9ACA-4467-98E5-532EC45D9D1C}" dt="2024-03-01T10:09:40.249" v="9471" actId="478"/>
          <ac:spMkLst>
            <pc:docMk/>
            <pc:sldMk cId="1764034675" sldId="909"/>
            <ac:spMk id="6" creationId="{C48D78C5-B6FD-229A-6E80-F07805DA8E16}"/>
          </ac:spMkLst>
        </pc:spChg>
        <pc:spChg chg="mod">
          <ac:chgData name="Nataliia Chornii (UA)" userId="4e4b8b3d-5f31-49bb-9f80-8a25c04abfff" providerId="ADAL" clId="{EE97D3FE-9ACA-4467-98E5-532EC45D9D1C}" dt="2024-03-11T14:24:08.878" v="24055"/>
          <ac:spMkLst>
            <pc:docMk/>
            <pc:sldMk cId="1764034675" sldId="909"/>
            <ac:spMk id="6" creationId="{C8D7855B-C4BC-06B4-A9FB-86B49F01A715}"/>
          </ac:spMkLst>
        </pc:spChg>
        <pc:spChg chg="mod">
          <ac:chgData name="Nataliia Chornii (UA)" userId="4e4b8b3d-5f31-49bb-9f80-8a25c04abfff" providerId="ADAL" clId="{EE97D3FE-9ACA-4467-98E5-532EC45D9D1C}" dt="2024-03-11T14:24:08.878" v="24055"/>
          <ac:spMkLst>
            <pc:docMk/>
            <pc:sldMk cId="1764034675" sldId="909"/>
            <ac:spMk id="8" creationId="{37D5BE3F-18D6-DD05-0367-C91F017049E3}"/>
          </ac:spMkLst>
        </pc:spChg>
        <pc:spChg chg="add del mod modVis">
          <ac:chgData name="Nataliia Chornii (UA)" userId="4e4b8b3d-5f31-49bb-9f80-8a25c04abfff" providerId="ADAL" clId="{EE97D3FE-9ACA-4467-98E5-532EC45D9D1C}" dt="2024-03-01T08:49:33.717" v="2802"/>
          <ac:spMkLst>
            <pc:docMk/>
            <pc:sldMk cId="1764034675" sldId="909"/>
            <ac:spMk id="8" creationId="{E642C1E3-CBC4-1433-C759-25C19EF187C0}"/>
          </ac:spMkLst>
        </pc:spChg>
        <pc:spChg chg="mod">
          <ac:chgData name="Nataliia Chornii (UA)" userId="4e4b8b3d-5f31-49bb-9f80-8a25c04abfff" providerId="ADAL" clId="{EE97D3FE-9ACA-4467-98E5-532EC45D9D1C}" dt="2024-03-11T14:24:08.878" v="24055"/>
          <ac:spMkLst>
            <pc:docMk/>
            <pc:sldMk cId="1764034675" sldId="909"/>
            <ac:spMk id="9" creationId="{042F7F57-C3DB-78B2-066E-6302BF0DEEE0}"/>
          </ac:spMkLst>
        </pc:spChg>
        <pc:spChg chg="add del mod modVis">
          <ac:chgData name="Nataliia Chornii (UA)" userId="4e4b8b3d-5f31-49bb-9f80-8a25c04abfff" providerId="ADAL" clId="{EE97D3FE-9ACA-4467-98E5-532EC45D9D1C}" dt="2024-03-01T08:49:59.785" v="3790"/>
          <ac:spMkLst>
            <pc:docMk/>
            <pc:sldMk cId="1764034675" sldId="909"/>
            <ac:spMk id="9" creationId="{596E4141-5343-6571-9721-4ABE76DC58AA}"/>
          </ac:spMkLst>
        </pc:spChg>
        <pc:spChg chg="add del mod modVis">
          <ac:chgData name="Nataliia Chornii (UA)" userId="4e4b8b3d-5f31-49bb-9f80-8a25c04abfff" providerId="ADAL" clId="{EE97D3FE-9ACA-4467-98E5-532EC45D9D1C}" dt="2024-03-01T08:51:26.094" v="4778"/>
          <ac:spMkLst>
            <pc:docMk/>
            <pc:sldMk cId="1764034675" sldId="909"/>
            <ac:spMk id="10" creationId="{04443C4A-4D8D-4AB1-E4DE-F6E072A7470B}"/>
          </ac:spMkLst>
        </pc:spChg>
        <pc:spChg chg="mod">
          <ac:chgData name="Nataliia Chornii (UA)" userId="4e4b8b3d-5f31-49bb-9f80-8a25c04abfff" providerId="ADAL" clId="{EE97D3FE-9ACA-4467-98E5-532EC45D9D1C}" dt="2024-03-11T14:24:08.878" v="24055"/>
          <ac:spMkLst>
            <pc:docMk/>
            <pc:sldMk cId="1764034675" sldId="909"/>
            <ac:spMk id="10" creationId="{20345E51-09E1-1CEB-A766-A744F93833CC}"/>
          </ac:spMkLst>
        </pc:spChg>
        <pc:spChg chg="add del mod modVis">
          <ac:chgData name="Nataliia Chornii (UA)" userId="4e4b8b3d-5f31-49bb-9f80-8a25c04abfff" providerId="ADAL" clId="{EE97D3FE-9ACA-4467-98E5-532EC45D9D1C}" dt="2024-03-01T08:51:56.094" v="5767"/>
          <ac:spMkLst>
            <pc:docMk/>
            <pc:sldMk cId="1764034675" sldId="909"/>
            <ac:spMk id="11" creationId="{2795AB9A-E802-6E81-A57E-9D01245A306F}"/>
          </ac:spMkLst>
        </pc:spChg>
        <pc:spChg chg="mod">
          <ac:chgData name="Nataliia Chornii (UA)" userId="4e4b8b3d-5f31-49bb-9f80-8a25c04abfff" providerId="ADAL" clId="{EE97D3FE-9ACA-4467-98E5-532EC45D9D1C}" dt="2024-03-11T14:24:08.878" v="24055"/>
          <ac:spMkLst>
            <pc:docMk/>
            <pc:sldMk cId="1764034675" sldId="909"/>
            <ac:spMk id="11" creationId="{A52C158C-22BB-32AB-43D5-33AAD9EA72D7}"/>
          </ac:spMkLst>
        </pc:spChg>
        <pc:spChg chg="mod">
          <ac:chgData name="Nataliia Chornii (UA)" userId="4e4b8b3d-5f31-49bb-9f80-8a25c04abfff" providerId="ADAL" clId="{EE97D3FE-9ACA-4467-98E5-532EC45D9D1C}" dt="2024-03-11T14:24:08.878" v="24055"/>
          <ac:spMkLst>
            <pc:docMk/>
            <pc:sldMk cId="1764034675" sldId="909"/>
            <ac:spMk id="12" creationId="{37F5013C-E4F5-45BB-96D2-6D555FC6D74B}"/>
          </ac:spMkLst>
        </pc:spChg>
        <pc:spChg chg="add del mod modVis">
          <ac:chgData name="Nataliia Chornii (UA)" userId="4e4b8b3d-5f31-49bb-9f80-8a25c04abfff" providerId="ADAL" clId="{EE97D3FE-9ACA-4467-98E5-532EC45D9D1C}" dt="2024-03-01T08:52:18.257" v="6755"/>
          <ac:spMkLst>
            <pc:docMk/>
            <pc:sldMk cId="1764034675" sldId="909"/>
            <ac:spMk id="12" creationId="{4BF21DAA-66AC-B6BE-3941-6668BD9BAA4B}"/>
          </ac:spMkLst>
        </pc:spChg>
        <pc:spChg chg="add mod topLvl">
          <ac:chgData name="Nataliia Chornii (UA)" userId="4e4b8b3d-5f31-49bb-9f80-8a25c04abfff" providerId="ADAL" clId="{EE97D3FE-9ACA-4467-98E5-532EC45D9D1C}" dt="2024-03-01T15:34:12.525" v="17340" actId="164"/>
          <ac:spMkLst>
            <pc:docMk/>
            <pc:sldMk cId="1764034675" sldId="909"/>
            <ac:spMk id="13" creationId="{1588DCB6-1F9C-1843-FD40-E691CF6FB0A3}"/>
          </ac:spMkLst>
        </pc:spChg>
        <pc:spChg chg="add mod ord topLvl">
          <ac:chgData name="Nataliia Chornii (UA)" userId="4e4b8b3d-5f31-49bb-9f80-8a25c04abfff" providerId="ADAL" clId="{EE97D3FE-9ACA-4467-98E5-532EC45D9D1C}" dt="2024-03-01T15:34:12.525" v="17340" actId="164"/>
          <ac:spMkLst>
            <pc:docMk/>
            <pc:sldMk cId="1764034675" sldId="909"/>
            <ac:spMk id="14" creationId="{1F342EFB-A975-1F78-C00D-526000C5D015}"/>
          </ac:spMkLst>
        </pc:spChg>
        <pc:spChg chg="mod">
          <ac:chgData name="Nataliia Chornii (UA)" userId="4e4b8b3d-5f31-49bb-9f80-8a25c04abfff" providerId="ADAL" clId="{EE97D3FE-9ACA-4467-98E5-532EC45D9D1C}" dt="2024-03-01T15:31:18.625" v="17257" actId="571"/>
          <ac:spMkLst>
            <pc:docMk/>
            <pc:sldMk cId="1764034675" sldId="909"/>
            <ac:spMk id="17" creationId="{9E2CC898-7180-F5E3-C37D-20BE95B52F0B}"/>
          </ac:spMkLst>
        </pc:spChg>
        <pc:spChg chg="mod">
          <ac:chgData name="Nataliia Chornii (UA)" userId="4e4b8b3d-5f31-49bb-9f80-8a25c04abfff" providerId="ADAL" clId="{EE97D3FE-9ACA-4467-98E5-532EC45D9D1C}" dt="2024-03-01T15:31:18.625" v="17257" actId="571"/>
          <ac:spMkLst>
            <pc:docMk/>
            <pc:sldMk cId="1764034675" sldId="909"/>
            <ac:spMk id="18" creationId="{A7F8346E-D32A-6C65-9889-B32825E1F4FC}"/>
          </ac:spMkLst>
        </pc:spChg>
        <pc:spChg chg="add mod ord topLvl">
          <ac:chgData name="Nataliia Chornii (UA)" userId="4e4b8b3d-5f31-49bb-9f80-8a25c04abfff" providerId="ADAL" clId="{EE97D3FE-9ACA-4467-98E5-532EC45D9D1C}" dt="2024-03-01T15:35:09.124" v="17425"/>
          <ac:spMkLst>
            <pc:docMk/>
            <pc:sldMk cId="1764034675" sldId="909"/>
            <ac:spMk id="19" creationId="{EF4D8BEF-8566-D43D-9B28-E036D42EE6BC}"/>
          </ac:spMkLst>
        </pc:spChg>
        <pc:spChg chg="del mod topLvl">
          <ac:chgData name="Nataliia Chornii (UA)" userId="4e4b8b3d-5f31-49bb-9f80-8a25c04abfff" providerId="ADAL" clId="{EE97D3FE-9ACA-4467-98E5-532EC45D9D1C}" dt="2024-03-01T15:34:10.943" v="17339" actId="478"/>
          <ac:spMkLst>
            <pc:docMk/>
            <pc:sldMk cId="1764034675" sldId="909"/>
            <ac:spMk id="23" creationId="{B0809109-7222-3BF2-8FEF-D0518FA16F39}"/>
          </ac:spMkLst>
        </pc:spChg>
        <pc:spChg chg="mod ord topLvl">
          <ac:chgData name="Nataliia Chornii (UA)" userId="4e4b8b3d-5f31-49bb-9f80-8a25c04abfff" providerId="ADAL" clId="{EE97D3FE-9ACA-4467-98E5-532EC45D9D1C}" dt="2024-03-01T15:35:09.124" v="17427"/>
          <ac:spMkLst>
            <pc:docMk/>
            <pc:sldMk cId="1764034675" sldId="909"/>
            <ac:spMk id="24" creationId="{239B8622-318D-D173-F478-CF1A7EC16B5E}"/>
          </ac:spMkLst>
        </pc:spChg>
        <pc:spChg chg="del mod topLvl">
          <ac:chgData name="Nataliia Chornii (UA)" userId="4e4b8b3d-5f31-49bb-9f80-8a25c04abfff" providerId="ADAL" clId="{EE97D3FE-9ACA-4467-98E5-532EC45D9D1C}" dt="2024-03-01T15:34:10.943" v="17339" actId="478"/>
          <ac:spMkLst>
            <pc:docMk/>
            <pc:sldMk cId="1764034675" sldId="909"/>
            <ac:spMk id="26" creationId="{03E9E34A-8738-D603-CFC2-1BFFEAD7770C}"/>
          </ac:spMkLst>
        </pc:spChg>
        <pc:spChg chg="del mod ord">
          <ac:chgData name="Nataliia Chornii (UA)" userId="4e4b8b3d-5f31-49bb-9f80-8a25c04abfff" providerId="ADAL" clId="{EE97D3FE-9ACA-4467-98E5-532EC45D9D1C}" dt="2024-03-01T15:33:57.964" v="17337" actId="478"/>
          <ac:spMkLst>
            <pc:docMk/>
            <pc:sldMk cId="1764034675" sldId="909"/>
            <ac:spMk id="27" creationId="{1268ADC1-4788-3BD9-6185-9FFA4639C3A2}"/>
          </ac:spMkLst>
        </pc:spChg>
        <pc:spChg chg="mod ord topLvl">
          <ac:chgData name="Nataliia Chornii (UA)" userId="4e4b8b3d-5f31-49bb-9f80-8a25c04abfff" providerId="ADAL" clId="{EE97D3FE-9ACA-4467-98E5-532EC45D9D1C}" dt="2024-03-01T15:35:09.124" v="17429"/>
          <ac:spMkLst>
            <pc:docMk/>
            <pc:sldMk cId="1764034675" sldId="909"/>
            <ac:spMk id="28" creationId="{A914D302-8B7D-1F34-FE6F-2FA8E18E28AD}"/>
          </ac:spMkLst>
        </pc:spChg>
        <pc:spChg chg="del mod topLvl">
          <ac:chgData name="Nataliia Chornii (UA)" userId="4e4b8b3d-5f31-49bb-9f80-8a25c04abfff" providerId="ADAL" clId="{EE97D3FE-9ACA-4467-98E5-532EC45D9D1C}" dt="2024-03-01T15:34:10.943" v="17339" actId="478"/>
          <ac:spMkLst>
            <pc:docMk/>
            <pc:sldMk cId="1764034675" sldId="909"/>
            <ac:spMk id="30" creationId="{FD29AF2D-187F-D878-2A5A-BB7B30C514F2}"/>
          </ac:spMkLst>
        </pc:spChg>
        <pc:spChg chg="mod">
          <ac:chgData name="Nataliia Chornii (UA)" userId="4e4b8b3d-5f31-49bb-9f80-8a25c04abfff" providerId="ADAL" clId="{EE97D3FE-9ACA-4467-98E5-532EC45D9D1C}" dt="2024-03-01T10:09:32.741" v="9469" actId="255"/>
          <ac:spMkLst>
            <pc:docMk/>
            <pc:sldMk cId="1764034675" sldId="909"/>
            <ac:spMk id="32" creationId="{07B47C77-2929-B899-4FE7-A074A3441532}"/>
          </ac:spMkLst>
        </pc:spChg>
        <pc:spChg chg="mod">
          <ac:chgData name="Nataliia Chornii (UA)" userId="4e4b8b3d-5f31-49bb-9f80-8a25c04abfff" providerId="ADAL" clId="{EE97D3FE-9ACA-4467-98E5-532EC45D9D1C}" dt="2024-03-01T10:09:32.741" v="9469" actId="255"/>
          <ac:spMkLst>
            <pc:docMk/>
            <pc:sldMk cId="1764034675" sldId="909"/>
            <ac:spMk id="33" creationId="{58A662B3-2A79-7B9A-8B47-853A3D730B8F}"/>
          </ac:spMkLst>
        </pc:spChg>
        <pc:spChg chg="mod ord topLvl">
          <ac:chgData name="Nataliia Chornii (UA)" userId="4e4b8b3d-5f31-49bb-9f80-8a25c04abfff" providerId="ADAL" clId="{EE97D3FE-9ACA-4467-98E5-532EC45D9D1C}" dt="2024-03-01T15:35:09.124" v="17431"/>
          <ac:spMkLst>
            <pc:docMk/>
            <pc:sldMk cId="1764034675" sldId="909"/>
            <ac:spMk id="34" creationId="{2E292E14-80B0-C799-DCA3-1B141B1D2C6D}"/>
          </ac:spMkLst>
        </pc:spChg>
        <pc:spChg chg="del mod topLvl">
          <ac:chgData name="Nataliia Chornii (UA)" userId="4e4b8b3d-5f31-49bb-9f80-8a25c04abfff" providerId="ADAL" clId="{EE97D3FE-9ACA-4467-98E5-532EC45D9D1C}" dt="2024-03-01T15:34:10.943" v="17339" actId="478"/>
          <ac:spMkLst>
            <pc:docMk/>
            <pc:sldMk cId="1764034675" sldId="909"/>
            <ac:spMk id="36" creationId="{243C98FA-1FCD-9E8B-778E-4DFD010C7DD7}"/>
          </ac:spMkLst>
        </pc:spChg>
        <pc:spChg chg="mod ord topLvl">
          <ac:chgData name="Nataliia Chornii (UA)" userId="4e4b8b3d-5f31-49bb-9f80-8a25c04abfff" providerId="ADAL" clId="{EE97D3FE-9ACA-4467-98E5-532EC45D9D1C}" dt="2024-03-01T15:35:09.124" v="17433"/>
          <ac:spMkLst>
            <pc:docMk/>
            <pc:sldMk cId="1764034675" sldId="909"/>
            <ac:spMk id="37" creationId="{94812D46-A915-8FCC-CF16-5E3844875EA5}"/>
          </ac:spMkLst>
        </pc:spChg>
        <pc:spChg chg="del mod topLvl">
          <ac:chgData name="Nataliia Chornii (UA)" userId="4e4b8b3d-5f31-49bb-9f80-8a25c04abfff" providerId="ADAL" clId="{EE97D3FE-9ACA-4467-98E5-532EC45D9D1C}" dt="2024-03-01T15:34:10.943" v="17339" actId="478"/>
          <ac:spMkLst>
            <pc:docMk/>
            <pc:sldMk cId="1764034675" sldId="909"/>
            <ac:spMk id="39" creationId="{A25C56BB-28A9-9F9D-6221-25EEC9FE6DFE}"/>
          </ac:spMkLst>
        </pc:spChg>
        <pc:spChg chg="mod ord topLvl">
          <ac:chgData name="Nataliia Chornii (UA)" userId="4e4b8b3d-5f31-49bb-9f80-8a25c04abfff" providerId="ADAL" clId="{EE97D3FE-9ACA-4467-98E5-532EC45D9D1C}" dt="2024-03-01T15:35:09.124" v="17435"/>
          <ac:spMkLst>
            <pc:docMk/>
            <pc:sldMk cId="1764034675" sldId="909"/>
            <ac:spMk id="40" creationId="{D1B7C728-9ECB-FC52-795D-8049E21F1FC0}"/>
          </ac:spMkLst>
        </pc:spChg>
        <pc:spChg chg="add del mod modVis">
          <ac:chgData name="Nataliia Chornii (UA)" userId="4e4b8b3d-5f31-49bb-9f80-8a25c04abfff" providerId="ADAL" clId="{EE97D3FE-9ACA-4467-98E5-532EC45D9D1C}" dt="2024-03-01T15:31:54.823" v="17319"/>
          <ac:spMkLst>
            <pc:docMk/>
            <pc:sldMk cId="1764034675" sldId="909"/>
            <ac:spMk id="41" creationId="{A6558D17-6740-272D-F592-ED9553B0C5EF}"/>
          </ac:spMkLst>
        </pc:spChg>
        <pc:spChg chg="mod topLvl">
          <ac:chgData name="Nataliia Chornii (UA)" userId="4e4b8b3d-5f31-49bb-9f80-8a25c04abfff" providerId="ADAL" clId="{EE97D3FE-9ACA-4467-98E5-532EC45D9D1C}" dt="2024-03-01T15:35:28.864" v="17468" actId="207"/>
          <ac:spMkLst>
            <pc:docMk/>
            <pc:sldMk cId="1764034675" sldId="909"/>
            <ac:spMk id="54" creationId="{2160E887-D72A-001F-55FA-3C1960A19D7C}"/>
          </ac:spMkLst>
        </pc:spChg>
        <pc:spChg chg="mod topLvl">
          <ac:chgData name="Nataliia Chornii (UA)" userId="4e4b8b3d-5f31-49bb-9f80-8a25c04abfff" providerId="ADAL" clId="{EE97D3FE-9ACA-4467-98E5-532EC45D9D1C}" dt="2024-03-01T15:35:24.592" v="17467" actId="165"/>
          <ac:spMkLst>
            <pc:docMk/>
            <pc:sldMk cId="1764034675" sldId="909"/>
            <ac:spMk id="55" creationId="{97D298FE-57D3-750E-007D-3E91DB407BCA}"/>
          </ac:spMkLst>
        </pc:spChg>
        <pc:spChg chg="mod">
          <ac:chgData name="Nataliia Chornii (UA)" userId="4e4b8b3d-5f31-49bb-9f80-8a25c04abfff" providerId="ADAL" clId="{EE97D3FE-9ACA-4467-98E5-532EC45D9D1C}" dt="2024-03-01T15:34:14.084" v="17342" actId="571"/>
          <ac:spMkLst>
            <pc:docMk/>
            <pc:sldMk cId="1764034675" sldId="909"/>
            <ac:spMk id="57" creationId="{A4B9D62A-0580-D635-828C-DFE7D404846C}"/>
          </ac:spMkLst>
        </pc:spChg>
        <pc:spChg chg="mod">
          <ac:chgData name="Nataliia Chornii (UA)" userId="4e4b8b3d-5f31-49bb-9f80-8a25c04abfff" providerId="ADAL" clId="{EE97D3FE-9ACA-4467-98E5-532EC45D9D1C}" dt="2024-03-01T15:34:14.084" v="17342" actId="571"/>
          <ac:spMkLst>
            <pc:docMk/>
            <pc:sldMk cId="1764034675" sldId="909"/>
            <ac:spMk id="58" creationId="{89C4D8B3-0F3A-1A5E-0D82-091517C65C55}"/>
          </ac:spMkLst>
        </pc:spChg>
        <pc:spChg chg="mod topLvl">
          <ac:chgData name="Nataliia Chornii (UA)" userId="4e4b8b3d-5f31-49bb-9f80-8a25c04abfff" providerId="ADAL" clId="{EE97D3FE-9ACA-4467-98E5-532EC45D9D1C}" dt="2024-03-01T15:35:28.864" v="17468" actId="207"/>
          <ac:spMkLst>
            <pc:docMk/>
            <pc:sldMk cId="1764034675" sldId="909"/>
            <ac:spMk id="60" creationId="{313FE6F6-6F21-C667-EDDD-64858C966282}"/>
          </ac:spMkLst>
        </pc:spChg>
        <pc:spChg chg="mod topLvl">
          <ac:chgData name="Nataliia Chornii (UA)" userId="4e4b8b3d-5f31-49bb-9f80-8a25c04abfff" providerId="ADAL" clId="{EE97D3FE-9ACA-4467-98E5-532EC45D9D1C}" dt="2024-03-01T15:35:24.592" v="17467" actId="165"/>
          <ac:spMkLst>
            <pc:docMk/>
            <pc:sldMk cId="1764034675" sldId="909"/>
            <ac:spMk id="61" creationId="{02353164-8215-8965-7A2D-8903AA8FD6FD}"/>
          </ac:spMkLst>
        </pc:spChg>
        <pc:spChg chg="mod">
          <ac:chgData name="Nataliia Chornii (UA)" userId="4e4b8b3d-5f31-49bb-9f80-8a25c04abfff" providerId="ADAL" clId="{EE97D3FE-9ACA-4467-98E5-532EC45D9D1C}" dt="2024-03-01T15:34:15.211" v="17344" actId="571"/>
          <ac:spMkLst>
            <pc:docMk/>
            <pc:sldMk cId="1764034675" sldId="909"/>
            <ac:spMk id="63" creationId="{6492D47D-1173-7C35-7619-D81D6BC50BC9}"/>
          </ac:spMkLst>
        </pc:spChg>
        <pc:spChg chg="mod">
          <ac:chgData name="Nataliia Chornii (UA)" userId="4e4b8b3d-5f31-49bb-9f80-8a25c04abfff" providerId="ADAL" clId="{EE97D3FE-9ACA-4467-98E5-532EC45D9D1C}" dt="2024-03-01T15:34:15.211" v="17344" actId="571"/>
          <ac:spMkLst>
            <pc:docMk/>
            <pc:sldMk cId="1764034675" sldId="909"/>
            <ac:spMk id="64" creationId="{66F14979-CEB3-45D3-8A84-E0FF8E9A8906}"/>
          </ac:spMkLst>
        </pc:spChg>
        <pc:spChg chg="mod topLvl">
          <ac:chgData name="Nataliia Chornii (UA)" userId="4e4b8b3d-5f31-49bb-9f80-8a25c04abfff" providerId="ADAL" clId="{EE97D3FE-9ACA-4467-98E5-532EC45D9D1C}" dt="2024-03-01T15:35:28.864" v="17468" actId="207"/>
          <ac:spMkLst>
            <pc:docMk/>
            <pc:sldMk cId="1764034675" sldId="909"/>
            <ac:spMk id="66" creationId="{EAE439AD-F0F2-443E-41B6-0463B5B0AB20}"/>
          </ac:spMkLst>
        </pc:spChg>
        <pc:spChg chg="mod topLvl">
          <ac:chgData name="Nataliia Chornii (UA)" userId="4e4b8b3d-5f31-49bb-9f80-8a25c04abfff" providerId="ADAL" clId="{EE97D3FE-9ACA-4467-98E5-532EC45D9D1C}" dt="2024-03-01T15:35:24.592" v="17467" actId="165"/>
          <ac:spMkLst>
            <pc:docMk/>
            <pc:sldMk cId="1764034675" sldId="909"/>
            <ac:spMk id="67" creationId="{DD92AC09-30B3-CCED-D1FD-071AD8EA9D45}"/>
          </ac:spMkLst>
        </pc:spChg>
        <pc:spChg chg="add mod ord">
          <ac:chgData name="Nataliia Chornii (UA)" userId="4e4b8b3d-5f31-49bb-9f80-8a25c04abfff" providerId="ADAL" clId="{EE97D3FE-9ACA-4467-98E5-532EC45D9D1C}" dt="2024-03-01T15:35:09.109" v="17423"/>
          <ac:spMkLst>
            <pc:docMk/>
            <pc:sldMk cId="1764034675" sldId="909"/>
            <ac:spMk id="70" creationId="{3CC43F94-C99A-EECA-2911-653D73FDABA5}"/>
          </ac:spMkLst>
        </pc:spChg>
        <pc:grpChg chg="add mod">
          <ac:chgData name="Nataliia Chornii (UA)" userId="4e4b8b3d-5f31-49bb-9f80-8a25c04abfff" providerId="ADAL" clId="{EE97D3FE-9ACA-4467-98E5-532EC45D9D1C}" dt="2024-03-11T14:24:08.878" v="24055"/>
          <ac:grpSpMkLst>
            <pc:docMk/>
            <pc:sldMk cId="1764034675" sldId="909"/>
            <ac:grpSpMk id="5" creationId="{A4207745-BCF4-4C81-51AF-F6F44F1F4B4F}"/>
          </ac:grpSpMkLst>
        </pc:grpChg>
        <pc:grpChg chg="add del mod">
          <ac:chgData name="Nataliia Chornii (UA)" userId="4e4b8b3d-5f31-49bb-9f80-8a25c04abfff" providerId="ADAL" clId="{EE97D3FE-9ACA-4467-98E5-532EC45D9D1C}" dt="2024-03-01T15:31:19.773" v="17258" actId="165"/>
          <ac:grpSpMkLst>
            <pc:docMk/>
            <pc:sldMk cId="1764034675" sldId="909"/>
            <ac:grpSpMk id="15" creationId="{ED276712-4C32-BA58-5CCD-2BAC51F7EFE9}"/>
          </ac:grpSpMkLst>
        </pc:grpChg>
        <pc:grpChg chg="add mod">
          <ac:chgData name="Nataliia Chornii (UA)" userId="4e4b8b3d-5f31-49bb-9f80-8a25c04abfff" providerId="ADAL" clId="{EE97D3FE-9ACA-4467-98E5-532EC45D9D1C}" dt="2024-03-01T15:31:18.625" v="17257" actId="571"/>
          <ac:grpSpMkLst>
            <pc:docMk/>
            <pc:sldMk cId="1764034675" sldId="909"/>
            <ac:grpSpMk id="16" creationId="{5740A4E7-FBED-E6A6-07A0-43F9515B14C1}"/>
          </ac:grpSpMkLst>
        </pc:grpChg>
        <pc:grpChg chg="add del mod ord">
          <ac:chgData name="Nataliia Chornii (UA)" userId="4e4b8b3d-5f31-49bb-9f80-8a25c04abfff" providerId="ADAL" clId="{EE97D3FE-9ACA-4467-98E5-532EC45D9D1C}" dt="2024-03-01T15:31:56.501" v="17322" actId="165"/>
          <ac:grpSpMkLst>
            <pc:docMk/>
            <pc:sldMk cId="1764034675" sldId="909"/>
            <ac:grpSpMk id="21" creationId="{AA73995D-B3A8-C0E7-C026-D4C24F90928D}"/>
          </ac:grpSpMkLst>
        </pc:grpChg>
        <pc:grpChg chg="add del mod ord">
          <ac:chgData name="Nataliia Chornii (UA)" userId="4e4b8b3d-5f31-49bb-9f80-8a25c04abfff" providerId="ADAL" clId="{EE97D3FE-9ACA-4467-98E5-532EC45D9D1C}" dt="2024-03-01T15:31:56.501" v="17322" actId="165"/>
          <ac:grpSpMkLst>
            <pc:docMk/>
            <pc:sldMk cId="1764034675" sldId="909"/>
            <ac:grpSpMk id="22" creationId="{6A4E71BA-5FE6-EB36-A272-6F0837B7C03A}"/>
          </ac:grpSpMkLst>
        </pc:grpChg>
        <pc:grpChg chg="add del mod ord">
          <ac:chgData name="Nataliia Chornii (UA)" userId="4e4b8b3d-5f31-49bb-9f80-8a25c04abfff" providerId="ADAL" clId="{EE97D3FE-9ACA-4467-98E5-532EC45D9D1C}" dt="2024-03-01T15:31:56.501" v="17322" actId="165"/>
          <ac:grpSpMkLst>
            <pc:docMk/>
            <pc:sldMk cId="1764034675" sldId="909"/>
            <ac:grpSpMk id="25" creationId="{1F9501AC-229F-7D86-EDBD-12D91EF552BE}"/>
          </ac:grpSpMkLst>
        </pc:grpChg>
        <pc:grpChg chg="add del mod ord">
          <ac:chgData name="Nataliia Chornii (UA)" userId="4e4b8b3d-5f31-49bb-9f80-8a25c04abfff" providerId="ADAL" clId="{EE97D3FE-9ACA-4467-98E5-532EC45D9D1C}" dt="2024-03-01T15:31:56.501" v="17322" actId="165"/>
          <ac:grpSpMkLst>
            <pc:docMk/>
            <pc:sldMk cId="1764034675" sldId="909"/>
            <ac:grpSpMk id="29" creationId="{E4D1AD63-A2D1-9377-A08D-FCC5AD512FF8}"/>
          </ac:grpSpMkLst>
        </pc:grpChg>
        <pc:grpChg chg="add del mod ord">
          <ac:chgData name="Nataliia Chornii (UA)" userId="4e4b8b3d-5f31-49bb-9f80-8a25c04abfff" providerId="ADAL" clId="{EE97D3FE-9ACA-4467-98E5-532EC45D9D1C}" dt="2024-03-01T15:31:56.501" v="17322" actId="165"/>
          <ac:grpSpMkLst>
            <pc:docMk/>
            <pc:sldMk cId="1764034675" sldId="909"/>
            <ac:grpSpMk id="35" creationId="{CB8296FC-6977-8D8C-C89B-DCCAF73452F4}"/>
          </ac:grpSpMkLst>
        </pc:grpChg>
        <pc:grpChg chg="add del mod ord">
          <ac:chgData name="Nataliia Chornii (UA)" userId="4e4b8b3d-5f31-49bb-9f80-8a25c04abfff" providerId="ADAL" clId="{EE97D3FE-9ACA-4467-98E5-532EC45D9D1C}" dt="2024-03-01T15:31:56.501" v="17322" actId="165"/>
          <ac:grpSpMkLst>
            <pc:docMk/>
            <pc:sldMk cId="1764034675" sldId="909"/>
            <ac:grpSpMk id="38" creationId="{7CAAA823-C52A-E69B-66E4-CEC33B19EC5E}"/>
          </ac:grpSpMkLst>
        </pc:grpChg>
        <pc:grpChg chg="add mod ord">
          <ac:chgData name="Nataliia Chornii (UA)" userId="4e4b8b3d-5f31-49bb-9f80-8a25c04abfff" providerId="ADAL" clId="{EE97D3FE-9ACA-4467-98E5-532EC45D9D1C}" dt="2024-03-01T15:35:09.124" v="17441"/>
          <ac:grpSpMkLst>
            <pc:docMk/>
            <pc:sldMk cId="1764034675" sldId="909"/>
            <ac:grpSpMk id="52" creationId="{361826EC-5A31-6F60-E34A-C417419DBE52}"/>
          </ac:grpSpMkLst>
        </pc:grpChg>
        <pc:grpChg chg="add del mod ord">
          <ac:chgData name="Nataliia Chornii (UA)" userId="4e4b8b3d-5f31-49bb-9f80-8a25c04abfff" providerId="ADAL" clId="{EE97D3FE-9ACA-4467-98E5-532EC45D9D1C}" dt="2024-03-01T15:35:24.592" v="17467" actId="165"/>
          <ac:grpSpMkLst>
            <pc:docMk/>
            <pc:sldMk cId="1764034675" sldId="909"/>
            <ac:grpSpMk id="53" creationId="{15FA3864-3DEE-F491-FF98-AEB7F94E1880}"/>
          </ac:grpSpMkLst>
        </pc:grpChg>
        <pc:grpChg chg="add mod ord">
          <ac:chgData name="Nataliia Chornii (UA)" userId="4e4b8b3d-5f31-49bb-9f80-8a25c04abfff" providerId="ADAL" clId="{EE97D3FE-9ACA-4467-98E5-532EC45D9D1C}" dt="2024-03-01T15:35:09.140" v="17455"/>
          <ac:grpSpMkLst>
            <pc:docMk/>
            <pc:sldMk cId="1764034675" sldId="909"/>
            <ac:grpSpMk id="56" creationId="{B283AB5C-9A0D-B1DC-E633-C1CC380D0603}"/>
          </ac:grpSpMkLst>
        </pc:grpChg>
        <pc:grpChg chg="add del mod ord">
          <ac:chgData name="Nataliia Chornii (UA)" userId="4e4b8b3d-5f31-49bb-9f80-8a25c04abfff" providerId="ADAL" clId="{EE97D3FE-9ACA-4467-98E5-532EC45D9D1C}" dt="2024-03-01T15:35:24.592" v="17467" actId="165"/>
          <ac:grpSpMkLst>
            <pc:docMk/>
            <pc:sldMk cId="1764034675" sldId="909"/>
            <ac:grpSpMk id="59" creationId="{2F4E3AAA-2620-9976-8DA9-64AC35A29920}"/>
          </ac:grpSpMkLst>
        </pc:grpChg>
        <pc:grpChg chg="add mod ord">
          <ac:chgData name="Nataliia Chornii (UA)" userId="4e4b8b3d-5f31-49bb-9f80-8a25c04abfff" providerId="ADAL" clId="{EE97D3FE-9ACA-4467-98E5-532EC45D9D1C}" dt="2024-03-01T15:35:09.140" v="17459"/>
          <ac:grpSpMkLst>
            <pc:docMk/>
            <pc:sldMk cId="1764034675" sldId="909"/>
            <ac:grpSpMk id="62" creationId="{C1EA6D93-8DB7-F1C4-5C88-78889B57D726}"/>
          </ac:grpSpMkLst>
        </pc:grpChg>
        <pc:grpChg chg="add del mod ord">
          <ac:chgData name="Nataliia Chornii (UA)" userId="4e4b8b3d-5f31-49bb-9f80-8a25c04abfff" providerId="ADAL" clId="{EE97D3FE-9ACA-4467-98E5-532EC45D9D1C}" dt="2024-03-01T15:35:24.592" v="17467" actId="165"/>
          <ac:grpSpMkLst>
            <pc:docMk/>
            <pc:sldMk cId="1764034675" sldId="909"/>
            <ac:grpSpMk id="65" creationId="{25E2DED7-5243-17F4-A5F0-A2A258BD36C6}"/>
          </ac:grpSpMkLst>
        </pc:grpChg>
        <pc:graphicFrameChg chg="add mod ord modVis replST">
          <ac:chgData name="Nataliia Chornii (UA)" userId="4e4b8b3d-5f31-49bb-9f80-8a25c04abfff" providerId="ADAL" clId="{EE97D3FE-9ACA-4467-98E5-532EC45D9D1C}" dt="2024-03-01T15:35:09.156" v="17465"/>
          <ac:graphicFrameMkLst>
            <pc:docMk/>
            <pc:sldMk cId="1764034675" sldId="909"/>
            <ac:graphicFrameMk id="7" creationId="{BD9B4EB0-FA92-4CA3-9E1E-68FD78E7072D}"/>
          </ac:graphicFrameMkLst>
        </pc:graphicFrameChg>
        <pc:picChg chg="add mod ord modCrop">
          <ac:chgData name="Nataliia Chornii (UA)" userId="4e4b8b3d-5f31-49bb-9f80-8a25c04abfff" providerId="ADAL" clId="{EE97D3FE-9ACA-4467-98E5-532EC45D9D1C}" dt="2024-03-01T15:35:09.109" v="17421"/>
          <ac:picMkLst>
            <pc:docMk/>
            <pc:sldMk cId="1764034675" sldId="909"/>
            <ac:picMk id="69" creationId="{64F7D8A2-66DC-ADBA-BEC3-1BCF56394367}"/>
          </ac:picMkLst>
        </pc:picChg>
        <pc:cxnChg chg="add mod ord">
          <ac:chgData name="Nataliia Chornii (UA)" userId="4e4b8b3d-5f31-49bb-9f80-8a25c04abfff" providerId="ADAL" clId="{EE97D3FE-9ACA-4467-98E5-532EC45D9D1C}" dt="2024-03-01T15:35:09.140" v="17443"/>
          <ac:cxnSpMkLst>
            <pc:docMk/>
            <pc:sldMk cId="1764034675" sldId="909"/>
            <ac:cxnSpMk id="20" creationId="{92C24E3D-6F40-B1E5-DBC1-2BE00414047A}"/>
          </ac:cxnSpMkLst>
        </pc:cxnChg>
        <pc:cxnChg chg="add mod ord">
          <ac:chgData name="Nataliia Chornii (UA)" userId="4e4b8b3d-5f31-49bb-9f80-8a25c04abfff" providerId="ADAL" clId="{EE97D3FE-9ACA-4467-98E5-532EC45D9D1C}" dt="2024-03-01T15:35:09.140" v="17445"/>
          <ac:cxnSpMkLst>
            <pc:docMk/>
            <pc:sldMk cId="1764034675" sldId="909"/>
            <ac:cxnSpMk id="43" creationId="{59E75C4B-5949-DF88-AD9A-8033C3D4774D}"/>
          </ac:cxnSpMkLst>
        </pc:cxnChg>
        <pc:cxnChg chg="add mod ord">
          <ac:chgData name="Nataliia Chornii (UA)" userId="4e4b8b3d-5f31-49bb-9f80-8a25c04abfff" providerId="ADAL" clId="{EE97D3FE-9ACA-4467-98E5-532EC45D9D1C}" dt="2024-03-01T15:35:09.140" v="17447"/>
          <ac:cxnSpMkLst>
            <pc:docMk/>
            <pc:sldMk cId="1764034675" sldId="909"/>
            <ac:cxnSpMk id="44" creationId="{8889C8BE-E758-9763-FA51-DA257DC99FA3}"/>
          </ac:cxnSpMkLst>
        </pc:cxnChg>
        <pc:cxnChg chg="add mod ord">
          <ac:chgData name="Nataliia Chornii (UA)" userId="4e4b8b3d-5f31-49bb-9f80-8a25c04abfff" providerId="ADAL" clId="{EE97D3FE-9ACA-4467-98E5-532EC45D9D1C}" dt="2024-03-01T15:35:09.140" v="17449"/>
          <ac:cxnSpMkLst>
            <pc:docMk/>
            <pc:sldMk cId="1764034675" sldId="909"/>
            <ac:cxnSpMk id="45" creationId="{A300680A-200E-FF28-E0BC-1F1EC5EAE1F2}"/>
          </ac:cxnSpMkLst>
        </pc:cxnChg>
        <pc:cxnChg chg="add mod ord">
          <ac:chgData name="Nataliia Chornii (UA)" userId="4e4b8b3d-5f31-49bb-9f80-8a25c04abfff" providerId="ADAL" clId="{EE97D3FE-9ACA-4467-98E5-532EC45D9D1C}" dt="2024-03-01T15:35:09.140" v="17451"/>
          <ac:cxnSpMkLst>
            <pc:docMk/>
            <pc:sldMk cId="1764034675" sldId="909"/>
            <ac:cxnSpMk id="46" creationId="{6E9EAA9E-3B17-EFD6-CB33-84C28033B236}"/>
          </ac:cxnSpMkLst>
        </pc:cxnChg>
      </pc:sldChg>
      <pc:sldChg chg="addSp delSp modSp del mod">
        <pc:chgData name="Nataliia Chornii (UA)" userId="4e4b8b3d-5f31-49bb-9f80-8a25c04abfff" providerId="ADAL" clId="{EE97D3FE-9ACA-4467-98E5-532EC45D9D1C}" dt="2024-03-01T10:38:59.867" v="10341" actId="47"/>
        <pc:sldMkLst>
          <pc:docMk/>
          <pc:sldMk cId="3199894501" sldId="910"/>
        </pc:sldMkLst>
        <pc:spChg chg="mod">
          <ac:chgData name="Nataliia Chornii (UA)" userId="4e4b8b3d-5f31-49bb-9f80-8a25c04abfff" providerId="ADAL" clId="{EE97D3FE-9ACA-4467-98E5-532EC45D9D1C}" dt="2024-03-01T08:52:17.356" v="6086" actId="948"/>
          <ac:spMkLst>
            <pc:docMk/>
            <pc:sldMk cId="3199894501" sldId="910"/>
            <ac:spMk id="2" creationId="{A60D9000-B106-EBC6-D720-BB2BD8542F11}"/>
          </ac:spMkLst>
        </pc:spChg>
        <pc:spChg chg="add del mod modVis">
          <ac:chgData name="Nataliia Chornii (UA)" userId="4e4b8b3d-5f31-49bb-9f80-8a25c04abfff" providerId="ADAL" clId="{EE97D3FE-9ACA-4467-98E5-532EC45D9D1C}" dt="2024-03-01T08:48:59.283" v="1259"/>
          <ac:spMkLst>
            <pc:docMk/>
            <pc:sldMk cId="3199894501" sldId="910"/>
            <ac:spMk id="4" creationId="{27266E07-BFFF-863F-7D7B-B01E624A1B63}"/>
          </ac:spMkLst>
        </pc:spChg>
        <pc:spChg chg="add del mod modVis">
          <ac:chgData name="Nataliia Chornii (UA)" userId="4e4b8b3d-5f31-49bb-9f80-8a25c04abfff" providerId="ADAL" clId="{EE97D3FE-9ACA-4467-98E5-532EC45D9D1C}" dt="2024-03-01T08:49:33.713" v="2794"/>
          <ac:spMkLst>
            <pc:docMk/>
            <pc:sldMk cId="3199894501" sldId="910"/>
            <ac:spMk id="6" creationId="{21329667-16ED-9783-2A68-AEA1F419DF72}"/>
          </ac:spMkLst>
        </pc:spChg>
        <pc:spChg chg="add del mod modVis">
          <ac:chgData name="Nataliia Chornii (UA)" userId="4e4b8b3d-5f31-49bb-9f80-8a25c04abfff" providerId="ADAL" clId="{EE97D3FE-9ACA-4467-98E5-532EC45D9D1C}" dt="2024-03-01T08:49:59.773" v="3782"/>
          <ac:spMkLst>
            <pc:docMk/>
            <pc:sldMk cId="3199894501" sldId="910"/>
            <ac:spMk id="7" creationId="{9170516B-67E2-6C0C-2C70-6BA657DBCFDE}"/>
          </ac:spMkLst>
        </pc:spChg>
        <pc:spChg chg="add del mod modVis">
          <ac:chgData name="Nataliia Chornii (UA)" userId="4e4b8b3d-5f31-49bb-9f80-8a25c04abfff" providerId="ADAL" clId="{EE97D3FE-9ACA-4467-98E5-532EC45D9D1C}" dt="2024-03-01T08:51:26.075" v="4770"/>
          <ac:spMkLst>
            <pc:docMk/>
            <pc:sldMk cId="3199894501" sldId="910"/>
            <ac:spMk id="8" creationId="{BA0F6CA3-6D84-567C-6247-6B82D9DED3E2}"/>
          </ac:spMkLst>
        </pc:spChg>
        <pc:spChg chg="add del mod modVis">
          <ac:chgData name="Nataliia Chornii (UA)" userId="4e4b8b3d-5f31-49bb-9f80-8a25c04abfff" providerId="ADAL" clId="{EE97D3FE-9ACA-4467-98E5-532EC45D9D1C}" dt="2024-03-01T08:51:56.079" v="5759"/>
          <ac:spMkLst>
            <pc:docMk/>
            <pc:sldMk cId="3199894501" sldId="910"/>
            <ac:spMk id="9" creationId="{13063DBE-9641-907C-3CD5-A39FADEC3F52}"/>
          </ac:spMkLst>
        </pc:spChg>
        <pc:spChg chg="add del mod modVis">
          <ac:chgData name="Nataliia Chornii (UA)" userId="4e4b8b3d-5f31-49bb-9f80-8a25c04abfff" providerId="ADAL" clId="{EE97D3FE-9ACA-4467-98E5-532EC45D9D1C}" dt="2024-03-01T08:52:18.249" v="6747"/>
          <ac:spMkLst>
            <pc:docMk/>
            <pc:sldMk cId="3199894501" sldId="910"/>
            <ac:spMk id="10" creationId="{EEA066F1-4A7D-B68F-34DF-6F1D18C4E56F}"/>
          </ac:spMkLst>
        </pc:spChg>
        <pc:graphicFrameChg chg="add mod ord modVis replST">
          <ac:chgData name="Nataliia Chornii (UA)" userId="4e4b8b3d-5f31-49bb-9f80-8a25c04abfff" providerId="ADAL" clId="{EE97D3FE-9ACA-4467-98E5-532EC45D9D1C}" dt="2024-03-01T08:52:18.249" v="6749"/>
          <ac:graphicFrameMkLst>
            <pc:docMk/>
            <pc:sldMk cId="3199894501" sldId="910"/>
            <ac:graphicFrameMk id="5" creationId="{4A20AA20-F2D3-9614-7722-B09E0DE4ECC0}"/>
          </ac:graphicFrameMkLst>
        </pc:graphicFrameChg>
      </pc:sldChg>
      <pc:sldChg chg="addSp delSp modSp mod modClrScheme chgLayout">
        <pc:chgData name="Nataliia Chornii (UA)" userId="4e4b8b3d-5f31-49bb-9f80-8a25c04abfff" providerId="ADAL" clId="{EE97D3FE-9ACA-4467-98E5-532EC45D9D1C}" dt="2024-03-11T14:29:22.321" v="24227"/>
        <pc:sldMkLst>
          <pc:docMk/>
          <pc:sldMk cId="2040534611" sldId="911"/>
        </pc:sldMkLst>
        <pc:spChg chg="add mod">
          <ac:chgData name="Nataliia Chornii (UA)" userId="4e4b8b3d-5f31-49bb-9f80-8a25c04abfff" providerId="ADAL" clId="{EE97D3FE-9ACA-4467-98E5-532EC45D9D1C}" dt="2024-03-11T14:25:48.340" v="24082"/>
          <ac:spMkLst>
            <pc:docMk/>
            <pc:sldMk cId="2040534611" sldId="911"/>
            <ac:spMk id="2" creationId="{9E458C61-554D-06B9-D7BB-AE586E6578F7}"/>
          </ac:spMkLst>
        </pc:spChg>
        <pc:spChg chg="del mod ord">
          <ac:chgData name="Nataliia Chornii (UA)" userId="4e4b8b3d-5f31-49bb-9f80-8a25c04abfff" providerId="ADAL" clId="{EE97D3FE-9ACA-4467-98E5-532EC45D9D1C}" dt="2024-03-01T14:34:40.274" v="15208" actId="478"/>
          <ac:spMkLst>
            <pc:docMk/>
            <pc:sldMk cId="2040534611" sldId="911"/>
            <ac:spMk id="2" creationId="{A1EA5253-E431-DFFC-E94A-6F8E087CC2C0}"/>
          </ac:spMkLst>
        </pc:spChg>
        <pc:spChg chg="mod ord">
          <ac:chgData name="Nataliia Chornii (UA)" userId="4e4b8b3d-5f31-49bb-9f80-8a25c04abfff" providerId="ADAL" clId="{EE97D3FE-9ACA-4467-98E5-532EC45D9D1C}" dt="2024-03-01T14:36:12.593" v="15364" actId="948"/>
          <ac:spMkLst>
            <pc:docMk/>
            <pc:sldMk cId="2040534611" sldId="911"/>
            <ac:spMk id="3" creationId="{F4CCF02E-F3C4-C376-8F56-61BD85A2E74B}"/>
          </ac:spMkLst>
        </pc:spChg>
        <pc:spChg chg="mod ord">
          <ac:chgData name="Nataliia Chornii (UA)" userId="4e4b8b3d-5f31-49bb-9f80-8a25c04abfff" providerId="ADAL" clId="{EE97D3FE-9ACA-4467-98E5-532EC45D9D1C}" dt="2024-03-01T14:36:03.362" v="15240"/>
          <ac:spMkLst>
            <pc:docMk/>
            <pc:sldMk cId="2040534611" sldId="911"/>
            <ac:spMk id="4" creationId="{872966CD-924A-B939-E655-A6BAF817DCBF}"/>
          </ac:spMkLst>
        </pc:spChg>
        <pc:spChg chg="del">
          <ac:chgData name="Nataliia Chornii (UA)" userId="4e4b8b3d-5f31-49bb-9f80-8a25c04abfff" providerId="ADAL" clId="{EE97D3FE-9ACA-4467-98E5-532EC45D9D1C}" dt="2024-03-01T14:34:32.903" v="15179" actId="478"/>
          <ac:spMkLst>
            <pc:docMk/>
            <pc:sldMk cId="2040534611" sldId="911"/>
            <ac:spMk id="5" creationId="{FF11D90A-8D15-0E43-4C2E-D42257331C13}"/>
          </ac:spMkLst>
        </pc:spChg>
        <pc:spChg chg="del">
          <ac:chgData name="Nataliia Chornii (UA)" userId="4e4b8b3d-5f31-49bb-9f80-8a25c04abfff" providerId="ADAL" clId="{EE97D3FE-9ACA-4467-98E5-532EC45D9D1C}" dt="2024-03-01T14:34:32.903" v="15179" actId="478"/>
          <ac:spMkLst>
            <pc:docMk/>
            <pc:sldMk cId="2040534611" sldId="911"/>
            <ac:spMk id="6" creationId="{0F377277-EC46-FAC5-F379-194FCD82679C}"/>
          </ac:spMkLst>
        </pc:spChg>
        <pc:spChg chg="mod">
          <ac:chgData name="Nataliia Chornii (UA)" userId="4e4b8b3d-5f31-49bb-9f80-8a25c04abfff" providerId="ADAL" clId="{EE97D3FE-9ACA-4467-98E5-532EC45D9D1C}" dt="2024-03-11T14:25:48.340" v="24082"/>
          <ac:spMkLst>
            <pc:docMk/>
            <pc:sldMk cId="2040534611" sldId="911"/>
            <ac:spMk id="6" creationId="{B16CEE4A-5A1D-1C50-F676-262AFCC2B5D6}"/>
          </ac:spMkLst>
        </pc:spChg>
        <pc:spChg chg="mod ord">
          <ac:chgData name="Nataliia Chornii (UA)" userId="4e4b8b3d-5f31-49bb-9f80-8a25c04abfff" providerId="ADAL" clId="{EE97D3FE-9ACA-4467-98E5-532EC45D9D1C}" dt="2024-03-01T14:36:03.362" v="15242"/>
          <ac:spMkLst>
            <pc:docMk/>
            <pc:sldMk cId="2040534611" sldId="911"/>
            <ac:spMk id="7" creationId="{C808DA25-FA14-FF3C-E908-05869001F803}"/>
          </ac:spMkLst>
        </pc:spChg>
        <pc:spChg chg="add del mod modVis">
          <ac:chgData name="Nataliia Chornii (UA)" userId="4e4b8b3d-5f31-49bb-9f80-8a25c04abfff" providerId="ADAL" clId="{EE97D3FE-9ACA-4467-98E5-532EC45D9D1C}" dt="2024-03-01T08:48:59.510" v="1378"/>
          <ac:spMkLst>
            <pc:docMk/>
            <pc:sldMk cId="2040534611" sldId="911"/>
            <ac:spMk id="8" creationId="{4F83B753-9A06-EA81-347B-36923A8CF7D0}"/>
          </ac:spMkLst>
        </pc:spChg>
        <pc:spChg chg="mod">
          <ac:chgData name="Nataliia Chornii (UA)" userId="4e4b8b3d-5f31-49bb-9f80-8a25c04abfff" providerId="ADAL" clId="{EE97D3FE-9ACA-4467-98E5-532EC45D9D1C}" dt="2024-03-11T14:25:48.340" v="24082"/>
          <ac:spMkLst>
            <pc:docMk/>
            <pc:sldMk cId="2040534611" sldId="911"/>
            <ac:spMk id="8" creationId="{80DA1EB8-C2A5-1767-FB72-EE0D8D275CE6}"/>
          </ac:spMkLst>
        </pc:spChg>
        <pc:spChg chg="del mod">
          <ac:chgData name="Nataliia Chornii (UA)" userId="4e4b8b3d-5f31-49bb-9f80-8a25c04abfff" providerId="ADAL" clId="{EE97D3FE-9ACA-4467-98E5-532EC45D9D1C}" dt="2024-03-01T14:35:01.182" v="15216" actId="478"/>
          <ac:spMkLst>
            <pc:docMk/>
            <pc:sldMk cId="2040534611" sldId="911"/>
            <ac:spMk id="9" creationId="{87836C41-8052-C603-D229-3FB1E5E9CE1A}"/>
          </ac:spMkLst>
        </pc:spChg>
        <pc:spChg chg="mod">
          <ac:chgData name="Nataliia Chornii (UA)" userId="4e4b8b3d-5f31-49bb-9f80-8a25c04abfff" providerId="ADAL" clId="{EE97D3FE-9ACA-4467-98E5-532EC45D9D1C}" dt="2024-03-11T14:25:48.340" v="24082"/>
          <ac:spMkLst>
            <pc:docMk/>
            <pc:sldMk cId="2040534611" sldId="911"/>
            <ac:spMk id="9" creationId="{C301C69D-29D4-8E46-8F5D-861EE5283AA0}"/>
          </ac:spMkLst>
        </pc:spChg>
        <pc:spChg chg="del mod ord">
          <ac:chgData name="Nataliia Chornii (UA)" userId="4e4b8b3d-5f31-49bb-9f80-8a25c04abfff" providerId="ADAL" clId="{EE97D3FE-9ACA-4467-98E5-532EC45D9D1C}" dt="2024-03-01T14:36:07.811" v="15335" actId="478"/>
          <ac:spMkLst>
            <pc:docMk/>
            <pc:sldMk cId="2040534611" sldId="911"/>
            <ac:spMk id="10" creationId="{489B7680-E5EE-2A50-7733-37F2F144B869}"/>
          </ac:spMkLst>
        </pc:spChg>
        <pc:spChg chg="mod">
          <ac:chgData name="Nataliia Chornii (UA)" userId="4e4b8b3d-5f31-49bb-9f80-8a25c04abfff" providerId="ADAL" clId="{EE97D3FE-9ACA-4467-98E5-532EC45D9D1C}" dt="2024-03-11T14:25:48.340" v="24082"/>
          <ac:spMkLst>
            <pc:docMk/>
            <pc:sldMk cId="2040534611" sldId="911"/>
            <ac:spMk id="10" creationId="{C4455AA2-7A71-7F41-7FCB-FE466701C9F4}"/>
          </ac:spMkLst>
        </pc:spChg>
        <pc:spChg chg="del">
          <ac:chgData name="Nataliia Chornii (UA)" userId="4e4b8b3d-5f31-49bb-9f80-8a25c04abfff" providerId="ADAL" clId="{EE97D3FE-9ACA-4467-98E5-532EC45D9D1C}" dt="2024-03-01T14:34:25.926" v="15151" actId="478"/>
          <ac:spMkLst>
            <pc:docMk/>
            <pc:sldMk cId="2040534611" sldId="911"/>
            <ac:spMk id="11" creationId="{597D3F9D-B1C1-4C06-C77E-3378939A3472}"/>
          </ac:spMkLst>
        </pc:spChg>
        <pc:spChg chg="mod">
          <ac:chgData name="Nataliia Chornii (UA)" userId="4e4b8b3d-5f31-49bb-9f80-8a25c04abfff" providerId="ADAL" clId="{EE97D3FE-9ACA-4467-98E5-532EC45D9D1C}" dt="2024-03-11T14:25:48.340" v="24082"/>
          <ac:spMkLst>
            <pc:docMk/>
            <pc:sldMk cId="2040534611" sldId="911"/>
            <ac:spMk id="11" creationId="{8B085F7F-EECD-F386-B4A0-E478373322D9}"/>
          </ac:spMkLst>
        </pc:spChg>
        <pc:spChg chg="add del mod modVis">
          <ac:chgData name="Nataliia Chornii (UA)" userId="4e4b8b3d-5f31-49bb-9f80-8a25c04abfff" providerId="ADAL" clId="{EE97D3FE-9ACA-4467-98E5-532EC45D9D1C}" dt="2024-03-01T08:49:33.761" v="2822"/>
          <ac:spMkLst>
            <pc:docMk/>
            <pc:sldMk cId="2040534611" sldId="911"/>
            <ac:spMk id="13" creationId="{763C3487-549D-87B0-924C-5B74DBD48FCD}"/>
          </ac:spMkLst>
        </pc:spChg>
        <pc:spChg chg="mod">
          <ac:chgData name="Nataliia Chornii (UA)" userId="4e4b8b3d-5f31-49bb-9f80-8a25c04abfff" providerId="ADAL" clId="{EE97D3FE-9ACA-4467-98E5-532EC45D9D1C}" dt="2024-03-11T14:25:48.340" v="24082"/>
          <ac:spMkLst>
            <pc:docMk/>
            <pc:sldMk cId="2040534611" sldId="911"/>
            <ac:spMk id="13" creationId="{7C842237-BEA9-F85C-0298-E88B05249BC1}"/>
          </ac:spMkLst>
        </pc:spChg>
        <pc:spChg chg="add del mod modVis">
          <ac:chgData name="Nataliia Chornii (UA)" userId="4e4b8b3d-5f31-49bb-9f80-8a25c04abfff" providerId="ADAL" clId="{EE97D3FE-9ACA-4467-98E5-532EC45D9D1C}" dt="2024-03-01T08:49:59.804" v="3810"/>
          <ac:spMkLst>
            <pc:docMk/>
            <pc:sldMk cId="2040534611" sldId="911"/>
            <ac:spMk id="14" creationId="{112CD9F2-1C56-959E-3001-365FC743847C}"/>
          </ac:spMkLst>
        </pc:spChg>
        <pc:spChg chg="add mod">
          <ac:chgData name="Nataliia Chornii (UA)" userId="4e4b8b3d-5f31-49bb-9f80-8a25c04abfff" providerId="ADAL" clId="{EE97D3FE-9ACA-4467-98E5-532EC45D9D1C}" dt="2024-03-11T14:29:22.321" v="24227"/>
          <ac:spMkLst>
            <pc:docMk/>
            <pc:sldMk cId="2040534611" sldId="911"/>
            <ac:spMk id="14" creationId="{701D06DD-CC74-FC08-A012-A28782C73BD3}"/>
          </ac:spMkLst>
        </pc:spChg>
        <pc:spChg chg="add del mod modVis">
          <ac:chgData name="Nataliia Chornii (UA)" userId="4e4b8b3d-5f31-49bb-9f80-8a25c04abfff" providerId="ADAL" clId="{EE97D3FE-9ACA-4467-98E5-532EC45D9D1C}" dt="2024-03-01T08:51:26.106" v="4798"/>
          <ac:spMkLst>
            <pc:docMk/>
            <pc:sldMk cId="2040534611" sldId="911"/>
            <ac:spMk id="15" creationId="{9567CB72-2ECD-25FF-4BB1-A6FBAB13BB6F}"/>
          </ac:spMkLst>
        </pc:spChg>
        <pc:spChg chg="add del mod modVis">
          <ac:chgData name="Nataliia Chornii (UA)" userId="4e4b8b3d-5f31-49bb-9f80-8a25c04abfff" providerId="ADAL" clId="{EE97D3FE-9ACA-4467-98E5-532EC45D9D1C}" dt="2024-03-01T08:51:56.110" v="5787"/>
          <ac:spMkLst>
            <pc:docMk/>
            <pc:sldMk cId="2040534611" sldId="911"/>
            <ac:spMk id="16" creationId="{9E3FDEF1-3FB5-4664-F4C3-21DFFC06AADB}"/>
          </ac:spMkLst>
        </pc:spChg>
        <pc:spChg chg="add del mod modVis">
          <ac:chgData name="Nataliia Chornii (UA)" userId="4e4b8b3d-5f31-49bb-9f80-8a25c04abfff" providerId="ADAL" clId="{EE97D3FE-9ACA-4467-98E5-532EC45D9D1C}" dt="2024-03-01T08:52:18.281" v="6775"/>
          <ac:spMkLst>
            <pc:docMk/>
            <pc:sldMk cId="2040534611" sldId="911"/>
            <ac:spMk id="17" creationId="{AD5DF035-7C76-3E5E-851C-E04130CEE42D}"/>
          </ac:spMkLst>
        </pc:spChg>
        <pc:spChg chg="add del mod modVis">
          <ac:chgData name="Nataliia Chornii (UA)" userId="4e4b8b3d-5f31-49bb-9f80-8a25c04abfff" providerId="ADAL" clId="{EE97D3FE-9ACA-4467-98E5-532EC45D9D1C}" dt="2024-03-01T14:34:30.409" v="15176"/>
          <ac:spMkLst>
            <pc:docMk/>
            <pc:sldMk cId="2040534611" sldId="911"/>
            <ac:spMk id="18" creationId="{7EC4C6AC-A0AE-E189-277F-C4A1C81F3D45}"/>
          </ac:spMkLst>
        </pc:spChg>
        <pc:spChg chg="add del mod modVis">
          <ac:chgData name="Nataliia Chornii (UA)" userId="4e4b8b3d-5f31-49bb-9f80-8a25c04abfff" providerId="ADAL" clId="{EE97D3FE-9ACA-4467-98E5-532EC45D9D1C}" dt="2024-03-01T14:34:36.725" v="15204"/>
          <ac:spMkLst>
            <pc:docMk/>
            <pc:sldMk cId="2040534611" sldId="911"/>
            <ac:spMk id="19" creationId="{96166626-ECB1-A597-8A6C-14809743E8B1}"/>
          </ac:spMkLst>
        </pc:spChg>
        <pc:spChg chg="add del mod">
          <ac:chgData name="Nataliia Chornii (UA)" userId="4e4b8b3d-5f31-49bb-9f80-8a25c04abfff" providerId="ADAL" clId="{EE97D3FE-9ACA-4467-98E5-532EC45D9D1C}" dt="2024-03-01T14:35:48.920" v="15224" actId="478"/>
          <ac:spMkLst>
            <pc:docMk/>
            <pc:sldMk cId="2040534611" sldId="911"/>
            <ac:spMk id="21" creationId="{09BE8A4A-7DB9-2874-D1F6-736E02973254}"/>
          </ac:spMkLst>
        </pc:spChg>
        <pc:spChg chg="add mod ord">
          <ac:chgData name="Nataliia Chornii (UA)" userId="4e4b8b3d-5f31-49bb-9f80-8a25c04abfff" providerId="ADAL" clId="{EE97D3FE-9ACA-4467-98E5-532EC45D9D1C}" dt="2024-03-01T14:50:02.277" v="15785" actId="14100"/>
          <ac:spMkLst>
            <pc:docMk/>
            <pc:sldMk cId="2040534611" sldId="911"/>
            <ac:spMk id="22" creationId="{138C1537-B2D2-8CD4-AB9A-7BDF4C5BA5B6}"/>
          </ac:spMkLst>
        </pc:spChg>
        <pc:spChg chg="add mod ord">
          <ac:chgData name="Nataliia Chornii (UA)" userId="4e4b8b3d-5f31-49bb-9f80-8a25c04abfff" providerId="ADAL" clId="{EE97D3FE-9ACA-4467-98E5-532EC45D9D1C}" dt="2024-03-01T14:52:55.335" v="15836" actId="554"/>
          <ac:spMkLst>
            <pc:docMk/>
            <pc:sldMk cId="2040534611" sldId="911"/>
            <ac:spMk id="23" creationId="{2B31A048-71F3-36BF-C023-498023B6C82B}"/>
          </ac:spMkLst>
        </pc:spChg>
        <pc:spChg chg="add del mod ord">
          <ac:chgData name="Nataliia Chornii (UA)" userId="4e4b8b3d-5f31-49bb-9f80-8a25c04abfff" providerId="ADAL" clId="{EE97D3FE-9ACA-4467-98E5-532EC45D9D1C}" dt="2024-03-01T14:49:59.297" v="15783" actId="478"/>
          <ac:spMkLst>
            <pc:docMk/>
            <pc:sldMk cId="2040534611" sldId="911"/>
            <ac:spMk id="24" creationId="{EBD0208C-25C6-A560-5828-A73D1E2D281D}"/>
          </ac:spMkLst>
        </pc:spChg>
        <pc:spChg chg="add del mod ord">
          <ac:chgData name="Nataliia Chornii (UA)" userId="4e4b8b3d-5f31-49bb-9f80-8a25c04abfff" providerId="ADAL" clId="{EE97D3FE-9ACA-4467-98E5-532EC45D9D1C}" dt="2024-03-01T14:49:59.297" v="15783" actId="478"/>
          <ac:spMkLst>
            <pc:docMk/>
            <pc:sldMk cId="2040534611" sldId="911"/>
            <ac:spMk id="25" creationId="{CC03C91D-ED8C-FBDC-7827-F7F42FEE41B5}"/>
          </ac:spMkLst>
        </pc:spChg>
        <pc:spChg chg="add del mod ord">
          <ac:chgData name="Nataliia Chornii (UA)" userId="4e4b8b3d-5f31-49bb-9f80-8a25c04abfff" providerId="ADAL" clId="{EE97D3FE-9ACA-4467-98E5-532EC45D9D1C}" dt="2024-03-01T14:49:59.297" v="15783" actId="478"/>
          <ac:spMkLst>
            <pc:docMk/>
            <pc:sldMk cId="2040534611" sldId="911"/>
            <ac:spMk id="26" creationId="{E27C182D-3521-2469-CB38-BE9FB5B96DB6}"/>
          </ac:spMkLst>
        </pc:spChg>
        <pc:spChg chg="add del mod ord">
          <ac:chgData name="Nataliia Chornii (UA)" userId="4e4b8b3d-5f31-49bb-9f80-8a25c04abfff" providerId="ADAL" clId="{EE97D3FE-9ACA-4467-98E5-532EC45D9D1C}" dt="2024-03-01T14:49:59.297" v="15783" actId="478"/>
          <ac:spMkLst>
            <pc:docMk/>
            <pc:sldMk cId="2040534611" sldId="911"/>
            <ac:spMk id="27" creationId="{F0CFED96-812C-732C-1808-657303CAE18D}"/>
          </ac:spMkLst>
        </pc:spChg>
        <pc:spChg chg="add del mod ord">
          <ac:chgData name="Nataliia Chornii (UA)" userId="4e4b8b3d-5f31-49bb-9f80-8a25c04abfff" providerId="ADAL" clId="{EE97D3FE-9ACA-4467-98E5-532EC45D9D1C}" dt="2024-03-01T14:49:59.297" v="15783" actId="478"/>
          <ac:spMkLst>
            <pc:docMk/>
            <pc:sldMk cId="2040534611" sldId="911"/>
            <ac:spMk id="28" creationId="{6697E3E3-7331-8612-E136-550A62B3CCD3}"/>
          </ac:spMkLst>
        </pc:spChg>
        <pc:spChg chg="add del mod ord">
          <ac:chgData name="Nataliia Chornii (UA)" userId="4e4b8b3d-5f31-49bb-9f80-8a25c04abfff" providerId="ADAL" clId="{EE97D3FE-9ACA-4467-98E5-532EC45D9D1C}" dt="2024-03-01T14:49:59.297" v="15783" actId="478"/>
          <ac:spMkLst>
            <pc:docMk/>
            <pc:sldMk cId="2040534611" sldId="911"/>
            <ac:spMk id="29" creationId="{71094F2F-9782-6974-0410-6D145646ED3E}"/>
          </ac:spMkLst>
        </pc:spChg>
        <pc:spChg chg="add del mod ord">
          <ac:chgData name="Nataliia Chornii (UA)" userId="4e4b8b3d-5f31-49bb-9f80-8a25c04abfff" providerId="ADAL" clId="{EE97D3FE-9ACA-4467-98E5-532EC45D9D1C}" dt="2024-03-01T14:52:19.561" v="15831" actId="478"/>
          <ac:spMkLst>
            <pc:docMk/>
            <pc:sldMk cId="2040534611" sldId="911"/>
            <ac:spMk id="30" creationId="{AA5648CE-A932-9309-DBAB-9F20F31666F5}"/>
          </ac:spMkLst>
        </pc:spChg>
        <pc:spChg chg="add del mod ord">
          <ac:chgData name="Nataliia Chornii (UA)" userId="4e4b8b3d-5f31-49bb-9f80-8a25c04abfff" providerId="ADAL" clId="{EE97D3FE-9ACA-4467-98E5-532EC45D9D1C}" dt="2024-03-01T14:52:19.561" v="15831" actId="478"/>
          <ac:spMkLst>
            <pc:docMk/>
            <pc:sldMk cId="2040534611" sldId="911"/>
            <ac:spMk id="31" creationId="{F0CF7F5D-8F43-639B-F1FB-D9DD2C45FB8C}"/>
          </ac:spMkLst>
        </pc:spChg>
        <pc:spChg chg="add del mod ord">
          <ac:chgData name="Nataliia Chornii (UA)" userId="4e4b8b3d-5f31-49bb-9f80-8a25c04abfff" providerId="ADAL" clId="{EE97D3FE-9ACA-4467-98E5-532EC45D9D1C}" dt="2024-03-01T14:52:19.561" v="15831" actId="478"/>
          <ac:spMkLst>
            <pc:docMk/>
            <pc:sldMk cId="2040534611" sldId="911"/>
            <ac:spMk id="32" creationId="{6C591172-BBE0-0C20-038E-5E313C3D510E}"/>
          </ac:spMkLst>
        </pc:spChg>
        <pc:spChg chg="add del mod ord">
          <ac:chgData name="Nataliia Chornii (UA)" userId="4e4b8b3d-5f31-49bb-9f80-8a25c04abfff" providerId="ADAL" clId="{EE97D3FE-9ACA-4467-98E5-532EC45D9D1C}" dt="2024-03-01T14:52:19.561" v="15831" actId="478"/>
          <ac:spMkLst>
            <pc:docMk/>
            <pc:sldMk cId="2040534611" sldId="911"/>
            <ac:spMk id="33" creationId="{3FCF75A8-88FC-8D2B-2755-55EC3937EFC5}"/>
          </ac:spMkLst>
        </pc:spChg>
        <pc:spChg chg="add del mod ord">
          <ac:chgData name="Nataliia Chornii (UA)" userId="4e4b8b3d-5f31-49bb-9f80-8a25c04abfff" providerId="ADAL" clId="{EE97D3FE-9ACA-4467-98E5-532EC45D9D1C}" dt="2024-03-01T14:52:19.561" v="15831" actId="478"/>
          <ac:spMkLst>
            <pc:docMk/>
            <pc:sldMk cId="2040534611" sldId="911"/>
            <ac:spMk id="34" creationId="{060F3344-D739-6C91-C618-783E7E52BA12}"/>
          </ac:spMkLst>
        </pc:spChg>
        <pc:spChg chg="add del mod ord">
          <ac:chgData name="Nataliia Chornii (UA)" userId="4e4b8b3d-5f31-49bb-9f80-8a25c04abfff" providerId="ADAL" clId="{EE97D3FE-9ACA-4467-98E5-532EC45D9D1C}" dt="2024-03-01T14:52:19.561" v="15831" actId="478"/>
          <ac:spMkLst>
            <pc:docMk/>
            <pc:sldMk cId="2040534611" sldId="911"/>
            <ac:spMk id="35" creationId="{E1432C7A-7911-6AD7-71EB-553BFC12B921}"/>
          </ac:spMkLst>
        </pc:spChg>
        <pc:spChg chg="add del mod ord">
          <ac:chgData name="Nataliia Chornii (UA)" userId="4e4b8b3d-5f31-49bb-9f80-8a25c04abfff" providerId="ADAL" clId="{EE97D3FE-9ACA-4467-98E5-532EC45D9D1C}" dt="2024-03-01T14:52:19.561" v="15831" actId="478"/>
          <ac:spMkLst>
            <pc:docMk/>
            <pc:sldMk cId="2040534611" sldId="911"/>
            <ac:spMk id="36" creationId="{97FCB212-1DE2-B913-BCA0-CC35D96752FF}"/>
          </ac:spMkLst>
        </pc:spChg>
        <pc:spChg chg="add mod ord">
          <ac:chgData name="Nataliia Chornii (UA)" userId="4e4b8b3d-5f31-49bb-9f80-8a25c04abfff" providerId="ADAL" clId="{EE97D3FE-9ACA-4467-98E5-532EC45D9D1C}" dt="2024-03-01T14:53:00.592" v="15838" actId="465"/>
          <ac:spMkLst>
            <pc:docMk/>
            <pc:sldMk cId="2040534611" sldId="911"/>
            <ac:spMk id="37" creationId="{C2CA78DD-F69A-5D59-15A8-FCB689B70AC2}"/>
          </ac:spMkLst>
        </pc:spChg>
        <pc:spChg chg="add mod ord">
          <ac:chgData name="Nataliia Chornii (UA)" userId="4e4b8b3d-5f31-49bb-9f80-8a25c04abfff" providerId="ADAL" clId="{EE97D3FE-9ACA-4467-98E5-532EC45D9D1C}" dt="2024-03-01T14:53:00.592" v="15838" actId="465"/>
          <ac:spMkLst>
            <pc:docMk/>
            <pc:sldMk cId="2040534611" sldId="911"/>
            <ac:spMk id="38" creationId="{FED4070B-D467-BCBB-40C2-1A6D5681C2FA}"/>
          </ac:spMkLst>
        </pc:spChg>
        <pc:spChg chg="add mod ord">
          <ac:chgData name="Nataliia Chornii (UA)" userId="4e4b8b3d-5f31-49bb-9f80-8a25c04abfff" providerId="ADAL" clId="{EE97D3FE-9ACA-4467-98E5-532EC45D9D1C}" dt="2024-03-01T14:53:00.592" v="15838" actId="465"/>
          <ac:spMkLst>
            <pc:docMk/>
            <pc:sldMk cId="2040534611" sldId="911"/>
            <ac:spMk id="39" creationId="{A7A994A1-7F1E-6A81-8CD8-5804507EC70D}"/>
          </ac:spMkLst>
        </pc:spChg>
        <pc:spChg chg="add mod ord">
          <ac:chgData name="Nataliia Chornii (UA)" userId="4e4b8b3d-5f31-49bb-9f80-8a25c04abfff" providerId="ADAL" clId="{EE97D3FE-9ACA-4467-98E5-532EC45D9D1C}" dt="2024-03-01T14:53:00.592" v="15838" actId="465"/>
          <ac:spMkLst>
            <pc:docMk/>
            <pc:sldMk cId="2040534611" sldId="911"/>
            <ac:spMk id="40" creationId="{EB86B500-D698-3756-B7C3-C05978613A25}"/>
          </ac:spMkLst>
        </pc:spChg>
        <pc:spChg chg="add mod ord">
          <ac:chgData name="Nataliia Chornii (UA)" userId="4e4b8b3d-5f31-49bb-9f80-8a25c04abfff" providerId="ADAL" clId="{EE97D3FE-9ACA-4467-98E5-532EC45D9D1C}" dt="2024-03-01T14:52:57.254" v="15837" actId="554"/>
          <ac:spMkLst>
            <pc:docMk/>
            <pc:sldMk cId="2040534611" sldId="911"/>
            <ac:spMk id="41" creationId="{43FCA442-D4C2-FD75-2AE1-CE8B3AF7F9DF}"/>
          </ac:spMkLst>
        </pc:spChg>
        <pc:spChg chg="add mod ord">
          <ac:chgData name="Nataliia Chornii (UA)" userId="4e4b8b3d-5f31-49bb-9f80-8a25c04abfff" providerId="ADAL" clId="{EE97D3FE-9ACA-4467-98E5-532EC45D9D1C}" dt="2024-03-01T14:53:00.592" v="15838" actId="465"/>
          <ac:spMkLst>
            <pc:docMk/>
            <pc:sldMk cId="2040534611" sldId="911"/>
            <ac:spMk id="42" creationId="{54557E55-3507-1776-B43F-2BF914364CDC}"/>
          </ac:spMkLst>
        </pc:spChg>
        <pc:spChg chg="add mod ord">
          <ac:chgData name="Nataliia Chornii (UA)" userId="4e4b8b3d-5f31-49bb-9f80-8a25c04abfff" providerId="ADAL" clId="{EE97D3FE-9ACA-4467-98E5-532EC45D9D1C}" dt="2024-03-01T14:53:00.592" v="15838" actId="465"/>
          <ac:spMkLst>
            <pc:docMk/>
            <pc:sldMk cId="2040534611" sldId="911"/>
            <ac:spMk id="43" creationId="{88DB8DA6-ED94-CDC8-8ACB-3050ABC429D6}"/>
          </ac:spMkLst>
        </pc:spChg>
        <pc:spChg chg="add del mod ord">
          <ac:chgData name="Nataliia Chornii (UA)" userId="4e4b8b3d-5f31-49bb-9f80-8a25c04abfff" providerId="ADAL" clId="{EE97D3FE-9ACA-4467-98E5-532EC45D9D1C}" dt="2024-03-01T14:49:59.297" v="15783" actId="478"/>
          <ac:spMkLst>
            <pc:docMk/>
            <pc:sldMk cId="2040534611" sldId="911"/>
            <ac:spMk id="51" creationId="{F97D3BA5-6DF9-B1B2-4AA9-B39A39FB1E47}"/>
          </ac:spMkLst>
        </pc:spChg>
        <pc:spChg chg="add del mod ord">
          <ac:chgData name="Nataliia Chornii (UA)" userId="4e4b8b3d-5f31-49bb-9f80-8a25c04abfff" providerId="ADAL" clId="{EE97D3FE-9ACA-4467-98E5-532EC45D9D1C}" dt="2024-03-01T14:49:59.297" v="15783" actId="478"/>
          <ac:spMkLst>
            <pc:docMk/>
            <pc:sldMk cId="2040534611" sldId="911"/>
            <ac:spMk id="52" creationId="{4D145187-74DA-0800-7193-ED44FEDB70F3}"/>
          </ac:spMkLst>
        </pc:spChg>
        <pc:spChg chg="add del mod ord">
          <ac:chgData name="Nataliia Chornii (UA)" userId="4e4b8b3d-5f31-49bb-9f80-8a25c04abfff" providerId="ADAL" clId="{EE97D3FE-9ACA-4467-98E5-532EC45D9D1C}" dt="2024-03-01T14:52:19.561" v="15831" actId="478"/>
          <ac:spMkLst>
            <pc:docMk/>
            <pc:sldMk cId="2040534611" sldId="911"/>
            <ac:spMk id="53" creationId="{7FDF12CD-098E-00CC-1799-C0249E7F034D}"/>
          </ac:spMkLst>
        </pc:spChg>
        <pc:spChg chg="add del mod ord">
          <ac:chgData name="Nataliia Chornii (UA)" userId="4e4b8b3d-5f31-49bb-9f80-8a25c04abfff" providerId="ADAL" clId="{EE97D3FE-9ACA-4467-98E5-532EC45D9D1C}" dt="2024-03-01T14:52:19.561" v="15831" actId="478"/>
          <ac:spMkLst>
            <pc:docMk/>
            <pc:sldMk cId="2040534611" sldId="911"/>
            <ac:spMk id="55" creationId="{49FD3A09-FA23-E1A8-4401-1598D86185A8}"/>
          </ac:spMkLst>
        </pc:spChg>
        <pc:spChg chg="add del mod ord">
          <ac:chgData name="Nataliia Chornii (UA)" userId="4e4b8b3d-5f31-49bb-9f80-8a25c04abfff" providerId="ADAL" clId="{EE97D3FE-9ACA-4467-98E5-532EC45D9D1C}" dt="2024-03-01T14:52:19.561" v="15831" actId="478"/>
          <ac:spMkLst>
            <pc:docMk/>
            <pc:sldMk cId="2040534611" sldId="911"/>
            <ac:spMk id="56" creationId="{5C6B71B2-CF4C-544E-95D5-E5CD705DEA27}"/>
          </ac:spMkLst>
        </pc:spChg>
        <pc:spChg chg="add del mod ord">
          <ac:chgData name="Nataliia Chornii (UA)" userId="4e4b8b3d-5f31-49bb-9f80-8a25c04abfff" providerId="ADAL" clId="{EE97D3FE-9ACA-4467-98E5-532EC45D9D1C}" dt="2024-03-01T14:52:19.561" v="15831" actId="478"/>
          <ac:spMkLst>
            <pc:docMk/>
            <pc:sldMk cId="2040534611" sldId="911"/>
            <ac:spMk id="57" creationId="{4E465F11-4186-C870-487D-8A3FC70A92E3}"/>
          </ac:spMkLst>
        </pc:spChg>
        <pc:spChg chg="add del mod ord">
          <ac:chgData name="Nataliia Chornii (UA)" userId="4e4b8b3d-5f31-49bb-9f80-8a25c04abfff" providerId="ADAL" clId="{EE97D3FE-9ACA-4467-98E5-532EC45D9D1C}" dt="2024-03-01T14:52:19.561" v="15831" actId="478"/>
          <ac:spMkLst>
            <pc:docMk/>
            <pc:sldMk cId="2040534611" sldId="911"/>
            <ac:spMk id="58" creationId="{F13EB724-2E64-1DE3-8405-21C8E1191363}"/>
          </ac:spMkLst>
        </pc:spChg>
        <pc:spChg chg="add del mod ord">
          <ac:chgData name="Nataliia Chornii (UA)" userId="4e4b8b3d-5f31-49bb-9f80-8a25c04abfff" providerId="ADAL" clId="{EE97D3FE-9ACA-4467-98E5-532EC45D9D1C}" dt="2024-03-01T14:52:19.561" v="15831" actId="478"/>
          <ac:spMkLst>
            <pc:docMk/>
            <pc:sldMk cId="2040534611" sldId="911"/>
            <ac:spMk id="59" creationId="{19D90C8F-E462-813A-11E0-BC7609CB8110}"/>
          </ac:spMkLst>
        </pc:spChg>
        <pc:spChg chg="add del mod ord">
          <ac:chgData name="Nataliia Chornii (UA)" userId="4e4b8b3d-5f31-49bb-9f80-8a25c04abfff" providerId="ADAL" clId="{EE97D3FE-9ACA-4467-98E5-532EC45D9D1C}" dt="2024-03-01T14:52:19.561" v="15831" actId="478"/>
          <ac:spMkLst>
            <pc:docMk/>
            <pc:sldMk cId="2040534611" sldId="911"/>
            <ac:spMk id="60" creationId="{86C1C186-284F-6D08-2DE7-A918447A2320}"/>
          </ac:spMkLst>
        </pc:spChg>
        <pc:spChg chg="add del mod ord">
          <ac:chgData name="Nataliia Chornii (UA)" userId="4e4b8b3d-5f31-49bb-9f80-8a25c04abfff" providerId="ADAL" clId="{EE97D3FE-9ACA-4467-98E5-532EC45D9D1C}" dt="2024-03-01T14:52:19.561" v="15831" actId="478"/>
          <ac:spMkLst>
            <pc:docMk/>
            <pc:sldMk cId="2040534611" sldId="911"/>
            <ac:spMk id="61" creationId="{B260619E-190F-32F4-6A72-B3FBEDE2F53B}"/>
          </ac:spMkLst>
        </pc:spChg>
        <pc:spChg chg="add del mod ord">
          <ac:chgData name="Nataliia Chornii (UA)" userId="4e4b8b3d-5f31-49bb-9f80-8a25c04abfff" providerId="ADAL" clId="{EE97D3FE-9ACA-4467-98E5-532EC45D9D1C}" dt="2024-03-01T14:52:19.561" v="15831" actId="478"/>
          <ac:spMkLst>
            <pc:docMk/>
            <pc:sldMk cId="2040534611" sldId="911"/>
            <ac:spMk id="62" creationId="{6024767D-0510-BECF-7AF6-1A6CECCD4E97}"/>
          </ac:spMkLst>
        </pc:spChg>
        <pc:spChg chg="add del mod ord">
          <ac:chgData name="Nataliia Chornii (UA)" userId="4e4b8b3d-5f31-49bb-9f80-8a25c04abfff" providerId="ADAL" clId="{EE97D3FE-9ACA-4467-98E5-532EC45D9D1C}" dt="2024-03-01T14:52:19.561" v="15831" actId="478"/>
          <ac:spMkLst>
            <pc:docMk/>
            <pc:sldMk cId="2040534611" sldId="911"/>
            <ac:spMk id="63" creationId="{37D9A56B-37FE-F7E3-F8EC-5DBFE8A559A3}"/>
          </ac:spMkLst>
        </pc:spChg>
        <pc:spChg chg="add mod ord">
          <ac:chgData name="Nataliia Chornii (UA)" userId="4e4b8b3d-5f31-49bb-9f80-8a25c04abfff" providerId="ADAL" clId="{EE97D3FE-9ACA-4467-98E5-532EC45D9D1C}" dt="2024-03-01T14:36:05.600" v="15334" actId="553"/>
          <ac:spMkLst>
            <pc:docMk/>
            <pc:sldMk cId="2040534611" sldId="911"/>
            <ac:spMk id="65" creationId="{5251DA9C-70D5-D5D9-4097-7ABDC1CD630B}"/>
          </ac:spMkLst>
        </pc:spChg>
        <pc:spChg chg="add del mod ord">
          <ac:chgData name="Nataliia Chornii (UA)" userId="4e4b8b3d-5f31-49bb-9f80-8a25c04abfff" providerId="ADAL" clId="{EE97D3FE-9ACA-4467-98E5-532EC45D9D1C}" dt="2024-03-01T15:19:18.016" v="16984" actId="478"/>
          <ac:spMkLst>
            <pc:docMk/>
            <pc:sldMk cId="2040534611" sldId="911"/>
            <ac:spMk id="66" creationId="{1F744775-C00B-0E25-6908-9E732DEEDB5A}"/>
          </ac:spMkLst>
        </pc:spChg>
        <pc:spChg chg="add del mod modVis">
          <ac:chgData name="Nataliia Chornii (UA)" userId="4e4b8b3d-5f31-49bb-9f80-8a25c04abfff" providerId="ADAL" clId="{EE97D3FE-9ACA-4467-98E5-532EC45D9D1C}" dt="2024-03-01T14:36:10.336" v="15360"/>
          <ac:spMkLst>
            <pc:docMk/>
            <pc:sldMk cId="2040534611" sldId="911"/>
            <ac:spMk id="67" creationId="{A394D47B-3668-78DD-3DAD-8516BA14A086}"/>
          </ac:spMkLst>
        </pc:spChg>
        <pc:spChg chg="add del mod modVis">
          <ac:chgData name="Nataliia Chornii (UA)" userId="4e4b8b3d-5f31-49bb-9f80-8a25c04abfff" providerId="ADAL" clId="{EE97D3FE-9ACA-4467-98E5-532EC45D9D1C}" dt="2024-03-01T14:36:12.624" v="15387"/>
          <ac:spMkLst>
            <pc:docMk/>
            <pc:sldMk cId="2040534611" sldId="911"/>
            <ac:spMk id="68" creationId="{35FE566B-7E65-EBDA-D5FB-B083BEF4A98D}"/>
          </ac:spMkLst>
        </pc:spChg>
        <pc:spChg chg="add mod">
          <ac:chgData name="Nataliia Chornii (UA)" userId="4e4b8b3d-5f31-49bb-9f80-8a25c04abfff" providerId="ADAL" clId="{EE97D3FE-9ACA-4467-98E5-532EC45D9D1C}" dt="2024-03-01T14:50:00.369" v="15784"/>
          <ac:spMkLst>
            <pc:docMk/>
            <pc:sldMk cId="2040534611" sldId="911"/>
            <ac:spMk id="69" creationId="{1754B4E2-BA66-E8F8-14EA-81E58AEBD33C}"/>
          </ac:spMkLst>
        </pc:spChg>
        <pc:spChg chg="add mod">
          <ac:chgData name="Nataliia Chornii (UA)" userId="4e4b8b3d-5f31-49bb-9f80-8a25c04abfff" providerId="ADAL" clId="{EE97D3FE-9ACA-4467-98E5-532EC45D9D1C}" dt="2024-03-01T14:50:00.369" v="15784"/>
          <ac:spMkLst>
            <pc:docMk/>
            <pc:sldMk cId="2040534611" sldId="911"/>
            <ac:spMk id="70" creationId="{705A2BE6-2534-568C-D8AC-28B020789766}"/>
          </ac:spMkLst>
        </pc:spChg>
        <pc:spChg chg="add mod">
          <ac:chgData name="Nataliia Chornii (UA)" userId="4e4b8b3d-5f31-49bb-9f80-8a25c04abfff" providerId="ADAL" clId="{EE97D3FE-9ACA-4467-98E5-532EC45D9D1C}" dt="2024-03-01T14:50:00.369" v="15784"/>
          <ac:spMkLst>
            <pc:docMk/>
            <pc:sldMk cId="2040534611" sldId="911"/>
            <ac:spMk id="71" creationId="{130264A3-BC88-CC76-BE2A-96B8C1ED6604}"/>
          </ac:spMkLst>
        </pc:spChg>
        <pc:spChg chg="add mod">
          <ac:chgData name="Nataliia Chornii (UA)" userId="4e4b8b3d-5f31-49bb-9f80-8a25c04abfff" providerId="ADAL" clId="{EE97D3FE-9ACA-4467-98E5-532EC45D9D1C}" dt="2024-03-01T14:50:00.369" v="15784"/>
          <ac:spMkLst>
            <pc:docMk/>
            <pc:sldMk cId="2040534611" sldId="911"/>
            <ac:spMk id="72" creationId="{53E7A0B9-B7CF-ECFC-3C26-635AD3B8B524}"/>
          </ac:spMkLst>
        </pc:spChg>
        <pc:spChg chg="add mod">
          <ac:chgData name="Nataliia Chornii (UA)" userId="4e4b8b3d-5f31-49bb-9f80-8a25c04abfff" providerId="ADAL" clId="{EE97D3FE-9ACA-4467-98E5-532EC45D9D1C}" dt="2024-03-01T14:50:00.369" v="15784"/>
          <ac:spMkLst>
            <pc:docMk/>
            <pc:sldMk cId="2040534611" sldId="911"/>
            <ac:spMk id="73" creationId="{2B26BD32-8601-1467-322C-FF6778E2322E}"/>
          </ac:spMkLst>
        </pc:spChg>
        <pc:spChg chg="add mod">
          <ac:chgData name="Nataliia Chornii (UA)" userId="4e4b8b3d-5f31-49bb-9f80-8a25c04abfff" providerId="ADAL" clId="{EE97D3FE-9ACA-4467-98E5-532EC45D9D1C}" dt="2024-03-01T14:50:00.369" v="15784"/>
          <ac:spMkLst>
            <pc:docMk/>
            <pc:sldMk cId="2040534611" sldId="911"/>
            <ac:spMk id="74" creationId="{4EA69B3B-AA2B-1109-4D13-69B005A0B356}"/>
          </ac:spMkLst>
        </pc:spChg>
        <pc:spChg chg="add mod">
          <ac:chgData name="Nataliia Chornii (UA)" userId="4e4b8b3d-5f31-49bb-9f80-8a25c04abfff" providerId="ADAL" clId="{EE97D3FE-9ACA-4467-98E5-532EC45D9D1C}" dt="2024-03-01T14:50:00.369" v="15784"/>
          <ac:spMkLst>
            <pc:docMk/>
            <pc:sldMk cId="2040534611" sldId="911"/>
            <ac:spMk id="75" creationId="{0730373B-D43A-F431-867E-F1DE33819D4F}"/>
          </ac:spMkLst>
        </pc:spChg>
        <pc:spChg chg="add mod">
          <ac:chgData name="Nataliia Chornii (UA)" userId="4e4b8b3d-5f31-49bb-9f80-8a25c04abfff" providerId="ADAL" clId="{EE97D3FE-9ACA-4467-98E5-532EC45D9D1C}" dt="2024-03-01T14:50:00.369" v="15784"/>
          <ac:spMkLst>
            <pc:docMk/>
            <pc:sldMk cId="2040534611" sldId="911"/>
            <ac:spMk id="76" creationId="{DEC8C03A-2424-6BA6-DEF7-DA6DB86A3149}"/>
          </ac:spMkLst>
        </pc:spChg>
        <pc:spChg chg="add del mod">
          <ac:chgData name="Nataliia Chornii (UA)" userId="4e4b8b3d-5f31-49bb-9f80-8a25c04abfff" providerId="ADAL" clId="{EE97D3FE-9ACA-4467-98E5-532EC45D9D1C}" dt="2024-03-01T14:52:21.588" v="15833" actId="478"/>
          <ac:spMkLst>
            <pc:docMk/>
            <pc:sldMk cId="2040534611" sldId="911"/>
            <ac:spMk id="77" creationId="{023B2394-0AD3-1937-9655-7116865BAF59}"/>
          </ac:spMkLst>
        </pc:spChg>
        <pc:spChg chg="add mod">
          <ac:chgData name="Nataliia Chornii (UA)" userId="4e4b8b3d-5f31-49bb-9f80-8a25c04abfff" providerId="ADAL" clId="{EE97D3FE-9ACA-4467-98E5-532EC45D9D1C}" dt="2024-03-01T14:52:19.924" v="15832"/>
          <ac:spMkLst>
            <pc:docMk/>
            <pc:sldMk cId="2040534611" sldId="911"/>
            <ac:spMk id="78" creationId="{9B5A74B6-FB10-2BA0-78A1-B456635624A2}"/>
          </ac:spMkLst>
        </pc:spChg>
        <pc:spChg chg="add mod">
          <ac:chgData name="Nataliia Chornii (UA)" userId="4e4b8b3d-5f31-49bb-9f80-8a25c04abfff" providerId="ADAL" clId="{EE97D3FE-9ACA-4467-98E5-532EC45D9D1C}" dt="2024-03-01T14:52:19.924" v="15832"/>
          <ac:spMkLst>
            <pc:docMk/>
            <pc:sldMk cId="2040534611" sldId="911"/>
            <ac:spMk id="79" creationId="{D961E21E-3D2D-C986-38CE-61F71FBCFF50}"/>
          </ac:spMkLst>
        </pc:spChg>
        <pc:spChg chg="add mod">
          <ac:chgData name="Nataliia Chornii (UA)" userId="4e4b8b3d-5f31-49bb-9f80-8a25c04abfff" providerId="ADAL" clId="{EE97D3FE-9ACA-4467-98E5-532EC45D9D1C}" dt="2024-03-01T14:52:19.924" v="15832"/>
          <ac:spMkLst>
            <pc:docMk/>
            <pc:sldMk cId="2040534611" sldId="911"/>
            <ac:spMk id="80" creationId="{F866AF98-F376-21F3-55F6-697FFC7B0E11}"/>
          </ac:spMkLst>
        </pc:spChg>
        <pc:spChg chg="add mod">
          <ac:chgData name="Nataliia Chornii (UA)" userId="4e4b8b3d-5f31-49bb-9f80-8a25c04abfff" providerId="ADAL" clId="{EE97D3FE-9ACA-4467-98E5-532EC45D9D1C}" dt="2024-03-01T14:52:19.924" v="15832"/>
          <ac:spMkLst>
            <pc:docMk/>
            <pc:sldMk cId="2040534611" sldId="911"/>
            <ac:spMk id="81" creationId="{F09E0947-1C95-ED66-E901-09529C80D293}"/>
          </ac:spMkLst>
        </pc:spChg>
        <pc:spChg chg="add mod">
          <ac:chgData name="Nataliia Chornii (UA)" userId="4e4b8b3d-5f31-49bb-9f80-8a25c04abfff" providerId="ADAL" clId="{EE97D3FE-9ACA-4467-98E5-532EC45D9D1C}" dt="2024-03-01T14:52:19.924" v="15832"/>
          <ac:spMkLst>
            <pc:docMk/>
            <pc:sldMk cId="2040534611" sldId="911"/>
            <ac:spMk id="82" creationId="{75FEAD71-CE5A-45D5-40E3-0E43BE9CCEBC}"/>
          </ac:spMkLst>
        </pc:spChg>
        <pc:spChg chg="add mod">
          <ac:chgData name="Nataliia Chornii (UA)" userId="4e4b8b3d-5f31-49bb-9f80-8a25c04abfff" providerId="ADAL" clId="{EE97D3FE-9ACA-4467-98E5-532EC45D9D1C}" dt="2024-03-01T14:52:19.924" v="15832"/>
          <ac:spMkLst>
            <pc:docMk/>
            <pc:sldMk cId="2040534611" sldId="911"/>
            <ac:spMk id="83" creationId="{E20B9513-8BD3-2724-D843-7E666E9EA3D3}"/>
          </ac:spMkLst>
        </pc:spChg>
        <pc:spChg chg="add mod">
          <ac:chgData name="Nataliia Chornii (UA)" userId="4e4b8b3d-5f31-49bb-9f80-8a25c04abfff" providerId="ADAL" clId="{EE97D3FE-9ACA-4467-98E5-532EC45D9D1C}" dt="2024-03-01T14:52:57.254" v="15837" actId="554"/>
          <ac:spMkLst>
            <pc:docMk/>
            <pc:sldMk cId="2040534611" sldId="911"/>
            <ac:spMk id="84" creationId="{A3817198-39BA-8D82-E588-415D74AE79E6}"/>
          </ac:spMkLst>
        </pc:spChg>
        <pc:spChg chg="add mod">
          <ac:chgData name="Nataliia Chornii (UA)" userId="4e4b8b3d-5f31-49bb-9f80-8a25c04abfff" providerId="ADAL" clId="{EE97D3FE-9ACA-4467-98E5-532EC45D9D1C}" dt="2024-03-01T14:52:55.335" v="15836" actId="554"/>
          <ac:spMkLst>
            <pc:docMk/>
            <pc:sldMk cId="2040534611" sldId="911"/>
            <ac:spMk id="85" creationId="{709C1DD6-305F-6483-87C6-7A81A75D609F}"/>
          </ac:spMkLst>
        </pc:spChg>
        <pc:spChg chg="add mod">
          <ac:chgData name="Nataliia Chornii (UA)" userId="4e4b8b3d-5f31-49bb-9f80-8a25c04abfff" providerId="ADAL" clId="{EE97D3FE-9ACA-4467-98E5-532EC45D9D1C}" dt="2024-03-01T14:52:19.924" v="15832"/>
          <ac:spMkLst>
            <pc:docMk/>
            <pc:sldMk cId="2040534611" sldId="911"/>
            <ac:spMk id="87" creationId="{7F12CF72-4E98-AC6C-0CAA-069A7BEB7929}"/>
          </ac:spMkLst>
        </pc:spChg>
        <pc:spChg chg="add mod">
          <ac:chgData name="Nataliia Chornii (UA)" userId="4e4b8b3d-5f31-49bb-9f80-8a25c04abfff" providerId="ADAL" clId="{EE97D3FE-9ACA-4467-98E5-532EC45D9D1C}" dt="2024-03-01T14:52:19.924" v="15832"/>
          <ac:spMkLst>
            <pc:docMk/>
            <pc:sldMk cId="2040534611" sldId="911"/>
            <ac:spMk id="88" creationId="{8FDB5D70-C0CC-9736-705B-EC3C4510FADC}"/>
          </ac:spMkLst>
        </pc:spChg>
        <pc:spChg chg="add mod">
          <ac:chgData name="Nataliia Chornii (UA)" userId="4e4b8b3d-5f31-49bb-9f80-8a25c04abfff" providerId="ADAL" clId="{EE97D3FE-9ACA-4467-98E5-532EC45D9D1C}" dt="2024-03-01T14:52:19.924" v="15832"/>
          <ac:spMkLst>
            <pc:docMk/>
            <pc:sldMk cId="2040534611" sldId="911"/>
            <ac:spMk id="89" creationId="{61F01A40-A906-09F5-FA41-6FD189393CF8}"/>
          </ac:spMkLst>
        </pc:spChg>
        <pc:spChg chg="add mod">
          <ac:chgData name="Nataliia Chornii (UA)" userId="4e4b8b3d-5f31-49bb-9f80-8a25c04abfff" providerId="ADAL" clId="{EE97D3FE-9ACA-4467-98E5-532EC45D9D1C}" dt="2024-03-01T14:52:19.924" v="15832"/>
          <ac:spMkLst>
            <pc:docMk/>
            <pc:sldMk cId="2040534611" sldId="911"/>
            <ac:spMk id="90" creationId="{12611061-5823-F5D8-7807-AC0EE800FBC6}"/>
          </ac:spMkLst>
        </pc:spChg>
        <pc:spChg chg="add mod">
          <ac:chgData name="Nataliia Chornii (UA)" userId="4e4b8b3d-5f31-49bb-9f80-8a25c04abfff" providerId="ADAL" clId="{EE97D3FE-9ACA-4467-98E5-532EC45D9D1C}" dt="2024-03-01T14:52:19.924" v="15832"/>
          <ac:spMkLst>
            <pc:docMk/>
            <pc:sldMk cId="2040534611" sldId="911"/>
            <ac:spMk id="91" creationId="{CAE6B261-9C4F-844D-9AE8-75AB438102F3}"/>
          </ac:spMkLst>
        </pc:spChg>
        <pc:spChg chg="add mod">
          <ac:chgData name="Nataliia Chornii (UA)" userId="4e4b8b3d-5f31-49bb-9f80-8a25c04abfff" providerId="ADAL" clId="{EE97D3FE-9ACA-4467-98E5-532EC45D9D1C}" dt="2024-03-01T14:52:19.924" v="15832"/>
          <ac:spMkLst>
            <pc:docMk/>
            <pc:sldMk cId="2040534611" sldId="911"/>
            <ac:spMk id="92" creationId="{BBF2487C-09CA-FF67-1720-4578499D72BD}"/>
          </ac:spMkLst>
        </pc:spChg>
        <pc:spChg chg="add mod">
          <ac:chgData name="Nataliia Chornii (UA)" userId="4e4b8b3d-5f31-49bb-9f80-8a25c04abfff" providerId="ADAL" clId="{EE97D3FE-9ACA-4467-98E5-532EC45D9D1C}" dt="2024-03-01T14:52:19.924" v="15832"/>
          <ac:spMkLst>
            <pc:docMk/>
            <pc:sldMk cId="2040534611" sldId="911"/>
            <ac:spMk id="93" creationId="{987C77FD-321B-D7F5-67E2-D69EE602053F}"/>
          </ac:spMkLst>
        </pc:spChg>
        <pc:spChg chg="add mod">
          <ac:chgData name="Nataliia Chornii (UA)" userId="4e4b8b3d-5f31-49bb-9f80-8a25c04abfff" providerId="ADAL" clId="{EE97D3FE-9ACA-4467-98E5-532EC45D9D1C}" dt="2024-03-01T14:52:19.924" v="15832"/>
          <ac:spMkLst>
            <pc:docMk/>
            <pc:sldMk cId="2040534611" sldId="911"/>
            <ac:spMk id="94" creationId="{17C398B3-B4FB-856A-94D9-AD3CA433FF1B}"/>
          </ac:spMkLst>
        </pc:spChg>
        <pc:spChg chg="add mod">
          <ac:chgData name="Nataliia Chornii (UA)" userId="4e4b8b3d-5f31-49bb-9f80-8a25c04abfff" providerId="ADAL" clId="{EE97D3FE-9ACA-4467-98E5-532EC45D9D1C}" dt="2024-03-01T14:52:19.924" v="15832"/>
          <ac:spMkLst>
            <pc:docMk/>
            <pc:sldMk cId="2040534611" sldId="911"/>
            <ac:spMk id="95" creationId="{5506ED65-A6BC-3C99-F157-BBD58E1F1F32}"/>
          </ac:spMkLst>
        </pc:spChg>
        <pc:spChg chg="add del mod">
          <ac:chgData name="Nataliia Chornii (UA)" userId="4e4b8b3d-5f31-49bb-9f80-8a25c04abfff" providerId="ADAL" clId="{EE97D3FE-9ACA-4467-98E5-532EC45D9D1C}" dt="2024-03-11T14:29:21.707" v="24226" actId="478"/>
          <ac:spMkLst>
            <pc:docMk/>
            <pc:sldMk cId="2040534611" sldId="911"/>
            <ac:spMk id="96" creationId="{2DEFB647-7A4C-9C02-6A86-21F128667E96}"/>
          </ac:spMkLst>
        </pc:spChg>
        <pc:grpChg chg="add mod">
          <ac:chgData name="Nataliia Chornii (UA)" userId="4e4b8b3d-5f31-49bb-9f80-8a25c04abfff" providerId="ADAL" clId="{EE97D3FE-9ACA-4467-98E5-532EC45D9D1C}" dt="2024-03-11T14:25:48.340" v="24082"/>
          <ac:grpSpMkLst>
            <pc:docMk/>
            <pc:sldMk cId="2040534611" sldId="911"/>
            <ac:grpSpMk id="5" creationId="{1CBE48A8-B29B-B92B-CE38-ED8235AAE14D}"/>
          </ac:grpSpMkLst>
        </pc:grpChg>
        <pc:graphicFrameChg chg="add mod ord modVis replST">
          <ac:chgData name="Nataliia Chornii (UA)" userId="4e4b8b3d-5f31-49bb-9f80-8a25c04abfff" providerId="ADAL" clId="{EE97D3FE-9ACA-4467-98E5-532EC45D9D1C}" dt="2024-03-01T14:36:12.624" v="15389"/>
          <ac:graphicFrameMkLst>
            <pc:docMk/>
            <pc:sldMk cId="2040534611" sldId="911"/>
            <ac:graphicFrameMk id="12" creationId="{317D5129-C98E-0B87-735C-CE927B0DA4C9}"/>
          </ac:graphicFrameMkLst>
        </pc:graphicFrameChg>
        <pc:picChg chg="add mod ord">
          <ac:chgData name="Nataliia Chornii (UA)" userId="4e4b8b3d-5f31-49bb-9f80-8a25c04abfff" providerId="ADAL" clId="{EE97D3FE-9ACA-4467-98E5-532EC45D9D1C}" dt="2024-03-01T14:36:05.600" v="15334" actId="553"/>
          <ac:picMkLst>
            <pc:docMk/>
            <pc:sldMk cId="2040534611" sldId="911"/>
            <ac:picMk id="64" creationId="{00D7B3D6-4A21-F58A-0C43-20AB30413294}"/>
          </ac:picMkLst>
        </pc:picChg>
        <pc:cxnChg chg="add mod ord">
          <ac:chgData name="Nataliia Chornii (UA)" userId="4e4b8b3d-5f31-49bb-9f80-8a25c04abfff" providerId="ADAL" clId="{EE97D3FE-9ACA-4467-98E5-532EC45D9D1C}" dt="2024-03-01T14:53:00.592" v="15838" actId="465"/>
          <ac:cxnSpMkLst>
            <pc:docMk/>
            <pc:sldMk cId="2040534611" sldId="911"/>
            <ac:cxnSpMk id="44" creationId="{86AA3544-8078-8C8C-0759-E3DC6A24E6ED}"/>
          </ac:cxnSpMkLst>
        </pc:cxnChg>
        <pc:cxnChg chg="add mod ord">
          <ac:chgData name="Nataliia Chornii (UA)" userId="4e4b8b3d-5f31-49bb-9f80-8a25c04abfff" providerId="ADAL" clId="{EE97D3FE-9ACA-4467-98E5-532EC45D9D1C}" dt="2024-03-01T14:53:00.592" v="15838" actId="465"/>
          <ac:cxnSpMkLst>
            <pc:docMk/>
            <pc:sldMk cId="2040534611" sldId="911"/>
            <ac:cxnSpMk id="45" creationId="{9B4AE2A4-0953-2815-D272-B652E04D7D9A}"/>
          </ac:cxnSpMkLst>
        </pc:cxnChg>
        <pc:cxnChg chg="add mod ord">
          <ac:chgData name="Nataliia Chornii (UA)" userId="4e4b8b3d-5f31-49bb-9f80-8a25c04abfff" providerId="ADAL" clId="{EE97D3FE-9ACA-4467-98E5-532EC45D9D1C}" dt="2024-03-01T14:53:00.592" v="15838" actId="465"/>
          <ac:cxnSpMkLst>
            <pc:docMk/>
            <pc:sldMk cId="2040534611" sldId="911"/>
            <ac:cxnSpMk id="46" creationId="{F2BF2269-DD68-E61E-C57D-3092670F8B8E}"/>
          </ac:cxnSpMkLst>
        </pc:cxnChg>
        <pc:cxnChg chg="add mod ord">
          <ac:chgData name="Nataliia Chornii (UA)" userId="4e4b8b3d-5f31-49bb-9f80-8a25c04abfff" providerId="ADAL" clId="{EE97D3FE-9ACA-4467-98E5-532EC45D9D1C}" dt="2024-03-01T14:53:00.592" v="15838" actId="465"/>
          <ac:cxnSpMkLst>
            <pc:docMk/>
            <pc:sldMk cId="2040534611" sldId="911"/>
            <ac:cxnSpMk id="47" creationId="{302B2A6A-9855-2A91-3ECB-C9CDFD2F5290}"/>
          </ac:cxnSpMkLst>
        </pc:cxnChg>
        <pc:cxnChg chg="add mod ord">
          <ac:chgData name="Nataliia Chornii (UA)" userId="4e4b8b3d-5f31-49bb-9f80-8a25c04abfff" providerId="ADAL" clId="{EE97D3FE-9ACA-4467-98E5-532EC45D9D1C}" dt="2024-03-01T14:53:00.592" v="15838" actId="465"/>
          <ac:cxnSpMkLst>
            <pc:docMk/>
            <pc:sldMk cId="2040534611" sldId="911"/>
            <ac:cxnSpMk id="48" creationId="{960CEA53-11AD-7AFC-8199-EEAD6FADEB5A}"/>
          </ac:cxnSpMkLst>
        </pc:cxnChg>
        <pc:cxnChg chg="add mod ord">
          <ac:chgData name="Nataliia Chornii (UA)" userId="4e4b8b3d-5f31-49bb-9f80-8a25c04abfff" providerId="ADAL" clId="{EE97D3FE-9ACA-4467-98E5-532EC45D9D1C}" dt="2024-03-01T14:53:00.592" v="15838" actId="465"/>
          <ac:cxnSpMkLst>
            <pc:docMk/>
            <pc:sldMk cId="2040534611" sldId="911"/>
            <ac:cxnSpMk id="49" creationId="{45CD009F-0997-2BAB-6111-300DC415D36F}"/>
          </ac:cxnSpMkLst>
        </pc:cxnChg>
        <pc:cxnChg chg="add mod ord">
          <ac:chgData name="Nataliia Chornii (UA)" userId="4e4b8b3d-5f31-49bb-9f80-8a25c04abfff" providerId="ADAL" clId="{EE97D3FE-9ACA-4467-98E5-532EC45D9D1C}" dt="2024-03-01T14:53:00.592" v="15838" actId="465"/>
          <ac:cxnSpMkLst>
            <pc:docMk/>
            <pc:sldMk cId="2040534611" sldId="911"/>
            <ac:cxnSpMk id="50" creationId="{B4A0F0CD-ADBC-2253-5BCA-ACB10D9B55DE}"/>
          </ac:cxnSpMkLst>
        </pc:cxnChg>
        <pc:cxnChg chg="add del mod ord">
          <ac:chgData name="Nataliia Chornii (UA)" userId="4e4b8b3d-5f31-49bb-9f80-8a25c04abfff" providerId="ADAL" clId="{EE97D3FE-9ACA-4467-98E5-532EC45D9D1C}" dt="2024-03-01T14:52:19.561" v="15831" actId="478"/>
          <ac:cxnSpMkLst>
            <pc:docMk/>
            <pc:sldMk cId="2040534611" sldId="911"/>
            <ac:cxnSpMk id="54" creationId="{30253BD9-E027-47E1-80A4-EFE6ACD7D141}"/>
          </ac:cxnSpMkLst>
        </pc:cxnChg>
        <pc:cxnChg chg="add mod">
          <ac:chgData name="Nataliia Chornii (UA)" userId="4e4b8b3d-5f31-49bb-9f80-8a25c04abfff" providerId="ADAL" clId="{EE97D3FE-9ACA-4467-98E5-532EC45D9D1C}" dt="2024-03-01T14:52:19.924" v="15832"/>
          <ac:cxnSpMkLst>
            <pc:docMk/>
            <pc:sldMk cId="2040534611" sldId="911"/>
            <ac:cxnSpMk id="86" creationId="{C5E041A6-46B5-468F-88CB-37765961A408}"/>
          </ac:cxnSpMkLst>
        </pc:cxnChg>
      </pc:sldChg>
      <pc:sldChg chg="addSp delSp modSp del mod modClrScheme chgLayout">
        <pc:chgData name="Nataliia Chornii (UA)" userId="4e4b8b3d-5f31-49bb-9f80-8a25c04abfff" providerId="ADAL" clId="{EE97D3FE-9ACA-4467-98E5-532EC45D9D1C}" dt="2024-03-01T11:02:07.515" v="11101" actId="47"/>
        <pc:sldMkLst>
          <pc:docMk/>
          <pc:sldMk cId="1829617463" sldId="912"/>
        </pc:sldMkLst>
        <pc:spChg chg="del mod ord">
          <ac:chgData name="Nataliia Chornii (UA)" userId="4e4b8b3d-5f31-49bb-9f80-8a25c04abfff" providerId="ADAL" clId="{EE97D3FE-9ACA-4467-98E5-532EC45D9D1C}" dt="2024-03-01T10:42:07.546" v="10453" actId="478"/>
          <ac:spMkLst>
            <pc:docMk/>
            <pc:sldMk cId="1829617463" sldId="912"/>
            <ac:spMk id="2" creationId="{A1EA5253-E431-DFFC-E94A-6F8E087CC2C0}"/>
          </ac:spMkLst>
        </pc:spChg>
        <pc:spChg chg="mod ord">
          <ac:chgData name="Nataliia Chornii (UA)" userId="4e4b8b3d-5f31-49bb-9f80-8a25c04abfff" providerId="ADAL" clId="{EE97D3FE-9ACA-4467-98E5-532EC45D9D1C}" dt="2024-03-01T10:51:20.357" v="10831" actId="948"/>
          <ac:spMkLst>
            <pc:docMk/>
            <pc:sldMk cId="1829617463" sldId="912"/>
            <ac:spMk id="3" creationId="{F4CCF02E-F3C4-C376-8F56-61BD85A2E74B}"/>
          </ac:spMkLst>
        </pc:spChg>
        <pc:spChg chg="mod ord">
          <ac:chgData name="Nataliia Chornii (UA)" userId="4e4b8b3d-5f31-49bb-9f80-8a25c04abfff" providerId="ADAL" clId="{EE97D3FE-9ACA-4467-98E5-532EC45D9D1C}" dt="2024-03-01T10:50:53.605" v="10797"/>
          <ac:spMkLst>
            <pc:docMk/>
            <pc:sldMk cId="1829617463" sldId="912"/>
            <ac:spMk id="4" creationId="{872966CD-924A-B939-E655-A6BAF817DCBF}"/>
          </ac:spMkLst>
        </pc:spChg>
        <pc:spChg chg="del mod ord">
          <ac:chgData name="Nataliia Chornii (UA)" userId="4e4b8b3d-5f31-49bb-9f80-8a25c04abfff" providerId="ADAL" clId="{EE97D3FE-9ACA-4467-98E5-532EC45D9D1C}" dt="2024-03-01T10:42:00.110" v="10424" actId="478"/>
          <ac:spMkLst>
            <pc:docMk/>
            <pc:sldMk cId="1829617463" sldId="912"/>
            <ac:spMk id="5" creationId="{FF11D90A-8D15-0E43-4C2E-D42257331C13}"/>
          </ac:spMkLst>
        </pc:spChg>
        <pc:spChg chg="del mod ord">
          <ac:chgData name="Nataliia Chornii (UA)" userId="4e4b8b3d-5f31-49bb-9f80-8a25c04abfff" providerId="ADAL" clId="{EE97D3FE-9ACA-4467-98E5-532EC45D9D1C}" dt="2024-03-01T10:42:00.110" v="10424" actId="478"/>
          <ac:spMkLst>
            <pc:docMk/>
            <pc:sldMk cId="1829617463" sldId="912"/>
            <ac:spMk id="6" creationId="{0F377277-EC46-FAC5-F379-194FCD82679C}"/>
          </ac:spMkLst>
        </pc:spChg>
        <pc:spChg chg="del mod">
          <ac:chgData name="Nataliia Chornii (UA)" userId="4e4b8b3d-5f31-49bb-9f80-8a25c04abfff" providerId="ADAL" clId="{EE97D3FE-9ACA-4467-98E5-532EC45D9D1C}" dt="2024-03-01T10:42:30.857" v="10458" actId="478"/>
          <ac:spMkLst>
            <pc:docMk/>
            <pc:sldMk cId="1829617463" sldId="912"/>
            <ac:spMk id="7" creationId="{C808DA25-FA14-FF3C-E908-05869001F803}"/>
          </ac:spMkLst>
        </pc:spChg>
        <pc:spChg chg="mod ord">
          <ac:chgData name="Nataliia Chornii (UA)" userId="4e4b8b3d-5f31-49bb-9f80-8a25c04abfff" providerId="ADAL" clId="{EE97D3FE-9ACA-4467-98E5-532EC45D9D1C}" dt="2024-03-01T10:50:53.605" v="10799"/>
          <ac:spMkLst>
            <pc:docMk/>
            <pc:sldMk cId="1829617463" sldId="912"/>
            <ac:spMk id="8" creationId="{2292A5BD-BBCF-E009-4522-732CB9873538}"/>
          </ac:spMkLst>
        </pc:spChg>
        <pc:spChg chg="del mod ord">
          <ac:chgData name="Nataliia Chornii (UA)" userId="4e4b8b3d-5f31-49bb-9f80-8a25c04abfff" providerId="ADAL" clId="{EE97D3FE-9ACA-4467-98E5-532EC45D9D1C}" dt="2024-03-01T10:51:16.091" v="10829" actId="478"/>
          <ac:spMkLst>
            <pc:docMk/>
            <pc:sldMk cId="1829617463" sldId="912"/>
            <ac:spMk id="9" creationId="{87836C41-8052-C603-D229-3FB1E5E9CE1A}"/>
          </ac:spMkLst>
        </pc:spChg>
        <pc:spChg chg="mod ord">
          <ac:chgData name="Nataliia Chornii (UA)" userId="4e4b8b3d-5f31-49bb-9f80-8a25c04abfff" providerId="ADAL" clId="{EE97D3FE-9ACA-4467-98E5-532EC45D9D1C}" dt="2024-03-01T10:50:53.620" v="10813"/>
          <ac:spMkLst>
            <pc:docMk/>
            <pc:sldMk cId="1829617463" sldId="912"/>
            <ac:spMk id="10" creationId="{6F55AA3F-6103-110B-C367-10711AC49356}"/>
          </ac:spMkLst>
        </pc:spChg>
        <pc:spChg chg="add del mod modVis">
          <ac:chgData name="Nataliia Chornii (UA)" userId="4e4b8b3d-5f31-49bb-9f80-8a25c04abfff" providerId="ADAL" clId="{EE97D3FE-9ACA-4467-98E5-532EC45D9D1C}" dt="2024-03-01T08:48:59.377" v="1310"/>
          <ac:spMkLst>
            <pc:docMk/>
            <pc:sldMk cId="1829617463" sldId="912"/>
            <ac:spMk id="11" creationId="{C4B572B0-645D-B725-54BC-29A1A48DA65D}"/>
          </ac:spMkLst>
        </pc:spChg>
        <pc:spChg chg="add del mod modVis">
          <ac:chgData name="Nataliia Chornii (UA)" userId="4e4b8b3d-5f31-49bb-9f80-8a25c04abfff" providerId="ADAL" clId="{EE97D3FE-9ACA-4467-98E5-532EC45D9D1C}" dt="2024-03-01T08:49:33.729" v="2806"/>
          <ac:spMkLst>
            <pc:docMk/>
            <pc:sldMk cId="1829617463" sldId="912"/>
            <ac:spMk id="13" creationId="{8C4BE858-00ED-4314-466F-8B476C923DAD}"/>
          </ac:spMkLst>
        </pc:spChg>
        <pc:spChg chg="add del mod modVis">
          <ac:chgData name="Nataliia Chornii (UA)" userId="4e4b8b3d-5f31-49bb-9f80-8a25c04abfff" providerId="ADAL" clId="{EE97D3FE-9ACA-4467-98E5-532EC45D9D1C}" dt="2024-03-01T08:49:59.788" v="3794"/>
          <ac:spMkLst>
            <pc:docMk/>
            <pc:sldMk cId="1829617463" sldId="912"/>
            <ac:spMk id="14" creationId="{4C1ACB04-0F82-9BAB-7F26-03B15BC58D83}"/>
          </ac:spMkLst>
        </pc:spChg>
        <pc:spChg chg="add del mod modVis">
          <ac:chgData name="Nataliia Chornii (UA)" userId="4e4b8b3d-5f31-49bb-9f80-8a25c04abfff" providerId="ADAL" clId="{EE97D3FE-9ACA-4467-98E5-532EC45D9D1C}" dt="2024-03-01T08:51:26.094" v="4782"/>
          <ac:spMkLst>
            <pc:docMk/>
            <pc:sldMk cId="1829617463" sldId="912"/>
            <ac:spMk id="15" creationId="{4571106A-E248-56BD-298B-CB432F75A675}"/>
          </ac:spMkLst>
        </pc:spChg>
        <pc:spChg chg="add del mod modVis">
          <ac:chgData name="Nataliia Chornii (UA)" userId="4e4b8b3d-5f31-49bb-9f80-8a25c04abfff" providerId="ADAL" clId="{EE97D3FE-9ACA-4467-98E5-532EC45D9D1C}" dt="2024-03-01T08:51:56.094" v="5771"/>
          <ac:spMkLst>
            <pc:docMk/>
            <pc:sldMk cId="1829617463" sldId="912"/>
            <ac:spMk id="16" creationId="{5B188AAB-0561-1513-996D-95EDA26D8419}"/>
          </ac:spMkLst>
        </pc:spChg>
        <pc:spChg chg="add del mod modVis">
          <ac:chgData name="Nataliia Chornii (UA)" userId="4e4b8b3d-5f31-49bb-9f80-8a25c04abfff" providerId="ADAL" clId="{EE97D3FE-9ACA-4467-98E5-532EC45D9D1C}" dt="2024-03-01T08:52:18.265" v="6759"/>
          <ac:spMkLst>
            <pc:docMk/>
            <pc:sldMk cId="1829617463" sldId="912"/>
            <ac:spMk id="17" creationId="{08C0D047-94DD-F7CB-AB26-8040DE62A2BD}"/>
          </ac:spMkLst>
        </pc:spChg>
        <pc:spChg chg="add del mod modVis">
          <ac:chgData name="Nataliia Chornii (UA)" userId="4e4b8b3d-5f31-49bb-9f80-8a25c04abfff" providerId="ADAL" clId="{EE97D3FE-9ACA-4467-98E5-532EC45D9D1C}" dt="2024-03-01T10:41:54.011" v="10417" actId="962"/>
          <ac:spMkLst>
            <pc:docMk/>
            <pc:sldMk cId="1829617463" sldId="912"/>
            <ac:spMk id="18" creationId="{06437098-6012-82D8-432D-6774A312809C}"/>
          </ac:spMkLst>
        </pc:spChg>
        <pc:spChg chg="add del mod modVis">
          <ac:chgData name="Nataliia Chornii (UA)" userId="4e4b8b3d-5f31-49bb-9f80-8a25c04abfff" providerId="ADAL" clId="{EE97D3FE-9ACA-4467-98E5-532EC45D9D1C}" dt="2024-03-01T10:42:04.552" v="10449"/>
          <ac:spMkLst>
            <pc:docMk/>
            <pc:sldMk cId="1829617463" sldId="912"/>
            <ac:spMk id="19" creationId="{5E73303C-7364-4EC5-4D29-7E5F0EB0A417}"/>
          </ac:spMkLst>
        </pc:spChg>
        <pc:spChg chg="add mod ord">
          <ac:chgData name="Nataliia Chornii (UA)" userId="4e4b8b3d-5f31-49bb-9f80-8a25c04abfff" providerId="ADAL" clId="{EE97D3FE-9ACA-4467-98E5-532EC45D9D1C}" dt="2024-03-01T10:58:36.012" v="10962" actId="1076"/>
          <ac:spMkLst>
            <pc:docMk/>
            <pc:sldMk cId="1829617463" sldId="912"/>
            <ac:spMk id="21" creationId="{78DC1799-6B68-492D-BBE0-D7BECB3D58E6}"/>
          </ac:spMkLst>
        </pc:spChg>
        <pc:spChg chg="add mod ord">
          <ac:chgData name="Nataliia Chornii (UA)" userId="4e4b8b3d-5f31-49bb-9f80-8a25c04abfff" providerId="ADAL" clId="{EE97D3FE-9ACA-4467-98E5-532EC45D9D1C}" dt="2024-03-01T10:50:53.605" v="10805"/>
          <ac:spMkLst>
            <pc:docMk/>
            <pc:sldMk cId="1829617463" sldId="912"/>
            <ac:spMk id="22" creationId="{8A383B1B-1F96-C467-6BC7-1ACF6506A40E}"/>
          </ac:spMkLst>
        </pc:spChg>
        <pc:spChg chg="add del mod ord">
          <ac:chgData name="Nataliia Chornii (UA)" userId="4e4b8b3d-5f31-49bb-9f80-8a25c04abfff" providerId="ADAL" clId="{EE97D3FE-9ACA-4467-98E5-532EC45D9D1C}" dt="2024-03-01T10:49:32.519" v="10654" actId="478"/>
          <ac:spMkLst>
            <pc:docMk/>
            <pc:sldMk cId="1829617463" sldId="912"/>
            <ac:spMk id="23" creationId="{E0EFF36B-2B05-3DA6-C48D-E0D2BDB7D996}"/>
          </ac:spMkLst>
        </pc:spChg>
        <pc:spChg chg="add mod ord">
          <ac:chgData name="Nataliia Chornii (UA)" userId="4e4b8b3d-5f31-49bb-9f80-8a25c04abfff" providerId="ADAL" clId="{EE97D3FE-9ACA-4467-98E5-532EC45D9D1C}" dt="2024-03-01T10:51:38.616" v="10844" actId="14100"/>
          <ac:spMkLst>
            <pc:docMk/>
            <pc:sldMk cId="1829617463" sldId="912"/>
            <ac:spMk id="24" creationId="{348FF9D4-2615-1990-FB78-3260C32CF406}"/>
          </ac:spMkLst>
        </pc:spChg>
        <pc:spChg chg="add mod ord">
          <ac:chgData name="Nataliia Chornii (UA)" userId="4e4b8b3d-5f31-49bb-9f80-8a25c04abfff" providerId="ADAL" clId="{EE97D3FE-9ACA-4467-98E5-532EC45D9D1C}" dt="2024-03-01T10:54:25.500" v="10911" actId="3064"/>
          <ac:spMkLst>
            <pc:docMk/>
            <pc:sldMk cId="1829617463" sldId="912"/>
            <ac:spMk id="25" creationId="{2B261BF4-92C6-462D-AA95-793AE54DD688}"/>
          </ac:spMkLst>
        </pc:spChg>
        <pc:spChg chg="add mod ord">
          <ac:chgData name="Nataliia Chornii (UA)" userId="4e4b8b3d-5f31-49bb-9f80-8a25c04abfff" providerId="ADAL" clId="{EE97D3FE-9ACA-4467-98E5-532EC45D9D1C}" dt="2024-03-01T10:52:30.454" v="10863" actId="3064"/>
          <ac:spMkLst>
            <pc:docMk/>
            <pc:sldMk cId="1829617463" sldId="912"/>
            <ac:spMk id="26" creationId="{5EC1F9AE-82A4-85FE-592B-EF659F76F7EC}"/>
          </ac:spMkLst>
        </pc:spChg>
        <pc:spChg chg="add mod ord">
          <ac:chgData name="Nataliia Chornii (UA)" userId="4e4b8b3d-5f31-49bb-9f80-8a25c04abfff" providerId="ADAL" clId="{EE97D3FE-9ACA-4467-98E5-532EC45D9D1C}" dt="2024-03-01T10:54:40.314" v="10914" actId="3064"/>
          <ac:spMkLst>
            <pc:docMk/>
            <pc:sldMk cId="1829617463" sldId="912"/>
            <ac:spMk id="27" creationId="{72D802D4-B169-1594-D931-40179675E33A}"/>
          </ac:spMkLst>
        </pc:spChg>
        <pc:spChg chg="mod">
          <ac:chgData name="Nataliia Chornii (UA)" userId="4e4b8b3d-5f31-49bb-9f80-8a25c04abfff" providerId="ADAL" clId="{EE97D3FE-9ACA-4467-98E5-532EC45D9D1C}" dt="2024-03-01T10:46:39.078" v="10556" actId="207"/>
          <ac:spMkLst>
            <pc:docMk/>
            <pc:sldMk cId="1829617463" sldId="912"/>
            <ac:spMk id="29" creationId="{3915AD89-6428-4A75-0915-328643F1703C}"/>
          </ac:spMkLst>
        </pc:spChg>
        <pc:spChg chg="mod">
          <ac:chgData name="Nataliia Chornii (UA)" userId="4e4b8b3d-5f31-49bb-9f80-8a25c04abfff" providerId="ADAL" clId="{EE97D3FE-9ACA-4467-98E5-532EC45D9D1C}" dt="2024-03-01T10:46:44.710" v="10557" actId="207"/>
          <ac:spMkLst>
            <pc:docMk/>
            <pc:sldMk cId="1829617463" sldId="912"/>
            <ac:spMk id="30" creationId="{373AB206-F1F0-CC72-8C15-85605D9AF2AC}"/>
          </ac:spMkLst>
        </pc:spChg>
        <pc:spChg chg="add del mod modVis">
          <ac:chgData name="Nataliia Chornii (UA)" userId="4e4b8b3d-5f31-49bb-9f80-8a25c04abfff" providerId="ADAL" clId="{EE97D3FE-9ACA-4467-98E5-532EC45D9D1C}" dt="2024-03-01T10:49:09.988" v="10647"/>
          <ac:spMkLst>
            <pc:docMk/>
            <pc:sldMk cId="1829617463" sldId="912"/>
            <ac:spMk id="33" creationId="{EB94AD97-A91E-3CA7-BD17-4E88065BA16C}"/>
          </ac:spMkLst>
        </pc:spChg>
        <pc:spChg chg="add del mod modVis">
          <ac:chgData name="Nataliia Chornii (UA)" userId="4e4b8b3d-5f31-49bb-9f80-8a25c04abfff" providerId="ADAL" clId="{EE97D3FE-9ACA-4467-98E5-532EC45D9D1C}" dt="2024-03-01T10:49:53.196" v="10687"/>
          <ac:spMkLst>
            <pc:docMk/>
            <pc:sldMk cId="1829617463" sldId="912"/>
            <ac:spMk id="34" creationId="{5F4A3A2B-25DF-15C9-8F83-ACCEB9E1C974}"/>
          </ac:spMkLst>
        </pc:spChg>
        <pc:spChg chg="mod">
          <ac:chgData name="Nataliia Chornii (UA)" userId="4e4b8b3d-5f31-49bb-9f80-8a25c04abfff" providerId="ADAL" clId="{EE97D3FE-9ACA-4467-98E5-532EC45D9D1C}" dt="2024-03-01T10:49:59.620" v="10692" actId="571"/>
          <ac:spMkLst>
            <pc:docMk/>
            <pc:sldMk cId="1829617463" sldId="912"/>
            <ac:spMk id="36" creationId="{91B303D3-951E-5B3B-0B5B-DE6960EBDFB5}"/>
          </ac:spMkLst>
        </pc:spChg>
        <pc:spChg chg="mod">
          <ac:chgData name="Nataliia Chornii (UA)" userId="4e4b8b3d-5f31-49bb-9f80-8a25c04abfff" providerId="ADAL" clId="{EE97D3FE-9ACA-4467-98E5-532EC45D9D1C}" dt="2024-03-01T10:49:59.620" v="10692" actId="571"/>
          <ac:spMkLst>
            <pc:docMk/>
            <pc:sldMk cId="1829617463" sldId="912"/>
            <ac:spMk id="37" creationId="{CC12BB2F-5848-0AFB-0B2B-32137F06595B}"/>
          </ac:spMkLst>
        </pc:spChg>
        <pc:spChg chg="add mod ord">
          <ac:chgData name="Nataliia Chornii (UA)" userId="4e4b8b3d-5f31-49bb-9f80-8a25c04abfff" providerId="ADAL" clId="{EE97D3FE-9ACA-4467-98E5-532EC45D9D1C}" dt="2024-03-01T10:50:53.620" v="10815"/>
          <ac:spMkLst>
            <pc:docMk/>
            <pc:sldMk cId="1829617463" sldId="912"/>
            <ac:spMk id="38" creationId="{272900AC-10C3-F441-FC58-31445D62009C}"/>
          </ac:spMkLst>
        </pc:spChg>
        <pc:spChg chg="add del mod modVis">
          <ac:chgData name="Nataliia Chornii (UA)" userId="4e4b8b3d-5f31-49bb-9f80-8a25c04abfff" providerId="ADAL" clId="{EE97D3FE-9ACA-4467-98E5-532EC45D9D1C}" dt="2024-03-01T10:50:10.280" v="10722"/>
          <ac:spMkLst>
            <pc:docMk/>
            <pc:sldMk cId="1829617463" sldId="912"/>
            <ac:spMk id="39" creationId="{301FAD1F-03E6-09F6-ACAE-F9A63685915F}"/>
          </ac:spMkLst>
        </pc:spChg>
        <pc:spChg chg="add mod ord">
          <ac:chgData name="Nataliia Chornii (UA)" userId="4e4b8b3d-5f31-49bb-9f80-8a25c04abfff" providerId="ADAL" clId="{EE97D3FE-9ACA-4467-98E5-532EC45D9D1C}" dt="2024-03-01T10:50:53.605" v="10789"/>
          <ac:spMkLst>
            <pc:docMk/>
            <pc:sldMk cId="1829617463" sldId="912"/>
            <ac:spMk id="42" creationId="{50830596-224D-A11D-D251-21B0CA3EB02E}"/>
          </ac:spMkLst>
        </pc:spChg>
        <pc:spChg chg="mod">
          <ac:chgData name="Nataliia Chornii (UA)" userId="4e4b8b3d-5f31-49bb-9f80-8a25c04abfff" providerId="ADAL" clId="{EE97D3FE-9ACA-4467-98E5-532EC45D9D1C}" dt="2024-03-01T10:51:26.709" v="10842" actId="571"/>
          <ac:spMkLst>
            <pc:docMk/>
            <pc:sldMk cId="1829617463" sldId="912"/>
            <ac:spMk id="44" creationId="{37325A5C-F07F-2313-782A-18E3E98D15F0}"/>
          </ac:spMkLst>
        </pc:spChg>
        <pc:spChg chg="mod">
          <ac:chgData name="Nataliia Chornii (UA)" userId="4e4b8b3d-5f31-49bb-9f80-8a25c04abfff" providerId="ADAL" clId="{EE97D3FE-9ACA-4467-98E5-532EC45D9D1C}" dt="2024-03-01T10:51:26.709" v="10842" actId="571"/>
          <ac:spMkLst>
            <pc:docMk/>
            <pc:sldMk cId="1829617463" sldId="912"/>
            <ac:spMk id="45" creationId="{5A4A472A-422C-56F4-A0F5-AE422E82D144}"/>
          </ac:spMkLst>
        </pc:spChg>
        <pc:spChg chg="mod topLvl">
          <ac:chgData name="Nataliia Chornii (UA)" userId="4e4b8b3d-5f31-49bb-9f80-8a25c04abfff" providerId="ADAL" clId="{EE97D3FE-9ACA-4467-98E5-532EC45D9D1C}" dt="2024-03-01T10:59:17.284" v="10968" actId="165"/>
          <ac:spMkLst>
            <pc:docMk/>
            <pc:sldMk cId="1829617463" sldId="912"/>
            <ac:spMk id="47" creationId="{53CB8D3C-9648-B17B-BD59-60EED0CCD133}"/>
          </ac:spMkLst>
        </pc:spChg>
        <pc:spChg chg="mod topLvl">
          <ac:chgData name="Nataliia Chornii (UA)" userId="4e4b8b3d-5f31-49bb-9f80-8a25c04abfff" providerId="ADAL" clId="{EE97D3FE-9ACA-4467-98E5-532EC45D9D1C}" dt="2024-03-01T10:59:17.284" v="10968" actId="165"/>
          <ac:spMkLst>
            <pc:docMk/>
            <pc:sldMk cId="1829617463" sldId="912"/>
            <ac:spMk id="48" creationId="{D9C7DEB2-1AFB-BF37-B503-BDA29810C585}"/>
          </ac:spMkLst>
        </pc:spChg>
        <pc:spChg chg="mod">
          <ac:chgData name="Nataliia Chornii (UA)" userId="4e4b8b3d-5f31-49bb-9f80-8a25c04abfff" providerId="ADAL" clId="{EE97D3FE-9ACA-4467-98E5-532EC45D9D1C}" dt="2024-03-01T10:53:19.081" v="10889" actId="571"/>
          <ac:spMkLst>
            <pc:docMk/>
            <pc:sldMk cId="1829617463" sldId="912"/>
            <ac:spMk id="52" creationId="{97092DD1-25FB-7296-4811-8999EB6A13EC}"/>
          </ac:spMkLst>
        </pc:spChg>
        <pc:spChg chg="mod">
          <ac:chgData name="Nataliia Chornii (UA)" userId="4e4b8b3d-5f31-49bb-9f80-8a25c04abfff" providerId="ADAL" clId="{EE97D3FE-9ACA-4467-98E5-532EC45D9D1C}" dt="2024-03-01T10:53:19.081" v="10889" actId="571"/>
          <ac:spMkLst>
            <pc:docMk/>
            <pc:sldMk cId="1829617463" sldId="912"/>
            <ac:spMk id="53" creationId="{5CF4D5BA-0B5C-E120-1ABA-5C3010A8E2FA}"/>
          </ac:spMkLst>
        </pc:spChg>
        <pc:spChg chg="mod">
          <ac:chgData name="Nataliia Chornii (UA)" userId="4e4b8b3d-5f31-49bb-9f80-8a25c04abfff" providerId="ADAL" clId="{EE97D3FE-9ACA-4467-98E5-532EC45D9D1C}" dt="2024-03-01T10:53:18.684" v="10888" actId="571"/>
          <ac:spMkLst>
            <pc:docMk/>
            <pc:sldMk cId="1829617463" sldId="912"/>
            <ac:spMk id="55" creationId="{6A4E2BFA-F354-DE6A-5768-4D256B95B8CD}"/>
          </ac:spMkLst>
        </pc:spChg>
        <pc:spChg chg="mod">
          <ac:chgData name="Nataliia Chornii (UA)" userId="4e4b8b3d-5f31-49bb-9f80-8a25c04abfff" providerId="ADAL" clId="{EE97D3FE-9ACA-4467-98E5-532EC45D9D1C}" dt="2024-03-01T10:53:18.684" v="10888" actId="571"/>
          <ac:spMkLst>
            <pc:docMk/>
            <pc:sldMk cId="1829617463" sldId="912"/>
            <ac:spMk id="56" creationId="{0C2CDCC9-A453-C6E2-0011-D148EAB606D3}"/>
          </ac:spMkLst>
        </pc:spChg>
        <pc:spChg chg="mod">
          <ac:chgData name="Nataliia Chornii (UA)" userId="4e4b8b3d-5f31-49bb-9f80-8a25c04abfff" providerId="ADAL" clId="{EE97D3FE-9ACA-4467-98E5-532EC45D9D1C}" dt="2024-03-01T10:53:18.414" v="10887" actId="571"/>
          <ac:spMkLst>
            <pc:docMk/>
            <pc:sldMk cId="1829617463" sldId="912"/>
            <ac:spMk id="58" creationId="{2D0945B6-4E63-0D42-D806-53649D166417}"/>
          </ac:spMkLst>
        </pc:spChg>
        <pc:spChg chg="mod">
          <ac:chgData name="Nataliia Chornii (UA)" userId="4e4b8b3d-5f31-49bb-9f80-8a25c04abfff" providerId="ADAL" clId="{EE97D3FE-9ACA-4467-98E5-532EC45D9D1C}" dt="2024-03-01T10:53:18.414" v="10887" actId="571"/>
          <ac:spMkLst>
            <pc:docMk/>
            <pc:sldMk cId="1829617463" sldId="912"/>
            <ac:spMk id="59" creationId="{60969677-03A1-23BC-8E57-6AFE615113A1}"/>
          </ac:spMkLst>
        </pc:spChg>
        <pc:spChg chg="mod topLvl">
          <ac:chgData name="Nataliia Chornii (UA)" userId="4e4b8b3d-5f31-49bb-9f80-8a25c04abfff" providerId="ADAL" clId="{EE97D3FE-9ACA-4467-98E5-532EC45D9D1C}" dt="2024-03-01T10:59:17.284" v="10968" actId="165"/>
          <ac:spMkLst>
            <pc:docMk/>
            <pc:sldMk cId="1829617463" sldId="912"/>
            <ac:spMk id="61" creationId="{2A14CA01-2350-21C6-16E6-E9CEAF43B441}"/>
          </ac:spMkLst>
        </pc:spChg>
        <pc:spChg chg="mod topLvl">
          <ac:chgData name="Nataliia Chornii (UA)" userId="4e4b8b3d-5f31-49bb-9f80-8a25c04abfff" providerId="ADAL" clId="{EE97D3FE-9ACA-4467-98E5-532EC45D9D1C}" dt="2024-03-01T10:59:17.284" v="10968" actId="165"/>
          <ac:spMkLst>
            <pc:docMk/>
            <pc:sldMk cId="1829617463" sldId="912"/>
            <ac:spMk id="62" creationId="{0977B53C-EEDF-ECC6-4AAC-EB21D6466344}"/>
          </ac:spMkLst>
        </pc:spChg>
        <pc:spChg chg="mod topLvl">
          <ac:chgData name="Nataliia Chornii (UA)" userId="4e4b8b3d-5f31-49bb-9f80-8a25c04abfff" providerId="ADAL" clId="{EE97D3FE-9ACA-4467-98E5-532EC45D9D1C}" dt="2024-03-01T10:59:17.284" v="10968" actId="165"/>
          <ac:spMkLst>
            <pc:docMk/>
            <pc:sldMk cId="1829617463" sldId="912"/>
            <ac:spMk id="64" creationId="{19794A8F-A922-1A21-17E6-1B4B21C8F596}"/>
          </ac:spMkLst>
        </pc:spChg>
        <pc:spChg chg="mod topLvl">
          <ac:chgData name="Nataliia Chornii (UA)" userId="4e4b8b3d-5f31-49bb-9f80-8a25c04abfff" providerId="ADAL" clId="{EE97D3FE-9ACA-4467-98E5-532EC45D9D1C}" dt="2024-03-01T10:59:17.284" v="10968" actId="165"/>
          <ac:spMkLst>
            <pc:docMk/>
            <pc:sldMk cId="1829617463" sldId="912"/>
            <ac:spMk id="65" creationId="{E637C43D-EB29-9E46-4805-26DDE31069D1}"/>
          </ac:spMkLst>
        </pc:spChg>
        <pc:spChg chg="mod topLvl">
          <ac:chgData name="Nataliia Chornii (UA)" userId="4e4b8b3d-5f31-49bb-9f80-8a25c04abfff" providerId="ADAL" clId="{EE97D3FE-9ACA-4467-98E5-532EC45D9D1C}" dt="2024-03-01T10:59:17.284" v="10968" actId="165"/>
          <ac:spMkLst>
            <pc:docMk/>
            <pc:sldMk cId="1829617463" sldId="912"/>
            <ac:spMk id="67" creationId="{173D6274-53F8-0DD4-4E9A-1018104D2DCB}"/>
          </ac:spMkLst>
        </pc:spChg>
        <pc:spChg chg="mod topLvl">
          <ac:chgData name="Nataliia Chornii (UA)" userId="4e4b8b3d-5f31-49bb-9f80-8a25c04abfff" providerId="ADAL" clId="{EE97D3FE-9ACA-4467-98E5-532EC45D9D1C}" dt="2024-03-01T10:59:17.284" v="10968" actId="165"/>
          <ac:spMkLst>
            <pc:docMk/>
            <pc:sldMk cId="1829617463" sldId="912"/>
            <ac:spMk id="68" creationId="{EA6E472F-8C91-1B3F-E19C-F4E7FEBD8822}"/>
          </ac:spMkLst>
        </pc:spChg>
        <pc:spChg chg="mod topLvl">
          <ac:chgData name="Nataliia Chornii (UA)" userId="4e4b8b3d-5f31-49bb-9f80-8a25c04abfff" providerId="ADAL" clId="{EE97D3FE-9ACA-4467-98E5-532EC45D9D1C}" dt="2024-03-01T10:59:17.284" v="10968" actId="165"/>
          <ac:spMkLst>
            <pc:docMk/>
            <pc:sldMk cId="1829617463" sldId="912"/>
            <ac:spMk id="70" creationId="{8E071A3F-2B5A-7CD2-907D-0A46168AC360}"/>
          </ac:spMkLst>
        </pc:spChg>
        <pc:spChg chg="mod topLvl">
          <ac:chgData name="Nataliia Chornii (UA)" userId="4e4b8b3d-5f31-49bb-9f80-8a25c04abfff" providerId="ADAL" clId="{EE97D3FE-9ACA-4467-98E5-532EC45D9D1C}" dt="2024-03-01T10:59:17.284" v="10968" actId="165"/>
          <ac:spMkLst>
            <pc:docMk/>
            <pc:sldMk cId="1829617463" sldId="912"/>
            <ac:spMk id="71" creationId="{4E9A4B16-5B86-15F3-0EC5-EC8CABFD7433}"/>
          </ac:spMkLst>
        </pc:spChg>
        <pc:spChg chg="mod topLvl">
          <ac:chgData name="Nataliia Chornii (UA)" userId="4e4b8b3d-5f31-49bb-9f80-8a25c04abfff" providerId="ADAL" clId="{EE97D3FE-9ACA-4467-98E5-532EC45D9D1C}" dt="2024-03-01T10:59:17.284" v="10968" actId="165"/>
          <ac:spMkLst>
            <pc:docMk/>
            <pc:sldMk cId="1829617463" sldId="912"/>
            <ac:spMk id="73" creationId="{F861E25B-F987-831A-A602-44A1BC3C9C06}"/>
          </ac:spMkLst>
        </pc:spChg>
        <pc:spChg chg="mod topLvl">
          <ac:chgData name="Nataliia Chornii (UA)" userId="4e4b8b3d-5f31-49bb-9f80-8a25c04abfff" providerId="ADAL" clId="{EE97D3FE-9ACA-4467-98E5-532EC45D9D1C}" dt="2024-03-01T10:59:17.284" v="10968" actId="165"/>
          <ac:spMkLst>
            <pc:docMk/>
            <pc:sldMk cId="1829617463" sldId="912"/>
            <ac:spMk id="74" creationId="{237C8191-4F1C-824D-519C-F908FF1C2C8A}"/>
          </ac:spMkLst>
        </pc:spChg>
        <pc:spChg chg="mod topLvl">
          <ac:chgData name="Nataliia Chornii (UA)" userId="4e4b8b3d-5f31-49bb-9f80-8a25c04abfff" providerId="ADAL" clId="{EE97D3FE-9ACA-4467-98E5-532EC45D9D1C}" dt="2024-03-01T10:59:17.284" v="10968" actId="165"/>
          <ac:spMkLst>
            <pc:docMk/>
            <pc:sldMk cId="1829617463" sldId="912"/>
            <ac:spMk id="76" creationId="{48C1CD32-80B1-493D-9426-7B73B4755484}"/>
          </ac:spMkLst>
        </pc:spChg>
        <pc:spChg chg="mod topLvl">
          <ac:chgData name="Nataliia Chornii (UA)" userId="4e4b8b3d-5f31-49bb-9f80-8a25c04abfff" providerId="ADAL" clId="{EE97D3FE-9ACA-4467-98E5-532EC45D9D1C}" dt="2024-03-01T10:59:17.284" v="10968" actId="165"/>
          <ac:spMkLst>
            <pc:docMk/>
            <pc:sldMk cId="1829617463" sldId="912"/>
            <ac:spMk id="77" creationId="{457656DF-9381-E741-ED31-A72942D19F30}"/>
          </ac:spMkLst>
        </pc:spChg>
        <pc:spChg chg="mod topLvl">
          <ac:chgData name="Nataliia Chornii (UA)" userId="4e4b8b3d-5f31-49bb-9f80-8a25c04abfff" providerId="ADAL" clId="{EE97D3FE-9ACA-4467-98E5-532EC45D9D1C}" dt="2024-03-01T10:59:17.284" v="10968" actId="165"/>
          <ac:spMkLst>
            <pc:docMk/>
            <pc:sldMk cId="1829617463" sldId="912"/>
            <ac:spMk id="79" creationId="{84ACD26B-9585-F3C8-8179-0329BA741C8A}"/>
          </ac:spMkLst>
        </pc:spChg>
        <pc:spChg chg="mod topLvl">
          <ac:chgData name="Nataliia Chornii (UA)" userId="4e4b8b3d-5f31-49bb-9f80-8a25c04abfff" providerId="ADAL" clId="{EE97D3FE-9ACA-4467-98E5-532EC45D9D1C}" dt="2024-03-01T10:59:17.284" v="10968" actId="165"/>
          <ac:spMkLst>
            <pc:docMk/>
            <pc:sldMk cId="1829617463" sldId="912"/>
            <ac:spMk id="80" creationId="{3EC4EC2B-AF59-0356-9A1D-C0C6D812DBE9}"/>
          </ac:spMkLst>
        </pc:spChg>
        <pc:spChg chg="add mod">
          <ac:chgData name="Nataliia Chornii (UA)" userId="4e4b8b3d-5f31-49bb-9f80-8a25c04abfff" providerId="ADAL" clId="{EE97D3FE-9ACA-4467-98E5-532EC45D9D1C}" dt="2024-03-01T10:57:32.655" v="10942" actId="571"/>
          <ac:spMkLst>
            <pc:docMk/>
            <pc:sldMk cId="1829617463" sldId="912"/>
            <ac:spMk id="99" creationId="{68245ED2-E555-5BDE-3F3A-DC7B7145C331}"/>
          </ac:spMkLst>
        </pc:spChg>
        <pc:spChg chg="add mod">
          <ac:chgData name="Nataliia Chornii (UA)" userId="4e4b8b3d-5f31-49bb-9f80-8a25c04abfff" providerId="ADAL" clId="{EE97D3FE-9ACA-4467-98E5-532EC45D9D1C}" dt="2024-03-01T10:58:53.068" v="10966" actId="465"/>
          <ac:spMkLst>
            <pc:docMk/>
            <pc:sldMk cId="1829617463" sldId="912"/>
            <ac:spMk id="100" creationId="{6196419E-02BA-D21D-1546-F1EC7C2A2D38}"/>
          </ac:spMkLst>
        </pc:spChg>
        <pc:spChg chg="add mod">
          <ac:chgData name="Nataliia Chornii (UA)" userId="4e4b8b3d-5f31-49bb-9f80-8a25c04abfff" providerId="ADAL" clId="{EE97D3FE-9ACA-4467-98E5-532EC45D9D1C}" dt="2024-03-01T10:58:53.068" v="10966" actId="465"/>
          <ac:spMkLst>
            <pc:docMk/>
            <pc:sldMk cId="1829617463" sldId="912"/>
            <ac:spMk id="101" creationId="{9ECA4B5E-E4A7-485E-4742-A7A24FB938CD}"/>
          </ac:spMkLst>
        </pc:spChg>
        <pc:spChg chg="add mod">
          <ac:chgData name="Nataliia Chornii (UA)" userId="4e4b8b3d-5f31-49bb-9f80-8a25c04abfff" providerId="ADAL" clId="{EE97D3FE-9ACA-4467-98E5-532EC45D9D1C}" dt="2024-03-01T10:58:53.068" v="10966" actId="465"/>
          <ac:spMkLst>
            <pc:docMk/>
            <pc:sldMk cId="1829617463" sldId="912"/>
            <ac:spMk id="102" creationId="{6C2839D0-72C0-7347-1A1F-A4C976165D3B}"/>
          </ac:spMkLst>
        </pc:spChg>
        <pc:spChg chg="add mod">
          <ac:chgData name="Nataliia Chornii (UA)" userId="4e4b8b3d-5f31-49bb-9f80-8a25c04abfff" providerId="ADAL" clId="{EE97D3FE-9ACA-4467-98E5-532EC45D9D1C}" dt="2024-03-01T10:58:53.068" v="10966" actId="465"/>
          <ac:spMkLst>
            <pc:docMk/>
            <pc:sldMk cId="1829617463" sldId="912"/>
            <ac:spMk id="103" creationId="{20162A1E-1272-A65F-9743-08A1C56CDD8F}"/>
          </ac:spMkLst>
        </pc:spChg>
        <pc:spChg chg="add mod">
          <ac:chgData name="Nataliia Chornii (UA)" userId="4e4b8b3d-5f31-49bb-9f80-8a25c04abfff" providerId="ADAL" clId="{EE97D3FE-9ACA-4467-98E5-532EC45D9D1C}" dt="2024-03-01T10:58:36.012" v="10962" actId="1076"/>
          <ac:spMkLst>
            <pc:docMk/>
            <pc:sldMk cId="1829617463" sldId="912"/>
            <ac:spMk id="104" creationId="{C489AEBB-7FB2-EC1A-2DC3-18B08D331418}"/>
          </ac:spMkLst>
        </pc:spChg>
        <pc:spChg chg="add mod">
          <ac:chgData name="Nataliia Chornii (UA)" userId="4e4b8b3d-5f31-49bb-9f80-8a25c04abfff" providerId="ADAL" clId="{EE97D3FE-9ACA-4467-98E5-532EC45D9D1C}" dt="2024-03-01T10:58:53.068" v="10966" actId="465"/>
          <ac:spMkLst>
            <pc:docMk/>
            <pc:sldMk cId="1829617463" sldId="912"/>
            <ac:spMk id="107" creationId="{5E4C4BD5-129E-6AAF-672B-2CE5A9EA1809}"/>
          </ac:spMkLst>
        </pc:spChg>
        <pc:spChg chg="add mod">
          <ac:chgData name="Nataliia Chornii (UA)" userId="4e4b8b3d-5f31-49bb-9f80-8a25c04abfff" providerId="ADAL" clId="{EE97D3FE-9ACA-4467-98E5-532EC45D9D1C}" dt="2024-03-01T10:58:53.068" v="10966" actId="465"/>
          <ac:spMkLst>
            <pc:docMk/>
            <pc:sldMk cId="1829617463" sldId="912"/>
            <ac:spMk id="108" creationId="{374ED229-16EB-16FE-4EEB-6C75D32758A7}"/>
          </ac:spMkLst>
        </pc:spChg>
        <pc:grpChg chg="add mod ord">
          <ac:chgData name="Nataliia Chornii (UA)" userId="4e4b8b3d-5f31-49bb-9f80-8a25c04abfff" providerId="ADAL" clId="{EE97D3FE-9ACA-4467-98E5-532EC45D9D1C}" dt="2024-03-01T10:51:40.559" v="10845" actId="553"/>
          <ac:grpSpMkLst>
            <pc:docMk/>
            <pc:sldMk cId="1829617463" sldId="912"/>
            <ac:grpSpMk id="28" creationId="{DBEF3A72-62F9-B29D-8908-60C19CF93A03}"/>
          </ac:grpSpMkLst>
        </pc:grpChg>
        <pc:grpChg chg="add mod">
          <ac:chgData name="Nataliia Chornii (UA)" userId="4e4b8b3d-5f31-49bb-9f80-8a25c04abfff" providerId="ADAL" clId="{EE97D3FE-9ACA-4467-98E5-532EC45D9D1C}" dt="2024-03-01T10:49:59.620" v="10692" actId="571"/>
          <ac:grpSpMkLst>
            <pc:docMk/>
            <pc:sldMk cId="1829617463" sldId="912"/>
            <ac:grpSpMk id="35" creationId="{15BF4D7F-D5B3-7489-D892-B1B20E685245}"/>
          </ac:grpSpMkLst>
        </pc:grpChg>
        <pc:grpChg chg="add mod">
          <ac:chgData name="Nataliia Chornii (UA)" userId="4e4b8b3d-5f31-49bb-9f80-8a25c04abfff" providerId="ADAL" clId="{EE97D3FE-9ACA-4467-98E5-532EC45D9D1C}" dt="2024-03-01T10:51:27.940" v="10843" actId="553"/>
          <ac:grpSpMkLst>
            <pc:docMk/>
            <pc:sldMk cId="1829617463" sldId="912"/>
            <ac:grpSpMk id="43" creationId="{E9134216-27EA-A647-A616-B86FA8931C14}"/>
          </ac:grpSpMkLst>
        </pc:grpChg>
        <pc:grpChg chg="add del mod">
          <ac:chgData name="Nataliia Chornii (UA)" userId="4e4b8b3d-5f31-49bb-9f80-8a25c04abfff" providerId="ADAL" clId="{EE97D3FE-9ACA-4467-98E5-532EC45D9D1C}" dt="2024-03-01T10:52:41.816" v="10866" actId="165"/>
          <ac:grpSpMkLst>
            <pc:docMk/>
            <pc:sldMk cId="1829617463" sldId="912"/>
            <ac:grpSpMk id="46" creationId="{5C6B06AD-4019-EB0E-C679-EE39894D5457}"/>
          </ac:grpSpMkLst>
        </pc:grpChg>
        <pc:grpChg chg="add del mod">
          <ac:chgData name="Nataliia Chornii (UA)" userId="4e4b8b3d-5f31-49bb-9f80-8a25c04abfff" providerId="ADAL" clId="{EE97D3FE-9ACA-4467-98E5-532EC45D9D1C}" dt="2024-03-01T10:52:55.276" v="10873" actId="165"/>
          <ac:grpSpMkLst>
            <pc:docMk/>
            <pc:sldMk cId="1829617463" sldId="912"/>
            <ac:grpSpMk id="49" creationId="{A6126C9E-BFAD-B196-B622-66800073F0E5}"/>
          </ac:grpSpMkLst>
        </pc:grpChg>
        <pc:grpChg chg="add del mod">
          <ac:chgData name="Nataliia Chornii (UA)" userId="4e4b8b3d-5f31-49bb-9f80-8a25c04abfff" providerId="ADAL" clId="{EE97D3FE-9ACA-4467-98E5-532EC45D9D1C}" dt="2024-03-01T10:59:17.284" v="10968" actId="165"/>
          <ac:grpSpMkLst>
            <pc:docMk/>
            <pc:sldMk cId="1829617463" sldId="912"/>
            <ac:grpSpMk id="50" creationId="{E1F1CF87-B2A8-49E3-6067-B75A07B7F30B}"/>
          </ac:grpSpMkLst>
        </pc:grpChg>
        <pc:grpChg chg="add mod">
          <ac:chgData name="Nataliia Chornii (UA)" userId="4e4b8b3d-5f31-49bb-9f80-8a25c04abfff" providerId="ADAL" clId="{EE97D3FE-9ACA-4467-98E5-532EC45D9D1C}" dt="2024-03-01T10:53:19.081" v="10889" actId="571"/>
          <ac:grpSpMkLst>
            <pc:docMk/>
            <pc:sldMk cId="1829617463" sldId="912"/>
            <ac:grpSpMk id="51" creationId="{4DE1A45F-9504-1C1E-3621-FA4B061CBB54}"/>
          </ac:grpSpMkLst>
        </pc:grpChg>
        <pc:grpChg chg="add mod">
          <ac:chgData name="Nataliia Chornii (UA)" userId="4e4b8b3d-5f31-49bb-9f80-8a25c04abfff" providerId="ADAL" clId="{EE97D3FE-9ACA-4467-98E5-532EC45D9D1C}" dt="2024-03-01T10:53:18.684" v="10888" actId="571"/>
          <ac:grpSpMkLst>
            <pc:docMk/>
            <pc:sldMk cId="1829617463" sldId="912"/>
            <ac:grpSpMk id="54" creationId="{D3C6E8B8-A35F-912D-2574-85AA40442B2E}"/>
          </ac:grpSpMkLst>
        </pc:grpChg>
        <pc:grpChg chg="add mod">
          <ac:chgData name="Nataliia Chornii (UA)" userId="4e4b8b3d-5f31-49bb-9f80-8a25c04abfff" providerId="ADAL" clId="{EE97D3FE-9ACA-4467-98E5-532EC45D9D1C}" dt="2024-03-01T10:53:18.414" v="10887" actId="571"/>
          <ac:grpSpMkLst>
            <pc:docMk/>
            <pc:sldMk cId="1829617463" sldId="912"/>
            <ac:grpSpMk id="57" creationId="{FB497BB5-06C6-BB56-D5D2-EA76FA390B1A}"/>
          </ac:grpSpMkLst>
        </pc:grpChg>
        <pc:grpChg chg="add del mod">
          <ac:chgData name="Nataliia Chornii (UA)" userId="4e4b8b3d-5f31-49bb-9f80-8a25c04abfff" providerId="ADAL" clId="{EE97D3FE-9ACA-4467-98E5-532EC45D9D1C}" dt="2024-03-01T10:59:17.284" v="10968" actId="165"/>
          <ac:grpSpMkLst>
            <pc:docMk/>
            <pc:sldMk cId="1829617463" sldId="912"/>
            <ac:grpSpMk id="60" creationId="{62997696-F6C6-FA59-1F7F-07CC9F43D34D}"/>
          </ac:grpSpMkLst>
        </pc:grpChg>
        <pc:grpChg chg="add del mod">
          <ac:chgData name="Nataliia Chornii (UA)" userId="4e4b8b3d-5f31-49bb-9f80-8a25c04abfff" providerId="ADAL" clId="{EE97D3FE-9ACA-4467-98E5-532EC45D9D1C}" dt="2024-03-01T10:59:17.284" v="10968" actId="165"/>
          <ac:grpSpMkLst>
            <pc:docMk/>
            <pc:sldMk cId="1829617463" sldId="912"/>
            <ac:grpSpMk id="63" creationId="{9EB48DE2-8A12-B24D-01BC-53DE27C3402C}"/>
          </ac:grpSpMkLst>
        </pc:grpChg>
        <pc:grpChg chg="add del mod">
          <ac:chgData name="Nataliia Chornii (UA)" userId="4e4b8b3d-5f31-49bb-9f80-8a25c04abfff" providerId="ADAL" clId="{EE97D3FE-9ACA-4467-98E5-532EC45D9D1C}" dt="2024-03-01T10:59:17.284" v="10968" actId="165"/>
          <ac:grpSpMkLst>
            <pc:docMk/>
            <pc:sldMk cId="1829617463" sldId="912"/>
            <ac:grpSpMk id="66" creationId="{8A8B3447-414B-8DB9-4DB0-BD42D28E9417}"/>
          </ac:grpSpMkLst>
        </pc:grpChg>
        <pc:grpChg chg="add del mod">
          <ac:chgData name="Nataliia Chornii (UA)" userId="4e4b8b3d-5f31-49bb-9f80-8a25c04abfff" providerId="ADAL" clId="{EE97D3FE-9ACA-4467-98E5-532EC45D9D1C}" dt="2024-03-01T10:59:17.284" v="10968" actId="165"/>
          <ac:grpSpMkLst>
            <pc:docMk/>
            <pc:sldMk cId="1829617463" sldId="912"/>
            <ac:grpSpMk id="69" creationId="{DC32FE07-8D31-CA58-2B8B-4524DD82FBB5}"/>
          </ac:grpSpMkLst>
        </pc:grpChg>
        <pc:grpChg chg="add del mod">
          <ac:chgData name="Nataliia Chornii (UA)" userId="4e4b8b3d-5f31-49bb-9f80-8a25c04abfff" providerId="ADAL" clId="{EE97D3FE-9ACA-4467-98E5-532EC45D9D1C}" dt="2024-03-01T10:59:17.284" v="10968" actId="165"/>
          <ac:grpSpMkLst>
            <pc:docMk/>
            <pc:sldMk cId="1829617463" sldId="912"/>
            <ac:grpSpMk id="72" creationId="{8A99DE72-A053-7633-80E0-0281876BC5CB}"/>
          </ac:grpSpMkLst>
        </pc:grpChg>
        <pc:grpChg chg="add del mod">
          <ac:chgData name="Nataliia Chornii (UA)" userId="4e4b8b3d-5f31-49bb-9f80-8a25c04abfff" providerId="ADAL" clId="{EE97D3FE-9ACA-4467-98E5-532EC45D9D1C}" dt="2024-03-01T10:59:17.284" v="10968" actId="165"/>
          <ac:grpSpMkLst>
            <pc:docMk/>
            <pc:sldMk cId="1829617463" sldId="912"/>
            <ac:grpSpMk id="75" creationId="{6C47436A-46AB-60B6-781A-0D04F3689126}"/>
          </ac:grpSpMkLst>
        </pc:grpChg>
        <pc:grpChg chg="add del mod">
          <ac:chgData name="Nataliia Chornii (UA)" userId="4e4b8b3d-5f31-49bb-9f80-8a25c04abfff" providerId="ADAL" clId="{EE97D3FE-9ACA-4467-98E5-532EC45D9D1C}" dt="2024-03-01T10:59:17.284" v="10968" actId="165"/>
          <ac:grpSpMkLst>
            <pc:docMk/>
            <pc:sldMk cId="1829617463" sldId="912"/>
            <ac:grpSpMk id="78" creationId="{56BA403A-C926-E8F9-5510-920743EF523F}"/>
          </ac:grpSpMkLst>
        </pc:grpChg>
        <pc:graphicFrameChg chg="add mod ord modVis replST">
          <ac:chgData name="Nataliia Chornii (UA)" userId="4e4b8b3d-5f31-49bb-9f80-8a25c04abfff" providerId="ADAL" clId="{EE97D3FE-9ACA-4467-98E5-532EC45D9D1C}" dt="2024-03-01T10:51:20.357" v="10839"/>
          <ac:graphicFrameMkLst>
            <pc:docMk/>
            <pc:sldMk cId="1829617463" sldId="912"/>
            <ac:graphicFrameMk id="12" creationId="{F6E6AF23-7B86-113A-F559-513B41FEC1FE}"/>
          </ac:graphicFrameMkLst>
        </pc:graphicFrameChg>
        <pc:picChg chg="add del mod ord modCrop">
          <ac:chgData name="Nataliia Chornii (UA)" userId="4e4b8b3d-5f31-49bb-9f80-8a25c04abfff" providerId="ADAL" clId="{EE97D3FE-9ACA-4467-98E5-532EC45D9D1C}" dt="2024-03-01T10:50:29.438" v="10728" actId="478"/>
          <ac:picMkLst>
            <pc:docMk/>
            <pc:sldMk cId="1829617463" sldId="912"/>
            <ac:picMk id="32" creationId="{1BBDFA08-944F-073A-23F5-AB3330DBCBEF}"/>
          </ac:picMkLst>
        </pc:picChg>
        <pc:picChg chg="add mod ord">
          <ac:chgData name="Nataliia Chornii (UA)" userId="4e4b8b3d-5f31-49bb-9f80-8a25c04abfff" providerId="ADAL" clId="{EE97D3FE-9ACA-4467-98E5-532EC45D9D1C}" dt="2024-03-01T10:50:53.605" v="10787"/>
          <ac:picMkLst>
            <pc:docMk/>
            <pc:sldMk cId="1829617463" sldId="912"/>
            <ac:picMk id="41" creationId="{7CAE88F2-0719-E8A4-5A3E-39E39CF155A6}"/>
          </ac:picMkLst>
        </pc:picChg>
        <pc:cxnChg chg="add del mod">
          <ac:chgData name="Nataliia Chornii (UA)" userId="4e4b8b3d-5f31-49bb-9f80-8a25c04abfff" providerId="ADAL" clId="{EE97D3FE-9ACA-4467-98E5-532EC45D9D1C}" dt="2024-03-01T10:56:12.838" v="10926" actId="11529"/>
          <ac:cxnSpMkLst>
            <pc:docMk/>
            <pc:sldMk cId="1829617463" sldId="912"/>
            <ac:cxnSpMk id="82" creationId="{49EEC2F7-BE6F-59C3-A367-6F464D80DB1A}"/>
          </ac:cxnSpMkLst>
        </pc:cxnChg>
        <pc:cxnChg chg="add del mod">
          <ac:chgData name="Nataliia Chornii (UA)" userId="4e4b8b3d-5f31-49bb-9f80-8a25c04abfff" providerId="ADAL" clId="{EE97D3FE-9ACA-4467-98E5-532EC45D9D1C}" dt="2024-03-01T10:56:35.632" v="10930" actId="478"/>
          <ac:cxnSpMkLst>
            <pc:docMk/>
            <pc:sldMk cId="1829617463" sldId="912"/>
            <ac:cxnSpMk id="84" creationId="{DAC1AD3A-F1E0-EC51-DD7D-9D14828E4855}"/>
          </ac:cxnSpMkLst>
        </pc:cxnChg>
        <pc:cxnChg chg="add del mod">
          <ac:chgData name="Nataliia Chornii (UA)" userId="4e4b8b3d-5f31-49bb-9f80-8a25c04abfff" providerId="ADAL" clId="{EE97D3FE-9ACA-4467-98E5-532EC45D9D1C}" dt="2024-03-01T10:56:34.596" v="10929" actId="478"/>
          <ac:cxnSpMkLst>
            <pc:docMk/>
            <pc:sldMk cId="1829617463" sldId="912"/>
            <ac:cxnSpMk id="86" creationId="{B459EF5E-294A-0980-094F-C24C106E52FD}"/>
          </ac:cxnSpMkLst>
        </pc:cxnChg>
        <pc:cxnChg chg="add del mod">
          <ac:chgData name="Nataliia Chornii (UA)" userId="4e4b8b3d-5f31-49bb-9f80-8a25c04abfff" providerId="ADAL" clId="{EE97D3FE-9ACA-4467-98E5-532EC45D9D1C}" dt="2024-03-01T10:58:23.662" v="10960" actId="478"/>
          <ac:cxnSpMkLst>
            <pc:docMk/>
            <pc:sldMk cId="1829617463" sldId="912"/>
            <ac:cxnSpMk id="88" creationId="{51CFFFC3-0D3E-F133-C20F-FDFB001FC8D2}"/>
          </ac:cxnSpMkLst>
        </pc:cxnChg>
        <pc:cxnChg chg="add del mod">
          <ac:chgData name="Nataliia Chornii (UA)" userId="4e4b8b3d-5f31-49bb-9f80-8a25c04abfff" providerId="ADAL" clId="{EE97D3FE-9ACA-4467-98E5-532EC45D9D1C}" dt="2024-03-01T10:56:58.864" v="10934" actId="478"/>
          <ac:cxnSpMkLst>
            <pc:docMk/>
            <pc:sldMk cId="1829617463" sldId="912"/>
            <ac:cxnSpMk id="90" creationId="{65CBF872-180B-CC26-657C-AFE61CAD5FB9}"/>
          </ac:cxnSpMkLst>
        </pc:cxnChg>
        <pc:cxnChg chg="add del mod">
          <ac:chgData name="Nataliia Chornii (UA)" userId="4e4b8b3d-5f31-49bb-9f80-8a25c04abfff" providerId="ADAL" clId="{EE97D3FE-9ACA-4467-98E5-532EC45D9D1C}" dt="2024-03-01T10:58:23.662" v="10960" actId="478"/>
          <ac:cxnSpMkLst>
            <pc:docMk/>
            <pc:sldMk cId="1829617463" sldId="912"/>
            <ac:cxnSpMk id="92" creationId="{7772E295-F645-7BAF-F5DA-A7A22A790A44}"/>
          </ac:cxnSpMkLst>
        </pc:cxnChg>
        <pc:cxnChg chg="add del mod">
          <ac:chgData name="Nataliia Chornii (UA)" userId="4e4b8b3d-5f31-49bb-9f80-8a25c04abfff" providerId="ADAL" clId="{EE97D3FE-9ACA-4467-98E5-532EC45D9D1C}" dt="2024-03-01T10:58:23.662" v="10960" actId="478"/>
          <ac:cxnSpMkLst>
            <pc:docMk/>
            <pc:sldMk cId="1829617463" sldId="912"/>
            <ac:cxnSpMk id="93" creationId="{367D215A-54A9-DE91-0EAC-EF33766D83E1}"/>
          </ac:cxnSpMkLst>
        </pc:cxnChg>
        <pc:cxnChg chg="add del mod">
          <ac:chgData name="Nataliia Chornii (UA)" userId="4e4b8b3d-5f31-49bb-9f80-8a25c04abfff" providerId="ADAL" clId="{EE97D3FE-9ACA-4467-98E5-532EC45D9D1C}" dt="2024-03-01T10:58:23.662" v="10960" actId="478"/>
          <ac:cxnSpMkLst>
            <pc:docMk/>
            <pc:sldMk cId="1829617463" sldId="912"/>
            <ac:cxnSpMk id="94" creationId="{62064FEA-61CC-719C-7193-FD287F2FB6DC}"/>
          </ac:cxnSpMkLst>
        </pc:cxnChg>
        <pc:cxnChg chg="add mod">
          <ac:chgData name="Nataliia Chornii (UA)" userId="4e4b8b3d-5f31-49bb-9f80-8a25c04abfff" providerId="ADAL" clId="{EE97D3FE-9ACA-4467-98E5-532EC45D9D1C}" dt="2024-03-01T10:59:02.124" v="10967" actId="1076"/>
          <ac:cxnSpMkLst>
            <pc:docMk/>
            <pc:sldMk cId="1829617463" sldId="912"/>
            <ac:cxnSpMk id="106" creationId="{FFD4031A-36A2-8179-5E2D-0A3C984BF25A}"/>
          </ac:cxnSpMkLst>
        </pc:cxnChg>
      </pc:sldChg>
      <pc:sldChg chg="addSp delSp modSp mod modClrScheme chgLayout">
        <pc:chgData name="Nataliia Chornii (UA)" userId="4e4b8b3d-5f31-49bb-9f80-8a25c04abfff" providerId="ADAL" clId="{EE97D3FE-9ACA-4467-98E5-532EC45D9D1C}" dt="2024-03-11T14:29:25.347" v="24229"/>
        <pc:sldMkLst>
          <pc:docMk/>
          <pc:sldMk cId="3429470186" sldId="914"/>
        </pc:sldMkLst>
        <pc:spChg chg="add mod">
          <ac:chgData name="Nataliia Chornii (UA)" userId="4e4b8b3d-5f31-49bb-9f80-8a25c04abfff" providerId="ADAL" clId="{EE97D3FE-9ACA-4467-98E5-532EC45D9D1C}" dt="2024-03-11T14:25:51.067" v="24083"/>
          <ac:spMkLst>
            <pc:docMk/>
            <pc:sldMk cId="3429470186" sldId="914"/>
            <ac:spMk id="2" creationId="{30AAC524-3205-5590-45B9-6037C0A5DBDE}"/>
          </ac:spMkLst>
        </pc:spChg>
        <pc:spChg chg="del mod ord">
          <ac:chgData name="Nataliia Chornii (UA)" userId="4e4b8b3d-5f31-49bb-9f80-8a25c04abfff" providerId="ADAL" clId="{EE97D3FE-9ACA-4467-98E5-532EC45D9D1C}" dt="2024-03-01T14:41:31.935" v="15411" actId="478"/>
          <ac:spMkLst>
            <pc:docMk/>
            <pc:sldMk cId="3429470186" sldId="914"/>
            <ac:spMk id="2" creationId="{A1EA5253-E431-DFFC-E94A-6F8E087CC2C0}"/>
          </ac:spMkLst>
        </pc:spChg>
        <pc:spChg chg="mod ord">
          <ac:chgData name="Nataliia Chornii (UA)" userId="4e4b8b3d-5f31-49bb-9f80-8a25c04abfff" providerId="ADAL" clId="{EE97D3FE-9ACA-4467-98E5-532EC45D9D1C}" dt="2024-03-01T14:54:09.683" v="15849" actId="948"/>
          <ac:spMkLst>
            <pc:docMk/>
            <pc:sldMk cId="3429470186" sldId="914"/>
            <ac:spMk id="3" creationId="{F4CCF02E-F3C4-C376-8F56-61BD85A2E74B}"/>
          </ac:spMkLst>
        </pc:spChg>
        <pc:spChg chg="mod ord">
          <ac:chgData name="Nataliia Chornii (UA)" userId="4e4b8b3d-5f31-49bb-9f80-8a25c04abfff" providerId="ADAL" clId="{EE97D3FE-9ACA-4467-98E5-532EC45D9D1C}" dt="2024-03-01T14:43:35.293" v="15697"/>
          <ac:spMkLst>
            <pc:docMk/>
            <pc:sldMk cId="3429470186" sldId="914"/>
            <ac:spMk id="4" creationId="{872966CD-924A-B939-E655-A6BAF817DCBF}"/>
          </ac:spMkLst>
        </pc:spChg>
        <pc:spChg chg="del">
          <ac:chgData name="Nataliia Chornii (UA)" userId="4e4b8b3d-5f31-49bb-9f80-8a25c04abfff" providerId="ADAL" clId="{EE97D3FE-9ACA-4467-98E5-532EC45D9D1C}" dt="2024-03-01T14:41:19.063" v="15397" actId="478"/>
          <ac:spMkLst>
            <pc:docMk/>
            <pc:sldMk cId="3429470186" sldId="914"/>
            <ac:spMk id="5" creationId="{FF11D90A-8D15-0E43-4C2E-D42257331C13}"/>
          </ac:spMkLst>
        </pc:spChg>
        <pc:spChg chg="del">
          <ac:chgData name="Nataliia Chornii (UA)" userId="4e4b8b3d-5f31-49bb-9f80-8a25c04abfff" providerId="ADAL" clId="{EE97D3FE-9ACA-4467-98E5-532EC45D9D1C}" dt="2024-03-01T14:41:19.063" v="15397" actId="478"/>
          <ac:spMkLst>
            <pc:docMk/>
            <pc:sldMk cId="3429470186" sldId="914"/>
            <ac:spMk id="6" creationId="{0F377277-EC46-FAC5-F379-194FCD82679C}"/>
          </ac:spMkLst>
        </pc:spChg>
        <pc:spChg chg="mod">
          <ac:chgData name="Nataliia Chornii (UA)" userId="4e4b8b3d-5f31-49bb-9f80-8a25c04abfff" providerId="ADAL" clId="{EE97D3FE-9ACA-4467-98E5-532EC45D9D1C}" dt="2024-03-11T14:25:51.067" v="24083"/>
          <ac:spMkLst>
            <pc:docMk/>
            <pc:sldMk cId="3429470186" sldId="914"/>
            <ac:spMk id="6" creationId="{DC47A20A-A969-00A3-37AA-322215DD54F6}"/>
          </ac:spMkLst>
        </pc:spChg>
        <pc:spChg chg="mod">
          <ac:chgData name="Nataliia Chornii (UA)" userId="4e4b8b3d-5f31-49bb-9f80-8a25c04abfff" providerId="ADAL" clId="{EE97D3FE-9ACA-4467-98E5-532EC45D9D1C}" dt="2024-03-11T14:25:51.067" v="24083"/>
          <ac:spMkLst>
            <pc:docMk/>
            <pc:sldMk cId="3429470186" sldId="914"/>
            <ac:spMk id="7" creationId="{51D7512A-64ED-2B1C-E475-74F8E09A9B44}"/>
          </ac:spMkLst>
        </pc:spChg>
        <pc:spChg chg="del">
          <ac:chgData name="Nataliia Chornii (UA)" userId="4e4b8b3d-5f31-49bb-9f80-8a25c04abfff" providerId="ADAL" clId="{EE97D3FE-9ACA-4467-98E5-532EC45D9D1C}" dt="2024-03-01T14:41:36.401" v="15414" actId="478"/>
          <ac:spMkLst>
            <pc:docMk/>
            <pc:sldMk cId="3429470186" sldId="914"/>
            <ac:spMk id="7" creationId="{C808DA25-FA14-FF3C-E908-05869001F803}"/>
          </ac:spMkLst>
        </pc:spChg>
        <pc:spChg chg="mod">
          <ac:chgData name="Nataliia Chornii (UA)" userId="4e4b8b3d-5f31-49bb-9f80-8a25c04abfff" providerId="ADAL" clId="{EE97D3FE-9ACA-4467-98E5-532EC45D9D1C}" dt="2024-03-11T14:25:51.067" v="24083"/>
          <ac:spMkLst>
            <pc:docMk/>
            <pc:sldMk cId="3429470186" sldId="914"/>
            <ac:spMk id="9" creationId="{1D38C72F-15D5-34AF-7EE7-4AD6946B7EC7}"/>
          </ac:spMkLst>
        </pc:spChg>
        <pc:spChg chg="del mod ord">
          <ac:chgData name="Nataliia Chornii (UA)" userId="4e4b8b3d-5f31-49bb-9f80-8a25c04abfff" providerId="ADAL" clId="{EE97D3FE-9ACA-4467-98E5-532EC45D9D1C}" dt="2024-03-01T14:42:25.691" v="15588" actId="478"/>
          <ac:spMkLst>
            <pc:docMk/>
            <pc:sldMk cId="3429470186" sldId="914"/>
            <ac:spMk id="9" creationId="{87836C41-8052-C603-D229-3FB1E5E9CE1A}"/>
          </ac:spMkLst>
        </pc:spChg>
        <pc:spChg chg="del mod ord">
          <ac:chgData name="Nataliia Chornii (UA)" userId="4e4b8b3d-5f31-49bb-9f80-8a25c04abfff" providerId="ADAL" clId="{EE97D3FE-9ACA-4467-98E5-532EC45D9D1C}" dt="2024-03-01T14:48:36.437" v="15763" actId="478"/>
          <ac:spMkLst>
            <pc:docMk/>
            <pc:sldMk cId="3429470186" sldId="914"/>
            <ac:spMk id="10" creationId="{489B7680-E5EE-2A50-7733-37F2F144B869}"/>
          </ac:spMkLst>
        </pc:spChg>
        <pc:spChg chg="mod">
          <ac:chgData name="Nataliia Chornii (UA)" userId="4e4b8b3d-5f31-49bb-9f80-8a25c04abfff" providerId="ADAL" clId="{EE97D3FE-9ACA-4467-98E5-532EC45D9D1C}" dt="2024-03-11T14:25:51.067" v="24083"/>
          <ac:spMkLst>
            <pc:docMk/>
            <pc:sldMk cId="3429470186" sldId="914"/>
            <ac:spMk id="10" creationId="{702CBFA9-92A8-D828-C5BC-0B8847A8CF61}"/>
          </ac:spMkLst>
        </pc:spChg>
        <pc:spChg chg="mod">
          <ac:chgData name="Nataliia Chornii (UA)" userId="4e4b8b3d-5f31-49bb-9f80-8a25c04abfff" providerId="ADAL" clId="{EE97D3FE-9ACA-4467-98E5-532EC45D9D1C}" dt="2024-03-11T14:25:51.067" v="24083"/>
          <ac:spMkLst>
            <pc:docMk/>
            <pc:sldMk cId="3429470186" sldId="914"/>
            <ac:spMk id="11" creationId="{E648F134-4423-FA8E-2A66-A1F71C0F2A37}"/>
          </ac:spMkLst>
        </pc:spChg>
        <pc:spChg chg="add del mod ord">
          <ac:chgData name="Nataliia Chornii (UA)" userId="4e4b8b3d-5f31-49bb-9f80-8a25c04abfff" providerId="ADAL" clId="{EE97D3FE-9ACA-4467-98E5-532EC45D9D1C}" dt="2024-03-01T14:44:11.315" v="15720" actId="478"/>
          <ac:spMkLst>
            <pc:docMk/>
            <pc:sldMk cId="3429470186" sldId="914"/>
            <ac:spMk id="12" creationId="{2D9663EB-0680-762F-12C6-5349FB8B03C5}"/>
          </ac:spMkLst>
        </pc:spChg>
        <pc:spChg chg="mod">
          <ac:chgData name="Nataliia Chornii (UA)" userId="4e4b8b3d-5f31-49bb-9f80-8a25c04abfff" providerId="ADAL" clId="{EE97D3FE-9ACA-4467-98E5-532EC45D9D1C}" dt="2024-03-11T14:25:51.067" v="24083"/>
          <ac:spMkLst>
            <pc:docMk/>
            <pc:sldMk cId="3429470186" sldId="914"/>
            <ac:spMk id="12" creationId="{F3D4C9B4-5E7E-B1E5-58CB-DD050211C2C1}"/>
          </ac:spMkLst>
        </pc:spChg>
        <pc:spChg chg="add mod ord">
          <ac:chgData name="Nataliia Chornii (UA)" userId="4e4b8b3d-5f31-49bb-9f80-8a25c04abfff" providerId="ADAL" clId="{EE97D3FE-9ACA-4467-98E5-532EC45D9D1C}" dt="2024-03-01T14:43:35.261" v="15607"/>
          <ac:spMkLst>
            <pc:docMk/>
            <pc:sldMk cId="3429470186" sldId="914"/>
            <ac:spMk id="14" creationId="{A8A8DD37-9B73-46FB-C75B-2CEFA6483C22}"/>
          </ac:spMkLst>
        </pc:spChg>
        <pc:spChg chg="add mod">
          <ac:chgData name="Nataliia Chornii (UA)" userId="4e4b8b3d-5f31-49bb-9f80-8a25c04abfff" providerId="ADAL" clId="{EE97D3FE-9ACA-4467-98E5-532EC45D9D1C}" dt="2024-03-11T14:29:25.347" v="24229"/>
          <ac:spMkLst>
            <pc:docMk/>
            <pc:sldMk cId="3429470186" sldId="914"/>
            <ac:spMk id="15" creationId="{B6BE53C4-3742-6DCA-2316-49A9BF2D8207}"/>
          </ac:spMkLst>
        </pc:spChg>
        <pc:spChg chg="add del mod ord">
          <ac:chgData name="Nataliia Chornii (UA)" userId="4e4b8b3d-5f31-49bb-9f80-8a25c04abfff" providerId="ADAL" clId="{EE97D3FE-9ACA-4467-98E5-532EC45D9D1C}" dt="2024-03-01T15:19:20.551" v="16986" actId="478"/>
          <ac:spMkLst>
            <pc:docMk/>
            <pc:sldMk cId="3429470186" sldId="914"/>
            <ac:spMk id="15" creationId="{E629ACA0-19AA-6B2C-F2D4-5BA2027E48BA}"/>
          </ac:spMkLst>
        </pc:spChg>
        <pc:spChg chg="add mod ord">
          <ac:chgData name="Nataliia Chornii (UA)" userId="4e4b8b3d-5f31-49bb-9f80-8a25c04abfff" providerId="ADAL" clId="{EE97D3FE-9ACA-4467-98E5-532EC45D9D1C}" dt="2024-03-01T14:53:57.481" v="15847" actId="555"/>
          <ac:spMkLst>
            <pc:docMk/>
            <pc:sldMk cId="3429470186" sldId="914"/>
            <ac:spMk id="16" creationId="{25A25F16-3DF9-5BEF-8F70-42FAB50A6BCE}"/>
          </ac:spMkLst>
        </pc:spChg>
        <pc:spChg chg="add mod ord">
          <ac:chgData name="Nataliia Chornii (UA)" userId="4e4b8b3d-5f31-49bb-9f80-8a25c04abfff" providerId="ADAL" clId="{EE97D3FE-9ACA-4467-98E5-532EC45D9D1C}" dt="2024-03-01T14:54:13.751" v="15891" actId="554"/>
          <ac:spMkLst>
            <pc:docMk/>
            <pc:sldMk cId="3429470186" sldId="914"/>
            <ac:spMk id="17" creationId="{8A128ED3-6DA0-A56A-B5CE-670FD97F3136}"/>
          </ac:spMkLst>
        </pc:spChg>
        <pc:spChg chg="add del mod ord">
          <ac:chgData name="Nataliia Chornii (UA)" userId="4e4b8b3d-5f31-49bb-9f80-8a25c04abfff" providerId="ADAL" clId="{EE97D3FE-9ACA-4467-98E5-532EC45D9D1C}" dt="2024-03-01T14:50:05.183" v="15786" actId="478"/>
          <ac:spMkLst>
            <pc:docMk/>
            <pc:sldMk cId="3429470186" sldId="914"/>
            <ac:spMk id="18" creationId="{1F2102AE-9429-7797-684E-D82C1BB638FD}"/>
          </ac:spMkLst>
        </pc:spChg>
        <pc:spChg chg="add del mod ord">
          <ac:chgData name="Nataliia Chornii (UA)" userId="4e4b8b3d-5f31-49bb-9f80-8a25c04abfff" providerId="ADAL" clId="{EE97D3FE-9ACA-4467-98E5-532EC45D9D1C}" dt="2024-03-01T14:50:05.183" v="15786" actId="478"/>
          <ac:spMkLst>
            <pc:docMk/>
            <pc:sldMk cId="3429470186" sldId="914"/>
            <ac:spMk id="19" creationId="{292CC956-AEE0-AD72-18CB-38A87FB03753}"/>
          </ac:spMkLst>
        </pc:spChg>
        <pc:spChg chg="add del mod ord">
          <ac:chgData name="Nataliia Chornii (UA)" userId="4e4b8b3d-5f31-49bb-9f80-8a25c04abfff" providerId="ADAL" clId="{EE97D3FE-9ACA-4467-98E5-532EC45D9D1C}" dt="2024-03-01T14:50:05.183" v="15786" actId="478"/>
          <ac:spMkLst>
            <pc:docMk/>
            <pc:sldMk cId="3429470186" sldId="914"/>
            <ac:spMk id="20" creationId="{394F65FC-FCF7-6F6A-B818-8E1FDE619DCD}"/>
          </ac:spMkLst>
        </pc:spChg>
        <pc:spChg chg="add del mod ord">
          <ac:chgData name="Nataliia Chornii (UA)" userId="4e4b8b3d-5f31-49bb-9f80-8a25c04abfff" providerId="ADAL" clId="{EE97D3FE-9ACA-4467-98E5-532EC45D9D1C}" dt="2024-03-01T14:50:05.183" v="15786" actId="478"/>
          <ac:spMkLst>
            <pc:docMk/>
            <pc:sldMk cId="3429470186" sldId="914"/>
            <ac:spMk id="21" creationId="{865D7ED0-1C9C-D1FA-AF2E-E5D9CC5887D1}"/>
          </ac:spMkLst>
        </pc:spChg>
        <pc:spChg chg="add del mod ord">
          <ac:chgData name="Nataliia Chornii (UA)" userId="4e4b8b3d-5f31-49bb-9f80-8a25c04abfff" providerId="ADAL" clId="{EE97D3FE-9ACA-4467-98E5-532EC45D9D1C}" dt="2024-03-01T14:50:05.183" v="15786" actId="478"/>
          <ac:spMkLst>
            <pc:docMk/>
            <pc:sldMk cId="3429470186" sldId="914"/>
            <ac:spMk id="22" creationId="{B3614BE9-57F3-2AD6-B8F2-CABFBDCE09AB}"/>
          </ac:spMkLst>
        </pc:spChg>
        <pc:spChg chg="add del mod ord">
          <ac:chgData name="Nataliia Chornii (UA)" userId="4e4b8b3d-5f31-49bb-9f80-8a25c04abfff" providerId="ADAL" clId="{EE97D3FE-9ACA-4467-98E5-532EC45D9D1C}" dt="2024-03-01T14:50:05.183" v="15786" actId="478"/>
          <ac:spMkLst>
            <pc:docMk/>
            <pc:sldMk cId="3429470186" sldId="914"/>
            <ac:spMk id="23" creationId="{8209EE50-23EC-BA9E-795A-C776616CF2D5}"/>
          </ac:spMkLst>
        </pc:spChg>
        <pc:spChg chg="add mod ord">
          <ac:chgData name="Nataliia Chornii (UA)" userId="4e4b8b3d-5f31-49bb-9f80-8a25c04abfff" providerId="ADAL" clId="{EE97D3FE-9ACA-4467-98E5-532EC45D9D1C}" dt="2024-03-01T14:54:01.883" v="15848" actId="465"/>
          <ac:spMkLst>
            <pc:docMk/>
            <pc:sldMk cId="3429470186" sldId="914"/>
            <ac:spMk id="24" creationId="{7976A404-DCE0-7582-8C59-C64068CD6711}"/>
          </ac:spMkLst>
        </pc:spChg>
        <pc:spChg chg="add mod ord">
          <ac:chgData name="Nataliia Chornii (UA)" userId="4e4b8b3d-5f31-49bb-9f80-8a25c04abfff" providerId="ADAL" clId="{EE97D3FE-9ACA-4467-98E5-532EC45D9D1C}" dt="2024-03-01T14:54:01.883" v="15848" actId="465"/>
          <ac:spMkLst>
            <pc:docMk/>
            <pc:sldMk cId="3429470186" sldId="914"/>
            <ac:spMk id="25" creationId="{CAEF1BFA-4F5E-5ECC-B05E-7D8BEAB50690}"/>
          </ac:spMkLst>
        </pc:spChg>
        <pc:spChg chg="add mod ord">
          <ac:chgData name="Nataliia Chornii (UA)" userId="4e4b8b3d-5f31-49bb-9f80-8a25c04abfff" providerId="ADAL" clId="{EE97D3FE-9ACA-4467-98E5-532EC45D9D1C}" dt="2024-03-01T14:54:01.883" v="15848" actId="465"/>
          <ac:spMkLst>
            <pc:docMk/>
            <pc:sldMk cId="3429470186" sldId="914"/>
            <ac:spMk id="26" creationId="{B81EDABD-64F3-49A6-E323-8C6185048BF8}"/>
          </ac:spMkLst>
        </pc:spChg>
        <pc:spChg chg="add mod ord">
          <ac:chgData name="Nataliia Chornii (UA)" userId="4e4b8b3d-5f31-49bb-9f80-8a25c04abfff" providerId="ADAL" clId="{EE97D3FE-9ACA-4467-98E5-532EC45D9D1C}" dt="2024-03-01T14:54:01.883" v="15848" actId="465"/>
          <ac:spMkLst>
            <pc:docMk/>
            <pc:sldMk cId="3429470186" sldId="914"/>
            <ac:spMk id="27" creationId="{E1CF9F97-1AD2-680B-5387-753B47FD3F5E}"/>
          </ac:spMkLst>
        </pc:spChg>
        <pc:spChg chg="add mod ord">
          <ac:chgData name="Nataliia Chornii (UA)" userId="4e4b8b3d-5f31-49bb-9f80-8a25c04abfff" providerId="ADAL" clId="{EE97D3FE-9ACA-4467-98E5-532EC45D9D1C}" dt="2024-03-01T14:54:01.883" v="15848" actId="465"/>
          <ac:spMkLst>
            <pc:docMk/>
            <pc:sldMk cId="3429470186" sldId="914"/>
            <ac:spMk id="28" creationId="{05646684-037D-FB27-E857-FE90B3511B0B}"/>
          </ac:spMkLst>
        </pc:spChg>
        <pc:spChg chg="add mod ord">
          <ac:chgData name="Nataliia Chornii (UA)" userId="4e4b8b3d-5f31-49bb-9f80-8a25c04abfff" providerId="ADAL" clId="{EE97D3FE-9ACA-4467-98E5-532EC45D9D1C}" dt="2024-03-01T14:54:01.883" v="15848" actId="465"/>
          <ac:spMkLst>
            <pc:docMk/>
            <pc:sldMk cId="3429470186" sldId="914"/>
            <ac:spMk id="29" creationId="{42FA7EA8-D762-11AE-4131-888CA48F2894}"/>
          </ac:spMkLst>
        </pc:spChg>
        <pc:spChg chg="add mod ord">
          <ac:chgData name="Nataliia Chornii (UA)" userId="4e4b8b3d-5f31-49bb-9f80-8a25c04abfff" providerId="ADAL" clId="{EE97D3FE-9ACA-4467-98E5-532EC45D9D1C}" dt="2024-03-01T14:54:01.883" v="15848" actId="465"/>
          <ac:spMkLst>
            <pc:docMk/>
            <pc:sldMk cId="3429470186" sldId="914"/>
            <ac:spMk id="30" creationId="{EC7F10C8-AA0B-EE40-2DBC-EE94DB6D204B}"/>
          </ac:spMkLst>
        </pc:spChg>
        <pc:spChg chg="add mod ord">
          <ac:chgData name="Nataliia Chornii (UA)" userId="4e4b8b3d-5f31-49bb-9f80-8a25c04abfff" providerId="ADAL" clId="{EE97D3FE-9ACA-4467-98E5-532EC45D9D1C}" dt="2024-03-01T14:54:16.662" v="15892" actId="465"/>
          <ac:spMkLst>
            <pc:docMk/>
            <pc:sldMk cId="3429470186" sldId="914"/>
            <ac:spMk id="31" creationId="{3ED63378-9AD4-6F7B-AA83-0757250B3655}"/>
          </ac:spMkLst>
        </pc:spChg>
        <pc:spChg chg="add mod ord">
          <ac:chgData name="Nataliia Chornii (UA)" userId="4e4b8b3d-5f31-49bb-9f80-8a25c04abfff" providerId="ADAL" clId="{EE97D3FE-9ACA-4467-98E5-532EC45D9D1C}" dt="2024-03-01T14:54:16.662" v="15892" actId="465"/>
          <ac:spMkLst>
            <pc:docMk/>
            <pc:sldMk cId="3429470186" sldId="914"/>
            <ac:spMk id="32" creationId="{368867CA-1A92-D7C5-1747-4DA72A1913A3}"/>
          </ac:spMkLst>
        </pc:spChg>
        <pc:spChg chg="add mod ord">
          <ac:chgData name="Nataliia Chornii (UA)" userId="4e4b8b3d-5f31-49bb-9f80-8a25c04abfff" providerId="ADAL" clId="{EE97D3FE-9ACA-4467-98E5-532EC45D9D1C}" dt="2024-03-01T14:54:16.662" v="15892" actId="465"/>
          <ac:spMkLst>
            <pc:docMk/>
            <pc:sldMk cId="3429470186" sldId="914"/>
            <ac:spMk id="33" creationId="{C4D43AE7-C8F7-08A9-8215-1FA9C3039CB2}"/>
          </ac:spMkLst>
        </pc:spChg>
        <pc:spChg chg="add mod ord">
          <ac:chgData name="Nataliia Chornii (UA)" userId="4e4b8b3d-5f31-49bb-9f80-8a25c04abfff" providerId="ADAL" clId="{EE97D3FE-9ACA-4467-98E5-532EC45D9D1C}" dt="2024-03-01T14:54:16.662" v="15892" actId="465"/>
          <ac:spMkLst>
            <pc:docMk/>
            <pc:sldMk cId="3429470186" sldId="914"/>
            <ac:spMk id="34" creationId="{A44E1DFA-63E7-6696-A512-35660567BC8E}"/>
          </ac:spMkLst>
        </pc:spChg>
        <pc:spChg chg="add mod ord">
          <ac:chgData name="Nataliia Chornii (UA)" userId="4e4b8b3d-5f31-49bb-9f80-8a25c04abfff" providerId="ADAL" clId="{EE97D3FE-9ACA-4467-98E5-532EC45D9D1C}" dt="2024-03-01T14:54:16.662" v="15892" actId="465"/>
          <ac:spMkLst>
            <pc:docMk/>
            <pc:sldMk cId="3429470186" sldId="914"/>
            <ac:spMk id="35" creationId="{0E3889E8-6CBA-B9D9-B3CF-37BF7D2AD588}"/>
          </ac:spMkLst>
        </pc:spChg>
        <pc:spChg chg="add mod ord">
          <ac:chgData name="Nataliia Chornii (UA)" userId="4e4b8b3d-5f31-49bb-9f80-8a25c04abfff" providerId="ADAL" clId="{EE97D3FE-9ACA-4467-98E5-532EC45D9D1C}" dt="2024-03-01T14:54:16.662" v="15892" actId="465"/>
          <ac:spMkLst>
            <pc:docMk/>
            <pc:sldMk cId="3429470186" sldId="914"/>
            <ac:spMk id="36" creationId="{1AE54009-C4AA-42A0-6C3E-5B591C01E340}"/>
          </ac:spMkLst>
        </pc:spChg>
        <pc:spChg chg="add mod ord">
          <ac:chgData name="Nataliia Chornii (UA)" userId="4e4b8b3d-5f31-49bb-9f80-8a25c04abfff" providerId="ADAL" clId="{EE97D3FE-9ACA-4467-98E5-532EC45D9D1C}" dt="2024-03-01T14:54:16.662" v="15892" actId="465"/>
          <ac:spMkLst>
            <pc:docMk/>
            <pc:sldMk cId="3429470186" sldId="914"/>
            <ac:spMk id="37" creationId="{E0CFB0A4-DBFE-D718-60F7-B518BBA84C50}"/>
          </ac:spMkLst>
        </pc:spChg>
        <pc:spChg chg="add del mod ord">
          <ac:chgData name="Nataliia Chornii (UA)" userId="4e4b8b3d-5f31-49bb-9f80-8a25c04abfff" providerId="ADAL" clId="{EE97D3FE-9ACA-4467-98E5-532EC45D9D1C}" dt="2024-03-01T14:50:05.183" v="15786" actId="478"/>
          <ac:spMkLst>
            <pc:docMk/>
            <pc:sldMk cId="3429470186" sldId="914"/>
            <ac:spMk id="45" creationId="{64C0F80D-62A8-8ED5-4DEB-616CF5DDBBAA}"/>
          </ac:spMkLst>
        </pc:spChg>
        <pc:spChg chg="add del mod ord">
          <ac:chgData name="Nataliia Chornii (UA)" userId="4e4b8b3d-5f31-49bb-9f80-8a25c04abfff" providerId="ADAL" clId="{EE97D3FE-9ACA-4467-98E5-532EC45D9D1C}" dt="2024-03-01T14:50:05.183" v="15786" actId="478"/>
          <ac:spMkLst>
            <pc:docMk/>
            <pc:sldMk cId="3429470186" sldId="914"/>
            <ac:spMk id="46" creationId="{ED5C1B45-1FDB-2A1D-9552-BCFEE5918624}"/>
          </ac:spMkLst>
        </pc:spChg>
        <pc:spChg chg="add mod ord">
          <ac:chgData name="Nataliia Chornii (UA)" userId="4e4b8b3d-5f31-49bb-9f80-8a25c04abfff" providerId="ADAL" clId="{EE97D3FE-9ACA-4467-98E5-532EC45D9D1C}" dt="2024-03-01T14:54:20.948" v="15895" actId="12789"/>
          <ac:spMkLst>
            <pc:docMk/>
            <pc:sldMk cId="3429470186" sldId="914"/>
            <ac:spMk id="47" creationId="{BFB5D4D5-E118-6D3B-1F42-9A2DB96589BB}"/>
          </ac:spMkLst>
        </pc:spChg>
        <pc:spChg chg="add mod ord">
          <ac:chgData name="Nataliia Chornii (UA)" userId="4e4b8b3d-5f31-49bb-9f80-8a25c04abfff" providerId="ADAL" clId="{EE97D3FE-9ACA-4467-98E5-532EC45D9D1C}" dt="2024-03-01T14:54:20.948" v="15895" actId="12789"/>
          <ac:spMkLst>
            <pc:docMk/>
            <pc:sldMk cId="3429470186" sldId="914"/>
            <ac:spMk id="49" creationId="{CBA276DE-FC82-7DC9-C0DE-E912A56FECAA}"/>
          </ac:spMkLst>
        </pc:spChg>
        <pc:spChg chg="add mod ord">
          <ac:chgData name="Nataliia Chornii (UA)" userId="4e4b8b3d-5f31-49bb-9f80-8a25c04abfff" providerId="ADAL" clId="{EE97D3FE-9ACA-4467-98E5-532EC45D9D1C}" dt="2024-03-01T14:54:40.760" v="15898" actId="465"/>
          <ac:spMkLst>
            <pc:docMk/>
            <pc:sldMk cId="3429470186" sldId="914"/>
            <ac:spMk id="50" creationId="{2AAD1ED9-717D-5C71-0350-C325B79C9D61}"/>
          </ac:spMkLst>
        </pc:spChg>
        <pc:spChg chg="add mod ord">
          <ac:chgData name="Nataliia Chornii (UA)" userId="4e4b8b3d-5f31-49bb-9f80-8a25c04abfff" providerId="ADAL" clId="{EE97D3FE-9ACA-4467-98E5-532EC45D9D1C}" dt="2024-03-01T14:54:40.760" v="15898" actId="465"/>
          <ac:spMkLst>
            <pc:docMk/>
            <pc:sldMk cId="3429470186" sldId="914"/>
            <ac:spMk id="51" creationId="{C85C2095-DDB1-C189-7E39-FB1EAB5D20D8}"/>
          </ac:spMkLst>
        </pc:spChg>
        <pc:spChg chg="add mod ord">
          <ac:chgData name="Nataliia Chornii (UA)" userId="4e4b8b3d-5f31-49bb-9f80-8a25c04abfff" providerId="ADAL" clId="{EE97D3FE-9ACA-4467-98E5-532EC45D9D1C}" dt="2024-03-01T14:54:40.760" v="15898" actId="465"/>
          <ac:spMkLst>
            <pc:docMk/>
            <pc:sldMk cId="3429470186" sldId="914"/>
            <ac:spMk id="52" creationId="{0EA929E4-70A4-853F-054A-08FE8E8A7FD9}"/>
          </ac:spMkLst>
        </pc:spChg>
        <pc:spChg chg="add mod ord">
          <ac:chgData name="Nataliia Chornii (UA)" userId="4e4b8b3d-5f31-49bb-9f80-8a25c04abfff" providerId="ADAL" clId="{EE97D3FE-9ACA-4467-98E5-532EC45D9D1C}" dt="2024-03-01T14:54:40.760" v="15898" actId="465"/>
          <ac:spMkLst>
            <pc:docMk/>
            <pc:sldMk cId="3429470186" sldId="914"/>
            <ac:spMk id="53" creationId="{18815909-39A8-057A-E892-017B041D3041}"/>
          </ac:spMkLst>
        </pc:spChg>
        <pc:spChg chg="add mod ord">
          <ac:chgData name="Nataliia Chornii (UA)" userId="4e4b8b3d-5f31-49bb-9f80-8a25c04abfff" providerId="ADAL" clId="{EE97D3FE-9ACA-4467-98E5-532EC45D9D1C}" dt="2024-03-01T14:54:40.760" v="15898" actId="465"/>
          <ac:spMkLst>
            <pc:docMk/>
            <pc:sldMk cId="3429470186" sldId="914"/>
            <ac:spMk id="54" creationId="{4742A4B9-ADF3-C3D5-A7C3-0EF2BC771ED8}"/>
          </ac:spMkLst>
        </pc:spChg>
        <pc:spChg chg="add mod ord">
          <ac:chgData name="Nataliia Chornii (UA)" userId="4e4b8b3d-5f31-49bb-9f80-8a25c04abfff" providerId="ADAL" clId="{EE97D3FE-9ACA-4467-98E5-532EC45D9D1C}" dt="2024-03-01T14:45:14.234" v="15733" actId="1076"/>
          <ac:spMkLst>
            <pc:docMk/>
            <pc:sldMk cId="3429470186" sldId="914"/>
            <ac:spMk id="55" creationId="{366B0B67-EE35-2B7F-8A32-63885B0BAF18}"/>
          </ac:spMkLst>
        </pc:spChg>
        <pc:spChg chg="add mod ord">
          <ac:chgData name="Nataliia Chornii (UA)" userId="4e4b8b3d-5f31-49bb-9f80-8a25c04abfff" providerId="ADAL" clId="{EE97D3FE-9ACA-4467-98E5-532EC45D9D1C}" dt="2024-03-01T14:54:32.477" v="15897" actId="1076"/>
          <ac:spMkLst>
            <pc:docMk/>
            <pc:sldMk cId="3429470186" sldId="914"/>
            <ac:spMk id="56" creationId="{3EB4BEBD-8A82-553F-3D2B-78822FBDB433}"/>
          </ac:spMkLst>
        </pc:spChg>
        <pc:spChg chg="add mod ord">
          <ac:chgData name="Nataliia Chornii (UA)" userId="4e4b8b3d-5f31-49bb-9f80-8a25c04abfff" providerId="ADAL" clId="{EE97D3FE-9ACA-4467-98E5-532EC45D9D1C}" dt="2024-03-01T14:54:40.760" v="15898" actId="465"/>
          <ac:spMkLst>
            <pc:docMk/>
            <pc:sldMk cId="3429470186" sldId="914"/>
            <ac:spMk id="57" creationId="{5624AA1C-D03F-87D7-BB7D-86AB8398DA97}"/>
          </ac:spMkLst>
        </pc:spChg>
        <pc:spChg chg="add mod ord">
          <ac:chgData name="Nataliia Chornii (UA)" userId="4e4b8b3d-5f31-49bb-9f80-8a25c04abfff" providerId="ADAL" clId="{EE97D3FE-9ACA-4467-98E5-532EC45D9D1C}" dt="2024-03-01T14:54:25.532" v="15896" actId="1076"/>
          <ac:spMkLst>
            <pc:docMk/>
            <pc:sldMk cId="3429470186" sldId="914"/>
            <ac:spMk id="58" creationId="{CF3A810F-BF24-BFF9-4540-5B519710E40B}"/>
          </ac:spMkLst>
        </pc:spChg>
        <pc:spChg chg="add mod ord">
          <ac:chgData name="Nataliia Chornii (UA)" userId="4e4b8b3d-5f31-49bb-9f80-8a25c04abfff" providerId="ADAL" clId="{EE97D3FE-9ACA-4467-98E5-532EC45D9D1C}" dt="2024-03-01T14:54:11.828" v="15890" actId="554"/>
          <ac:spMkLst>
            <pc:docMk/>
            <pc:sldMk cId="3429470186" sldId="914"/>
            <ac:spMk id="59" creationId="{715ED03C-D3A9-521E-7134-1FACE564F40F}"/>
          </ac:spMkLst>
        </pc:spChg>
        <pc:spChg chg="add mod">
          <ac:chgData name="Nataliia Chornii (UA)" userId="4e4b8b3d-5f31-49bb-9f80-8a25c04abfff" providerId="ADAL" clId="{EE97D3FE-9ACA-4467-98E5-532EC45D9D1C}" dt="2024-03-01T14:54:11.828" v="15890" actId="554"/>
          <ac:spMkLst>
            <pc:docMk/>
            <pc:sldMk cId="3429470186" sldId="914"/>
            <ac:spMk id="62" creationId="{05D1587F-2220-61CF-C510-7EBB4EE50944}"/>
          </ac:spMkLst>
        </pc:spChg>
        <pc:spChg chg="add mod">
          <ac:chgData name="Nataliia Chornii (UA)" userId="4e4b8b3d-5f31-49bb-9f80-8a25c04abfff" providerId="ADAL" clId="{EE97D3FE-9ACA-4467-98E5-532EC45D9D1C}" dt="2024-03-01T14:50:05.988" v="15787"/>
          <ac:spMkLst>
            <pc:docMk/>
            <pc:sldMk cId="3429470186" sldId="914"/>
            <ac:spMk id="64" creationId="{0A0D3723-5FC7-C936-25AC-39631D999DD6}"/>
          </ac:spMkLst>
        </pc:spChg>
        <pc:spChg chg="add mod">
          <ac:chgData name="Nataliia Chornii (UA)" userId="4e4b8b3d-5f31-49bb-9f80-8a25c04abfff" providerId="ADAL" clId="{EE97D3FE-9ACA-4467-98E5-532EC45D9D1C}" dt="2024-03-01T14:50:05.988" v="15787"/>
          <ac:spMkLst>
            <pc:docMk/>
            <pc:sldMk cId="3429470186" sldId="914"/>
            <ac:spMk id="65" creationId="{3CC8ECC6-83AA-36F7-7A5F-D4A307C0537E}"/>
          </ac:spMkLst>
        </pc:spChg>
        <pc:spChg chg="add mod">
          <ac:chgData name="Nataliia Chornii (UA)" userId="4e4b8b3d-5f31-49bb-9f80-8a25c04abfff" providerId="ADAL" clId="{EE97D3FE-9ACA-4467-98E5-532EC45D9D1C}" dt="2024-03-01T14:50:05.988" v="15787"/>
          <ac:spMkLst>
            <pc:docMk/>
            <pc:sldMk cId="3429470186" sldId="914"/>
            <ac:spMk id="66" creationId="{DE3B362D-5D33-2569-90E9-0FB04D189092}"/>
          </ac:spMkLst>
        </pc:spChg>
        <pc:spChg chg="add mod">
          <ac:chgData name="Nataliia Chornii (UA)" userId="4e4b8b3d-5f31-49bb-9f80-8a25c04abfff" providerId="ADAL" clId="{EE97D3FE-9ACA-4467-98E5-532EC45D9D1C}" dt="2024-03-01T14:50:05.988" v="15787"/>
          <ac:spMkLst>
            <pc:docMk/>
            <pc:sldMk cId="3429470186" sldId="914"/>
            <ac:spMk id="67" creationId="{5FEACEB3-5308-52F2-E30F-84F09C9B8E8C}"/>
          </ac:spMkLst>
        </pc:spChg>
        <pc:spChg chg="add mod">
          <ac:chgData name="Nataliia Chornii (UA)" userId="4e4b8b3d-5f31-49bb-9f80-8a25c04abfff" providerId="ADAL" clId="{EE97D3FE-9ACA-4467-98E5-532EC45D9D1C}" dt="2024-03-01T14:50:05.988" v="15787"/>
          <ac:spMkLst>
            <pc:docMk/>
            <pc:sldMk cId="3429470186" sldId="914"/>
            <ac:spMk id="68" creationId="{E306B251-3F5F-005F-AEFB-3CB241FE32C8}"/>
          </ac:spMkLst>
        </pc:spChg>
        <pc:spChg chg="add mod">
          <ac:chgData name="Nataliia Chornii (UA)" userId="4e4b8b3d-5f31-49bb-9f80-8a25c04abfff" providerId="ADAL" clId="{EE97D3FE-9ACA-4467-98E5-532EC45D9D1C}" dt="2024-03-01T14:50:05.988" v="15787"/>
          <ac:spMkLst>
            <pc:docMk/>
            <pc:sldMk cId="3429470186" sldId="914"/>
            <ac:spMk id="69" creationId="{104F4EFD-C9CA-3F71-44EE-FFB520C2BA98}"/>
          </ac:spMkLst>
        </pc:spChg>
        <pc:spChg chg="add mod">
          <ac:chgData name="Nataliia Chornii (UA)" userId="4e4b8b3d-5f31-49bb-9f80-8a25c04abfff" providerId="ADAL" clId="{EE97D3FE-9ACA-4467-98E5-532EC45D9D1C}" dt="2024-03-01T14:50:05.988" v="15787"/>
          <ac:spMkLst>
            <pc:docMk/>
            <pc:sldMk cId="3429470186" sldId="914"/>
            <ac:spMk id="70" creationId="{3F5BD87C-F15B-0669-254D-9ED7461E67A3}"/>
          </ac:spMkLst>
        </pc:spChg>
        <pc:spChg chg="add mod">
          <ac:chgData name="Nataliia Chornii (UA)" userId="4e4b8b3d-5f31-49bb-9f80-8a25c04abfff" providerId="ADAL" clId="{EE97D3FE-9ACA-4467-98E5-532EC45D9D1C}" dt="2024-03-01T14:50:05.988" v="15787"/>
          <ac:spMkLst>
            <pc:docMk/>
            <pc:sldMk cId="3429470186" sldId="914"/>
            <ac:spMk id="71" creationId="{9C1AF4BA-6826-C17F-A9FE-5541CDF4BFC4}"/>
          </ac:spMkLst>
        </pc:spChg>
        <pc:spChg chg="add del mod">
          <ac:chgData name="Nataliia Chornii (UA)" userId="4e4b8b3d-5f31-49bb-9f80-8a25c04abfff" providerId="ADAL" clId="{EE97D3FE-9ACA-4467-98E5-532EC45D9D1C}" dt="2024-03-01T14:54:17.807" v="15893" actId="478"/>
          <ac:spMkLst>
            <pc:docMk/>
            <pc:sldMk cId="3429470186" sldId="914"/>
            <ac:spMk id="72" creationId="{1E75BC9C-37FF-3025-A4F7-30800E317EFB}"/>
          </ac:spMkLst>
        </pc:spChg>
        <pc:spChg chg="add del mod">
          <ac:chgData name="Nataliia Chornii (UA)" userId="4e4b8b3d-5f31-49bb-9f80-8a25c04abfff" providerId="ADAL" clId="{EE97D3FE-9ACA-4467-98E5-532EC45D9D1C}" dt="2024-03-11T14:29:24.972" v="24228" actId="478"/>
          <ac:spMkLst>
            <pc:docMk/>
            <pc:sldMk cId="3429470186" sldId="914"/>
            <ac:spMk id="73" creationId="{637697E1-CC11-E241-8E37-A50816D410F4}"/>
          </ac:spMkLst>
        </pc:spChg>
        <pc:grpChg chg="add mod">
          <ac:chgData name="Nataliia Chornii (UA)" userId="4e4b8b3d-5f31-49bb-9f80-8a25c04abfff" providerId="ADAL" clId="{EE97D3FE-9ACA-4467-98E5-532EC45D9D1C}" dt="2024-03-11T14:25:51.067" v="24083"/>
          <ac:grpSpMkLst>
            <pc:docMk/>
            <pc:sldMk cId="3429470186" sldId="914"/>
            <ac:grpSpMk id="5" creationId="{9F4D49DA-C160-44B0-4B22-9D2075362CB6}"/>
          </ac:grpSpMkLst>
        </pc:grpChg>
        <pc:graphicFrameChg chg="add mod ord modVis replST">
          <ac:chgData name="Nataliia Chornii (UA)" userId="4e4b8b3d-5f31-49bb-9f80-8a25c04abfff" providerId="ADAL" clId="{EE97D3FE-9ACA-4467-98E5-532EC45D9D1C}" dt="2024-03-01T14:54:09.714" v="15889"/>
          <ac:graphicFrameMkLst>
            <pc:docMk/>
            <pc:sldMk cId="3429470186" sldId="914"/>
            <ac:graphicFrameMk id="8" creationId="{32A03EDD-F030-291B-BE81-BF9DE321CA50}"/>
          </ac:graphicFrameMkLst>
        </pc:graphicFrameChg>
        <pc:picChg chg="add mod ord">
          <ac:chgData name="Nataliia Chornii (UA)" userId="4e4b8b3d-5f31-49bb-9f80-8a25c04abfff" providerId="ADAL" clId="{EE97D3FE-9ACA-4467-98E5-532EC45D9D1C}" dt="2024-03-01T14:43:35.261" v="15605"/>
          <ac:picMkLst>
            <pc:docMk/>
            <pc:sldMk cId="3429470186" sldId="914"/>
            <ac:picMk id="13" creationId="{74DDB8D3-0D3E-4998-DA26-3080B29564A0}"/>
          </ac:picMkLst>
        </pc:picChg>
        <pc:cxnChg chg="add mod ord">
          <ac:chgData name="Nataliia Chornii (UA)" userId="4e4b8b3d-5f31-49bb-9f80-8a25c04abfff" providerId="ADAL" clId="{EE97D3FE-9ACA-4467-98E5-532EC45D9D1C}" dt="2024-03-01T14:54:16.662" v="15892" actId="465"/>
          <ac:cxnSpMkLst>
            <pc:docMk/>
            <pc:sldMk cId="3429470186" sldId="914"/>
            <ac:cxnSpMk id="38" creationId="{6C076618-B972-83FA-E91E-661AF9666BAC}"/>
          </ac:cxnSpMkLst>
        </pc:cxnChg>
        <pc:cxnChg chg="add mod ord">
          <ac:chgData name="Nataliia Chornii (UA)" userId="4e4b8b3d-5f31-49bb-9f80-8a25c04abfff" providerId="ADAL" clId="{EE97D3FE-9ACA-4467-98E5-532EC45D9D1C}" dt="2024-03-01T14:54:16.662" v="15892" actId="465"/>
          <ac:cxnSpMkLst>
            <pc:docMk/>
            <pc:sldMk cId="3429470186" sldId="914"/>
            <ac:cxnSpMk id="39" creationId="{AACFD71A-79C6-7413-5A81-A4AFD0F2E441}"/>
          </ac:cxnSpMkLst>
        </pc:cxnChg>
        <pc:cxnChg chg="add mod ord">
          <ac:chgData name="Nataliia Chornii (UA)" userId="4e4b8b3d-5f31-49bb-9f80-8a25c04abfff" providerId="ADAL" clId="{EE97D3FE-9ACA-4467-98E5-532EC45D9D1C}" dt="2024-03-01T14:54:16.662" v="15892" actId="465"/>
          <ac:cxnSpMkLst>
            <pc:docMk/>
            <pc:sldMk cId="3429470186" sldId="914"/>
            <ac:cxnSpMk id="40" creationId="{7ECA13E0-FA0D-1066-D038-F5C5F3ECD0DE}"/>
          </ac:cxnSpMkLst>
        </pc:cxnChg>
        <pc:cxnChg chg="add mod ord">
          <ac:chgData name="Nataliia Chornii (UA)" userId="4e4b8b3d-5f31-49bb-9f80-8a25c04abfff" providerId="ADAL" clId="{EE97D3FE-9ACA-4467-98E5-532EC45D9D1C}" dt="2024-03-01T14:54:16.662" v="15892" actId="465"/>
          <ac:cxnSpMkLst>
            <pc:docMk/>
            <pc:sldMk cId="3429470186" sldId="914"/>
            <ac:cxnSpMk id="41" creationId="{A235ECF1-4D0C-2C8E-6F14-C26295D9BD92}"/>
          </ac:cxnSpMkLst>
        </pc:cxnChg>
        <pc:cxnChg chg="add mod ord">
          <ac:chgData name="Nataliia Chornii (UA)" userId="4e4b8b3d-5f31-49bb-9f80-8a25c04abfff" providerId="ADAL" clId="{EE97D3FE-9ACA-4467-98E5-532EC45D9D1C}" dt="2024-03-01T14:54:16.662" v="15892" actId="465"/>
          <ac:cxnSpMkLst>
            <pc:docMk/>
            <pc:sldMk cId="3429470186" sldId="914"/>
            <ac:cxnSpMk id="42" creationId="{DBBD5D35-2B1D-A5AD-2FC3-6967356AB8AD}"/>
          </ac:cxnSpMkLst>
        </pc:cxnChg>
        <pc:cxnChg chg="add mod ord">
          <ac:chgData name="Nataliia Chornii (UA)" userId="4e4b8b3d-5f31-49bb-9f80-8a25c04abfff" providerId="ADAL" clId="{EE97D3FE-9ACA-4467-98E5-532EC45D9D1C}" dt="2024-03-01T14:54:16.662" v="15892" actId="465"/>
          <ac:cxnSpMkLst>
            <pc:docMk/>
            <pc:sldMk cId="3429470186" sldId="914"/>
            <ac:cxnSpMk id="43" creationId="{0FA02750-EEED-1294-ED4F-724A2B8FA344}"/>
          </ac:cxnSpMkLst>
        </pc:cxnChg>
        <pc:cxnChg chg="add mod ord">
          <ac:chgData name="Nataliia Chornii (UA)" userId="4e4b8b3d-5f31-49bb-9f80-8a25c04abfff" providerId="ADAL" clId="{EE97D3FE-9ACA-4467-98E5-532EC45D9D1C}" dt="2024-03-01T14:54:16.662" v="15892" actId="465"/>
          <ac:cxnSpMkLst>
            <pc:docMk/>
            <pc:sldMk cId="3429470186" sldId="914"/>
            <ac:cxnSpMk id="44" creationId="{9484F603-EFA7-CF51-3E25-A8C107ED1840}"/>
          </ac:cxnSpMkLst>
        </pc:cxnChg>
        <pc:cxnChg chg="add mod ord">
          <ac:chgData name="Nataliia Chornii (UA)" userId="4e4b8b3d-5f31-49bb-9f80-8a25c04abfff" providerId="ADAL" clId="{EE97D3FE-9ACA-4467-98E5-532EC45D9D1C}" dt="2024-03-01T14:54:20.948" v="15895" actId="12789"/>
          <ac:cxnSpMkLst>
            <pc:docMk/>
            <pc:sldMk cId="3429470186" sldId="914"/>
            <ac:cxnSpMk id="48" creationId="{8C4D9F7B-7A3D-3318-A201-AF6934836B34}"/>
          </ac:cxnSpMkLst>
        </pc:cxnChg>
        <pc:cxnChg chg="add mod">
          <ac:chgData name="Nataliia Chornii (UA)" userId="4e4b8b3d-5f31-49bb-9f80-8a25c04abfff" providerId="ADAL" clId="{EE97D3FE-9ACA-4467-98E5-532EC45D9D1C}" dt="2024-03-01T14:54:16.662" v="15892" actId="465"/>
          <ac:cxnSpMkLst>
            <pc:docMk/>
            <pc:sldMk cId="3429470186" sldId="914"/>
            <ac:cxnSpMk id="61" creationId="{804E26DD-A68F-F1A2-ED8C-EB65BFE83319}"/>
          </ac:cxnSpMkLst>
        </pc:cxnChg>
      </pc:sldChg>
      <pc:sldChg chg="addSp delSp modSp mod modClrScheme modCm chgLayout">
        <pc:chgData name="Nataliia Chornii (UA)" userId="4e4b8b3d-5f31-49bb-9f80-8a25c04abfff" providerId="ADAL" clId="{EE97D3FE-9ACA-4467-98E5-532EC45D9D1C}" dt="2024-03-11T14:29:33.036" v="24235"/>
        <pc:sldMkLst>
          <pc:docMk/>
          <pc:sldMk cId="1981412866" sldId="915"/>
        </pc:sldMkLst>
        <pc:spChg chg="add mod">
          <ac:chgData name="Nataliia Chornii (UA)" userId="4e4b8b3d-5f31-49bb-9f80-8a25c04abfff" providerId="ADAL" clId="{EE97D3FE-9ACA-4467-98E5-532EC45D9D1C}" dt="2024-03-04T09:57:57.164" v="20137" actId="12788"/>
          <ac:spMkLst>
            <pc:docMk/>
            <pc:sldMk cId="1981412866" sldId="915"/>
            <ac:spMk id="2" creationId="{96E90289-07C1-5A7D-A81D-B8B121EFCC45}"/>
          </ac:spMkLst>
        </pc:spChg>
        <pc:spChg chg="del">
          <ac:chgData name="Nataliia Chornii (UA)" userId="4e4b8b3d-5f31-49bb-9f80-8a25c04abfff" providerId="ADAL" clId="{EE97D3FE-9ACA-4467-98E5-532EC45D9D1C}" dt="2024-03-01T14:41:44.258" v="15415" actId="478"/>
          <ac:spMkLst>
            <pc:docMk/>
            <pc:sldMk cId="1981412866" sldId="915"/>
            <ac:spMk id="2" creationId="{A1EA5253-E431-DFFC-E94A-6F8E087CC2C0}"/>
          </ac:spMkLst>
        </pc:spChg>
        <pc:spChg chg="mod ord">
          <ac:chgData name="Nataliia Chornii (UA)" userId="4e4b8b3d-5f31-49bb-9f80-8a25c04abfff" providerId="ADAL" clId="{EE97D3FE-9ACA-4467-98E5-532EC45D9D1C}" dt="2024-03-01T15:10:53.058" v="16367"/>
          <ac:spMkLst>
            <pc:docMk/>
            <pc:sldMk cId="1981412866" sldId="915"/>
            <ac:spMk id="3" creationId="{F4CCF02E-F3C4-C376-8F56-61BD85A2E74B}"/>
          </ac:spMkLst>
        </pc:spChg>
        <pc:spChg chg="mod ord">
          <ac:chgData name="Nataliia Chornii (UA)" userId="4e4b8b3d-5f31-49bb-9f80-8a25c04abfff" providerId="ADAL" clId="{EE97D3FE-9ACA-4467-98E5-532EC45D9D1C}" dt="2024-03-01T15:10:53.058" v="16369"/>
          <ac:spMkLst>
            <pc:docMk/>
            <pc:sldMk cId="1981412866" sldId="915"/>
            <ac:spMk id="4" creationId="{872966CD-924A-B939-E655-A6BAF817DCBF}"/>
          </ac:spMkLst>
        </pc:spChg>
        <pc:spChg chg="del mod ord">
          <ac:chgData name="Nataliia Chornii (UA)" userId="4e4b8b3d-5f31-49bb-9f80-8a25c04abfff" providerId="ADAL" clId="{EE97D3FE-9ACA-4467-98E5-532EC45D9D1C}" dt="2024-03-01T14:41:53.318" v="15470" actId="478"/>
          <ac:spMkLst>
            <pc:docMk/>
            <pc:sldMk cId="1981412866" sldId="915"/>
            <ac:spMk id="5" creationId="{FF11D90A-8D15-0E43-4C2E-D42257331C13}"/>
          </ac:spMkLst>
        </pc:spChg>
        <pc:spChg chg="del mod ord">
          <ac:chgData name="Nataliia Chornii (UA)" userId="4e4b8b3d-5f31-49bb-9f80-8a25c04abfff" providerId="ADAL" clId="{EE97D3FE-9ACA-4467-98E5-532EC45D9D1C}" dt="2024-03-01T14:41:53.318" v="15470" actId="478"/>
          <ac:spMkLst>
            <pc:docMk/>
            <pc:sldMk cId="1981412866" sldId="915"/>
            <ac:spMk id="6" creationId="{0F377277-EC46-FAC5-F379-194FCD82679C}"/>
          </ac:spMkLst>
        </pc:spChg>
        <pc:spChg chg="mod">
          <ac:chgData name="Nataliia Chornii (UA)" userId="4e4b8b3d-5f31-49bb-9f80-8a25c04abfff" providerId="ADAL" clId="{EE97D3FE-9ACA-4467-98E5-532EC45D9D1C}" dt="2024-03-04T09:56:36.288" v="20110"/>
          <ac:spMkLst>
            <pc:docMk/>
            <pc:sldMk cId="1981412866" sldId="915"/>
            <ac:spMk id="6" creationId="{D1D485D9-992C-9507-12E9-974556D69A56}"/>
          </ac:spMkLst>
        </pc:spChg>
        <pc:spChg chg="mod">
          <ac:chgData name="Nataliia Chornii (UA)" userId="4e4b8b3d-5f31-49bb-9f80-8a25c04abfff" providerId="ADAL" clId="{EE97D3FE-9ACA-4467-98E5-532EC45D9D1C}" dt="2024-03-04T09:56:36.288" v="20110"/>
          <ac:spMkLst>
            <pc:docMk/>
            <pc:sldMk cId="1981412866" sldId="915"/>
            <ac:spMk id="7" creationId="{15BA13C0-6C87-20F0-2804-F02F492C5766}"/>
          </ac:spMkLst>
        </pc:spChg>
        <pc:spChg chg="add del mod modVis">
          <ac:chgData name="Nataliia Chornii (UA)" userId="4e4b8b3d-5f31-49bb-9f80-8a25c04abfff" providerId="ADAL" clId="{EE97D3FE-9ACA-4467-98E5-532EC45D9D1C}" dt="2024-03-01T08:48:59.470" v="1361"/>
          <ac:spMkLst>
            <pc:docMk/>
            <pc:sldMk cId="1981412866" sldId="915"/>
            <ac:spMk id="7" creationId="{344F7804-976C-1A5E-8330-6D1BEB038E5E}"/>
          </ac:spMkLst>
        </pc:spChg>
        <pc:spChg chg="del">
          <ac:chgData name="Nataliia Chornii (UA)" userId="4e4b8b3d-5f31-49bb-9f80-8a25c04abfff" providerId="ADAL" clId="{EE97D3FE-9ACA-4467-98E5-532EC45D9D1C}" dt="2024-03-01T14:41:44.258" v="15415" actId="478"/>
          <ac:spMkLst>
            <pc:docMk/>
            <pc:sldMk cId="1981412866" sldId="915"/>
            <ac:spMk id="8" creationId="{598AB23C-0BF9-85FE-4B7A-DC0CF1A85603}"/>
          </ac:spMkLst>
        </pc:spChg>
        <pc:spChg chg="mod">
          <ac:chgData name="Nataliia Chornii (UA)" userId="4e4b8b3d-5f31-49bb-9f80-8a25c04abfff" providerId="ADAL" clId="{EE97D3FE-9ACA-4467-98E5-532EC45D9D1C}" dt="2024-03-04T09:56:36.288" v="20110"/>
          <ac:spMkLst>
            <pc:docMk/>
            <pc:sldMk cId="1981412866" sldId="915"/>
            <ac:spMk id="8" creationId="{6FCA05AD-8C35-7836-65D0-E8DA5B08E0ED}"/>
          </ac:spMkLst>
        </pc:spChg>
        <pc:spChg chg="del">
          <ac:chgData name="Nataliia Chornii (UA)" userId="4e4b8b3d-5f31-49bb-9f80-8a25c04abfff" providerId="ADAL" clId="{EE97D3FE-9ACA-4467-98E5-532EC45D9D1C}" dt="2024-03-01T14:57:16.240" v="15927" actId="478"/>
          <ac:spMkLst>
            <pc:docMk/>
            <pc:sldMk cId="1981412866" sldId="915"/>
            <ac:spMk id="10" creationId="{489B7680-E5EE-2A50-7733-37F2F144B869}"/>
          </ac:spMkLst>
        </pc:spChg>
        <pc:spChg chg="mod">
          <ac:chgData name="Nataliia Chornii (UA)" userId="4e4b8b3d-5f31-49bb-9f80-8a25c04abfff" providerId="ADAL" clId="{EE97D3FE-9ACA-4467-98E5-532EC45D9D1C}" dt="2024-03-04T09:56:36.288" v="20110"/>
          <ac:spMkLst>
            <pc:docMk/>
            <pc:sldMk cId="1981412866" sldId="915"/>
            <ac:spMk id="10" creationId="{587DDC30-89F6-93F6-6EBF-3B6714D009F6}"/>
          </ac:spMkLst>
        </pc:spChg>
        <pc:spChg chg="del">
          <ac:chgData name="Nataliia Chornii (UA)" userId="4e4b8b3d-5f31-49bb-9f80-8a25c04abfff" providerId="ADAL" clId="{EE97D3FE-9ACA-4467-98E5-532EC45D9D1C}" dt="2024-03-01T14:41:44.258" v="15415" actId="478"/>
          <ac:spMkLst>
            <pc:docMk/>
            <pc:sldMk cId="1981412866" sldId="915"/>
            <ac:spMk id="11" creationId="{327B1A4B-6980-7B00-091C-6006703B82A0}"/>
          </ac:spMkLst>
        </pc:spChg>
        <pc:spChg chg="mod">
          <ac:chgData name="Nataliia Chornii (UA)" userId="4e4b8b3d-5f31-49bb-9f80-8a25c04abfff" providerId="ADAL" clId="{EE97D3FE-9ACA-4467-98E5-532EC45D9D1C}" dt="2024-03-04T09:56:36.288" v="20110"/>
          <ac:spMkLst>
            <pc:docMk/>
            <pc:sldMk cId="1981412866" sldId="915"/>
            <ac:spMk id="11" creationId="{DB977EC8-480D-D5D8-60CB-3A4515B09437}"/>
          </ac:spMkLst>
        </pc:spChg>
        <pc:spChg chg="add del mod modVis">
          <ac:chgData name="Nataliia Chornii (UA)" userId="4e4b8b3d-5f31-49bb-9f80-8a25c04abfff" providerId="ADAL" clId="{EE97D3FE-9ACA-4467-98E5-532EC45D9D1C}" dt="2024-03-01T08:49:33.757" v="2818"/>
          <ac:spMkLst>
            <pc:docMk/>
            <pc:sldMk cId="1981412866" sldId="915"/>
            <ac:spMk id="12" creationId="{40444200-C0B8-1229-05D8-F2C48D2E15D9}"/>
          </ac:spMkLst>
        </pc:spChg>
        <pc:spChg chg="add del mod modVis">
          <ac:chgData name="Nataliia Chornii (UA)" userId="4e4b8b3d-5f31-49bb-9f80-8a25c04abfff" providerId="ADAL" clId="{EE97D3FE-9ACA-4467-98E5-532EC45D9D1C}" dt="2024-03-01T08:49:59.788" v="3806"/>
          <ac:spMkLst>
            <pc:docMk/>
            <pc:sldMk cId="1981412866" sldId="915"/>
            <ac:spMk id="13" creationId="{2F559554-D864-00EF-3886-292DAC4FDDBA}"/>
          </ac:spMkLst>
        </pc:spChg>
        <pc:spChg chg="mod">
          <ac:chgData name="Nataliia Chornii (UA)" userId="4e4b8b3d-5f31-49bb-9f80-8a25c04abfff" providerId="ADAL" clId="{EE97D3FE-9ACA-4467-98E5-532EC45D9D1C}" dt="2024-03-04T09:57:01.019" v="20112"/>
          <ac:spMkLst>
            <pc:docMk/>
            <pc:sldMk cId="1981412866" sldId="915"/>
            <ac:spMk id="13" creationId="{525B38CA-341A-699F-6B0D-119258973EDF}"/>
          </ac:spMkLst>
        </pc:spChg>
        <pc:spChg chg="add del mod modVis">
          <ac:chgData name="Nataliia Chornii (UA)" userId="4e4b8b3d-5f31-49bb-9f80-8a25c04abfff" providerId="ADAL" clId="{EE97D3FE-9ACA-4467-98E5-532EC45D9D1C}" dt="2024-03-01T08:51:26.106" v="4794"/>
          <ac:spMkLst>
            <pc:docMk/>
            <pc:sldMk cId="1981412866" sldId="915"/>
            <ac:spMk id="14" creationId="{4EC54AE3-5D69-7034-061F-A6C2AD306D46}"/>
          </ac:spMkLst>
        </pc:spChg>
        <pc:spChg chg="mod">
          <ac:chgData name="Nataliia Chornii (UA)" userId="4e4b8b3d-5f31-49bb-9f80-8a25c04abfff" providerId="ADAL" clId="{EE97D3FE-9ACA-4467-98E5-532EC45D9D1C}" dt="2024-03-04T09:57:01.019" v="20112"/>
          <ac:spMkLst>
            <pc:docMk/>
            <pc:sldMk cId="1981412866" sldId="915"/>
            <ac:spMk id="14" creationId="{61E793CC-19F7-C0AA-59BB-146173E573D1}"/>
          </ac:spMkLst>
        </pc:spChg>
        <pc:spChg chg="add del mod modVis">
          <ac:chgData name="Nataliia Chornii (UA)" userId="4e4b8b3d-5f31-49bb-9f80-8a25c04abfff" providerId="ADAL" clId="{EE97D3FE-9ACA-4467-98E5-532EC45D9D1C}" dt="2024-03-01T08:51:56.110" v="5783"/>
          <ac:spMkLst>
            <pc:docMk/>
            <pc:sldMk cId="1981412866" sldId="915"/>
            <ac:spMk id="15" creationId="{416C50ED-BD41-C60E-B9F4-45F2EE895DB6}"/>
          </ac:spMkLst>
        </pc:spChg>
        <pc:spChg chg="mod">
          <ac:chgData name="Nataliia Chornii (UA)" userId="4e4b8b3d-5f31-49bb-9f80-8a25c04abfff" providerId="ADAL" clId="{EE97D3FE-9ACA-4467-98E5-532EC45D9D1C}" dt="2024-03-04T09:57:01.019" v="20112"/>
          <ac:spMkLst>
            <pc:docMk/>
            <pc:sldMk cId="1981412866" sldId="915"/>
            <ac:spMk id="15" creationId="{8098566C-D4E3-EF8D-7D46-18B778966168}"/>
          </ac:spMkLst>
        </pc:spChg>
        <pc:spChg chg="mod">
          <ac:chgData name="Nataliia Chornii (UA)" userId="4e4b8b3d-5f31-49bb-9f80-8a25c04abfff" providerId="ADAL" clId="{EE97D3FE-9ACA-4467-98E5-532EC45D9D1C}" dt="2024-03-04T09:57:01.019" v="20112"/>
          <ac:spMkLst>
            <pc:docMk/>
            <pc:sldMk cId="1981412866" sldId="915"/>
            <ac:spMk id="16" creationId="{5D1487C4-24F7-DCEB-AD5F-DCCCC045562E}"/>
          </ac:spMkLst>
        </pc:spChg>
        <pc:spChg chg="add del mod modVis">
          <ac:chgData name="Nataliia Chornii (UA)" userId="4e4b8b3d-5f31-49bb-9f80-8a25c04abfff" providerId="ADAL" clId="{EE97D3FE-9ACA-4467-98E5-532EC45D9D1C}" dt="2024-03-01T08:52:18.267" v="6771"/>
          <ac:spMkLst>
            <pc:docMk/>
            <pc:sldMk cId="1981412866" sldId="915"/>
            <ac:spMk id="16" creationId="{67CCF045-1A4E-7480-57B9-4EF50ABF0855}"/>
          </ac:spMkLst>
        </pc:spChg>
        <pc:spChg chg="add mod">
          <ac:chgData name="Nataliia Chornii (UA)" userId="4e4b8b3d-5f31-49bb-9f80-8a25c04abfff" providerId="ADAL" clId="{EE97D3FE-9ACA-4467-98E5-532EC45D9D1C}" dt="2024-03-11T14:25:54.979" v="24084"/>
          <ac:spMkLst>
            <pc:docMk/>
            <pc:sldMk cId="1981412866" sldId="915"/>
            <ac:spMk id="17" creationId="{68D4BE07-EE77-6573-3961-3389F961B1B0}"/>
          </ac:spMkLst>
        </pc:spChg>
        <pc:spChg chg="add del mod">
          <ac:chgData name="Nataliia Chornii (UA)" userId="4e4b8b3d-5f31-49bb-9f80-8a25c04abfff" providerId="ADAL" clId="{EE97D3FE-9ACA-4467-98E5-532EC45D9D1C}" dt="2024-03-01T14:41:47.483" v="15416" actId="700"/>
          <ac:spMkLst>
            <pc:docMk/>
            <pc:sldMk cId="1981412866" sldId="915"/>
            <ac:spMk id="18" creationId="{7B540454-A808-B314-AE3A-69E4E5D13569}"/>
          </ac:spMkLst>
        </pc:spChg>
        <pc:spChg chg="mod">
          <ac:chgData name="Nataliia Chornii (UA)" userId="4e4b8b3d-5f31-49bb-9f80-8a25c04abfff" providerId="ADAL" clId="{EE97D3FE-9ACA-4467-98E5-532EC45D9D1C}" dt="2024-03-11T14:25:54.979" v="24084"/>
          <ac:spMkLst>
            <pc:docMk/>
            <pc:sldMk cId="1981412866" sldId="915"/>
            <ac:spMk id="19" creationId="{90780358-C072-6B3D-FB2E-24A9A6DBB0D4}"/>
          </ac:spMkLst>
        </pc:spChg>
        <pc:spChg chg="add del mod modVis">
          <ac:chgData name="Nataliia Chornii (UA)" userId="4e4b8b3d-5f31-49bb-9f80-8a25c04abfff" providerId="ADAL" clId="{EE97D3FE-9ACA-4467-98E5-532EC45D9D1C}" dt="2024-03-01T14:41:48.020" v="15440"/>
          <ac:spMkLst>
            <pc:docMk/>
            <pc:sldMk cId="1981412866" sldId="915"/>
            <ac:spMk id="19" creationId="{C531AC5D-4025-674D-1568-BDE6008DDA44}"/>
          </ac:spMkLst>
        </pc:spChg>
        <pc:spChg chg="add del mod ord">
          <ac:chgData name="Nataliia Chornii (UA)" userId="4e4b8b3d-5f31-49bb-9f80-8a25c04abfff" providerId="ADAL" clId="{EE97D3FE-9ACA-4467-98E5-532EC45D9D1C}" dt="2024-03-01T14:41:54.147" v="15471" actId="478"/>
          <ac:spMkLst>
            <pc:docMk/>
            <pc:sldMk cId="1981412866" sldId="915"/>
            <ac:spMk id="20" creationId="{194227C2-168E-BAB0-9547-CEA44E71F63B}"/>
          </ac:spMkLst>
        </pc:spChg>
        <pc:spChg chg="mod">
          <ac:chgData name="Nataliia Chornii (UA)" userId="4e4b8b3d-5f31-49bb-9f80-8a25c04abfff" providerId="ADAL" clId="{EE97D3FE-9ACA-4467-98E5-532EC45D9D1C}" dt="2024-03-11T14:25:54.979" v="24084"/>
          <ac:spMkLst>
            <pc:docMk/>
            <pc:sldMk cId="1981412866" sldId="915"/>
            <ac:spMk id="20" creationId="{7B2ABD59-087E-A754-5ABE-541F89404C42}"/>
          </ac:spMkLst>
        </pc:spChg>
        <pc:spChg chg="add del mod modVis">
          <ac:chgData name="Nataliia Chornii (UA)" userId="4e4b8b3d-5f31-49bb-9f80-8a25c04abfff" providerId="ADAL" clId="{EE97D3FE-9ACA-4467-98E5-532EC45D9D1C}" dt="2024-03-01T14:41:51.232" v="15467"/>
          <ac:spMkLst>
            <pc:docMk/>
            <pc:sldMk cId="1981412866" sldId="915"/>
            <ac:spMk id="21" creationId="{07BA5BE9-5B0F-2314-72E5-DF1CA2DB289E}"/>
          </ac:spMkLst>
        </pc:spChg>
        <pc:spChg chg="mod">
          <ac:chgData name="Nataliia Chornii (UA)" userId="4e4b8b3d-5f31-49bb-9f80-8a25c04abfff" providerId="ADAL" clId="{EE97D3FE-9ACA-4467-98E5-532EC45D9D1C}" dt="2024-03-11T14:25:54.979" v="24084"/>
          <ac:spMkLst>
            <pc:docMk/>
            <pc:sldMk cId="1981412866" sldId="915"/>
            <ac:spMk id="21" creationId="{A6FD980E-E321-4F12-D754-132070F922F7}"/>
          </ac:spMkLst>
        </pc:spChg>
        <pc:spChg chg="add del mod ord">
          <ac:chgData name="Nataliia Chornii (UA)" userId="4e4b8b3d-5f31-49bb-9f80-8a25c04abfff" providerId="ADAL" clId="{EE97D3FE-9ACA-4467-98E5-532EC45D9D1C}" dt="2024-03-01T15:00:54.460" v="16098" actId="478"/>
          <ac:spMkLst>
            <pc:docMk/>
            <pc:sldMk cId="1981412866" sldId="915"/>
            <ac:spMk id="22" creationId="{21A06204-9F03-C0A1-4A18-772029EA27C9}"/>
          </ac:spMkLst>
        </pc:spChg>
        <pc:spChg chg="mod">
          <ac:chgData name="Nataliia Chornii (UA)" userId="4e4b8b3d-5f31-49bb-9f80-8a25c04abfff" providerId="ADAL" clId="{EE97D3FE-9ACA-4467-98E5-532EC45D9D1C}" dt="2024-03-11T14:25:54.979" v="24084"/>
          <ac:spMkLst>
            <pc:docMk/>
            <pc:sldMk cId="1981412866" sldId="915"/>
            <ac:spMk id="22" creationId="{D45405E9-A94A-9407-99AF-96CA0558213E}"/>
          </ac:spMkLst>
        </pc:spChg>
        <pc:spChg chg="add del mod ord">
          <ac:chgData name="Nataliia Chornii (UA)" userId="4e4b8b3d-5f31-49bb-9f80-8a25c04abfff" providerId="ADAL" clId="{EE97D3FE-9ACA-4467-98E5-532EC45D9D1C}" dt="2024-03-01T15:02:07.943" v="16115" actId="478"/>
          <ac:spMkLst>
            <pc:docMk/>
            <pc:sldMk cId="1981412866" sldId="915"/>
            <ac:spMk id="23" creationId="{7FEE6516-A477-E36D-54DA-39E846A8CC3C}"/>
          </ac:spMkLst>
        </pc:spChg>
        <pc:spChg chg="mod">
          <ac:chgData name="Nataliia Chornii (UA)" userId="4e4b8b3d-5f31-49bb-9f80-8a25c04abfff" providerId="ADAL" clId="{EE97D3FE-9ACA-4467-98E5-532EC45D9D1C}" dt="2024-03-11T14:25:54.979" v="24084"/>
          <ac:spMkLst>
            <pc:docMk/>
            <pc:sldMk cId="1981412866" sldId="915"/>
            <ac:spMk id="23" creationId="{80679B44-E780-AF8A-F9FC-0A82951551DF}"/>
          </ac:spMkLst>
        </pc:spChg>
        <pc:spChg chg="add del mod ord">
          <ac:chgData name="Nataliia Chornii (UA)" userId="4e4b8b3d-5f31-49bb-9f80-8a25c04abfff" providerId="ADAL" clId="{EE97D3FE-9ACA-4467-98E5-532EC45D9D1C}" dt="2024-03-01T15:04:32.150" v="16162" actId="478"/>
          <ac:spMkLst>
            <pc:docMk/>
            <pc:sldMk cId="1981412866" sldId="915"/>
            <ac:spMk id="24" creationId="{42C7AAA6-B7A4-49C9-FFCC-CE6016CF66D3}"/>
          </ac:spMkLst>
        </pc:spChg>
        <pc:spChg chg="mod">
          <ac:chgData name="Nataliia Chornii (UA)" userId="4e4b8b3d-5f31-49bb-9f80-8a25c04abfff" providerId="ADAL" clId="{EE97D3FE-9ACA-4467-98E5-532EC45D9D1C}" dt="2024-03-11T14:25:54.979" v="24084"/>
          <ac:spMkLst>
            <pc:docMk/>
            <pc:sldMk cId="1981412866" sldId="915"/>
            <ac:spMk id="24" creationId="{F0BA98FD-45F1-EA62-D2BF-2974360EEC2E}"/>
          </ac:spMkLst>
        </pc:spChg>
        <pc:spChg chg="add del mod">
          <ac:chgData name="Nataliia Chornii (UA)" userId="4e4b8b3d-5f31-49bb-9f80-8a25c04abfff" providerId="ADAL" clId="{EE97D3FE-9ACA-4467-98E5-532EC45D9D1C}" dt="2024-03-11T14:26:05.710" v="24086"/>
          <ac:spMkLst>
            <pc:docMk/>
            <pc:sldMk cId="1981412866" sldId="915"/>
            <ac:spMk id="25" creationId="{20BCEED0-2AAB-CA30-4305-516DF6E26A97}"/>
          </ac:spMkLst>
        </pc:spChg>
        <pc:spChg chg="add del mod ord">
          <ac:chgData name="Nataliia Chornii (UA)" userId="4e4b8b3d-5f31-49bb-9f80-8a25c04abfff" providerId="ADAL" clId="{EE97D3FE-9ACA-4467-98E5-532EC45D9D1C}" dt="2024-03-01T15:19:22.743" v="16988" actId="478"/>
          <ac:spMkLst>
            <pc:docMk/>
            <pc:sldMk cId="1981412866" sldId="915"/>
            <ac:spMk id="25" creationId="{3834EADA-117D-0F4D-15E8-06EF33AAB7FA}"/>
          </ac:spMkLst>
        </pc:spChg>
        <pc:spChg chg="add mod ord topLvl">
          <ac:chgData name="Nataliia Chornii (UA)" userId="4e4b8b3d-5f31-49bb-9f80-8a25c04abfff" providerId="ADAL" clId="{EE97D3FE-9ACA-4467-98E5-532EC45D9D1C}" dt="2024-03-04T09:57:16.976" v="20125" actId="12789"/>
          <ac:spMkLst>
            <pc:docMk/>
            <pc:sldMk cId="1981412866" sldId="915"/>
            <ac:spMk id="26" creationId="{53921BE1-AA0B-33DD-82D0-CCB1AC795236}"/>
          </ac:spMkLst>
        </pc:spChg>
        <pc:spChg chg="add mod ord topLvl">
          <ac:chgData name="Nataliia Chornii (UA)" userId="4e4b8b3d-5f31-49bb-9f80-8a25c04abfff" providerId="ADAL" clId="{EE97D3FE-9ACA-4467-98E5-532EC45D9D1C}" dt="2024-03-04T09:57:54.090" v="20136" actId="12788"/>
          <ac:spMkLst>
            <pc:docMk/>
            <pc:sldMk cId="1981412866" sldId="915"/>
            <ac:spMk id="27" creationId="{4BD59986-9361-5100-003A-62EE6D8B87CC}"/>
          </ac:spMkLst>
        </pc:spChg>
        <pc:spChg chg="add mod ord topLvl">
          <ac:chgData name="Nataliia Chornii (UA)" userId="4e4b8b3d-5f31-49bb-9f80-8a25c04abfff" providerId="ADAL" clId="{EE97D3FE-9ACA-4467-98E5-532EC45D9D1C}" dt="2024-03-04T09:57:16.976" v="20125" actId="12789"/>
          <ac:spMkLst>
            <pc:docMk/>
            <pc:sldMk cId="1981412866" sldId="915"/>
            <ac:spMk id="28" creationId="{9370CB65-9630-D59F-776F-39693BC60245}"/>
          </ac:spMkLst>
        </pc:spChg>
        <pc:spChg chg="add del mod topLvl">
          <ac:chgData name="Nataliia Chornii (UA)" userId="4e4b8b3d-5f31-49bb-9f80-8a25c04abfff" providerId="ADAL" clId="{EE97D3FE-9ACA-4467-98E5-532EC45D9D1C}" dt="2024-03-01T14:57:43.792" v="15935" actId="478"/>
          <ac:spMkLst>
            <pc:docMk/>
            <pc:sldMk cId="1981412866" sldId="915"/>
            <ac:spMk id="29" creationId="{DA8538D0-D57B-6428-4596-7A126535174C}"/>
          </ac:spMkLst>
        </pc:spChg>
        <pc:spChg chg="mod">
          <ac:chgData name="Nataliia Chornii (UA)" userId="4e4b8b3d-5f31-49bb-9f80-8a25c04abfff" providerId="ADAL" clId="{EE97D3FE-9ACA-4467-98E5-532EC45D9D1C}" dt="2024-03-11T14:26:05.048" v="24085"/>
          <ac:spMkLst>
            <pc:docMk/>
            <pc:sldMk cId="1981412866" sldId="915"/>
            <ac:spMk id="30" creationId="{9BE1D223-8F2E-8643-470C-2B88BA42E618}"/>
          </ac:spMkLst>
        </pc:spChg>
        <pc:spChg chg="mod">
          <ac:chgData name="Nataliia Chornii (UA)" userId="4e4b8b3d-5f31-49bb-9f80-8a25c04abfff" providerId="ADAL" clId="{EE97D3FE-9ACA-4467-98E5-532EC45D9D1C}" dt="2024-03-11T14:26:05.048" v="24085"/>
          <ac:spMkLst>
            <pc:docMk/>
            <pc:sldMk cId="1981412866" sldId="915"/>
            <ac:spMk id="31" creationId="{078F7C32-2D25-0D89-2AD1-154FFE734F04}"/>
          </ac:spMkLst>
        </pc:spChg>
        <pc:spChg chg="add del mod">
          <ac:chgData name="Nataliia Chornii (UA)" userId="4e4b8b3d-5f31-49bb-9f80-8a25c04abfff" providerId="ADAL" clId="{EE97D3FE-9ACA-4467-98E5-532EC45D9D1C}" dt="2024-03-01T14:57:58.712" v="15938" actId="478"/>
          <ac:spMkLst>
            <pc:docMk/>
            <pc:sldMk cId="1981412866" sldId="915"/>
            <ac:spMk id="31" creationId="{526AB6A4-C5A0-930D-5A97-C7C41330F6F6}"/>
          </ac:spMkLst>
        </pc:spChg>
        <pc:spChg chg="add mod ord topLvl">
          <ac:chgData name="Nataliia Chornii (UA)" userId="4e4b8b3d-5f31-49bb-9f80-8a25c04abfff" providerId="ADAL" clId="{EE97D3FE-9ACA-4467-98E5-532EC45D9D1C}" dt="2024-03-01T15:10:53.058" v="16391"/>
          <ac:spMkLst>
            <pc:docMk/>
            <pc:sldMk cId="1981412866" sldId="915"/>
            <ac:spMk id="32" creationId="{F6FD7F51-FCB6-23F6-84BA-89F9C3713AC4}"/>
          </ac:spMkLst>
        </pc:spChg>
        <pc:spChg chg="add mod ord topLvl">
          <ac:chgData name="Nataliia Chornii (UA)" userId="4e4b8b3d-5f31-49bb-9f80-8a25c04abfff" providerId="ADAL" clId="{EE97D3FE-9ACA-4467-98E5-532EC45D9D1C}" dt="2024-03-01T15:10:53.058" v="16373"/>
          <ac:spMkLst>
            <pc:docMk/>
            <pc:sldMk cId="1981412866" sldId="915"/>
            <ac:spMk id="33" creationId="{93FD5216-5960-E975-E5B0-792A3A7ADDAB}"/>
          </ac:spMkLst>
        </pc:spChg>
        <pc:spChg chg="add mod ord topLvl">
          <ac:chgData name="Nataliia Chornii (UA)" userId="4e4b8b3d-5f31-49bb-9f80-8a25c04abfff" providerId="ADAL" clId="{EE97D3FE-9ACA-4467-98E5-532EC45D9D1C}" dt="2024-03-01T15:10:53.058" v="16375"/>
          <ac:spMkLst>
            <pc:docMk/>
            <pc:sldMk cId="1981412866" sldId="915"/>
            <ac:spMk id="34" creationId="{DBF09A9E-1B6D-1011-0B1D-B5D707EB04BA}"/>
          </ac:spMkLst>
        </pc:spChg>
        <pc:spChg chg="add mod ord topLvl">
          <ac:chgData name="Nataliia Chornii (UA)" userId="4e4b8b3d-5f31-49bb-9f80-8a25c04abfff" providerId="ADAL" clId="{EE97D3FE-9ACA-4467-98E5-532EC45D9D1C}" dt="2024-03-01T15:10:53.058" v="16377"/>
          <ac:spMkLst>
            <pc:docMk/>
            <pc:sldMk cId="1981412866" sldId="915"/>
            <ac:spMk id="35" creationId="{0F6CD3B8-1FC1-0750-DEE0-591BD614C49B}"/>
          </ac:spMkLst>
        </pc:spChg>
        <pc:spChg chg="add mod ord topLvl">
          <ac:chgData name="Nataliia Chornii (UA)" userId="4e4b8b3d-5f31-49bb-9f80-8a25c04abfff" providerId="ADAL" clId="{EE97D3FE-9ACA-4467-98E5-532EC45D9D1C}" dt="2024-03-01T15:10:53.058" v="16379"/>
          <ac:spMkLst>
            <pc:docMk/>
            <pc:sldMk cId="1981412866" sldId="915"/>
            <ac:spMk id="36" creationId="{7A547E0B-19BF-76D6-6846-6916EAC86E10}"/>
          </ac:spMkLst>
        </pc:spChg>
        <pc:spChg chg="add mod ord topLvl">
          <ac:chgData name="Nataliia Chornii (UA)" userId="4e4b8b3d-5f31-49bb-9f80-8a25c04abfff" providerId="ADAL" clId="{EE97D3FE-9ACA-4467-98E5-532EC45D9D1C}" dt="2024-03-01T15:10:53.058" v="16381"/>
          <ac:spMkLst>
            <pc:docMk/>
            <pc:sldMk cId="1981412866" sldId="915"/>
            <ac:spMk id="37" creationId="{39805D96-5245-1291-390C-00303ECA057C}"/>
          </ac:spMkLst>
        </pc:spChg>
        <pc:spChg chg="mod">
          <ac:chgData name="Nataliia Chornii (UA)" userId="4e4b8b3d-5f31-49bb-9f80-8a25c04abfff" providerId="ADAL" clId="{EE97D3FE-9ACA-4467-98E5-532EC45D9D1C}" dt="2024-03-11T14:26:05.048" v="24085"/>
          <ac:spMkLst>
            <pc:docMk/>
            <pc:sldMk cId="1981412866" sldId="915"/>
            <ac:spMk id="38" creationId="{0163B582-BD6C-C2C5-E7F2-438CA4C5D4BC}"/>
          </ac:spMkLst>
        </pc:spChg>
        <pc:spChg chg="add del mod">
          <ac:chgData name="Nataliia Chornii (UA)" userId="4e4b8b3d-5f31-49bb-9f80-8a25c04abfff" providerId="ADAL" clId="{EE97D3FE-9ACA-4467-98E5-532EC45D9D1C}" dt="2024-03-01T14:58:04.906" v="15939" actId="478"/>
          <ac:spMkLst>
            <pc:docMk/>
            <pc:sldMk cId="1981412866" sldId="915"/>
            <ac:spMk id="38" creationId="{267F6D29-4B9B-8CE3-36D7-562E496EA99A}"/>
          </ac:spMkLst>
        </pc:spChg>
        <pc:spChg chg="mod">
          <ac:chgData name="Nataliia Chornii (UA)" userId="4e4b8b3d-5f31-49bb-9f80-8a25c04abfff" providerId="ADAL" clId="{EE97D3FE-9ACA-4467-98E5-532EC45D9D1C}" dt="2024-03-11T14:26:05.048" v="24085"/>
          <ac:spMkLst>
            <pc:docMk/>
            <pc:sldMk cId="1981412866" sldId="915"/>
            <ac:spMk id="39" creationId="{41C23B6C-0FE9-7D5E-67F6-D3A105BFC4B9}"/>
          </ac:spMkLst>
        </pc:spChg>
        <pc:spChg chg="add del mod">
          <ac:chgData name="Nataliia Chornii (UA)" userId="4e4b8b3d-5f31-49bb-9f80-8a25c04abfff" providerId="ADAL" clId="{EE97D3FE-9ACA-4467-98E5-532EC45D9D1C}" dt="2024-03-01T14:57:58.712" v="15938" actId="478"/>
          <ac:spMkLst>
            <pc:docMk/>
            <pc:sldMk cId="1981412866" sldId="915"/>
            <ac:spMk id="39" creationId="{8DEC0589-230D-A777-1DD6-575E63921321}"/>
          </ac:spMkLst>
        </pc:spChg>
        <pc:spChg chg="add mod ord topLvl">
          <ac:chgData name="Nataliia Chornii (UA)" userId="4e4b8b3d-5f31-49bb-9f80-8a25c04abfff" providerId="ADAL" clId="{EE97D3FE-9ACA-4467-98E5-532EC45D9D1C}" dt="2024-03-01T15:10:53.058" v="16393"/>
          <ac:spMkLst>
            <pc:docMk/>
            <pc:sldMk cId="1981412866" sldId="915"/>
            <ac:spMk id="40" creationId="{30F089A7-894F-F509-643F-95DAD0568EBA}"/>
          </ac:spMkLst>
        </pc:spChg>
        <pc:spChg chg="add mod ord topLvl">
          <ac:chgData name="Nataliia Chornii (UA)" userId="4e4b8b3d-5f31-49bb-9f80-8a25c04abfff" providerId="ADAL" clId="{EE97D3FE-9ACA-4467-98E5-532EC45D9D1C}" dt="2024-03-01T15:10:53.058" v="16395"/>
          <ac:spMkLst>
            <pc:docMk/>
            <pc:sldMk cId="1981412866" sldId="915"/>
            <ac:spMk id="41" creationId="{FD5F1B36-E761-5F42-CEFD-455451E36516}"/>
          </ac:spMkLst>
        </pc:spChg>
        <pc:spChg chg="add mod ord topLvl">
          <ac:chgData name="Nataliia Chornii (UA)" userId="4e4b8b3d-5f31-49bb-9f80-8a25c04abfff" providerId="ADAL" clId="{EE97D3FE-9ACA-4467-98E5-532EC45D9D1C}" dt="2024-03-01T15:10:53.058" v="16397"/>
          <ac:spMkLst>
            <pc:docMk/>
            <pc:sldMk cId="1981412866" sldId="915"/>
            <ac:spMk id="42" creationId="{A266A737-1E78-D4EB-776C-495C1EBB4F47}"/>
          </ac:spMkLst>
        </pc:spChg>
        <pc:spChg chg="add del mod">
          <ac:chgData name="Nataliia Chornii (UA)" userId="4e4b8b3d-5f31-49bb-9f80-8a25c04abfff" providerId="ADAL" clId="{EE97D3FE-9ACA-4467-98E5-532EC45D9D1C}" dt="2024-03-01T14:58:06.979" v="15941" actId="478"/>
          <ac:spMkLst>
            <pc:docMk/>
            <pc:sldMk cId="1981412866" sldId="915"/>
            <ac:spMk id="43" creationId="{16A384E7-620A-8E53-EEF2-5B2754056EBF}"/>
          </ac:spMkLst>
        </pc:spChg>
        <pc:spChg chg="mod">
          <ac:chgData name="Nataliia Chornii (UA)" userId="4e4b8b3d-5f31-49bb-9f80-8a25c04abfff" providerId="ADAL" clId="{EE97D3FE-9ACA-4467-98E5-532EC45D9D1C}" dt="2024-03-11T14:26:05.048" v="24085"/>
          <ac:spMkLst>
            <pc:docMk/>
            <pc:sldMk cId="1981412866" sldId="915"/>
            <ac:spMk id="43" creationId="{271CD629-77A8-F6AA-5686-F99821478B98}"/>
          </ac:spMkLst>
        </pc:spChg>
        <pc:spChg chg="add del mod">
          <ac:chgData name="Nataliia Chornii (UA)" userId="4e4b8b3d-5f31-49bb-9f80-8a25c04abfff" providerId="ADAL" clId="{EE97D3FE-9ACA-4467-98E5-532EC45D9D1C}" dt="2024-03-01T14:57:58.712" v="15938" actId="478"/>
          <ac:spMkLst>
            <pc:docMk/>
            <pc:sldMk cId="1981412866" sldId="915"/>
            <ac:spMk id="44" creationId="{5EE2DDEE-1D69-52C7-6B23-E06527D55F7B}"/>
          </ac:spMkLst>
        </pc:spChg>
        <pc:spChg chg="mod">
          <ac:chgData name="Nataliia Chornii (UA)" userId="4e4b8b3d-5f31-49bb-9f80-8a25c04abfff" providerId="ADAL" clId="{EE97D3FE-9ACA-4467-98E5-532EC45D9D1C}" dt="2024-03-11T14:26:05.048" v="24085"/>
          <ac:spMkLst>
            <pc:docMk/>
            <pc:sldMk cId="1981412866" sldId="915"/>
            <ac:spMk id="44" creationId="{A7EE4FEE-94D5-2063-251D-BACF18242C95}"/>
          </ac:spMkLst>
        </pc:spChg>
        <pc:spChg chg="add mod ord topLvl">
          <ac:chgData name="Nataliia Chornii (UA)" userId="4e4b8b3d-5f31-49bb-9f80-8a25c04abfff" providerId="ADAL" clId="{EE97D3FE-9ACA-4467-98E5-532EC45D9D1C}" dt="2024-03-01T15:10:53.058" v="16399"/>
          <ac:spMkLst>
            <pc:docMk/>
            <pc:sldMk cId="1981412866" sldId="915"/>
            <ac:spMk id="45" creationId="{11C053ED-4F43-3B06-3803-DF09CC3119C2}"/>
          </ac:spMkLst>
        </pc:spChg>
        <pc:spChg chg="add mod ord topLvl">
          <ac:chgData name="Nataliia Chornii (UA)" userId="4e4b8b3d-5f31-49bb-9f80-8a25c04abfff" providerId="ADAL" clId="{EE97D3FE-9ACA-4467-98E5-532EC45D9D1C}" dt="2024-03-01T15:10:53.058" v="16401"/>
          <ac:spMkLst>
            <pc:docMk/>
            <pc:sldMk cId="1981412866" sldId="915"/>
            <ac:spMk id="46" creationId="{87468ECB-778E-5632-E26A-146462E680C5}"/>
          </ac:spMkLst>
        </pc:spChg>
        <pc:spChg chg="add del mod">
          <ac:chgData name="Nataliia Chornii (UA)" userId="4e4b8b3d-5f31-49bb-9f80-8a25c04abfff" providerId="ADAL" clId="{EE97D3FE-9ACA-4467-98E5-532EC45D9D1C}" dt="2024-03-11T14:29:30.799" v="24232"/>
          <ac:spMkLst>
            <pc:docMk/>
            <pc:sldMk cId="1981412866" sldId="915"/>
            <ac:spMk id="52" creationId="{F7D1C62A-1BB3-F4E4-27E2-7ACEAF0516BA}"/>
          </ac:spMkLst>
        </pc:spChg>
        <pc:spChg chg="add mod">
          <ac:chgData name="Nataliia Chornii (UA)" userId="4e4b8b3d-5f31-49bb-9f80-8a25c04abfff" providerId="ADAL" clId="{EE97D3FE-9ACA-4467-98E5-532EC45D9D1C}" dt="2024-03-11T14:29:33.036" v="24235"/>
          <ac:spMkLst>
            <pc:docMk/>
            <pc:sldMk cId="1981412866" sldId="915"/>
            <ac:spMk id="53" creationId="{D7DC989C-0F18-F987-D819-7FC99DFC7742}"/>
          </ac:spMkLst>
        </pc:spChg>
        <pc:spChg chg="add mod ord topLvl">
          <ac:chgData name="Nataliia Chornii (UA)" userId="4e4b8b3d-5f31-49bb-9f80-8a25c04abfff" providerId="ADAL" clId="{EE97D3FE-9ACA-4467-98E5-532EC45D9D1C}" dt="2024-03-01T15:10:53.058" v="16383"/>
          <ac:spMkLst>
            <pc:docMk/>
            <pc:sldMk cId="1981412866" sldId="915"/>
            <ac:spMk id="54" creationId="{B5D0EDB5-E00A-1D0F-F13E-491961E8CD41}"/>
          </ac:spMkLst>
        </pc:spChg>
        <pc:spChg chg="add mod ord topLvl">
          <ac:chgData name="Nataliia Chornii (UA)" userId="4e4b8b3d-5f31-49bb-9f80-8a25c04abfff" providerId="ADAL" clId="{EE97D3FE-9ACA-4467-98E5-532EC45D9D1C}" dt="2024-03-01T15:10:53.058" v="16415"/>
          <ac:spMkLst>
            <pc:docMk/>
            <pc:sldMk cId="1981412866" sldId="915"/>
            <ac:spMk id="56" creationId="{EF8AC938-0683-F249-2812-36AFBA08177B}"/>
          </ac:spMkLst>
        </pc:spChg>
        <pc:spChg chg="add mod ord topLvl">
          <ac:chgData name="Nataliia Chornii (UA)" userId="4e4b8b3d-5f31-49bb-9f80-8a25c04abfff" providerId="ADAL" clId="{EE97D3FE-9ACA-4467-98E5-532EC45D9D1C}" dt="2024-03-01T15:10:53.058" v="16417"/>
          <ac:spMkLst>
            <pc:docMk/>
            <pc:sldMk cId="1981412866" sldId="915"/>
            <ac:spMk id="57" creationId="{1B5B27A5-6369-2B0B-D64C-8DD37DC80988}"/>
          </ac:spMkLst>
        </pc:spChg>
        <pc:spChg chg="add mod ord topLvl">
          <ac:chgData name="Nataliia Chornii (UA)" userId="4e4b8b3d-5f31-49bb-9f80-8a25c04abfff" providerId="ADAL" clId="{EE97D3FE-9ACA-4467-98E5-532EC45D9D1C}" dt="2024-03-01T15:10:53.058" v="16419"/>
          <ac:spMkLst>
            <pc:docMk/>
            <pc:sldMk cId="1981412866" sldId="915"/>
            <ac:spMk id="58" creationId="{EF9E905A-D50C-3E90-1C9D-86E46A504CB8}"/>
          </ac:spMkLst>
        </pc:spChg>
        <pc:spChg chg="add mod ord topLvl">
          <ac:chgData name="Nataliia Chornii (UA)" userId="4e4b8b3d-5f31-49bb-9f80-8a25c04abfff" providerId="ADAL" clId="{EE97D3FE-9ACA-4467-98E5-532EC45D9D1C}" dt="2024-03-01T15:10:53.074" v="16421"/>
          <ac:spMkLst>
            <pc:docMk/>
            <pc:sldMk cId="1981412866" sldId="915"/>
            <ac:spMk id="59" creationId="{9ED3828D-80C3-0C76-D826-216087FF834D}"/>
          </ac:spMkLst>
        </pc:spChg>
        <pc:spChg chg="add del mod">
          <ac:chgData name="Nataliia Chornii (UA)" userId="4e4b8b3d-5f31-49bb-9f80-8a25c04abfff" providerId="ADAL" clId="{EE97D3FE-9ACA-4467-98E5-532EC45D9D1C}" dt="2024-03-01T14:58:06.562" v="15940" actId="478"/>
          <ac:spMkLst>
            <pc:docMk/>
            <pc:sldMk cId="1981412866" sldId="915"/>
            <ac:spMk id="60" creationId="{3078A950-D715-ECD9-1F83-1F256FF4F7B0}"/>
          </ac:spMkLst>
        </pc:spChg>
        <pc:spChg chg="add del mod">
          <ac:chgData name="Nataliia Chornii (UA)" userId="4e4b8b3d-5f31-49bb-9f80-8a25c04abfff" providerId="ADAL" clId="{EE97D3FE-9ACA-4467-98E5-532EC45D9D1C}" dt="2024-03-01T14:57:58.712" v="15938" actId="478"/>
          <ac:spMkLst>
            <pc:docMk/>
            <pc:sldMk cId="1981412866" sldId="915"/>
            <ac:spMk id="61" creationId="{A1047BC4-9132-0B58-0D1B-0C0456CE8B09}"/>
          </ac:spMkLst>
        </pc:spChg>
        <pc:spChg chg="add del mod">
          <ac:chgData name="Nataliia Chornii (UA)" userId="4e4b8b3d-5f31-49bb-9f80-8a25c04abfff" providerId="ADAL" clId="{EE97D3FE-9ACA-4467-98E5-532EC45D9D1C}" dt="2024-03-01T14:57:58.712" v="15938" actId="478"/>
          <ac:spMkLst>
            <pc:docMk/>
            <pc:sldMk cId="1981412866" sldId="915"/>
            <ac:spMk id="62" creationId="{5C3E6A76-EEA4-3D16-D051-4F880CAA939B}"/>
          </ac:spMkLst>
        </pc:spChg>
        <pc:spChg chg="add mod ord topLvl">
          <ac:chgData name="Nataliia Chornii (UA)" userId="4e4b8b3d-5f31-49bb-9f80-8a25c04abfff" providerId="ADAL" clId="{EE97D3FE-9ACA-4467-98E5-532EC45D9D1C}" dt="2024-03-01T15:10:53.074" v="16423"/>
          <ac:spMkLst>
            <pc:docMk/>
            <pc:sldMk cId="1981412866" sldId="915"/>
            <ac:spMk id="63" creationId="{68241AB8-7A1C-9F53-9307-E9F0A324B378}"/>
          </ac:spMkLst>
        </pc:spChg>
        <pc:spChg chg="add mod ord topLvl">
          <ac:chgData name="Nataliia Chornii (UA)" userId="4e4b8b3d-5f31-49bb-9f80-8a25c04abfff" providerId="ADAL" clId="{EE97D3FE-9ACA-4467-98E5-532EC45D9D1C}" dt="2024-03-01T15:10:53.074" v="16425"/>
          <ac:spMkLst>
            <pc:docMk/>
            <pc:sldMk cId="1981412866" sldId="915"/>
            <ac:spMk id="64" creationId="{184460E1-8D1F-7F1D-1031-BBCB54EAC1A5}"/>
          </ac:spMkLst>
        </pc:spChg>
        <pc:spChg chg="add del mod">
          <ac:chgData name="Nataliia Chornii (UA)" userId="4e4b8b3d-5f31-49bb-9f80-8a25c04abfff" providerId="ADAL" clId="{EE97D3FE-9ACA-4467-98E5-532EC45D9D1C}" dt="2024-03-01T14:57:58.712" v="15938" actId="478"/>
          <ac:spMkLst>
            <pc:docMk/>
            <pc:sldMk cId="1981412866" sldId="915"/>
            <ac:spMk id="65" creationId="{67618A5D-152F-522D-B470-D31E9B7470EE}"/>
          </ac:spMkLst>
        </pc:spChg>
        <pc:spChg chg="add del mod">
          <ac:chgData name="Nataliia Chornii (UA)" userId="4e4b8b3d-5f31-49bb-9f80-8a25c04abfff" providerId="ADAL" clId="{EE97D3FE-9ACA-4467-98E5-532EC45D9D1C}" dt="2024-03-01T14:57:58.712" v="15938" actId="478"/>
          <ac:spMkLst>
            <pc:docMk/>
            <pc:sldMk cId="1981412866" sldId="915"/>
            <ac:spMk id="67" creationId="{4ACE0430-6FBE-7ADE-4B8C-B7EDA75880B8}"/>
          </ac:spMkLst>
        </pc:spChg>
        <pc:spChg chg="add del mod">
          <ac:chgData name="Nataliia Chornii (UA)" userId="4e4b8b3d-5f31-49bb-9f80-8a25c04abfff" providerId="ADAL" clId="{EE97D3FE-9ACA-4467-98E5-532EC45D9D1C}" dt="2024-03-01T14:58:34.299" v="15960" actId="478"/>
          <ac:spMkLst>
            <pc:docMk/>
            <pc:sldMk cId="1981412866" sldId="915"/>
            <ac:spMk id="68" creationId="{96328BEA-D025-6C99-77D1-718568B0061E}"/>
          </ac:spMkLst>
        </pc:spChg>
        <pc:spChg chg="add del mod">
          <ac:chgData name="Nataliia Chornii (UA)" userId="4e4b8b3d-5f31-49bb-9f80-8a25c04abfff" providerId="ADAL" clId="{EE97D3FE-9ACA-4467-98E5-532EC45D9D1C}" dt="2024-03-01T14:59:09.837" v="15977" actId="478"/>
          <ac:spMkLst>
            <pc:docMk/>
            <pc:sldMk cId="1981412866" sldId="915"/>
            <ac:spMk id="69" creationId="{A26CDAB3-435C-99DD-3695-3B47DBCFD346}"/>
          </ac:spMkLst>
        </pc:spChg>
        <pc:spChg chg="add mod ord topLvl">
          <ac:chgData name="Nataliia Chornii (UA)" userId="4e4b8b3d-5f31-49bb-9f80-8a25c04abfff" providerId="ADAL" clId="{EE97D3FE-9ACA-4467-98E5-532EC45D9D1C}" dt="2024-03-01T15:10:53.074" v="16427"/>
          <ac:spMkLst>
            <pc:docMk/>
            <pc:sldMk cId="1981412866" sldId="915"/>
            <ac:spMk id="70" creationId="{B4EA43FC-B71F-E2B9-710A-27D4002E4B75}"/>
          </ac:spMkLst>
        </pc:spChg>
        <pc:spChg chg="mod ord topLvl">
          <ac:chgData name="Nataliia Chornii (UA)" userId="4e4b8b3d-5f31-49bb-9f80-8a25c04abfff" providerId="ADAL" clId="{EE97D3FE-9ACA-4467-98E5-532EC45D9D1C}" dt="2024-03-01T15:10:53.074" v="16429"/>
          <ac:spMkLst>
            <pc:docMk/>
            <pc:sldMk cId="1981412866" sldId="915"/>
            <ac:spMk id="79" creationId="{87F7A6B9-1CF6-094D-F7BA-CBE76FF40CD8}"/>
          </ac:spMkLst>
        </pc:spChg>
        <pc:spChg chg="mod ord topLvl">
          <ac:chgData name="Nataliia Chornii (UA)" userId="4e4b8b3d-5f31-49bb-9f80-8a25c04abfff" providerId="ADAL" clId="{EE97D3FE-9ACA-4467-98E5-532EC45D9D1C}" dt="2024-03-01T15:10:53.074" v="16431"/>
          <ac:spMkLst>
            <pc:docMk/>
            <pc:sldMk cId="1981412866" sldId="915"/>
            <ac:spMk id="80" creationId="{16815F6A-90AC-26E9-2E55-8EF39A0E08F7}"/>
          </ac:spMkLst>
        </pc:spChg>
        <pc:spChg chg="mod ord topLvl">
          <ac:chgData name="Nataliia Chornii (UA)" userId="4e4b8b3d-5f31-49bb-9f80-8a25c04abfff" providerId="ADAL" clId="{EE97D3FE-9ACA-4467-98E5-532EC45D9D1C}" dt="2024-03-01T15:10:53.074" v="16433"/>
          <ac:spMkLst>
            <pc:docMk/>
            <pc:sldMk cId="1981412866" sldId="915"/>
            <ac:spMk id="81" creationId="{2AE5C254-0775-5E9E-C4A3-AFFBD981C705}"/>
          </ac:spMkLst>
        </pc:spChg>
        <pc:spChg chg="mod ord topLvl">
          <ac:chgData name="Nataliia Chornii (UA)" userId="4e4b8b3d-5f31-49bb-9f80-8a25c04abfff" providerId="ADAL" clId="{EE97D3FE-9ACA-4467-98E5-532EC45D9D1C}" dt="2024-03-01T15:10:53.074" v="16435"/>
          <ac:spMkLst>
            <pc:docMk/>
            <pc:sldMk cId="1981412866" sldId="915"/>
            <ac:spMk id="82" creationId="{3496C5D2-4C26-CB01-2C95-A713E9BDE03B}"/>
          </ac:spMkLst>
        </pc:spChg>
        <pc:spChg chg="del mod topLvl">
          <ac:chgData name="Nataliia Chornii (UA)" userId="4e4b8b3d-5f31-49bb-9f80-8a25c04abfff" providerId="ADAL" clId="{EE97D3FE-9ACA-4467-98E5-532EC45D9D1C}" dt="2024-03-01T15:03:07.565" v="16133" actId="478"/>
          <ac:spMkLst>
            <pc:docMk/>
            <pc:sldMk cId="1981412866" sldId="915"/>
            <ac:spMk id="83" creationId="{41DC35B7-0A0C-657E-56CE-9987ECFDEF62}"/>
          </ac:spMkLst>
        </pc:spChg>
        <pc:spChg chg="mod ord topLvl">
          <ac:chgData name="Nataliia Chornii (UA)" userId="4e4b8b3d-5f31-49bb-9f80-8a25c04abfff" providerId="ADAL" clId="{EE97D3FE-9ACA-4467-98E5-532EC45D9D1C}" dt="2024-03-01T15:10:53.074" v="16437"/>
          <ac:spMkLst>
            <pc:docMk/>
            <pc:sldMk cId="1981412866" sldId="915"/>
            <ac:spMk id="84" creationId="{D4A32B2F-B3D8-0539-000F-E02C9DDDEFA7}"/>
          </ac:spMkLst>
        </pc:spChg>
        <pc:spChg chg="mod ord topLvl">
          <ac:chgData name="Nataliia Chornii (UA)" userId="4e4b8b3d-5f31-49bb-9f80-8a25c04abfff" providerId="ADAL" clId="{EE97D3FE-9ACA-4467-98E5-532EC45D9D1C}" dt="2024-03-04T09:57:16.976" v="20125" actId="12789"/>
          <ac:spMkLst>
            <pc:docMk/>
            <pc:sldMk cId="1981412866" sldId="915"/>
            <ac:spMk id="85" creationId="{10617D98-D6CF-8134-79EE-B9DAC8569D40}"/>
          </ac:spMkLst>
        </pc:spChg>
        <pc:spChg chg="mod ord topLvl">
          <ac:chgData name="Nataliia Chornii (UA)" userId="4e4b8b3d-5f31-49bb-9f80-8a25c04abfff" providerId="ADAL" clId="{EE97D3FE-9ACA-4467-98E5-532EC45D9D1C}" dt="2024-03-04T09:57:57.164" v="20137" actId="12788"/>
          <ac:spMkLst>
            <pc:docMk/>
            <pc:sldMk cId="1981412866" sldId="915"/>
            <ac:spMk id="86" creationId="{04D1CEFF-A4EB-4E20-61F6-E79E1BB2F050}"/>
          </ac:spMkLst>
        </pc:spChg>
        <pc:spChg chg="mod ord topLvl">
          <ac:chgData name="Nataliia Chornii (UA)" userId="4e4b8b3d-5f31-49bb-9f80-8a25c04abfff" providerId="ADAL" clId="{EE97D3FE-9ACA-4467-98E5-532EC45D9D1C}" dt="2024-03-04T09:57:16.976" v="20125" actId="12789"/>
          <ac:spMkLst>
            <pc:docMk/>
            <pc:sldMk cId="1981412866" sldId="915"/>
            <ac:spMk id="87" creationId="{4CB3E58A-911C-3CA9-AEAF-C39B39D18A9F}"/>
          </ac:spMkLst>
        </pc:spChg>
        <pc:spChg chg="mod ord topLvl">
          <ac:chgData name="Nataliia Chornii (UA)" userId="4e4b8b3d-5f31-49bb-9f80-8a25c04abfff" providerId="ADAL" clId="{EE97D3FE-9ACA-4467-98E5-532EC45D9D1C}" dt="2024-03-01T15:10:53.074" v="16445"/>
          <ac:spMkLst>
            <pc:docMk/>
            <pc:sldMk cId="1981412866" sldId="915"/>
            <ac:spMk id="88" creationId="{436E5142-1A97-F9A9-CFC9-DB97889540F3}"/>
          </ac:spMkLst>
        </pc:spChg>
        <pc:spChg chg="mod ord topLvl">
          <ac:chgData name="Nataliia Chornii (UA)" userId="4e4b8b3d-5f31-49bb-9f80-8a25c04abfff" providerId="ADAL" clId="{EE97D3FE-9ACA-4467-98E5-532EC45D9D1C}" dt="2024-03-01T15:10:53.074" v="16447"/>
          <ac:spMkLst>
            <pc:docMk/>
            <pc:sldMk cId="1981412866" sldId="915"/>
            <ac:spMk id="89" creationId="{E536C4EB-5830-A9C6-7E29-F6EF449FF4C7}"/>
          </ac:spMkLst>
        </pc:spChg>
        <pc:spChg chg="mod ord topLvl">
          <ac:chgData name="Nataliia Chornii (UA)" userId="4e4b8b3d-5f31-49bb-9f80-8a25c04abfff" providerId="ADAL" clId="{EE97D3FE-9ACA-4467-98E5-532EC45D9D1C}" dt="2024-03-01T15:10:53.074" v="16449"/>
          <ac:spMkLst>
            <pc:docMk/>
            <pc:sldMk cId="1981412866" sldId="915"/>
            <ac:spMk id="90" creationId="{225CAB37-79D8-77DD-6CFF-B862D382D619}"/>
          </ac:spMkLst>
        </pc:spChg>
        <pc:spChg chg="mod ord topLvl">
          <ac:chgData name="Nataliia Chornii (UA)" userId="4e4b8b3d-5f31-49bb-9f80-8a25c04abfff" providerId="ADAL" clId="{EE97D3FE-9ACA-4467-98E5-532EC45D9D1C}" dt="2024-03-01T15:10:53.084" v="16451"/>
          <ac:spMkLst>
            <pc:docMk/>
            <pc:sldMk cId="1981412866" sldId="915"/>
            <ac:spMk id="91" creationId="{AD8719CE-1154-0150-C638-F14ED1164F38}"/>
          </ac:spMkLst>
        </pc:spChg>
        <pc:spChg chg="mod ord topLvl">
          <ac:chgData name="Nataliia Chornii (UA)" userId="4e4b8b3d-5f31-49bb-9f80-8a25c04abfff" providerId="ADAL" clId="{EE97D3FE-9ACA-4467-98E5-532EC45D9D1C}" dt="2024-03-01T15:10:53.084" v="16453"/>
          <ac:spMkLst>
            <pc:docMk/>
            <pc:sldMk cId="1981412866" sldId="915"/>
            <ac:spMk id="92" creationId="{9D38CD76-42E2-0F88-D2E4-FBE4A7B73C45}"/>
          </ac:spMkLst>
        </pc:spChg>
        <pc:spChg chg="del mod topLvl">
          <ac:chgData name="Nataliia Chornii (UA)" userId="4e4b8b3d-5f31-49bb-9f80-8a25c04abfff" providerId="ADAL" clId="{EE97D3FE-9ACA-4467-98E5-532EC45D9D1C}" dt="2024-03-01T15:03:07.565" v="16133" actId="478"/>
          <ac:spMkLst>
            <pc:docMk/>
            <pc:sldMk cId="1981412866" sldId="915"/>
            <ac:spMk id="93" creationId="{86114EC9-4F9B-89BB-863A-0B835FEB64DB}"/>
          </ac:spMkLst>
        </pc:spChg>
        <pc:spChg chg="mod ord topLvl">
          <ac:chgData name="Nataliia Chornii (UA)" userId="4e4b8b3d-5f31-49bb-9f80-8a25c04abfff" providerId="ADAL" clId="{EE97D3FE-9ACA-4467-98E5-532EC45D9D1C}" dt="2024-03-01T15:10:53.084" v="16465"/>
          <ac:spMkLst>
            <pc:docMk/>
            <pc:sldMk cId="1981412866" sldId="915"/>
            <ac:spMk id="100" creationId="{C1C21A94-E2BF-67B5-6ECF-CA5472E17FFC}"/>
          </ac:spMkLst>
        </pc:spChg>
        <pc:spChg chg="mod ord topLvl">
          <ac:chgData name="Nataliia Chornii (UA)" userId="4e4b8b3d-5f31-49bb-9f80-8a25c04abfff" providerId="ADAL" clId="{EE97D3FE-9ACA-4467-98E5-532EC45D9D1C}" dt="2024-03-01T15:10:53.084" v="16467"/>
          <ac:spMkLst>
            <pc:docMk/>
            <pc:sldMk cId="1981412866" sldId="915"/>
            <ac:spMk id="101" creationId="{949AD25A-08F7-1101-82F6-5EAF64E4F68B}"/>
          </ac:spMkLst>
        </pc:spChg>
        <pc:spChg chg="mod ord topLvl">
          <ac:chgData name="Nataliia Chornii (UA)" userId="4e4b8b3d-5f31-49bb-9f80-8a25c04abfff" providerId="ADAL" clId="{EE97D3FE-9ACA-4467-98E5-532EC45D9D1C}" dt="2024-03-01T15:10:53.089" v="16469"/>
          <ac:spMkLst>
            <pc:docMk/>
            <pc:sldMk cId="1981412866" sldId="915"/>
            <ac:spMk id="102" creationId="{3AD602C8-D760-A602-6D10-7C3BCFA9AF31}"/>
          </ac:spMkLst>
        </pc:spChg>
        <pc:spChg chg="del mod topLvl">
          <ac:chgData name="Nataliia Chornii (UA)" userId="4e4b8b3d-5f31-49bb-9f80-8a25c04abfff" providerId="ADAL" clId="{EE97D3FE-9ACA-4467-98E5-532EC45D9D1C}" dt="2024-03-01T15:03:55.843" v="16151" actId="478"/>
          <ac:spMkLst>
            <pc:docMk/>
            <pc:sldMk cId="1981412866" sldId="915"/>
            <ac:spMk id="103" creationId="{D97BCD12-52A3-97FE-2AF2-29FB49648FBF}"/>
          </ac:spMkLst>
        </pc:spChg>
        <pc:spChg chg="mod ord topLvl">
          <ac:chgData name="Nataliia Chornii (UA)" userId="4e4b8b3d-5f31-49bb-9f80-8a25c04abfff" providerId="ADAL" clId="{EE97D3FE-9ACA-4467-98E5-532EC45D9D1C}" dt="2024-03-01T15:10:53.089" v="16471"/>
          <ac:spMkLst>
            <pc:docMk/>
            <pc:sldMk cId="1981412866" sldId="915"/>
            <ac:spMk id="104" creationId="{6ECB0DF2-82AB-89C9-B184-98632B57D019}"/>
          </ac:spMkLst>
        </pc:spChg>
        <pc:spChg chg="mod ord topLvl">
          <ac:chgData name="Nataliia Chornii (UA)" userId="4e4b8b3d-5f31-49bb-9f80-8a25c04abfff" providerId="ADAL" clId="{EE97D3FE-9ACA-4467-98E5-532EC45D9D1C}" dt="2024-03-01T15:10:53.089" v="16473"/>
          <ac:spMkLst>
            <pc:docMk/>
            <pc:sldMk cId="1981412866" sldId="915"/>
            <ac:spMk id="105" creationId="{1A477AC6-AFC4-98EF-1AE1-BDD9449A9C71}"/>
          </ac:spMkLst>
        </pc:spChg>
        <pc:spChg chg="mod ord topLvl">
          <ac:chgData name="Nataliia Chornii (UA)" userId="4e4b8b3d-5f31-49bb-9f80-8a25c04abfff" providerId="ADAL" clId="{EE97D3FE-9ACA-4467-98E5-532EC45D9D1C}" dt="2024-03-01T15:10:53.089" v="16475"/>
          <ac:spMkLst>
            <pc:docMk/>
            <pc:sldMk cId="1981412866" sldId="915"/>
            <ac:spMk id="106" creationId="{C8148559-D7B9-52FE-DEB1-909CBAA88FAB}"/>
          </ac:spMkLst>
        </pc:spChg>
        <pc:spChg chg="mod ord topLvl">
          <ac:chgData name="Nataliia Chornii (UA)" userId="4e4b8b3d-5f31-49bb-9f80-8a25c04abfff" providerId="ADAL" clId="{EE97D3FE-9ACA-4467-98E5-532EC45D9D1C}" dt="2024-03-01T15:10:53.089" v="16477"/>
          <ac:spMkLst>
            <pc:docMk/>
            <pc:sldMk cId="1981412866" sldId="915"/>
            <ac:spMk id="109" creationId="{18B93944-D412-CC38-7DFC-9270EBD14334}"/>
          </ac:spMkLst>
        </pc:spChg>
        <pc:spChg chg="del mod topLvl">
          <ac:chgData name="Nataliia Chornii (UA)" userId="4e4b8b3d-5f31-49bb-9f80-8a25c04abfff" providerId="ADAL" clId="{EE97D3FE-9ACA-4467-98E5-532EC45D9D1C}" dt="2024-03-01T15:04:17.069" v="16159" actId="478"/>
          <ac:spMkLst>
            <pc:docMk/>
            <pc:sldMk cId="1981412866" sldId="915"/>
            <ac:spMk id="110" creationId="{0137E8BD-7AE1-2C95-6D4D-2516BD5C1D25}"/>
          </ac:spMkLst>
        </pc:spChg>
        <pc:spChg chg="del mod topLvl">
          <ac:chgData name="Nataliia Chornii (UA)" userId="4e4b8b3d-5f31-49bb-9f80-8a25c04abfff" providerId="ADAL" clId="{EE97D3FE-9ACA-4467-98E5-532EC45D9D1C}" dt="2024-03-01T15:04:17.069" v="16159" actId="478"/>
          <ac:spMkLst>
            <pc:docMk/>
            <pc:sldMk cId="1981412866" sldId="915"/>
            <ac:spMk id="111" creationId="{548B3B99-A205-6159-1AAF-65BB4F2B471C}"/>
          </ac:spMkLst>
        </pc:spChg>
        <pc:spChg chg="del mod topLvl">
          <ac:chgData name="Nataliia Chornii (UA)" userId="4e4b8b3d-5f31-49bb-9f80-8a25c04abfff" providerId="ADAL" clId="{EE97D3FE-9ACA-4467-98E5-532EC45D9D1C}" dt="2024-03-01T15:04:17.069" v="16159" actId="478"/>
          <ac:spMkLst>
            <pc:docMk/>
            <pc:sldMk cId="1981412866" sldId="915"/>
            <ac:spMk id="112" creationId="{84A264F4-BBFA-FBAE-E497-72A0E9A91438}"/>
          </ac:spMkLst>
        </pc:spChg>
        <pc:spChg chg="del mod topLvl">
          <ac:chgData name="Nataliia Chornii (UA)" userId="4e4b8b3d-5f31-49bb-9f80-8a25c04abfff" providerId="ADAL" clId="{EE97D3FE-9ACA-4467-98E5-532EC45D9D1C}" dt="2024-03-01T15:04:17.069" v="16159" actId="478"/>
          <ac:spMkLst>
            <pc:docMk/>
            <pc:sldMk cId="1981412866" sldId="915"/>
            <ac:spMk id="113" creationId="{136B82F3-6CAE-F9F0-6860-7C2CCD9EDDE2}"/>
          </ac:spMkLst>
        </pc:spChg>
        <pc:spChg chg="mod ord topLvl">
          <ac:chgData name="Nataliia Chornii (UA)" userId="4e4b8b3d-5f31-49bb-9f80-8a25c04abfff" providerId="ADAL" clId="{EE97D3FE-9ACA-4467-98E5-532EC45D9D1C}" dt="2024-03-01T15:10:53.089" v="16479"/>
          <ac:spMkLst>
            <pc:docMk/>
            <pc:sldMk cId="1981412866" sldId="915"/>
            <ac:spMk id="114" creationId="{1D349B7B-CF01-BB47-719D-2135483170D2}"/>
          </ac:spMkLst>
        </pc:spChg>
        <pc:spChg chg="mod ord topLvl">
          <ac:chgData name="Nataliia Chornii (UA)" userId="4e4b8b3d-5f31-49bb-9f80-8a25c04abfff" providerId="ADAL" clId="{EE97D3FE-9ACA-4467-98E5-532EC45D9D1C}" dt="2024-03-04T09:57:51.003" v="20135" actId="12789"/>
          <ac:spMkLst>
            <pc:docMk/>
            <pc:sldMk cId="1981412866" sldId="915"/>
            <ac:spMk id="115" creationId="{8549DEA3-738D-4038-A2EA-5970EA360AF1}"/>
          </ac:spMkLst>
        </pc:spChg>
        <pc:spChg chg="mod ord topLvl">
          <ac:chgData name="Nataliia Chornii (UA)" userId="4e4b8b3d-5f31-49bb-9f80-8a25c04abfff" providerId="ADAL" clId="{EE97D3FE-9ACA-4467-98E5-532EC45D9D1C}" dt="2024-03-04T09:58:00.636" v="20138" actId="12788"/>
          <ac:spMkLst>
            <pc:docMk/>
            <pc:sldMk cId="1981412866" sldId="915"/>
            <ac:spMk id="116" creationId="{C03AF2E5-BCD7-91A5-754B-A3C3CE8888A3}"/>
          </ac:spMkLst>
        </pc:spChg>
        <pc:spChg chg="mod ord topLvl">
          <ac:chgData name="Nataliia Chornii (UA)" userId="4e4b8b3d-5f31-49bb-9f80-8a25c04abfff" providerId="ADAL" clId="{EE97D3FE-9ACA-4467-98E5-532EC45D9D1C}" dt="2024-03-04T09:57:16.976" v="20125" actId="12789"/>
          <ac:spMkLst>
            <pc:docMk/>
            <pc:sldMk cId="1981412866" sldId="915"/>
            <ac:spMk id="117" creationId="{E817571C-E1FA-79E3-9C69-31CEFBBB9590}"/>
          </ac:spMkLst>
        </pc:spChg>
        <pc:spChg chg="mod ord topLvl">
          <ac:chgData name="Nataliia Chornii (UA)" userId="4e4b8b3d-5f31-49bb-9f80-8a25c04abfff" providerId="ADAL" clId="{EE97D3FE-9ACA-4467-98E5-532EC45D9D1C}" dt="2024-03-01T15:10:53.089" v="16487"/>
          <ac:spMkLst>
            <pc:docMk/>
            <pc:sldMk cId="1981412866" sldId="915"/>
            <ac:spMk id="118" creationId="{99E10BF8-C7E4-4C4A-89D4-BF5D9211751E}"/>
          </ac:spMkLst>
        </pc:spChg>
        <pc:spChg chg="mod ord topLvl">
          <ac:chgData name="Nataliia Chornii (UA)" userId="4e4b8b3d-5f31-49bb-9f80-8a25c04abfff" providerId="ADAL" clId="{EE97D3FE-9ACA-4467-98E5-532EC45D9D1C}" dt="2024-03-01T15:10:53.089" v="16489"/>
          <ac:spMkLst>
            <pc:docMk/>
            <pc:sldMk cId="1981412866" sldId="915"/>
            <ac:spMk id="119" creationId="{E6F7CE22-8CEE-1A44-5315-4C2E4DE97A7C}"/>
          </ac:spMkLst>
        </pc:spChg>
        <pc:spChg chg="del mod topLvl">
          <ac:chgData name="Nataliia Chornii (UA)" userId="4e4b8b3d-5f31-49bb-9f80-8a25c04abfff" providerId="ADAL" clId="{EE97D3FE-9ACA-4467-98E5-532EC45D9D1C}" dt="2024-03-01T15:04:17.069" v="16159" actId="478"/>
          <ac:spMkLst>
            <pc:docMk/>
            <pc:sldMk cId="1981412866" sldId="915"/>
            <ac:spMk id="120" creationId="{9AF09837-7A8D-B1F1-CBFE-BE7647BB8AC2}"/>
          </ac:spMkLst>
        </pc:spChg>
        <pc:spChg chg="del mod topLvl">
          <ac:chgData name="Nataliia Chornii (UA)" userId="4e4b8b3d-5f31-49bb-9f80-8a25c04abfff" providerId="ADAL" clId="{EE97D3FE-9ACA-4467-98E5-532EC45D9D1C}" dt="2024-03-01T15:04:17.069" v="16159" actId="478"/>
          <ac:spMkLst>
            <pc:docMk/>
            <pc:sldMk cId="1981412866" sldId="915"/>
            <ac:spMk id="121" creationId="{ECFDD6B3-DD30-3EBF-AEB7-7540F162538B}"/>
          </ac:spMkLst>
        </pc:spChg>
        <pc:spChg chg="del mod topLvl">
          <ac:chgData name="Nataliia Chornii (UA)" userId="4e4b8b3d-5f31-49bb-9f80-8a25c04abfff" providerId="ADAL" clId="{EE97D3FE-9ACA-4467-98E5-532EC45D9D1C}" dt="2024-03-01T15:04:17.069" v="16159" actId="478"/>
          <ac:spMkLst>
            <pc:docMk/>
            <pc:sldMk cId="1981412866" sldId="915"/>
            <ac:spMk id="122" creationId="{6A9B1600-6533-9DA6-817B-4668E750DAA4}"/>
          </ac:spMkLst>
        </pc:spChg>
        <pc:spChg chg="del mod topLvl">
          <ac:chgData name="Nataliia Chornii (UA)" userId="4e4b8b3d-5f31-49bb-9f80-8a25c04abfff" providerId="ADAL" clId="{EE97D3FE-9ACA-4467-98E5-532EC45D9D1C}" dt="2024-03-01T15:04:17.069" v="16159" actId="478"/>
          <ac:spMkLst>
            <pc:docMk/>
            <pc:sldMk cId="1981412866" sldId="915"/>
            <ac:spMk id="123" creationId="{DF7CA57C-1930-17BB-BB07-447ACB8D08C3}"/>
          </ac:spMkLst>
        </pc:spChg>
        <pc:spChg chg="mod ord topLvl">
          <ac:chgData name="Nataliia Chornii (UA)" userId="4e4b8b3d-5f31-49bb-9f80-8a25c04abfff" providerId="ADAL" clId="{EE97D3FE-9ACA-4467-98E5-532EC45D9D1C}" dt="2024-03-01T15:10:53.089" v="16495"/>
          <ac:spMkLst>
            <pc:docMk/>
            <pc:sldMk cId="1981412866" sldId="915"/>
            <ac:spMk id="130" creationId="{F3803958-7E5B-41E2-B471-D793E213BC07}"/>
          </ac:spMkLst>
        </pc:spChg>
        <pc:spChg chg="mod ord topLvl">
          <ac:chgData name="Nataliia Chornii (UA)" userId="4e4b8b3d-5f31-49bb-9f80-8a25c04abfff" providerId="ADAL" clId="{EE97D3FE-9ACA-4467-98E5-532EC45D9D1C}" dt="2024-03-01T15:10:53.089" v="16497"/>
          <ac:spMkLst>
            <pc:docMk/>
            <pc:sldMk cId="1981412866" sldId="915"/>
            <ac:spMk id="131" creationId="{85968203-D52D-55A1-3723-8D3F3C5AA50E}"/>
          </ac:spMkLst>
        </pc:spChg>
        <pc:spChg chg="del mod topLvl">
          <ac:chgData name="Nataliia Chornii (UA)" userId="4e4b8b3d-5f31-49bb-9f80-8a25c04abfff" providerId="ADAL" clId="{EE97D3FE-9ACA-4467-98E5-532EC45D9D1C}" dt="2024-03-01T15:04:17.069" v="16159" actId="478"/>
          <ac:spMkLst>
            <pc:docMk/>
            <pc:sldMk cId="1981412866" sldId="915"/>
            <ac:spMk id="132" creationId="{20549F4B-6BC9-D93C-DCB4-430C987A640C}"/>
          </ac:spMkLst>
        </pc:spChg>
        <pc:spChg chg="del mod topLvl">
          <ac:chgData name="Nataliia Chornii (UA)" userId="4e4b8b3d-5f31-49bb-9f80-8a25c04abfff" providerId="ADAL" clId="{EE97D3FE-9ACA-4467-98E5-532EC45D9D1C}" dt="2024-03-01T15:04:17.069" v="16159" actId="478"/>
          <ac:spMkLst>
            <pc:docMk/>
            <pc:sldMk cId="1981412866" sldId="915"/>
            <ac:spMk id="133" creationId="{B09408A4-6419-9575-EBA8-F1FF34394869}"/>
          </ac:spMkLst>
        </pc:spChg>
        <pc:spChg chg="del mod topLvl">
          <ac:chgData name="Nataliia Chornii (UA)" userId="4e4b8b3d-5f31-49bb-9f80-8a25c04abfff" providerId="ADAL" clId="{EE97D3FE-9ACA-4467-98E5-532EC45D9D1C}" dt="2024-03-01T15:04:17.069" v="16159" actId="478"/>
          <ac:spMkLst>
            <pc:docMk/>
            <pc:sldMk cId="1981412866" sldId="915"/>
            <ac:spMk id="134" creationId="{2EA47EA7-2F91-C4BB-1060-7EA97B10B87C}"/>
          </ac:spMkLst>
        </pc:spChg>
        <pc:spChg chg="del mod topLvl">
          <ac:chgData name="Nataliia Chornii (UA)" userId="4e4b8b3d-5f31-49bb-9f80-8a25c04abfff" providerId="ADAL" clId="{EE97D3FE-9ACA-4467-98E5-532EC45D9D1C}" dt="2024-03-01T15:04:17.069" v="16159" actId="478"/>
          <ac:spMkLst>
            <pc:docMk/>
            <pc:sldMk cId="1981412866" sldId="915"/>
            <ac:spMk id="135" creationId="{0A8E33D1-6028-E6A7-D05D-E773042EE433}"/>
          </ac:spMkLst>
        </pc:spChg>
        <pc:spChg chg="del mod topLvl">
          <ac:chgData name="Nataliia Chornii (UA)" userId="4e4b8b3d-5f31-49bb-9f80-8a25c04abfff" providerId="ADAL" clId="{EE97D3FE-9ACA-4467-98E5-532EC45D9D1C}" dt="2024-03-01T15:04:17.069" v="16159" actId="478"/>
          <ac:spMkLst>
            <pc:docMk/>
            <pc:sldMk cId="1981412866" sldId="915"/>
            <ac:spMk id="136" creationId="{EA710DFB-7BD3-3119-BF61-9488335225C9}"/>
          </ac:spMkLst>
        </pc:spChg>
        <pc:spChg chg="add mod ord">
          <ac:chgData name="Nataliia Chornii (UA)" userId="4e4b8b3d-5f31-49bb-9f80-8a25c04abfff" providerId="ADAL" clId="{EE97D3FE-9ACA-4467-98E5-532EC45D9D1C}" dt="2024-03-01T15:10:53.089" v="16499"/>
          <ac:spMkLst>
            <pc:docMk/>
            <pc:sldMk cId="1981412866" sldId="915"/>
            <ac:spMk id="138" creationId="{2228D4FF-3C67-5CAD-55F2-0E60F901060B}"/>
          </ac:spMkLst>
        </pc:spChg>
        <pc:spChg chg="add del mod ord">
          <ac:chgData name="Nataliia Chornii (UA)" userId="4e4b8b3d-5f31-49bb-9f80-8a25c04abfff" providerId="ADAL" clId="{EE97D3FE-9ACA-4467-98E5-532EC45D9D1C}" dt="2024-03-01T15:10:59.378" v="16504" actId="478"/>
          <ac:spMkLst>
            <pc:docMk/>
            <pc:sldMk cId="1981412866" sldId="915"/>
            <ac:spMk id="139" creationId="{2C14379C-7D55-1BE0-E463-43420556E80D}"/>
          </ac:spMkLst>
        </pc:spChg>
        <pc:spChg chg="add del mod">
          <ac:chgData name="Nataliia Chornii (UA)" userId="4e4b8b3d-5f31-49bb-9f80-8a25c04abfff" providerId="ADAL" clId="{EE97D3FE-9ACA-4467-98E5-532EC45D9D1C}" dt="2024-03-11T14:29:32.673" v="24234" actId="478"/>
          <ac:spMkLst>
            <pc:docMk/>
            <pc:sldMk cId="1981412866" sldId="915"/>
            <ac:spMk id="140" creationId="{522C68EC-5848-25A0-E27C-CAD7D8F314F2}"/>
          </ac:spMkLst>
        </pc:spChg>
        <pc:grpChg chg="add mod">
          <ac:chgData name="Nataliia Chornii (UA)" userId="4e4b8b3d-5f31-49bb-9f80-8a25c04abfff" providerId="ADAL" clId="{EE97D3FE-9ACA-4467-98E5-532EC45D9D1C}" dt="2024-03-04T09:58:00.636" v="20138" actId="12788"/>
          <ac:grpSpMkLst>
            <pc:docMk/>
            <pc:sldMk cId="1981412866" sldId="915"/>
            <ac:grpSpMk id="5" creationId="{B2664BA4-3351-49DF-E51C-2731A516378D}"/>
          </ac:grpSpMkLst>
        </pc:grpChg>
        <pc:grpChg chg="add mod">
          <ac:chgData name="Nataliia Chornii (UA)" userId="4e4b8b3d-5f31-49bb-9f80-8a25c04abfff" providerId="ADAL" clId="{EE97D3FE-9ACA-4467-98E5-532EC45D9D1C}" dt="2024-03-04T09:57:54.090" v="20136" actId="12788"/>
          <ac:grpSpMkLst>
            <pc:docMk/>
            <pc:sldMk cId="1981412866" sldId="915"/>
            <ac:grpSpMk id="12" creationId="{229A4399-860F-69A4-7AC8-F812E9A2C896}"/>
          </ac:grpSpMkLst>
        </pc:grpChg>
        <pc:grpChg chg="add mod">
          <ac:chgData name="Nataliia Chornii (UA)" userId="4e4b8b3d-5f31-49bb-9f80-8a25c04abfff" providerId="ADAL" clId="{EE97D3FE-9ACA-4467-98E5-532EC45D9D1C}" dt="2024-03-11T14:25:54.979" v="24084"/>
          <ac:grpSpMkLst>
            <pc:docMk/>
            <pc:sldMk cId="1981412866" sldId="915"/>
            <ac:grpSpMk id="18" creationId="{A49FE20D-FD8B-8459-9736-4ADAB34854A3}"/>
          </ac:grpSpMkLst>
        </pc:grpChg>
        <pc:grpChg chg="add del mod">
          <ac:chgData name="Nataliia Chornii (UA)" userId="4e4b8b3d-5f31-49bb-9f80-8a25c04abfff" providerId="ADAL" clId="{EE97D3FE-9ACA-4467-98E5-532EC45D9D1C}" dt="2024-03-11T14:26:05.710" v="24086"/>
          <ac:grpSpMkLst>
            <pc:docMk/>
            <pc:sldMk cId="1981412866" sldId="915"/>
            <ac:grpSpMk id="29" creationId="{A63B2E67-EFEB-D5A4-A286-1C34FBFFBCA0}"/>
          </ac:grpSpMkLst>
        </pc:grpChg>
        <pc:grpChg chg="add del mod">
          <ac:chgData name="Nataliia Chornii (UA)" userId="4e4b8b3d-5f31-49bb-9f80-8a25c04abfff" providerId="ADAL" clId="{EE97D3FE-9ACA-4467-98E5-532EC45D9D1C}" dt="2024-03-01T14:57:35.366" v="15934" actId="165"/>
          <ac:grpSpMkLst>
            <pc:docMk/>
            <pc:sldMk cId="1981412866" sldId="915"/>
            <ac:grpSpMk id="30" creationId="{130498FB-6D75-AFF5-9CF2-5A408A63EADC}"/>
          </ac:grpSpMkLst>
        </pc:grpChg>
        <pc:grpChg chg="add del mod">
          <ac:chgData name="Nataliia Chornii (UA)" userId="4e4b8b3d-5f31-49bb-9f80-8a25c04abfff" providerId="ADAL" clId="{EE97D3FE-9ACA-4467-98E5-532EC45D9D1C}" dt="2024-03-01T15:02:10.681" v="16116" actId="165"/>
          <ac:grpSpMkLst>
            <pc:docMk/>
            <pc:sldMk cId="1981412866" sldId="915"/>
            <ac:grpSpMk id="77" creationId="{F5AA5D7E-2E30-1065-8377-7AB6171C9DD4}"/>
          </ac:grpSpMkLst>
        </pc:grpChg>
        <pc:grpChg chg="add del mod">
          <ac:chgData name="Nataliia Chornii (UA)" userId="4e4b8b3d-5f31-49bb-9f80-8a25c04abfff" providerId="ADAL" clId="{EE97D3FE-9ACA-4467-98E5-532EC45D9D1C}" dt="2024-03-01T15:01:17.357" v="16102" actId="165"/>
          <ac:grpSpMkLst>
            <pc:docMk/>
            <pc:sldMk cId="1981412866" sldId="915"/>
            <ac:grpSpMk id="78" creationId="{A93F9753-95BD-8132-6EBD-B88F5431A843}"/>
          </ac:grpSpMkLst>
        </pc:grpChg>
        <pc:grpChg chg="add del mod">
          <ac:chgData name="Nataliia Chornii (UA)" userId="4e4b8b3d-5f31-49bb-9f80-8a25c04abfff" providerId="ADAL" clId="{EE97D3FE-9ACA-4467-98E5-532EC45D9D1C}" dt="2024-03-01T15:01:35.174" v="16108" actId="165"/>
          <ac:grpSpMkLst>
            <pc:docMk/>
            <pc:sldMk cId="1981412866" sldId="915"/>
            <ac:grpSpMk id="107" creationId="{41E21689-CD96-BD93-CB33-60740F11D2BF}"/>
          </ac:grpSpMkLst>
        </pc:grpChg>
        <pc:grpChg chg="add del mod">
          <ac:chgData name="Nataliia Chornii (UA)" userId="4e4b8b3d-5f31-49bb-9f80-8a25c04abfff" providerId="ADAL" clId="{EE97D3FE-9ACA-4467-98E5-532EC45D9D1C}" dt="2024-03-01T15:01:33.292" v="16107" actId="165"/>
          <ac:grpSpMkLst>
            <pc:docMk/>
            <pc:sldMk cId="1981412866" sldId="915"/>
            <ac:grpSpMk id="108" creationId="{5357DB7E-C7F9-21A9-0741-7B1A4D615958}"/>
          </ac:grpSpMkLst>
        </pc:grpChg>
        <pc:graphicFrameChg chg="add mod ord modVis replST">
          <ac:chgData name="Nataliia Chornii (UA)" userId="4e4b8b3d-5f31-49bb-9f80-8a25c04abfff" providerId="ADAL" clId="{EE97D3FE-9ACA-4467-98E5-532EC45D9D1C}" dt="2024-03-01T15:10:53.100" v="16503"/>
          <ac:graphicFrameMkLst>
            <pc:docMk/>
            <pc:sldMk cId="1981412866" sldId="915"/>
            <ac:graphicFrameMk id="9" creationId="{45DFC3D6-83B9-8E99-59C1-D8F51AA95124}"/>
          </ac:graphicFrameMkLst>
        </pc:graphicFrameChg>
        <pc:cxnChg chg="add mod ord topLvl">
          <ac:chgData name="Nataliia Chornii (UA)" userId="4e4b8b3d-5f31-49bb-9f80-8a25c04abfff" providerId="ADAL" clId="{EE97D3FE-9ACA-4467-98E5-532EC45D9D1C}" dt="2024-03-01T15:10:53.058" v="16403"/>
          <ac:cxnSpMkLst>
            <pc:docMk/>
            <pc:sldMk cId="1981412866" sldId="915"/>
            <ac:cxnSpMk id="47" creationId="{75F516F0-AA92-7B38-0A79-CD97D2B45E94}"/>
          </ac:cxnSpMkLst>
        </pc:cxnChg>
        <pc:cxnChg chg="add mod ord topLvl">
          <ac:chgData name="Nataliia Chornii (UA)" userId="4e4b8b3d-5f31-49bb-9f80-8a25c04abfff" providerId="ADAL" clId="{EE97D3FE-9ACA-4467-98E5-532EC45D9D1C}" dt="2024-03-01T15:10:53.058" v="16405"/>
          <ac:cxnSpMkLst>
            <pc:docMk/>
            <pc:sldMk cId="1981412866" sldId="915"/>
            <ac:cxnSpMk id="48" creationId="{1E9D0D5C-B75F-8EE8-8770-9E84B26DEFEA}"/>
          </ac:cxnSpMkLst>
        </pc:cxnChg>
        <pc:cxnChg chg="add mod ord topLvl">
          <ac:chgData name="Nataliia Chornii (UA)" userId="4e4b8b3d-5f31-49bb-9f80-8a25c04abfff" providerId="ADAL" clId="{EE97D3FE-9ACA-4467-98E5-532EC45D9D1C}" dt="2024-03-01T15:10:53.058" v="16407"/>
          <ac:cxnSpMkLst>
            <pc:docMk/>
            <pc:sldMk cId="1981412866" sldId="915"/>
            <ac:cxnSpMk id="49" creationId="{CB33DCF4-5BB0-8786-EFBF-C12964EE6DEB}"/>
          </ac:cxnSpMkLst>
        </pc:cxnChg>
        <pc:cxnChg chg="add mod ord topLvl">
          <ac:chgData name="Nataliia Chornii (UA)" userId="4e4b8b3d-5f31-49bb-9f80-8a25c04abfff" providerId="ADAL" clId="{EE97D3FE-9ACA-4467-98E5-532EC45D9D1C}" dt="2024-03-01T15:10:53.058" v="16409"/>
          <ac:cxnSpMkLst>
            <pc:docMk/>
            <pc:sldMk cId="1981412866" sldId="915"/>
            <ac:cxnSpMk id="50" creationId="{F0C24945-8A0F-EBD8-B81E-10A4082D2F17}"/>
          </ac:cxnSpMkLst>
        </pc:cxnChg>
        <pc:cxnChg chg="add mod ord topLvl">
          <ac:chgData name="Nataliia Chornii (UA)" userId="4e4b8b3d-5f31-49bb-9f80-8a25c04abfff" providerId="ADAL" clId="{EE97D3FE-9ACA-4467-98E5-532EC45D9D1C}" dt="2024-03-01T15:10:53.058" v="16411"/>
          <ac:cxnSpMkLst>
            <pc:docMk/>
            <pc:sldMk cId="1981412866" sldId="915"/>
            <ac:cxnSpMk id="51" creationId="{A25EECBE-4750-2EBF-464A-3DB80C53CD54}"/>
          </ac:cxnSpMkLst>
        </pc:cxnChg>
        <pc:cxnChg chg="add del mod">
          <ac:chgData name="Nataliia Chornii (UA)" userId="4e4b8b3d-5f31-49bb-9f80-8a25c04abfff" providerId="ADAL" clId="{EE97D3FE-9ACA-4467-98E5-532EC45D9D1C}" dt="2024-03-01T14:58:07.539" v="15942" actId="478"/>
          <ac:cxnSpMkLst>
            <pc:docMk/>
            <pc:sldMk cId="1981412866" sldId="915"/>
            <ac:cxnSpMk id="52" creationId="{8EAE0E2E-D216-6685-D70D-B77BA7EA59A1}"/>
          </ac:cxnSpMkLst>
        </pc:cxnChg>
        <pc:cxnChg chg="add del mod">
          <ac:chgData name="Nataliia Chornii (UA)" userId="4e4b8b3d-5f31-49bb-9f80-8a25c04abfff" providerId="ADAL" clId="{EE97D3FE-9ACA-4467-98E5-532EC45D9D1C}" dt="2024-03-01T14:57:58.712" v="15938" actId="478"/>
          <ac:cxnSpMkLst>
            <pc:docMk/>
            <pc:sldMk cId="1981412866" sldId="915"/>
            <ac:cxnSpMk id="53" creationId="{87FF387F-5F3E-8EB8-3470-90532B808279}"/>
          </ac:cxnSpMkLst>
        </pc:cxnChg>
        <pc:cxnChg chg="add mod ord topLvl">
          <ac:chgData name="Nataliia Chornii (UA)" userId="4e4b8b3d-5f31-49bb-9f80-8a25c04abfff" providerId="ADAL" clId="{EE97D3FE-9ACA-4467-98E5-532EC45D9D1C}" dt="2024-03-01T15:10:53.058" v="16413"/>
          <ac:cxnSpMkLst>
            <pc:docMk/>
            <pc:sldMk cId="1981412866" sldId="915"/>
            <ac:cxnSpMk id="55" creationId="{4EBDF314-5EDE-BA73-95C4-434B6B2721DA}"/>
          </ac:cxnSpMkLst>
        </pc:cxnChg>
        <pc:cxnChg chg="add del mod">
          <ac:chgData name="Nataliia Chornii (UA)" userId="4e4b8b3d-5f31-49bb-9f80-8a25c04abfff" providerId="ADAL" clId="{EE97D3FE-9ACA-4467-98E5-532EC45D9D1C}" dt="2024-03-01T14:57:58.712" v="15938" actId="478"/>
          <ac:cxnSpMkLst>
            <pc:docMk/>
            <pc:sldMk cId="1981412866" sldId="915"/>
            <ac:cxnSpMk id="66" creationId="{989E40F9-113A-2036-8867-DDFBF232F77F}"/>
          </ac:cxnSpMkLst>
        </pc:cxnChg>
        <pc:cxnChg chg="mod ord topLvl">
          <ac:chgData name="Nataliia Chornii (UA)" userId="4e4b8b3d-5f31-49bb-9f80-8a25c04abfff" providerId="ADAL" clId="{EE97D3FE-9ACA-4467-98E5-532EC45D9D1C}" dt="2024-03-01T15:10:53.084" v="16455"/>
          <ac:cxnSpMkLst>
            <pc:docMk/>
            <pc:sldMk cId="1981412866" sldId="915"/>
            <ac:cxnSpMk id="94" creationId="{AF2030D2-26EA-4127-8449-5E0C1DA91A56}"/>
          </ac:cxnSpMkLst>
        </pc:cxnChg>
        <pc:cxnChg chg="mod ord topLvl">
          <ac:chgData name="Nataliia Chornii (UA)" userId="4e4b8b3d-5f31-49bb-9f80-8a25c04abfff" providerId="ADAL" clId="{EE97D3FE-9ACA-4467-98E5-532EC45D9D1C}" dt="2024-03-01T15:10:53.084" v="16457"/>
          <ac:cxnSpMkLst>
            <pc:docMk/>
            <pc:sldMk cId="1981412866" sldId="915"/>
            <ac:cxnSpMk id="95" creationId="{A850844E-2AA8-6B27-DAB2-625546B9F9ED}"/>
          </ac:cxnSpMkLst>
        </pc:cxnChg>
        <pc:cxnChg chg="mod ord topLvl">
          <ac:chgData name="Nataliia Chornii (UA)" userId="4e4b8b3d-5f31-49bb-9f80-8a25c04abfff" providerId="ADAL" clId="{EE97D3FE-9ACA-4467-98E5-532EC45D9D1C}" dt="2024-03-01T15:10:53.084" v="16459"/>
          <ac:cxnSpMkLst>
            <pc:docMk/>
            <pc:sldMk cId="1981412866" sldId="915"/>
            <ac:cxnSpMk id="96" creationId="{DDBB901D-7628-ED8C-4EA4-A37A674AD7D3}"/>
          </ac:cxnSpMkLst>
        </pc:cxnChg>
        <pc:cxnChg chg="mod ord topLvl">
          <ac:chgData name="Nataliia Chornii (UA)" userId="4e4b8b3d-5f31-49bb-9f80-8a25c04abfff" providerId="ADAL" clId="{EE97D3FE-9ACA-4467-98E5-532EC45D9D1C}" dt="2024-03-01T15:10:53.084" v="16461"/>
          <ac:cxnSpMkLst>
            <pc:docMk/>
            <pc:sldMk cId="1981412866" sldId="915"/>
            <ac:cxnSpMk id="97" creationId="{B18D4479-B1AE-DC6B-BBC5-FE673E8AFC2D}"/>
          </ac:cxnSpMkLst>
        </pc:cxnChg>
        <pc:cxnChg chg="del mod topLvl">
          <ac:chgData name="Nataliia Chornii (UA)" userId="4e4b8b3d-5f31-49bb-9f80-8a25c04abfff" providerId="ADAL" clId="{EE97D3FE-9ACA-4467-98E5-532EC45D9D1C}" dt="2024-03-01T15:03:09.757" v="16134" actId="478"/>
          <ac:cxnSpMkLst>
            <pc:docMk/>
            <pc:sldMk cId="1981412866" sldId="915"/>
            <ac:cxnSpMk id="98" creationId="{98121ADC-B8CC-6025-6E08-BE2E5A12B32F}"/>
          </ac:cxnSpMkLst>
        </pc:cxnChg>
        <pc:cxnChg chg="mod ord topLvl">
          <ac:chgData name="Nataliia Chornii (UA)" userId="4e4b8b3d-5f31-49bb-9f80-8a25c04abfff" providerId="ADAL" clId="{EE97D3FE-9ACA-4467-98E5-532EC45D9D1C}" dt="2024-03-01T15:10:53.084" v="16463"/>
          <ac:cxnSpMkLst>
            <pc:docMk/>
            <pc:sldMk cId="1981412866" sldId="915"/>
            <ac:cxnSpMk id="99" creationId="{CD0347C9-AB78-F3FF-4D24-EFD1D1FEF8DE}"/>
          </ac:cxnSpMkLst>
        </pc:cxnChg>
        <pc:cxnChg chg="mod ord topLvl">
          <ac:chgData name="Nataliia Chornii (UA)" userId="4e4b8b3d-5f31-49bb-9f80-8a25c04abfff" providerId="ADAL" clId="{EE97D3FE-9ACA-4467-98E5-532EC45D9D1C}" dt="2024-03-01T15:10:53.089" v="16491"/>
          <ac:cxnSpMkLst>
            <pc:docMk/>
            <pc:sldMk cId="1981412866" sldId="915"/>
            <ac:cxnSpMk id="124" creationId="{F4B1EDB0-F937-7E75-15EE-D63F022FDE28}"/>
          </ac:cxnSpMkLst>
        </pc:cxnChg>
        <pc:cxnChg chg="del mod topLvl">
          <ac:chgData name="Nataliia Chornii (UA)" userId="4e4b8b3d-5f31-49bb-9f80-8a25c04abfff" providerId="ADAL" clId="{EE97D3FE-9ACA-4467-98E5-532EC45D9D1C}" dt="2024-03-01T15:04:17.069" v="16159" actId="478"/>
          <ac:cxnSpMkLst>
            <pc:docMk/>
            <pc:sldMk cId="1981412866" sldId="915"/>
            <ac:cxnSpMk id="125" creationId="{23612376-3D7F-2E7E-9F2B-59CD2525D0B9}"/>
          </ac:cxnSpMkLst>
        </pc:cxnChg>
        <pc:cxnChg chg="del mod topLvl">
          <ac:chgData name="Nataliia Chornii (UA)" userId="4e4b8b3d-5f31-49bb-9f80-8a25c04abfff" providerId="ADAL" clId="{EE97D3FE-9ACA-4467-98E5-532EC45D9D1C}" dt="2024-03-01T15:04:17.069" v="16159" actId="478"/>
          <ac:cxnSpMkLst>
            <pc:docMk/>
            <pc:sldMk cId="1981412866" sldId="915"/>
            <ac:cxnSpMk id="126" creationId="{A81ABB8F-021B-3E23-0D3F-17A67CA9269A}"/>
          </ac:cxnSpMkLst>
        </pc:cxnChg>
        <pc:cxnChg chg="del mod topLvl">
          <ac:chgData name="Nataliia Chornii (UA)" userId="4e4b8b3d-5f31-49bb-9f80-8a25c04abfff" providerId="ADAL" clId="{EE97D3FE-9ACA-4467-98E5-532EC45D9D1C}" dt="2024-03-01T15:04:17.069" v="16159" actId="478"/>
          <ac:cxnSpMkLst>
            <pc:docMk/>
            <pc:sldMk cId="1981412866" sldId="915"/>
            <ac:cxnSpMk id="127" creationId="{01D9D860-7196-B295-9E48-7C0E6155B447}"/>
          </ac:cxnSpMkLst>
        </pc:cxnChg>
        <pc:cxnChg chg="del mod topLvl">
          <ac:chgData name="Nataliia Chornii (UA)" userId="4e4b8b3d-5f31-49bb-9f80-8a25c04abfff" providerId="ADAL" clId="{EE97D3FE-9ACA-4467-98E5-532EC45D9D1C}" dt="2024-03-01T15:04:17.069" v="16159" actId="478"/>
          <ac:cxnSpMkLst>
            <pc:docMk/>
            <pc:sldMk cId="1981412866" sldId="915"/>
            <ac:cxnSpMk id="128" creationId="{A8EC170B-C43F-5474-B9A1-E48403A516E8}"/>
          </ac:cxnSpMkLst>
        </pc:cxnChg>
        <pc:cxnChg chg="mod ord topLvl">
          <ac:chgData name="Nataliia Chornii (UA)" userId="4e4b8b3d-5f31-49bb-9f80-8a25c04abfff" providerId="ADAL" clId="{EE97D3FE-9ACA-4467-98E5-532EC45D9D1C}" dt="2024-03-01T15:10:53.089" v="16493"/>
          <ac:cxnSpMkLst>
            <pc:docMk/>
            <pc:sldMk cId="1981412866" sldId="915"/>
            <ac:cxnSpMk id="129" creationId="{3AF7C173-E6C5-E60C-6FCC-CC84803A3102}"/>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2:33.550" v="22437"/>
              <pc2:cmMkLst xmlns:pc2="http://schemas.microsoft.com/office/powerpoint/2019/9/main/command">
                <pc:docMk/>
                <pc:sldMk cId="1981412866" sldId="915"/>
                <pc2:cmMk id="{0A2FB834-DE41-4211-88A4-807F40A0D977}"/>
              </pc2:cmMkLst>
            </pc226:cmChg>
          </p:ext>
        </pc:extLst>
      </pc:sldChg>
      <pc:sldChg chg="addSp delSp modSp mod modClrScheme modCm chgLayout">
        <pc:chgData name="Nataliia Chornii (UA)" userId="4e4b8b3d-5f31-49bb-9f80-8a25c04abfff" providerId="ADAL" clId="{EE97D3FE-9ACA-4467-98E5-532EC45D9D1C}" dt="2024-03-11T14:29:42.758" v="24239" actId="478"/>
        <pc:sldMkLst>
          <pc:docMk/>
          <pc:sldMk cId="64855802" sldId="916"/>
        </pc:sldMkLst>
        <pc:spChg chg="del">
          <ac:chgData name="Nataliia Chornii (UA)" userId="4e4b8b3d-5f31-49bb-9f80-8a25c04abfff" providerId="ADAL" clId="{EE97D3FE-9ACA-4467-98E5-532EC45D9D1C}" dt="2024-03-01T15:09:51.486" v="16183" actId="478"/>
          <ac:spMkLst>
            <pc:docMk/>
            <pc:sldMk cId="64855802" sldId="916"/>
            <ac:spMk id="2" creationId="{A1EA5253-E431-DFFC-E94A-6F8E087CC2C0}"/>
          </ac:spMkLst>
        </pc:spChg>
        <pc:spChg chg="mod ord">
          <ac:chgData name="Nataliia Chornii (UA)" userId="4e4b8b3d-5f31-49bb-9f80-8a25c04abfff" providerId="ADAL" clId="{EE97D3FE-9ACA-4467-98E5-532EC45D9D1C}" dt="2024-03-01T15:23:27.691" v="17144" actId="948"/>
          <ac:spMkLst>
            <pc:docMk/>
            <pc:sldMk cId="64855802" sldId="916"/>
            <ac:spMk id="3" creationId="{F4CCF02E-F3C4-C376-8F56-61BD85A2E74B}"/>
          </ac:spMkLst>
        </pc:spChg>
        <pc:spChg chg="mod ord">
          <ac:chgData name="Nataliia Chornii (UA)" userId="4e4b8b3d-5f31-49bb-9f80-8a25c04abfff" providerId="ADAL" clId="{EE97D3FE-9ACA-4467-98E5-532EC45D9D1C}" dt="2024-03-01T15:12:11.376" v="16762"/>
          <ac:spMkLst>
            <pc:docMk/>
            <pc:sldMk cId="64855802" sldId="916"/>
            <ac:spMk id="4" creationId="{872966CD-924A-B939-E655-A6BAF817DCBF}"/>
          </ac:spMkLst>
        </pc:spChg>
        <pc:spChg chg="mod">
          <ac:chgData name="Nataliia Chornii (UA)" userId="4e4b8b3d-5f31-49bb-9f80-8a25c04abfff" providerId="ADAL" clId="{EE97D3FE-9ACA-4467-98E5-532EC45D9D1C}" dt="2024-03-04T10:00:10.335" v="20224" actId="207"/>
          <ac:spMkLst>
            <pc:docMk/>
            <pc:sldMk cId="64855802" sldId="916"/>
            <ac:spMk id="5" creationId="{65B20DBA-A0B6-DD32-19D6-76C7062D9658}"/>
          </ac:spMkLst>
        </pc:spChg>
        <pc:spChg chg="del">
          <ac:chgData name="Nataliia Chornii (UA)" userId="4e4b8b3d-5f31-49bb-9f80-8a25c04abfff" providerId="ADAL" clId="{EE97D3FE-9ACA-4467-98E5-532EC45D9D1C}" dt="2024-03-01T15:06:03.447" v="16180" actId="478"/>
          <ac:spMkLst>
            <pc:docMk/>
            <pc:sldMk cId="64855802" sldId="916"/>
            <ac:spMk id="5" creationId="{FF11D90A-8D15-0E43-4C2E-D42257331C13}"/>
          </ac:spMkLst>
        </pc:spChg>
        <pc:spChg chg="del">
          <ac:chgData name="Nataliia Chornii (UA)" userId="4e4b8b3d-5f31-49bb-9f80-8a25c04abfff" providerId="ADAL" clId="{EE97D3FE-9ACA-4467-98E5-532EC45D9D1C}" dt="2024-03-01T15:06:03.447" v="16180" actId="478"/>
          <ac:spMkLst>
            <pc:docMk/>
            <pc:sldMk cId="64855802" sldId="916"/>
            <ac:spMk id="6" creationId="{0F377277-EC46-FAC5-F379-194FCD82679C}"/>
          </ac:spMkLst>
        </pc:spChg>
        <pc:spChg chg="mod">
          <ac:chgData name="Nataliia Chornii (UA)" userId="4e4b8b3d-5f31-49bb-9f80-8a25c04abfff" providerId="ADAL" clId="{EE97D3FE-9ACA-4467-98E5-532EC45D9D1C}" dt="2024-03-04T10:00:10.335" v="20224" actId="207"/>
          <ac:spMkLst>
            <pc:docMk/>
            <pc:sldMk cId="64855802" sldId="916"/>
            <ac:spMk id="6" creationId="{A0E793E7-427C-3E34-E013-FCACBB48F56B}"/>
          </ac:spMkLst>
        </pc:spChg>
        <pc:spChg chg="del mod ord">
          <ac:chgData name="Nataliia Chornii (UA)" userId="4e4b8b3d-5f31-49bb-9f80-8a25c04abfff" providerId="ADAL" clId="{EE97D3FE-9ACA-4467-98E5-532EC45D9D1C}" dt="2024-03-01T15:13:10.004" v="16881" actId="478"/>
          <ac:spMkLst>
            <pc:docMk/>
            <pc:sldMk cId="64855802" sldId="916"/>
            <ac:spMk id="7" creationId="{8E846963-540E-9336-DE83-B87EC3AB5727}"/>
          </ac:spMkLst>
        </pc:spChg>
        <pc:spChg chg="mod">
          <ac:chgData name="Nataliia Chornii (UA)" userId="4e4b8b3d-5f31-49bb-9f80-8a25c04abfff" providerId="ADAL" clId="{EE97D3FE-9ACA-4467-98E5-532EC45D9D1C}" dt="2024-03-04T10:00:10.335" v="20224" actId="207"/>
          <ac:spMkLst>
            <pc:docMk/>
            <pc:sldMk cId="64855802" sldId="916"/>
            <ac:spMk id="7" creationId="{E886C7A7-47C5-E0CB-C923-882EDC64C19E}"/>
          </ac:spMkLst>
        </pc:spChg>
        <pc:spChg chg="mod">
          <ac:chgData name="Nataliia Chornii (UA)" userId="4e4b8b3d-5f31-49bb-9f80-8a25c04abfff" providerId="ADAL" clId="{EE97D3FE-9ACA-4467-98E5-532EC45D9D1C}" dt="2024-03-04T10:00:10.335" v="20224" actId="207"/>
          <ac:spMkLst>
            <pc:docMk/>
            <pc:sldMk cId="64855802" sldId="916"/>
            <ac:spMk id="8" creationId="{24E79FE6-0994-3470-48D1-FB7ACEF10549}"/>
          </ac:spMkLst>
        </pc:spChg>
        <pc:spChg chg="del">
          <ac:chgData name="Nataliia Chornii (UA)" userId="4e4b8b3d-5f31-49bb-9f80-8a25c04abfff" providerId="ADAL" clId="{EE97D3FE-9ACA-4467-98E5-532EC45D9D1C}" dt="2024-03-01T15:09:51.486" v="16183" actId="478"/>
          <ac:spMkLst>
            <pc:docMk/>
            <pc:sldMk cId="64855802" sldId="916"/>
            <ac:spMk id="8" creationId="{598AB23C-0BF9-85FE-4B7A-DC0CF1A85603}"/>
          </ac:spMkLst>
        </pc:spChg>
        <pc:spChg chg="add mod">
          <ac:chgData name="Nataliia Chornii (UA)" userId="4e4b8b3d-5f31-49bb-9f80-8a25c04abfff" providerId="ADAL" clId="{EE97D3FE-9ACA-4467-98E5-532EC45D9D1C}" dt="2024-03-11T14:29:41.482" v="24238"/>
          <ac:spMkLst>
            <pc:docMk/>
            <pc:sldMk cId="64855802" sldId="916"/>
            <ac:spMk id="9" creationId="{20E2F488-128A-A03C-4DDA-0BA6FB1A457F}"/>
          </ac:spMkLst>
        </pc:spChg>
        <pc:spChg chg="add del mod modVis">
          <ac:chgData name="Nataliia Chornii (UA)" userId="4e4b8b3d-5f31-49bb-9f80-8a25c04abfff" providerId="ADAL" clId="{EE97D3FE-9ACA-4467-98E5-532EC45D9D1C}" dt="2024-03-01T08:48:59.410" v="1327"/>
          <ac:spMkLst>
            <pc:docMk/>
            <pc:sldMk cId="64855802" sldId="916"/>
            <ac:spMk id="9" creationId="{9B5E04AF-8BE1-7803-D218-BCACE4766F1A}"/>
          </ac:spMkLst>
        </pc:spChg>
        <pc:spChg chg="del mod ord">
          <ac:chgData name="Nataliia Chornii (UA)" userId="4e4b8b3d-5f31-49bb-9f80-8a25c04abfff" providerId="ADAL" clId="{EE97D3FE-9ACA-4467-98E5-532EC45D9D1C}" dt="2024-03-01T15:19:34.328" v="17045" actId="478"/>
          <ac:spMkLst>
            <pc:docMk/>
            <pc:sldMk cId="64855802" sldId="916"/>
            <ac:spMk id="10" creationId="{489B7680-E5EE-2A50-7733-37F2F144B869}"/>
          </ac:spMkLst>
        </pc:spChg>
        <pc:spChg chg="del">
          <ac:chgData name="Nataliia Chornii (UA)" userId="4e4b8b3d-5f31-49bb-9f80-8a25c04abfff" providerId="ADAL" clId="{EE97D3FE-9ACA-4467-98E5-532EC45D9D1C}" dt="2024-03-01T15:09:51.486" v="16183" actId="478"/>
          <ac:spMkLst>
            <pc:docMk/>
            <pc:sldMk cId="64855802" sldId="916"/>
            <ac:spMk id="11" creationId="{327B1A4B-6980-7B00-091C-6006703B82A0}"/>
          </ac:spMkLst>
        </pc:spChg>
        <pc:spChg chg="add del mod modVis">
          <ac:chgData name="Nataliia Chornii (UA)" userId="4e4b8b3d-5f31-49bb-9f80-8a25c04abfff" providerId="ADAL" clId="{EE97D3FE-9ACA-4467-98E5-532EC45D9D1C}" dt="2024-03-01T08:49:33.729" v="2810"/>
          <ac:spMkLst>
            <pc:docMk/>
            <pc:sldMk cId="64855802" sldId="916"/>
            <ac:spMk id="13" creationId="{88E58F6D-29A7-C668-1A01-B2C19F74E90C}"/>
          </ac:spMkLst>
        </pc:spChg>
        <pc:spChg chg="add del mod modVis">
          <ac:chgData name="Nataliia Chornii (UA)" userId="4e4b8b3d-5f31-49bb-9f80-8a25c04abfff" providerId="ADAL" clId="{EE97D3FE-9ACA-4467-98E5-532EC45D9D1C}" dt="2024-03-01T08:49:59.788" v="3798"/>
          <ac:spMkLst>
            <pc:docMk/>
            <pc:sldMk cId="64855802" sldId="916"/>
            <ac:spMk id="14" creationId="{0AC8E3DF-A572-9706-BA15-E956800EA3D2}"/>
          </ac:spMkLst>
        </pc:spChg>
        <pc:spChg chg="add del mod modVis">
          <ac:chgData name="Nataliia Chornii (UA)" userId="4e4b8b3d-5f31-49bb-9f80-8a25c04abfff" providerId="ADAL" clId="{EE97D3FE-9ACA-4467-98E5-532EC45D9D1C}" dt="2024-03-01T08:51:26.106" v="4786"/>
          <ac:spMkLst>
            <pc:docMk/>
            <pc:sldMk cId="64855802" sldId="916"/>
            <ac:spMk id="15" creationId="{5ECCA0D8-E840-E9E5-4757-4D368227019B}"/>
          </ac:spMkLst>
        </pc:spChg>
        <pc:spChg chg="add del mod modVis">
          <ac:chgData name="Nataliia Chornii (UA)" userId="4e4b8b3d-5f31-49bb-9f80-8a25c04abfff" providerId="ADAL" clId="{EE97D3FE-9ACA-4467-98E5-532EC45D9D1C}" dt="2024-03-01T08:51:56.094" v="5775"/>
          <ac:spMkLst>
            <pc:docMk/>
            <pc:sldMk cId="64855802" sldId="916"/>
            <ac:spMk id="16" creationId="{2DE1A61F-1581-3D5D-5FAD-072C48A4C42E}"/>
          </ac:spMkLst>
        </pc:spChg>
        <pc:spChg chg="add del mod modVis">
          <ac:chgData name="Nataliia Chornii (UA)" userId="4e4b8b3d-5f31-49bb-9f80-8a25c04abfff" providerId="ADAL" clId="{EE97D3FE-9ACA-4467-98E5-532EC45D9D1C}" dt="2024-03-01T08:52:18.267" v="6763"/>
          <ac:spMkLst>
            <pc:docMk/>
            <pc:sldMk cId="64855802" sldId="916"/>
            <ac:spMk id="17" creationId="{8E95BE26-95FA-D2FC-AD2C-35D9F44D3EDB}"/>
          </ac:spMkLst>
        </pc:spChg>
        <pc:spChg chg="add del mod ord">
          <ac:chgData name="Nataliia Chornii (UA)" userId="4e4b8b3d-5f31-49bb-9f80-8a25c04abfff" providerId="ADAL" clId="{EE97D3FE-9ACA-4467-98E5-532EC45D9D1C}" dt="2024-03-01T15:09:55.394" v="16184" actId="700"/>
          <ac:spMkLst>
            <pc:docMk/>
            <pc:sldMk cId="64855802" sldId="916"/>
            <ac:spMk id="19" creationId="{BF8167A5-672C-0A83-D859-31D003AC2E13}"/>
          </ac:spMkLst>
        </pc:spChg>
        <pc:spChg chg="add del mod ord">
          <ac:chgData name="Nataliia Chornii (UA)" userId="4e4b8b3d-5f31-49bb-9f80-8a25c04abfff" providerId="ADAL" clId="{EE97D3FE-9ACA-4467-98E5-532EC45D9D1C}" dt="2024-03-01T15:09:56.833" v="16211" actId="478"/>
          <ac:spMkLst>
            <pc:docMk/>
            <pc:sldMk cId="64855802" sldId="916"/>
            <ac:spMk id="20" creationId="{21339D2A-CB44-69C7-40F4-4CB64086937A}"/>
          </ac:spMkLst>
        </pc:spChg>
        <pc:spChg chg="add del mod modVis">
          <ac:chgData name="Nataliia Chornii (UA)" userId="4e4b8b3d-5f31-49bb-9f80-8a25c04abfff" providerId="ADAL" clId="{EE97D3FE-9ACA-4467-98E5-532EC45D9D1C}" dt="2024-03-01T15:09:56.074" v="16208"/>
          <ac:spMkLst>
            <pc:docMk/>
            <pc:sldMk cId="64855802" sldId="916"/>
            <ac:spMk id="21" creationId="{31A19AF2-08B2-409F-C996-A3C66943220B}"/>
          </ac:spMkLst>
        </pc:spChg>
        <pc:spChg chg="add del mod ord">
          <ac:chgData name="Nataliia Chornii (UA)" userId="4e4b8b3d-5f31-49bb-9f80-8a25c04abfff" providerId="ADAL" clId="{EE97D3FE-9ACA-4467-98E5-532EC45D9D1C}" dt="2024-03-01T15:14:31.975" v="16905" actId="478"/>
          <ac:spMkLst>
            <pc:docMk/>
            <pc:sldMk cId="64855802" sldId="916"/>
            <ac:spMk id="22" creationId="{70AE735C-F922-182E-C601-D6A4761A7A63}"/>
          </ac:spMkLst>
        </pc:spChg>
        <pc:spChg chg="add del mod ord">
          <ac:chgData name="Nataliia Chornii (UA)" userId="4e4b8b3d-5f31-49bb-9f80-8a25c04abfff" providerId="ADAL" clId="{EE97D3FE-9ACA-4467-98E5-532EC45D9D1C}" dt="2024-03-01T15:16:26.338" v="16974" actId="478"/>
          <ac:spMkLst>
            <pc:docMk/>
            <pc:sldMk cId="64855802" sldId="916"/>
            <ac:spMk id="23" creationId="{9DA911E3-A1DB-CCF5-744D-18DA986EC773}"/>
          </ac:spMkLst>
        </pc:spChg>
        <pc:spChg chg="add del mod">
          <ac:chgData name="Nataliia Chornii (UA)" userId="4e4b8b3d-5f31-49bb-9f80-8a25c04abfff" providerId="ADAL" clId="{EE97D3FE-9ACA-4467-98E5-532EC45D9D1C}" dt="2024-03-01T15:10:34.669" v="16219" actId="478"/>
          <ac:spMkLst>
            <pc:docMk/>
            <pc:sldMk cId="64855802" sldId="916"/>
            <ac:spMk id="24" creationId="{6B11875D-EDBF-FF3C-3534-091DF43FF050}"/>
          </ac:spMkLst>
        </pc:spChg>
        <pc:spChg chg="add mod ord">
          <ac:chgData name="Nataliia Chornii (UA)" userId="4e4b8b3d-5f31-49bb-9f80-8a25c04abfff" providerId="ADAL" clId="{EE97D3FE-9ACA-4467-98E5-532EC45D9D1C}" dt="2024-03-01T15:15:05.446" v="16926" actId="553"/>
          <ac:spMkLst>
            <pc:docMk/>
            <pc:sldMk cId="64855802" sldId="916"/>
            <ac:spMk id="25" creationId="{3F4B047B-9FFA-12D1-B8AD-AAC2A9759CAF}"/>
          </ac:spMkLst>
        </pc:spChg>
        <pc:spChg chg="add mod ord">
          <ac:chgData name="Nataliia Chornii (UA)" userId="4e4b8b3d-5f31-49bb-9f80-8a25c04abfff" providerId="ADAL" clId="{EE97D3FE-9ACA-4467-98E5-532EC45D9D1C}" dt="2024-03-01T15:15:05.446" v="16926" actId="553"/>
          <ac:spMkLst>
            <pc:docMk/>
            <pc:sldMk cId="64855802" sldId="916"/>
            <ac:spMk id="26" creationId="{515B18CF-E56A-6B40-4A0F-0EAA1C8F56C7}"/>
          </ac:spMkLst>
        </pc:spChg>
        <pc:spChg chg="add mod ord">
          <ac:chgData name="Nataliia Chornii (UA)" userId="4e4b8b3d-5f31-49bb-9f80-8a25c04abfff" providerId="ADAL" clId="{EE97D3FE-9ACA-4467-98E5-532EC45D9D1C}" dt="2024-03-01T15:12:11.383" v="16776"/>
          <ac:spMkLst>
            <pc:docMk/>
            <pc:sldMk cId="64855802" sldId="916"/>
            <ac:spMk id="27" creationId="{DB25174A-0656-78A0-0079-8CF72BC6431E}"/>
          </ac:spMkLst>
        </pc:spChg>
        <pc:spChg chg="add mod ord">
          <ac:chgData name="Nataliia Chornii (UA)" userId="4e4b8b3d-5f31-49bb-9f80-8a25c04abfff" providerId="ADAL" clId="{EE97D3FE-9ACA-4467-98E5-532EC45D9D1C}" dt="2024-03-01T15:12:11.383" v="16778"/>
          <ac:spMkLst>
            <pc:docMk/>
            <pc:sldMk cId="64855802" sldId="916"/>
            <ac:spMk id="28" creationId="{E26856B4-6C3C-09CB-5094-5D5C14CB617C}"/>
          </ac:spMkLst>
        </pc:spChg>
        <pc:spChg chg="add mod ord">
          <ac:chgData name="Nataliia Chornii (UA)" userId="4e4b8b3d-5f31-49bb-9f80-8a25c04abfff" providerId="ADAL" clId="{EE97D3FE-9ACA-4467-98E5-532EC45D9D1C}" dt="2024-03-01T15:12:11.383" v="16780"/>
          <ac:spMkLst>
            <pc:docMk/>
            <pc:sldMk cId="64855802" sldId="916"/>
            <ac:spMk id="29" creationId="{D24D2039-8EB4-6BDE-56F6-C1CF4E0BD27B}"/>
          </ac:spMkLst>
        </pc:spChg>
        <pc:spChg chg="add del mod ord">
          <ac:chgData name="Nataliia Chornii (UA)" userId="4e4b8b3d-5f31-49bb-9f80-8a25c04abfff" providerId="ADAL" clId="{EE97D3FE-9ACA-4467-98E5-532EC45D9D1C}" dt="2024-03-01T15:16:54.104" v="16975" actId="478"/>
          <ac:spMkLst>
            <pc:docMk/>
            <pc:sldMk cId="64855802" sldId="916"/>
            <ac:spMk id="30" creationId="{5DE9D569-A435-1155-3C49-1129FE066856}"/>
          </ac:spMkLst>
        </pc:spChg>
        <pc:spChg chg="add del mod modVis">
          <ac:chgData name="Nataliia Chornii (UA)" userId="4e4b8b3d-5f31-49bb-9f80-8a25c04abfff" providerId="ADAL" clId="{EE97D3FE-9ACA-4467-98E5-532EC45D9D1C}" dt="2024-03-01T15:11:12.141" v="16532"/>
          <ac:spMkLst>
            <pc:docMk/>
            <pc:sldMk cId="64855802" sldId="916"/>
            <ac:spMk id="31" creationId="{D085A1BB-23E7-7350-B7FB-000C975F1CD2}"/>
          </ac:spMkLst>
        </pc:spChg>
        <pc:spChg chg="add mod ord topLvl">
          <ac:chgData name="Nataliia Chornii (UA)" userId="4e4b8b3d-5f31-49bb-9f80-8a25c04abfff" providerId="ADAL" clId="{EE97D3FE-9ACA-4467-98E5-532EC45D9D1C}" dt="2024-03-01T15:15:43.316" v="16964" actId="165"/>
          <ac:spMkLst>
            <pc:docMk/>
            <pc:sldMk cId="64855802" sldId="916"/>
            <ac:spMk id="34" creationId="{AC027842-8E0B-F976-084E-7FD104C43A84}"/>
          </ac:spMkLst>
        </pc:spChg>
        <pc:spChg chg="add mod ord topLvl">
          <ac:chgData name="Nataliia Chornii (UA)" userId="4e4b8b3d-5f31-49bb-9f80-8a25c04abfff" providerId="ADAL" clId="{EE97D3FE-9ACA-4467-98E5-532EC45D9D1C}" dt="2024-03-01T15:17:15.206" v="16978" actId="14100"/>
          <ac:spMkLst>
            <pc:docMk/>
            <pc:sldMk cId="64855802" sldId="916"/>
            <ac:spMk id="35" creationId="{432C5712-D5AD-47F7-FC20-0EB40EAFE2D2}"/>
          </ac:spMkLst>
        </pc:spChg>
        <pc:spChg chg="add mod ord topLvl">
          <ac:chgData name="Nataliia Chornii (UA)" userId="4e4b8b3d-5f31-49bb-9f80-8a25c04abfff" providerId="ADAL" clId="{EE97D3FE-9ACA-4467-98E5-532EC45D9D1C}" dt="2024-03-01T15:15:43.316" v="16964" actId="165"/>
          <ac:spMkLst>
            <pc:docMk/>
            <pc:sldMk cId="64855802" sldId="916"/>
            <ac:spMk id="36" creationId="{1A91B8D2-3367-8EC1-1639-E51629AF1E93}"/>
          </ac:spMkLst>
        </pc:spChg>
        <pc:spChg chg="add mod ord topLvl">
          <ac:chgData name="Nataliia Chornii (UA)" userId="4e4b8b3d-5f31-49bb-9f80-8a25c04abfff" providerId="ADAL" clId="{EE97D3FE-9ACA-4467-98E5-532EC45D9D1C}" dt="2024-03-01T15:15:43.316" v="16964" actId="165"/>
          <ac:spMkLst>
            <pc:docMk/>
            <pc:sldMk cId="64855802" sldId="916"/>
            <ac:spMk id="37" creationId="{43ADB3DB-3BA4-7C31-08CB-601A2D7BCC02}"/>
          </ac:spMkLst>
        </pc:spChg>
        <pc:spChg chg="add mod ord topLvl">
          <ac:chgData name="Nataliia Chornii (UA)" userId="4e4b8b3d-5f31-49bb-9f80-8a25c04abfff" providerId="ADAL" clId="{EE97D3FE-9ACA-4467-98E5-532EC45D9D1C}" dt="2024-03-01T15:15:43.316" v="16964" actId="165"/>
          <ac:spMkLst>
            <pc:docMk/>
            <pc:sldMk cId="64855802" sldId="916"/>
            <ac:spMk id="38" creationId="{BD7935CE-15D8-1811-94CE-B987A34E5FB0}"/>
          </ac:spMkLst>
        </pc:spChg>
        <pc:spChg chg="add mod ord topLvl">
          <ac:chgData name="Nataliia Chornii (UA)" userId="4e4b8b3d-5f31-49bb-9f80-8a25c04abfff" providerId="ADAL" clId="{EE97D3FE-9ACA-4467-98E5-532EC45D9D1C}" dt="2024-03-01T15:15:43.316" v="16964" actId="165"/>
          <ac:spMkLst>
            <pc:docMk/>
            <pc:sldMk cId="64855802" sldId="916"/>
            <ac:spMk id="39" creationId="{B6D3ACFB-DDDC-6CAA-D35D-49EA05634711}"/>
          </ac:spMkLst>
        </pc:spChg>
        <pc:spChg chg="add mod ord topLvl">
          <ac:chgData name="Nataliia Chornii (UA)" userId="4e4b8b3d-5f31-49bb-9f80-8a25c04abfff" providerId="ADAL" clId="{EE97D3FE-9ACA-4467-98E5-532EC45D9D1C}" dt="2024-03-01T15:15:43.316" v="16964" actId="165"/>
          <ac:spMkLst>
            <pc:docMk/>
            <pc:sldMk cId="64855802" sldId="916"/>
            <ac:spMk id="40" creationId="{7EBB5C10-CFEF-60B6-E81C-B496F1A52649}"/>
          </ac:spMkLst>
        </pc:spChg>
        <pc:spChg chg="add mod ord topLvl">
          <ac:chgData name="Nataliia Chornii (UA)" userId="4e4b8b3d-5f31-49bb-9f80-8a25c04abfff" providerId="ADAL" clId="{EE97D3FE-9ACA-4467-98E5-532EC45D9D1C}" dt="2024-03-01T15:15:43.316" v="16964" actId="165"/>
          <ac:spMkLst>
            <pc:docMk/>
            <pc:sldMk cId="64855802" sldId="916"/>
            <ac:spMk id="41" creationId="{985E6054-94C7-8CF3-851D-FD85DE2F92CB}"/>
          </ac:spMkLst>
        </pc:spChg>
        <pc:spChg chg="add mod ord topLvl">
          <ac:chgData name="Nataliia Chornii (UA)" userId="4e4b8b3d-5f31-49bb-9f80-8a25c04abfff" providerId="ADAL" clId="{EE97D3FE-9ACA-4467-98E5-532EC45D9D1C}" dt="2024-03-01T15:15:43.316" v="16964" actId="165"/>
          <ac:spMkLst>
            <pc:docMk/>
            <pc:sldMk cId="64855802" sldId="916"/>
            <ac:spMk id="42" creationId="{554E30E1-83B8-7761-D567-A1C24032F242}"/>
          </ac:spMkLst>
        </pc:spChg>
        <pc:spChg chg="add mod ord topLvl">
          <ac:chgData name="Nataliia Chornii (UA)" userId="4e4b8b3d-5f31-49bb-9f80-8a25c04abfff" providerId="ADAL" clId="{EE97D3FE-9ACA-4467-98E5-532EC45D9D1C}" dt="2024-03-01T15:17:15.206" v="16978" actId="14100"/>
          <ac:spMkLst>
            <pc:docMk/>
            <pc:sldMk cId="64855802" sldId="916"/>
            <ac:spMk id="43" creationId="{B59B899D-1483-7DB7-884C-1BF5BB66EEF8}"/>
          </ac:spMkLst>
        </pc:spChg>
        <pc:spChg chg="add mod ord topLvl">
          <ac:chgData name="Nataliia Chornii (UA)" userId="4e4b8b3d-5f31-49bb-9f80-8a25c04abfff" providerId="ADAL" clId="{EE97D3FE-9ACA-4467-98E5-532EC45D9D1C}" dt="2024-03-01T15:17:15.206" v="16978" actId="14100"/>
          <ac:spMkLst>
            <pc:docMk/>
            <pc:sldMk cId="64855802" sldId="916"/>
            <ac:spMk id="44" creationId="{94871D9B-9CA0-96F3-8E39-FD36C686E5B2}"/>
          </ac:spMkLst>
        </pc:spChg>
        <pc:spChg chg="add mod ord topLvl">
          <ac:chgData name="Nataliia Chornii (UA)" userId="4e4b8b3d-5f31-49bb-9f80-8a25c04abfff" providerId="ADAL" clId="{EE97D3FE-9ACA-4467-98E5-532EC45D9D1C}" dt="2024-03-01T15:17:15.206" v="16978" actId="14100"/>
          <ac:spMkLst>
            <pc:docMk/>
            <pc:sldMk cId="64855802" sldId="916"/>
            <ac:spMk id="45" creationId="{8D71FF02-0232-FA91-F9B2-51C5765FD1F0}"/>
          </ac:spMkLst>
        </pc:spChg>
        <pc:spChg chg="add mod ord topLvl">
          <ac:chgData name="Nataliia Chornii (UA)" userId="4e4b8b3d-5f31-49bb-9f80-8a25c04abfff" providerId="ADAL" clId="{EE97D3FE-9ACA-4467-98E5-532EC45D9D1C}" dt="2024-03-01T15:17:15.206" v="16978" actId="14100"/>
          <ac:spMkLst>
            <pc:docMk/>
            <pc:sldMk cId="64855802" sldId="916"/>
            <ac:spMk id="46" creationId="{AA6DDFE9-80E6-B7F6-FB38-9917BC91B4D2}"/>
          </ac:spMkLst>
        </pc:spChg>
        <pc:spChg chg="add mod ord topLvl">
          <ac:chgData name="Nataliia Chornii (UA)" userId="4e4b8b3d-5f31-49bb-9f80-8a25c04abfff" providerId="ADAL" clId="{EE97D3FE-9ACA-4467-98E5-532EC45D9D1C}" dt="2024-03-01T15:17:15.206" v="16978" actId="14100"/>
          <ac:spMkLst>
            <pc:docMk/>
            <pc:sldMk cId="64855802" sldId="916"/>
            <ac:spMk id="47" creationId="{115D63E8-2A8B-9CF7-1918-27AD2BA124D4}"/>
          </ac:spMkLst>
        </pc:spChg>
        <pc:spChg chg="add mod ord topLvl">
          <ac:chgData name="Nataliia Chornii (UA)" userId="4e4b8b3d-5f31-49bb-9f80-8a25c04abfff" providerId="ADAL" clId="{EE97D3FE-9ACA-4467-98E5-532EC45D9D1C}" dt="2024-03-01T15:17:15.206" v="16978" actId="14100"/>
          <ac:spMkLst>
            <pc:docMk/>
            <pc:sldMk cId="64855802" sldId="916"/>
            <ac:spMk id="48" creationId="{45C97A8C-D8E3-502E-7F55-E280CB660E7E}"/>
          </ac:spMkLst>
        </pc:spChg>
        <pc:spChg chg="add mod ord topLvl">
          <ac:chgData name="Nataliia Chornii (UA)" userId="4e4b8b3d-5f31-49bb-9f80-8a25c04abfff" providerId="ADAL" clId="{EE97D3FE-9ACA-4467-98E5-532EC45D9D1C}" dt="2024-03-01T15:17:15.206" v="16978" actId="14100"/>
          <ac:spMkLst>
            <pc:docMk/>
            <pc:sldMk cId="64855802" sldId="916"/>
            <ac:spMk id="49" creationId="{1D2FF4CB-94E6-2366-A7D2-CA1C854C04A2}"/>
          </ac:spMkLst>
        </pc:spChg>
        <pc:spChg chg="add mod ord topLvl">
          <ac:chgData name="Nataliia Chornii (UA)" userId="4e4b8b3d-5f31-49bb-9f80-8a25c04abfff" providerId="ADAL" clId="{EE97D3FE-9ACA-4467-98E5-532EC45D9D1C}" dt="2024-03-01T15:15:43.316" v="16964" actId="165"/>
          <ac:spMkLst>
            <pc:docMk/>
            <pc:sldMk cId="64855802" sldId="916"/>
            <ac:spMk id="57" creationId="{35163424-634C-D958-12E3-B664D6A7060F}"/>
          </ac:spMkLst>
        </pc:spChg>
        <pc:spChg chg="add mod ord topLvl">
          <ac:chgData name="Nataliia Chornii (UA)" userId="4e4b8b3d-5f31-49bb-9f80-8a25c04abfff" providerId="ADAL" clId="{EE97D3FE-9ACA-4467-98E5-532EC45D9D1C}" dt="2024-03-01T15:15:43.316" v="16964" actId="165"/>
          <ac:spMkLst>
            <pc:docMk/>
            <pc:sldMk cId="64855802" sldId="916"/>
            <ac:spMk id="59" creationId="{240305AB-D314-184B-8241-309CAA3C49C9}"/>
          </ac:spMkLst>
        </pc:spChg>
        <pc:spChg chg="add mod ord topLvl">
          <ac:chgData name="Nataliia Chornii (UA)" userId="4e4b8b3d-5f31-49bb-9f80-8a25c04abfff" providerId="ADAL" clId="{EE97D3FE-9ACA-4467-98E5-532EC45D9D1C}" dt="2024-03-01T15:15:43.316" v="16964" actId="165"/>
          <ac:spMkLst>
            <pc:docMk/>
            <pc:sldMk cId="64855802" sldId="916"/>
            <ac:spMk id="60" creationId="{39B1999B-DA2B-AEF1-F527-5B55E3A4F6D3}"/>
          </ac:spMkLst>
        </pc:spChg>
        <pc:spChg chg="add mod ord topLvl">
          <ac:chgData name="Nataliia Chornii (UA)" userId="4e4b8b3d-5f31-49bb-9f80-8a25c04abfff" providerId="ADAL" clId="{EE97D3FE-9ACA-4467-98E5-532EC45D9D1C}" dt="2024-03-01T15:15:43.316" v="16964" actId="165"/>
          <ac:spMkLst>
            <pc:docMk/>
            <pc:sldMk cId="64855802" sldId="916"/>
            <ac:spMk id="61" creationId="{C89C6CFF-F3F8-4409-558D-AB15D4B22B52}"/>
          </ac:spMkLst>
        </pc:spChg>
        <pc:spChg chg="add mod ord topLvl">
          <ac:chgData name="Nataliia Chornii (UA)" userId="4e4b8b3d-5f31-49bb-9f80-8a25c04abfff" providerId="ADAL" clId="{EE97D3FE-9ACA-4467-98E5-532EC45D9D1C}" dt="2024-03-01T15:15:43.316" v="16964" actId="165"/>
          <ac:spMkLst>
            <pc:docMk/>
            <pc:sldMk cId="64855802" sldId="916"/>
            <ac:spMk id="62" creationId="{D6533196-5085-05A8-2364-DAC27889663F}"/>
          </ac:spMkLst>
        </pc:spChg>
        <pc:spChg chg="add mod ord topLvl">
          <ac:chgData name="Nataliia Chornii (UA)" userId="4e4b8b3d-5f31-49bb-9f80-8a25c04abfff" providerId="ADAL" clId="{EE97D3FE-9ACA-4467-98E5-532EC45D9D1C}" dt="2024-03-01T15:15:43.316" v="16964" actId="165"/>
          <ac:spMkLst>
            <pc:docMk/>
            <pc:sldMk cId="64855802" sldId="916"/>
            <ac:spMk id="63" creationId="{B0F6447E-D4BB-398C-BA99-969BA786C7C5}"/>
          </ac:spMkLst>
        </pc:spChg>
        <pc:spChg chg="add mod ord topLvl">
          <ac:chgData name="Nataliia Chornii (UA)" userId="4e4b8b3d-5f31-49bb-9f80-8a25c04abfff" providerId="ADAL" clId="{EE97D3FE-9ACA-4467-98E5-532EC45D9D1C}" dt="2024-03-01T15:15:43.316" v="16964" actId="165"/>
          <ac:spMkLst>
            <pc:docMk/>
            <pc:sldMk cId="64855802" sldId="916"/>
            <ac:spMk id="64" creationId="{84B6B728-C388-AF06-A34F-8B985415F504}"/>
          </ac:spMkLst>
        </pc:spChg>
        <pc:spChg chg="add mod ord topLvl">
          <ac:chgData name="Nataliia Chornii (UA)" userId="4e4b8b3d-5f31-49bb-9f80-8a25c04abfff" providerId="ADAL" clId="{EE97D3FE-9ACA-4467-98E5-532EC45D9D1C}" dt="2024-03-01T15:15:43.316" v="16964" actId="165"/>
          <ac:spMkLst>
            <pc:docMk/>
            <pc:sldMk cId="64855802" sldId="916"/>
            <ac:spMk id="65" creationId="{DE4C2663-EB37-60FA-2D68-70149F921862}"/>
          </ac:spMkLst>
        </pc:spChg>
        <pc:spChg chg="add mod ord topLvl">
          <ac:chgData name="Nataliia Chornii (UA)" userId="4e4b8b3d-5f31-49bb-9f80-8a25c04abfff" providerId="ADAL" clId="{EE97D3FE-9ACA-4467-98E5-532EC45D9D1C}" dt="2024-03-01T15:15:43.316" v="16964" actId="165"/>
          <ac:spMkLst>
            <pc:docMk/>
            <pc:sldMk cId="64855802" sldId="916"/>
            <ac:spMk id="66" creationId="{889CCFBC-A6F2-A8F7-79F0-D31DB6126C09}"/>
          </ac:spMkLst>
        </pc:spChg>
        <pc:spChg chg="add mod ord topLvl">
          <ac:chgData name="Nataliia Chornii (UA)" userId="4e4b8b3d-5f31-49bb-9f80-8a25c04abfff" providerId="ADAL" clId="{EE97D3FE-9ACA-4467-98E5-532EC45D9D1C}" dt="2024-03-01T15:15:43.316" v="16964" actId="165"/>
          <ac:spMkLst>
            <pc:docMk/>
            <pc:sldMk cId="64855802" sldId="916"/>
            <ac:spMk id="67" creationId="{694D06CB-4FD9-F8F4-87A6-52624FE80486}"/>
          </ac:spMkLst>
        </pc:spChg>
        <pc:spChg chg="add mod ord topLvl">
          <ac:chgData name="Nataliia Chornii (UA)" userId="4e4b8b3d-5f31-49bb-9f80-8a25c04abfff" providerId="ADAL" clId="{EE97D3FE-9ACA-4467-98E5-532EC45D9D1C}" dt="2024-03-01T15:15:43.316" v="16964" actId="165"/>
          <ac:spMkLst>
            <pc:docMk/>
            <pc:sldMk cId="64855802" sldId="916"/>
            <ac:spMk id="68" creationId="{F301D25A-DA36-DB7B-23E6-238516D081C8}"/>
          </ac:spMkLst>
        </pc:spChg>
        <pc:spChg chg="add mod ord topLvl">
          <ac:chgData name="Nataliia Chornii (UA)" userId="4e4b8b3d-5f31-49bb-9f80-8a25c04abfff" providerId="ADAL" clId="{EE97D3FE-9ACA-4467-98E5-532EC45D9D1C}" dt="2024-03-01T15:17:15.206" v="16978" actId="14100"/>
          <ac:spMkLst>
            <pc:docMk/>
            <pc:sldMk cId="64855802" sldId="916"/>
            <ac:spMk id="70" creationId="{715CB4D8-B109-4E3E-BFCE-C99080E076DC}"/>
          </ac:spMkLst>
        </pc:spChg>
        <pc:spChg chg="add mod ord">
          <ac:chgData name="Nataliia Chornii (UA)" userId="4e4b8b3d-5f31-49bb-9f80-8a25c04abfff" providerId="ADAL" clId="{EE97D3FE-9ACA-4467-98E5-532EC45D9D1C}" dt="2024-03-01T15:15:42.682" v="16963" actId="552"/>
          <ac:spMkLst>
            <pc:docMk/>
            <pc:sldMk cId="64855802" sldId="916"/>
            <ac:spMk id="71" creationId="{D177213A-A08F-109F-C321-81C74500428F}"/>
          </ac:spMkLst>
        </pc:spChg>
        <pc:spChg chg="add mod ord">
          <ac:chgData name="Nataliia Chornii (UA)" userId="4e4b8b3d-5f31-49bb-9f80-8a25c04abfff" providerId="ADAL" clId="{EE97D3FE-9ACA-4467-98E5-532EC45D9D1C}" dt="2024-03-01T15:15:27.074" v="16958" actId="164"/>
          <ac:spMkLst>
            <pc:docMk/>
            <pc:sldMk cId="64855802" sldId="916"/>
            <ac:spMk id="72" creationId="{97B86F27-97BF-A053-40CF-13B6F7A90C0B}"/>
          </ac:spMkLst>
        </pc:spChg>
        <pc:spChg chg="add mod ord">
          <ac:chgData name="Nataliia Chornii (UA)" userId="4e4b8b3d-5f31-49bb-9f80-8a25c04abfff" providerId="ADAL" clId="{EE97D3FE-9ACA-4467-98E5-532EC45D9D1C}" dt="2024-03-01T15:15:27.074" v="16958" actId="164"/>
          <ac:spMkLst>
            <pc:docMk/>
            <pc:sldMk cId="64855802" sldId="916"/>
            <ac:spMk id="73" creationId="{097C697C-20DC-498D-E06D-AE4A61FACDF5}"/>
          </ac:spMkLst>
        </pc:spChg>
        <pc:spChg chg="add mod ord">
          <ac:chgData name="Nataliia Chornii (UA)" userId="4e4b8b3d-5f31-49bb-9f80-8a25c04abfff" providerId="ADAL" clId="{EE97D3FE-9ACA-4467-98E5-532EC45D9D1C}" dt="2024-03-01T15:15:27.074" v="16958" actId="164"/>
          <ac:spMkLst>
            <pc:docMk/>
            <pc:sldMk cId="64855802" sldId="916"/>
            <ac:spMk id="74" creationId="{604C031C-FBD8-99DD-C008-0B6D6174CE10}"/>
          </ac:spMkLst>
        </pc:spChg>
        <pc:spChg chg="add del mod ord">
          <ac:chgData name="Nataliia Chornii (UA)" userId="4e4b8b3d-5f31-49bb-9f80-8a25c04abfff" providerId="ADAL" clId="{EE97D3FE-9ACA-4467-98E5-532EC45D9D1C}" dt="2024-03-01T15:17:11.723" v="16977" actId="478"/>
          <ac:spMkLst>
            <pc:docMk/>
            <pc:sldMk cId="64855802" sldId="916"/>
            <ac:spMk id="75" creationId="{079D48FE-D738-0D17-A7A4-425DF42BCF35}"/>
          </ac:spMkLst>
        </pc:spChg>
        <pc:spChg chg="add mod">
          <ac:chgData name="Nataliia Chornii (UA)" userId="4e4b8b3d-5f31-49bb-9f80-8a25c04abfff" providerId="ADAL" clId="{EE97D3FE-9ACA-4467-98E5-532EC45D9D1C}" dt="2024-03-01T15:15:00.589" v="16923" actId="553"/>
          <ac:spMkLst>
            <pc:docMk/>
            <pc:sldMk cId="64855802" sldId="916"/>
            <ac:spMk id="76" creationId="{749FF834-8FDC-D7F2-E12F-D667F2758F1D}"/>
          </ac:spMkLst>
        </pc:spChg>
        <pc:spChg chg="add mod topLvl">
          <ac:chgData name="Nataliia Chornii (UA)" userId="4e4b8b3d-5f31-49bb-9f80-8a25c04abfff" providerId="ADAL" clId="{EE97D3FE-9ACA-4467-98E5-532EC45D9D1C}" dt="2024-03-04T10:00:13.508" v="20228" actId="12788"/>
          <ac:spMkLst>
            <pc:docMk/>
            <pc:sldMk cId="64855802" sldId="916"/>
            <ac:spMk id="77" creationId="{500B9E5D-04F9-8EC8-DB30-15926D654D38}"/>
          </ac:spMkLst>
        </pc:spChg>
        <pc:spChg chg="add mod topLvl">
          <ac:chgData name="Nataliia Chornii (UA)" userId="4e4b8b3d-5f31-49bb-9f80-8a25c04abfff" providerId="ADAL" clId="{EE97D3FE-9ACA-4467-98E5-532EC45D9D1C}" dt="2024-03-01T15:15:01.175" v="16924" actId="165"/>
          <ac:spMkLst>
            <pc:docMk/>
            <pc:sldMk cId="64855802" sldId="916"/>
            <ac:spMk id="78" creationId="{67F23E57-E858-E4CF-4200-B52A6C07C68B}"/>
          </ac:spMkLst>
        </pc:spChg>
        <pc:spChg chg="add mod">
          <ac:chgData name="Nataliia Chornii (UA)" userId="4e4b8b3d-5f31-49bb-9f80-8a25c04abfff" providerId="ADAL" clId="{EE97D3FE-9ACA-4467-98E5-532EC45D9D1C}" dt="2024-03-01T15:14:53.562" v="16920" actId="14100"/>
          <ac:spMkLst>
            <pc:docMk/>
            <pc:sldMk cId="64855802" sldId="916"/>
            <ac:spMk id="88" creationId="{FAE4F479-75A7-AEA5-4879-7B116D34F1DF}"/>
          </ac:spMkLst>
        </pc:spChg>
        <pc:spChg chg="add del mod modVis">
          <ac:chgData name="Nataliia Chornii (UA)" userId="4e4b8b3d-5f31-49bb-9f80-8a25c04abfff" providerId="ADAL" clId="{EE97D3FE-9ACA-4467-98E5-532EC45D9D1C}" dt="2024-03-01T15:15:05.985" v="16950"/>
          <ac:spMkLst>
            <pc:docMk/>
            <pc:sldMk cId="64855802" sldId="916"/>
            <ac:spMk id="92" creationId="{A1C36D98-18DC-4C7A-2D2A-021B6ADCC9A1}"/>
          </ac:spMkLst>
        </pc:spChg>
        <pc:spChg chg="add del mod">
          <ac:chgData name="Nataliia Chornii (UA)" userId="4e4b8b3d-5f31-49bb-9f80-8a25c04abfff" providerId="ADAL" clId="{EE97D3FE-9ACA-4467-98E5-532EC45D9D1C}" dt="2024-03-01T15:15:36.196" v="16961" actId="478"/>
          <ac:spMkLst>
            <pc:docMk/>
            <pc:sldMk cId="64855802" sldId="916"/>
            <ac:spMk id="93" creationId="{BB7851A2-078D-3B3D-5E73-70BD1E6889C0}"/>
          </ac:spMkLst>
        </pc:spChg>
        <pc:spChg chg="add del mod">
          <ac:chgData name="Nataliia Chornii (UA)" userId="4e4b8b3d-5f31-49bb-9f80-8a25c04abfff" providerId="ADAL" clId="{EE97D3FE-9ACA-4467-98E5-532EC45D9D1C}" dt="2024-03-01T15:15:36.196" v="16961" actId="478"/>
          <ac:spMkLst>
            <pc:docMk/>
            <pc:sldMk cId="64855802" sldId="916"/>
            <ac:spMk id="94" creationId="{5220973F-0C71-CF2E-6DCD-B099022F2420}"/>
          </ac:spMkLst>
        </pc:spChg>
        <pc:spChg chg="add del mod modVis">
          <ac:chgData name="Nataliia Chornii (UA)" userId="4e4b8b3d-5f31-49bb-9f80-8a25c04abfff" providerId="ADAL" clId="{EE97D3FE-9ACA-4467-98E5-532EC45D9D1C}" dt="2024-03-01T15:19:27.316" v="17037" actId="962"/>
          <ac:spMkLst>
            <pc:docMk/>
            <pc:sldMk cId="64855802" sldId="916"/>
            <ac:spMk id="113" creationId="{21C5F4B4-BF09-49DE-648F-70490D52734C}"/>
          </ac:spMkLst>
        </pc:spChg>
        <pc:spChg chg="add del mod">
          <ac:chgData name="Nataliia Chornii (UA)" userId="4e4b8b3d-5f31-49bb-9f80-8a25c04abfff" providerId="ADAL" clId="{EE97D3FE-9ACA-4467-98E5-532EC45D9D1C}" dt="2024-03-11T14:29:42.758" v="24239" actId="478"/>
          <ac:spMkLst>
            <pc:docMk/>
            <pc:sldMk cId="64855802" sldId="916"/>
            <ac:spMk id="114" creationId="{8FD2B430-BC9C-4743-24E0-E9DBFBF0D83C}"/>
          </ac:spMkLst>
        </pc:spChg>
        <pc:spChg chg="add del mod modVis">
          <ac:chgData name="Nataliia Chornii (UA)" userId="4e4b8b3d-5f31-49bb-9f80-8a25c04abfff" providerId="ADAL" clId="{EE97D3FE-9ACA-4467-98E5-532EC45D9D1C}" dt="2024-03-01T15:23:27.765" v="17167"/>
          <ac:spMkLst>
            <pc:docMk/>
            <pc:sldMk cId="64855802" sldId="916"/>
            <ac:spMk id="115" creationId="{C8F0FECA-501D-4A4D-F4C1-AAD17591F030}"/>
          </ac:spMkLst>
        </pc:spChg>
        <pc:grpChg chg="add mod">
          <ac:chgData name="Nataliia Chornii (UA)" userId="4e4b8b3d-5f31-49bb-9f80-8a25c04abfff" providerId="ADAL" clId="{EE97D3FE-9ACA-4467-98E5-532EC45D9D1C}" dt="2024-03-04T10:00:13.508" v="20228" actId="12788"/>
          <ac:grpSpMkLst>
            <pc:docMk/>
            <pc:sldMk cId="64855802" sldId="916"/>
            <ac:grpSpMk id="2" creationId="{05FA1246-3867-2443-FF59-A381162CA3D4}"/>
          </ac:grpSpMkLst>
        </pc:grpChg>
        <pc:grpChg chg="add del mod">
          <ac:chgData name="Nataliia Chornii (UA)" userId="4e4b8b3d-5f31-49bb-9f80-8a25c04abfff" providerId="ADAL" clId="{EE97D3FE-9ACA-4467-98E5-532EC45D9D1C}" dt="2024-03-01T15:13:23.341" v="16885" actId="165"/>
          <ac:grpSpMkLst>
            <pc:docMk/>
            <pc:sldMk cId="64855802" sldId="916"/>
            <ac:grpSpMk id="79" creationId="{0825EA95-F077-E1FD-251B-108E940FE651}"/>
          </ac:grpSpMkLst>
        </pc:grpChg>
        <pc:grpChg chg="add del mod">
          <ac:chgData name="Nataliia Chornii (UA)" userId="4e4b8b3d-5f31-49bb-9f80-8a25c04abfff" providerId="ADAL" clId="{EE97D3FE-9ACA-4467-98E5-532EC45D9D1C}" dt="2024-03-01T15:15:01.175" v="16924" actId="165"/>
          <ac:grpSpMkLst>
            <pc:docMk/>
            <pc:sldMk cId="64855802" sldId="916"/>
            <ac:grpSpMk id="91" creationId="{6DAC6435-D26B-2761-7787-0E833DB2232D}"/>
          </ac:grpSpMkLst>
        </pc:grpChg>
        <pc:grpChg chg="add mod">
          <ac:chgData name="Nataliia Chornii (UA)" userId="4e4b8b3d-5f31-49bb-9f80-8a25c04abfff" providerId="ADAL" clId="{EE97D3FE-9ACA-4467-98E5-532EC45D9D1C}" dt="2024-03-01T15:15:28.907" v="16959" actId="553"/>
          <ac:grpSpMkLst>
            <pc:docMk/>
            <pc:sldMk cId="64855802" sldId="916"/>
            <ac:grpSpMk id="95" creationId="{E56160CB-407D-C18B-F89E-976411FAF04D}"/>
          </ac:grpSpMkLst>
        </pc:grpChg>
        <pc:grpChg chg="add del mod">
          <ac:chgData name="Nataliia Chornii (UA)" userId="4e4b8b3d-5f31-49bb-9f80-8a25c04abfff" providerId="ADAL" clId="{EE97D3FE-9ACA-4467-98E5-532EC45D9D1C}" dt="2024-03-01T15:15:43.316" v="16964" actId="165"/>
          <ac:grpSpMkLst>
            <pc:docMk/>
            <pc:sldMk cId="64855802" sldId="916"/>
            <ac:grpSpMk id="96" creationId="{D642A83D-9EF0-F521-9D07-BEC9429971B1}"/>
          </ac:grpSpMkLst>
        </pc:grpChg>
        <pc:graphicFrameChg chg="add mod ord modVis replST">
          <ac:chgData name="Nataliia Chornii (UA)" userId="4e4b8b3d-5f31-49bb-9f80-8a25c04abfff" providerId="ADAL" clId="{EE97D3FE-9ACA-4467-98E5-532EC45D9D1C}" dt="2024-03-01T15:23:27.770" v="17169"/>
          <ac:graphicFrameMkLst>
            <pc:docMk/>
            <pc:sldMk cId="64855802" sldId="916"/>
            <ac:graphicFrameMk id="12" creationId="{FA433BE6-1CEA-AB6A-7754-67F567E06375}"/>
          </ac:graphicFrameMkLst>
        </pc:graphicFrameChg>
        <pc:picChg chg="add del mod ord modCrop">
          <ac:chgData name="Nataliia Chornii (UA)" userId="4e4b8b3d-5f31-49bb-9f80-8a25c04abfff" providerId="ADAL" clId="{EE97D3FE-9ACA-4467-98E5-532EC45D9D1C}" dt="2024-03-01T15:16:55.445" v="16976" actId="478"/>
          <ac:picMkLst>
            <pc:docMk/>
            <pc:sldMk cId="64855802" sldId="916"/>
            <ac:picMk id="33" creationId="{B9AF62BD-ABB9-97DA-1C92-46403DF86335}"/>
          </ac:picMkLst>
        </pc:picChg>
        <pc:picChg chg="add del">
          <ac:chgData name="Nataliia Chornii (UA)" userId="4e4b8b3d-5f31-49bb-9f80-8a25c04abfff" providerId="ADAL" clId="{EE97D3FE-9ACA-4467-98E5-532EC45D9D1C}" dt="2024-03-01T15:14:28.550" v="16903" actId="22"/>
          <ac:picMkLst>
            <pc:docMk/>
            <pc:sldMk cId="64855802" sldId="916"/>
            <ac:picMk id="90" creationId="{9439D098-42AE-727B-6A43-AE2973452CA1}"/>
          </ac:picMkLst>
        </pc:picChg>
        <pc:cxnChg chg="add mod ord topLvl">
          <ac:chgData name="Nataliia Chornii (UA)" userId="4e4b8b3d-5f31-49bb-9f80-8a25c04abfff" providerId="ADAL" clId="{EE97D3FE-9ACA-4467-98E5-532EC45D9D1C}" dt="2024-03-01T15:17:15.206" v="16978" actId="14100"/>
          <ac:cxnSpMkLst>
            <pc:docMk/>
            <pc:sldMk cId="64855802" sldId="916"/>
            <ac:cxnSpMk id="50" creationId="{17653C16-CA97-6000-D7DD-7E037FD85C05}"/>
          </ac:cxnSpMkLst>
        </pc:cxnChg>
        <pc:cxnChg chg="add mod ord topLvl">
          <ac:chgData name="Nataliia Chornii (UA)" userId="4e4b8b3d-5f31-49bb-9f80-8a25c04abfff" providerId="ADAL" clId="{EE97D3FE-9ACA-4467-98E5-532EC45D9D1C}" dt="2024-03-01T15:17:15.206" v="16978" actId="14100"/>
          <ac:cxnSpMkLst>
            <pc:docMk/>
            <pc:sldMk cId="64855802" sldId="916"/>
            <ac:cxnSpMk id="51" creationId="{537A688A-62B8-6587-C298-654E7B6FDBF3}"/>
          </ac:cxnSpMkLst>
        </pc:cxnChg>
        <pc:cxnChg chg="add mod ord topLvl">
          <ac:chgData name="Nataliia Chornii (UA)" userId="4e4b8b3d-5f31-49bb-9f80-8a25c04abfff" providerId="ADAL" clId="{EE97D3FE-9ACA-4467-98E5-532EC45D9D1C}" dt="2024-03-01T15:17:15.206" v="16978" actId="14100"/>
          <ac:cxnSpMkLst>
            <pc:docMk/>
            <pc:sldMk cId="64855802" sldId="916"/>
            <ac:cxnSpMk id="52" creationId="{F4C3403E-2696-D97B-0B87-BE29207A69F6}"/>
          </ac:cxnSpMkLst>
        </pc:cxnChg>
        <pc:cxnChg chg="add mod ord topLvl">
          <ac:chgData name="Nataliia Chornii (UA)" userId="4e4b8b3d-5f31-49bb-9f80-8a25c04abfff" providerId="ADAL" clId="{EE97D3FE-9ACA-4467-98E5-532EC45D9D1C}" dt="2024-03-01T15:17:15.206" v="16978" actId="14100"/>
          <ac:cxnSpMkLst>
            <pc:docMk/>
            <pc:sldMk cId="64855802" sldId="916"/>
            <ac:cxnSpMk id="53" creationId="{FD46ACCE-2596-0F71-8814-2633D9B4F1BE}"/>
          </ac:cxnSpMkLst>
        </pc:cxnChg>
        <pc:cxnChg chg="add mod ord topLvl">
          <ac:chgData name="Nataliia Chornii (UA)" userId="4e4b8b3d-5f31-49bb-9f80-8a25c04abfff" providerId="ADAL" clId="{EE97D3FE-9ACA-4467-98E5-532EC45D9D1C}" dt="2024-03-01T15:17:15.206" v="16978" actId="14100"/>
          <ac:cxnSpMkLst>
            <pc:docMk/>
            <pc:sldMk cId="64855802" sldId="916"/>
            <ac:cxnSpMk id="54" creationId="{AC8294AA-CBC2-5CBD-9450-3317CF937180}"/>
          </ac:cxnSpMkLst>
        </pc:cxnChg>
        <pc:cxnChg chg="add mod ord topLvl">
          <ac:chgData name="Nataliia Chornii (UA)" userId="4e4b8b3d-5f31-49bb-9f80-8a25c04abfff" providerId="ADAL" clId="{EE97D3FE-9ACA-4467-98E5-532EC45D9D1C}" dt="2024-03-01T15:17:15.206" v="16978" actId="14100"/>
          <ac:cxnSpMkLst>
            <pc:docMk/>
            <pc:sldMk cId="64855802" sldId="916"/>
            <ac:cxnSpMk id="55" creationId="{9A3968C7-859E-E0DE-F046-98C0A6D07AE5}"/>
          </ac:cxnSpMkLst>
        </pc:cxnChg>
        <pc:cxnChg chg="add mod ord topLvl">
          <ac:chgData name="Nataliia Chornii (UA)" userId="4e4b8b3d-5f31-49bb-9f80-8a25c04abfff" providerId="ADAL" clId="{EE97D3FE-9ACA-4467-98E5-532EC45D9D1C}" dt="2024-03-01T15:17:15.206" v="16978" actId="14100"/>
          <ac:cxnSpMkLst>
            <pc:docMk/>
            <pc:sldMk cId="64855802" sldId="916"/>
            <ac:cxnSpMk id="56" creationId="{7964D58B-981E-A694-5D12-09F59079F6DE}"/>
          </ac:cxnSpMkLst>
        </pc:cxnChg>
        <pc:cxnChg chg="add mod ord topLvl">
          <ac:chgData name="Nataliia Chornii (UA)" userId="4e4b8b3d-5f31-49bb-9f80-8a25c04abfff" providerId="ADAL" clId="{EE97D3FE-9ACA-4467-98E5-532EC45D9D1C}" dt="2024-03-01T15:15:43.316" v="16964" actId="165"/>
          <ac:cxnSpMkLst>
            <pc:docMk/>
            <pc:sldMk cId="64855802" sldId="916"/>
            <ac:cxnSpMk id="58" creationId="{2198E519-68F7-63B8-1155-0724B785D3FE}"/>
          </ac:cxnSpMkLst>
        </pc:cxnChg>
        <pc:cxnChg chg="add mod ord topLvl">
          <ac:chgData name="Nataliia Chornii (UA)" userId="4e4b8b3d-5f31-49bb-9f80-8a25c04abfff" providerId="ADAL" clId="{EE97D3FE-9ACA-4467-98E5-532EC45D9D1C}" dt="2024-03-01T15:17:15.206" v="16978" actId="14100"/>
          <ac:cxnSpMkLst>
            <pc:docMk/>
            <pc:sldMk cId="64855802" sldId="916"/>
            <ac:cxnSpMk id="69" creationId="{822E8826-40ED-42E9-6EB5-CAEA9A5D9E75}"/>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2:38.580" v="22438"/>
              <pc2:cmMkLst xmlns:pc2="http://schemas.microsoft.com/office/powerpoint/2019/9/main/command">
                <pc:docMk/>
                <pc:sldMk cId="64855802" sldId="916"/>
                <pc2:cmMk id="{E19E04FF-80D3-4B5A-AF99-4359BE452283}"/>
              </pc2:cmMkLst>
            </pc226:cmChg>
          </p:ext>
        </pc:extLst>
      </pc:sldChg>
      <pc:sldChg chg="addSp delSp modSp mod modClrScheme chgLayout">
        <pc:chgData name="Nataliia Chornii (UA)" userId="4e4b8b3d-5f31-49bb-9f80-8a25c04abfff" providerId="ADAL" clId="{EE97D3FE-9ACA-4467-98E5-532EC45D9D1C}" dt="2024-03-11T14:29:50.016" v="24243"/>
        <pc:sldMkLst>
          <pc:docMk/>
          <pc:sldMk cId="4273639525" sldId="917"/>
        </pc:sldMkLst>
        <pc:spChg chg="add del mod modVis">
          <ac:chgData name="Nataliia Chornii (UA)" userId="4e4b8b3d-5f31-49bb-9f80-8a25c04abfff" providerId="ADAL" clId="{EE97D3FE-9ACA-4467-98E5-532EC45D9D1C}" dt="2024-03-04T08:45:50.670" v="17564" actId="962"/>
          <ac:spMkLst>
            <pc:docMk/>
            <pc:sldMk cId="4273639525" sldId="917"/>
            <ac:spMk id="2" creationId="{53DB6974-9318-8799-8036-40BB639A478F}"/>
          </ac:spMkLst>
        </pc:spChg>
        <pc:spChg chg="add del mod modVis">
          <ac:chgData name="Nataliia Chornii (UA)" userId="4e4b8b3d-5f31-49bb-9f80-8a25c04abfff" providerId="ADAL" clId="{EE97D3FE-9ACA-4467-98E5-532EC45D9D1C}" dt="2024-03-01T08:48:59.770" v="1510"/>
          <ac:spMkLst>
            <pc:docMk/>
            <pc:sldMk cId="4273639525" sldId="917"/>
            <ac:spMk id="2" creationId="{BBE1171B-4CCE-9305-B3F6-E7880E6AD5C6}"/>
          </ac:spMkLst>
        </pc:spChg>
        <pc:spChg chg="add mod">
          <ac:chgData name="Nataliia Chornii (UA)" userId="4e4b8b3d-5f31-49bb-9f80-8a25c04abfff" providerId="ADAL" clId="{EE97D3FE-9ACA-4467-98E5-532EC45D9D1C}" dt="2024-03-11T14:26:07.744" v="24087"/>
          <ac:spMkLst>
            <pc:docMk/>
            <pc:sldMk cId="4273639525" sldId="917"/>
            <ac:spMk id="2" creationId="{D7DBFC3E-020C-9EFD-28EB-4631D3580F32}"/>
          </ac:spMkLst>
        </pc:spChg>
        <pc:spChg chg="mod ord">
          <ac:chgData name="Nataliia Chornii (UA)" userId="4e4b8b3d-5f31-49bb-9f80-8a25c04abfff" providerId="ADAL" clId="{EE97D3FE-9ACA-4467-98E5-532EC45D9D1C}" dt="2024-03-04T08:45:50.670" v="17566" actId="1076"/>
          <ac:spMkLst>
            <pc:docMk/>
            <pc:sldMk cId="4273639525" sldId="917"/>
            <ac:spMk id="3" creationId="{F4CCF02E-F3C4-C376-8F56-61BD85A2E74B}"/>
          </ac:spMkLst>
        </pc:spChg>
        <pc:spChg chg="mod ord">
          <ac:chgData name="Nataliia Chornii (UA)" userId="4e4b8b3d-5f31-49bb-9f80-8a25c04abfff" providerId="ADAL" clId="{EE97D3FE-9ACA-4467-98E5-532EC45D9D1C}" dt="2024-03-01T15:25:09.264" v="17172" actId="700"/>
          <ac:spMkLst>
            <pc:docMk/>
            <pc:sldMk cId="4273639525" sldId="917"/>
            <ac:spMk id="4" creationId="{872966CD-924A-B939-E655-A6BAF817DCBF}"/>
          </ac:spMkLst>
        </pc:spChg>
        <pc:spChg chg="del">
          <ac:chgData name="Nataliia Chornii (UA)" userId="4e4b8b3d-5f31-49bb-9f80-8a25c04abfff" providerId="ADAL" clId="{EE97D3FE-9ACA-4467-98E5-532EC45D9D1C}" dt="2024-03-01T15:25:05.856" v="17171" actId="478"/>
          <ac:spMkLst>
            <pc:docMk/>
            <pc:sldMk cId="4273639525" sldId="917"/>
            <ac:spMk id="5" creationId="{FF11D90A-8D15-0E43-4C2E-D42257331C13}"/>
          </ac:spMkLst>
        </pc:spChg>
        <pc:spChg chg="del">
          <ac:chgData name="Nataliia Chornii (UA)" userId="4e4b8b3d-5f31-49bb-9f80-8a25c04abfff" providerId="ADAL" clId="{EE97D3FE-9ACA-4467-98E5-532EC45D9D1C}" dt="2024-03-01T15:25:05.856" v="17171" actId="478"/>
          <ac:spMkLst>
            <pc:docMk/>
            <pc:sldMk cId="4273639525" sldId="917"/>
            <ac:spMk id="6" creationId="{0F377277-EC46-FAC5-F379-194FCD82679C}"/>
          </ac:spMkLst>
        </pc:spChg>
        <pc:spChg chg="mod">
          <ac:chgData name="Nataliia Chornii (UA)" userId="4e4b8b3d-5f31-49bb-9f80-8a25c04abfff" providerId="ADAL" clId="{EE97D3FE-9ACA-4467-98E5-532EC45D9D1C}" dt="2024-03-11T14:26:07.744" v="24087"/>
          <ac:spMkLst>
            <pc:docMk/>
            <pc:sldMk cId="4273639525" sldId="917"/>
            <ac:spMk id="6" creationId="{33DB6A3D-5CD9-69A6-3462-7AA8615A7E9C}"/>
          </ac:spMkLst>
        </pc:spChg>
        <pc:spChg chg="del mod">
          <ac:chgData name="Nataliia Chornii (UA)" userId="4e4b8b3d-5f31-49bb-9f80-8a25c04abfff" providerId="ADAL" clId="{EE97D3FE-9ACA-4467-98E5-532EC45D9D1C}" dt="2024-03-04T08:45:48.584" v="17516" actId="478"/>
          <ac:spMkLst>
            <pc:docMk/>
            <pc:sldMk cId="4273639525" sldId="917"/>
            <ac:spMk id="7" creationId="{8E846963-540E-9336-DE83-B87EC3AB5727}"/>
          </ac:spMkLst>
        </pc:spChg>
        <pc:spChg chg="mod">
          <ac:chgData name="Nataliia Chornii (UA)" userId="4e4b8b3d-5f31-49bb-9f80-8a25c04abfff" providerId="ADAL" clId="{EE97D3FE-9ACA-4467-98E5-532EC45D9D1C}" dt="2024-03-11T14:26:07.744" v="24087"/>
          <ac:spMkLst>
            <pc:docMk/>
            <pc:sldMk cId="4273639525" sldId="917"/>
            <ac:spMk id="7" creationId="{960F59F2-A583-9F2A-D4FA-F21C162D948A}"/>
          </ac:spMkLst>
        </pc:spChg>
        <pc:spChg chg="del mod">
          <ac:chgData name="Nataliia Chornii (UA)" userId="4e4b8b3d-5f31-49bb-9f80-8a25c04abfff" providerId="ADAL" clId="{EE97D3FE-9ACA-4467-98E5-532EC45D9D1C}" dt="2024-03-01T15:26:22.152" v="17227" actId="478"/>
          <ac:spMkLst>
            <pc:docMk/>
            <pc:sldMk cId="4273639525" sldId="917"/>
            <ac:spMk id="8" creationId="{598AB23C-0BF9-85FE-4B7A-DC0CF1A85603}"/>
          </ac:spMkLst>
        </pc:spChg>
        <pc:spChg chg="mod">
          <ac:chgData name="Nataliia Chornii (UA)" userId="4e4b8b3d-5f31-49bb-9f80-8a25c04abfff" providerId="ADAL" clId="{EE97D3FE-9ACA-4467-98E5-532EC45D9D1C}" dt="2024-03-11T14:26:07.744" v="24087"/>
          <ac:spMkLst>
            <pc:docMk/>
            <pc:sldMk cId="4273639525" sldId="917"/>
            <ac:spMk id="8" creationId="{99104B9A-FDF2-49D1-30D0-6C0DDED27800}"/>
          </ac:spMkLst>
        </pc:spChg>
        <pc:spChg chg="mod">
          <ac:chgData name="Nataliia Chornii (UA)" userId="4e4b8b3d-5f31-49bb-9f80-8a25c04abfff" providerId="ADAL" clId="{EE97D3FE-9ACA-4467-98E5-532EC45D9D1C}" dt="2024-03-11T14:26:07.744" v="24087"/>
          <ac:spMkLst>
            <pc:docMk/>
            <pc:sldMk cId="4273639525" sldId="917"/>
            <ac:spMk id="10" creationId="{0EE67A76-1885-5E99-F124-323F37C406B3}"/>
          </ac:spMkLst>
        </pc:spChg>
        <pc:spChg chg="del">
          <ac:chgData name="Nataliia Chornii (UA)" userId="4e4b8b3d-5f31-49bb-9f80-8a25c04abfff" providerId="ADAL" clId="{EE97D3FE-9ACA-4467-98E5-532EC45D9D1C}" dt="2024-03-01T15:19:42.830" v="17048" actId="478"/>
          <ac:spMkLst>
            <pc:docMk/>
            <pc:sldMk cId="4273639525" sldId="917"/>
            <ac:spMk id="10" creationId="{489B7680-E5EE-2A50-7733-37F2F144B869}"/>
          </ac:spMkLst>
        </pc:spChg>
        <pc:spChg chg="del mod">
          <ac:chgData name="Nataliia Chornii (UA)" userId="4e4b8b3d-5f31-49bb-9f80-8a25c04abfff" providerId="ADAL" clId="{EE97D3FE-9ACA-4467-98E5-532EC45D9D1C}" dt="2024-03-01T15:25:26.460" v="17204" actId="478"/>
          <ac:spMkLst>
            <pc:docMk/>
            <pc:sldMk cId="4273639525" sldId="917"/>
            <ac:spMk id="11" creationId="{327B1A4B-6980-7B00-091C-6006703B82A0}"/>
          </ac:spMkLst>
        </pc:spChg>
        <pc:spChg chg="mod">
          <ac:chgData name="Nataliia Chornii (UA)" userId="4e4b8b3d-5f31-49bb-9f80-8a25c04abfff" providerId="ADAL" clId="{EE97D3FE-9ACA-4467-98E5-532EC45D9D1C}" dt="2024-03-11T14:26:07.744" v="24087"/>
          <ac:spMkLst>
            <pc:docMk/>
            <pc:sldMk cId="4273639525" sldId="917"/>
            <ac:spMk id="11" creationId="{7E307BE7-D7DC-5304-39AA-B01B3B34493C}"/>
          </ac:spMkLst>
        </pc:spChg>
        <pc:spChg chg="mod">
          <ac:chgData name="Nataliia Chornii (UA)" userId="4e4b8b3d-5f31-49bb-9f80-8a25c04abfff" providerId="ADAL" clId="{EE97D3FE-9ACA-4467-98E5-532EC45D9D1C}" dt="2024-03-11T14:26:07.744" v="24087"/>
          <ac:spMkLst>
            <pc:docMk/>
            <pc:sldMk cId="4273639525" sldId="917"/>
            <ac:spMk id="12" creationId="{885E99EE-25BC-E3F4-4FED-C79348C33BB1}"/>
          </ac:spMkLst>
        </pc:spChg>
        <pc:spChg chg="add del mod modVis">
          <ac:chgData name="Nataliia Chornii (UA)" userId="4e4b8b3d-5f31-49bb-9f80-8a25c04abfff" providerId="ADAL" clId="{EE97D3FE-9ACA-4467-98E5-532EC45D9D1C}" dt="2024-03-01T08:49:33.792" v="2850"/>
          <ac:spMkLst>
            <pc:docMk/>
            <pc:sldMk cId="4273639525" sldId="917"/>
            <ac:spMk id="12" creationId="{E78FEC1C-98EF-18AD-CAB7-E0B0398FF12E}"/>
          </ac:spMkLst>
        </pc:spChg>
        <pc:spChg chg="add del mod modVis">
          <ac:chgData name="Nataliia Chornii (UA)" userId="4e4b8b3d-5f31-49bb-9f80-8a25c04abfff" providerId="ADAL" clId="{EE97D3FE-9ACA-4467-98E5-532EC45D9D1C}" dt="2024-03-01T08:49:59.819" v="3838"/>
          <ac:spMkLst>
            <pc:docMk/>
            <pc:sldMk cId="4273639525" sldId="917"/>
            <ac:spMk id="13" creationId="{493BF9E3-0493-F8F8-6D61-4FE6C0CA48C9}"/>
          </ac:spMkLst>
        </pc:spChg>
        <pc:spChg chg="add mod">
          <ac:chgData name="Nataliia Chornii (UA)" userId="4e4b8b3d-5f31-49bb-9f80-8a25c04abfff" providerId="ADAL" clId="{EE97D3FE-9ACA-4467-98E5-532EC45D9D1C}" dt="2024-03-11T14:29:50.016" v="24243"/>
          <ac:spMkLst>
            <pc:docMk/>
            <pc:sldMk cId="4273639525" sldId="917"/>
            <ac:spMk id="13" creationId="{C81B52B7-F84D-1B15-1AE2-EF4ADAA752C8}"/>
          </ac:spMkLst>
        </pc:spChg>
        <pc:spChg chg="add del mod modVis">
          <ac:chgData name="Nataliia Chornii (UA)" userId="4e4b8b3d-5f31-49bb-9f80-8a25c04abfff" providerId="ADAL" clId="{EE97D3FE-9ACA-4467-98E5-532EC45D9D1C}" dt="2024-03-01T08:51:26.139" v="4826"/>
          <ac:spMkLst>
            <pc:docMk/>
            <pc:sldMk cId="4273639525" sldId="917"/>
            <ac:spMk id="14" creationId="{0FE34EBC-3372-0F84-9009-4F2F2AE0A0A5}"/>
          </ac:spMkLst>
        </pc:spChg>
        <pc:spChg chg="add del mod modVis">
          <ac:chgData name="Nataliia Chornii (UA)" userId="4e4b8b3d-5f31-49bb-9f80-8a25c04abfff" providerId="ADAL" clId="{EE97D3FE-9ACA-4467-98E5-532EC45D9D1C}" dt="2024-03-01T08:51:56.157" v="5815"/>
          <ac:spMkLst>
            <pc:docMk/>
            <pc:sldMk cId="4273639525" sldId="917"/>
            <ac:spMk id="15" creationId="{0B0C430F-8E17-5ED4-48FF-C87F96350656}"/>
          </ac:spMkLst>
        </pc:spChg>
        <pc:spChg chg="add del mod modVis">
          <ac:chgData name="Nataliia Chornii (UA)" userId="4e4b8b3d-5f31-49bb-9f80-8a25c04abfff" providerId="ADAL" clId="{EE97D3FE-9ACA-4467-98E5-532EC45D9D1C}" dt="2024-03-01T08:52:18.312" v="6803"/>
          <ac:spMkLst>
            <pc:docMk/>
            <pc:sldMk cId="4273639525" sldId="917"/>
            <ac:spMk id="16" creationId="{9458843A-C554-120F-86DC-CD7D49ED7090}"/>
          </ac:spMkLst>
        </pc:spChg>
        <pc:spChg chg="add del mod">
          <ac:chgData name="Nataliia Chornii (UA)" userId="4e4b8b3d-5f31-49bb-9f80-8a25c04abfff" providerId="ADAL" clId="{EE97D3FE-9ACA-4467-98E5-532EC45D9D1C}" dt="2024-03-11T14:29:49.670" v="24242" actId="478"/>
          <ac:spMkLst>
            <pc:docMk/>
            <pc:sldMk cId="4273639525" sldId="917"/>
            <ac:spMk id="17" creationId="{71229291-CDE2-2F53-B84C-B74BF2C3F4F0}"/>
          </ac:spMkLst>
        </pc:spChg>
        <pc:spChg chg="add del mod ord">
          <ac:chgData name="Nataliia Chornii (UA)" userId="4e4b8b3d-5f31-49bb-9f80-8a25c04abfff" providerId="ADAL" clId="{EE97D3FE-9ACA-4467-98E5-532EC45D9D1C}" dt="2024-03-01T15:25:11.206" v="17199" actId="478"/>
          <ac:spMkLst>
            <pc:docMk/>
            <pc:sldMk cId="4273639525" sldId="917"/>
            <ac:spMk id="18" creationId="{0EB2360A-0AAD-E5F2-C768-D20A8DB183AD}"/>
          </ac:spMkLst>
        </pc:spChg>
        <pc:spChg chg="add del mod modVis">
          <ac:chgData name="Nataliia Chornii (UA)" userId="4e4b8b3d-5f31-49bb-9f80-8a25c04abfff" providerId="ADAL" clId="{EE97D3FE-9ACA-4467-98E5-532EC45D9D1C}" dt="2024-03-01T15:25:09.817" v="17196"/>
          <ac:spMkLst>
            <pc:docMk/>
            <pc:sldMk cId="4273639525" sldId="917"/>
            <ac:spMk id="19" creationId="{50C84EDD-0ACA-623F-2F1E-57CBDD6074A5}"/>
          </ac:spMkLst>
        </pc:spChg>
        <pc:spChg chg="add mod">
          <ac:chgData name="Nataliia Chornii (UA)" userId="4e4b8b3d-5f31-49bb-9f80-8a25c04abfff" providerId="ADAL" clId="{EE97D3FE-9ACA-4467-98E5-532EC45D9D1C}" dt="2024-03-04T08:46:31.273" v="17577" actId="403"/>
          <ac:spMkLst>
            <pc:docMk/>
            <pc:sldMk cId="4273639525" sldId="917"/>
            <ac:spMk id="20" creationId="{71A7C7C0-2A0C-7790-FB11-2C935A397516}"/>
          </ac:spMkLst>
        </pc:spChg>
        <pc:spChg chg="add mod">
          <ac:chgData name="Nataliia Chornii (UA)" userId="4e4b8b3d-5f31-49bb-9f80-8a25c04abfff" providerId="ADAL" clId="{EE97D3FE-9ACA-4467-98E5-532EC45D9D1C}" dt="2024-03-04T08:46:23.350" v="17576" actId="14100"/>
          <ac:spMkLst>
            <pc:docMk/>
            <pc:sldMk cId="4273639525" sldId="917"/>
            <ac:spMk id="21" creationId="{2AE882DB-6A87-19F7-49D2-A2C7AF5D76FD}"/>
          </ac:spMkLst>
        </pc:spChg>
        <pc:spChg chg="add mod">
          <ac:chgData name="Nataliia Chornii (UA)" userId="4e4b8b3d-5f31-49bb-9f80-8a25c04abfff" providerId="ADAL" clId="{EE97D3FE-9ACA-4467-98E5-532EC45D9D1C}" dt="2024-03-01T15:25:17.896" v="17201"/>
          <ac:spMkLst>
            <pc:docMk/>
            <pc:sldMk cId="4273639525" sldId="917"/>
            <ac:spMk id="22" creationId="{D512C8CC-021C-3D02-627D-E9AFCCFA9CAF}"/>
          </ac:spMkLst>
        </pc:spChg>
        <pc:spChg chg="add mod">
          <ac:chgData name="Nataliia Chornii (UA)" userId="4e4b8b3d-5f31-49bb-9f80-8a25c04abfff" providerId="ADAL" clId="{EE97D3FE-9ACA-4467-98E5-532EC45D9D1C}" dt="2024-03-01T15:25:17.896" v="17201"/>
          <ac:spMkLst>
            <pc:docMk/>
            <pc:sldMk cId="4273639525" sldId="917"/>
            <ac:spMk id="23" creationId="{5365EF17-B219-A2D9-E9C0-8D98FAFA07D9}"/>
          </ac:spMkLst>
        </pc:spChg>
        <pc:spChg chg="add mod">
          <ac:chgData name="Nataliia Chornii (UA)" userId="4e4b8b3d-5f31-49bb-9f80-8a25c04abfff" providerId="ADAL" clId="{EE97D3FE-9ACA-4467-98E5-532EC45D9D1C}" dt="2024-03-01T15:25:17.896" v="17201"/>
          <ac:spMkLst>
            <pc:docMk/>
            <pc:sldMk cId="4273639525" sldId="917"/>
            <ac:spMk id="24" creationId="{EDAAB878-3F85-4CF2-D593-26F5C6B40D68}"/>
          </ac:spMkLst>
        </pc:spChg>
        <pc:spChg chg="add mod">
          <ac:chgData name="Nataliia Chornii (UA)" userId="4e4b8b3d-5f31-49bb-9f80-8a25c04abfff" providerId="ADAL" clId="{EE97D3FE-9ACA-4467-98E5-532EC45D9D1C}" dt="2024-03-04T08:46:19.411" v="17575" actId="14100"/>
          <ac:spMkLst>
            <pc:docMk/>
            <pc:sldMk cId="4273639525" sldId="917"/>
            <ac:spMk id="25" creationId="{F25DA104-C4AB-B1D2-2A0D-66C0FB817D87}"/>
          </ac:spMkLst>
        </pc:spChg>
        <pc:spChg chg="mod">
          <ac:chgData name="Nataliia Chornii (UA)" userId="4e4b8b3d-5f31-49bb-9f80-8a25c04abfff" providerId="ADAL" clId="{EE97D3FE-9ACA-4467-98E5-532EC45D9D1C}" dt="2024-03-01T15:25:17.896" v="17201"/>
          <ac:spMkLst>
            <pc:docMk/>
            <pc:sldMk cId="4273639525" sldId="917"/>
            <ac:spMk id="27" creationId="{92B45411-117E-3A9B-8D05-A274C276C732}"/>
          </ac:spMkLst>
        </pc:spChg>
        <pc:spChg chg="mod">
          <ac:chgData name="Nataliia Chornii (UA)" userId="4e4b8b3d-5f31-49bb-9f80-8a25c04abfff" providerId="ADAL" clId="{EE97D3FE-9ACA-4467-98E5-532EC45D9D1C}" dt="2024-03-01T15:25:17.896" v="17201"/>
          <ac:spMkLst>
            <pc:docMk/>
            <pc:sldMk cId="4273639525" sldId="917"/>
            <ac:spMk id="28" creationId="{118C0778-7C73-7259-A140-8702FEA7D408}"/>
          </ac:spMkLst>
        </pc:spChg>
        <pc:spChg chg="mod">
          <ac:chgData name="Nataliia Chornii (UA)" userId="4e4b8b3d-5f31-49bb-9f80-8a25c04abfff" providerId="ADAL" clId="{EE97D3FE-9ACA-4467-98E5-532EC45D9D1C}" dt="2024-03-01T15:25:17.896" v="17201"/>
          <ac:spMkLst>
            <pc:docMk/>
            <pc:sldMk cId="4273639525" sldId="917"/>
            <ac:spMk id="29" creationId="{D0BBF4F3-2759-9647-C8BA-1EDB4EBC21E7}"/>
          </ac:spMkLst>
        </pc:spChg>
        <pc:spChg chg="add del mod">
          <ac:chgData name="Nataliia Chornii (UA)" userId="4e4b8b3d-5f31-49bb-9f80-8a25c04abfff" providerId="ADAL" clId="{EE97D3FE-9ACA-4467-98E5-532EC45D9D1C}" dt="2024-03-04T08:45:48.584" v="17516" actId="478"/>
          <ac:spMkLst>
            <pc:docMk/>
            <pc:sldMk cId="4273639525" sldId="917"/>
            <ac:spMk id="30" creationId="{1241A2FB-D5DB-4ED5-43EB-C84FD589F83D}"/>
          </ac:spMkLst>
        </pc:spChg>
        <pc:spChg chg="add del mod">
          <ac:chgData name="Nataliia Chornii (UA)" userId="4e4b8b3d-5f31-49bb-9f80-8a25c04abfff" providerId="ADAL" clId="{EE97D3FE-9ACA-4467-98E5-532EC45D9D1C}" dt="2024-03-04T08:45:52.165" v="17569" actId="478"/>
          <ac:spMkLst>
            <pc:docMk/>
            <pc:sldMk cId="4273639525" sldId="917"/>
            <ac:spMk id="31" creationId="{3EA04E00-D54B-679A-DD99-E297F70FBD44}"/>
          </ac:spMkLst>
        </pc:spChg>
        <pc:spChg chg="add del mod">
          <ac:chgData name="Nataliia Chornii (UA)" userId="4e4b8b3d-5f31-49bb-9f80-8a25c04abfff" providerId="ADAL" clId="{EE97D3FE-9ACA-4467-98E5-532EC45D9D1C}" dt="2024-03-04T08:45:52.165" v="17569" actId="478"/>
          <ac:spMkLst>
            <pc:docMk/>
            <pc:sldMk cId="4273639525" sldId="917"/>
            <ac:spMk id="32" creationId="{4D4EF4F7-0FFE-5A8A-D320-85D88F159538}"/>
          </ac:spMkLst>
        </pc:spChg>
        <pc:spChg chg="add del mod">
          <ac:chgData name="Nataliia Chornii (UA)" userId="4e4b8b3d-5f31-49bb-9f80-8a25c04abfff" providerId="ADAL" clId="{EE97D3FE-9ACA-4467-98E5-532EC45D9D1C}" dt="2024-03-04T08:45:48.584" v="17516" actId="478"/>
          <ac:spMkLst>
            <pc:docMk/>
            <pc:sldMk cId="4273639525" sldId="917"/>
            <ac:spMk id="33" creationId="{6D65D625-9616-E792-21D0-514D748B10A7}"/>
          </ac:spMkLst>
        </pc:spChg>
        <pc:spChg chg="add mod">
          <ac:chgData name="Nataliia Chornii (UA)" userId="4e4b8b3d-5f31-49bb-9f80-8a25c04abfff" providerId="ADAL" clId="{EE97D3FE-9ACA-4467-98E5-532EC45D9D1C}" dt="2024-03-04T08:45:59.554" v="17570" actId="1076"/>
          <ac:spMkLst>
            <pc:docMk/>
            <pc:sldMk cId="4273639525" sldId="917"/>
            <ac:spMk id="34" creationId="{30F86F50-8DB0-02A8-CC78-51DDA84DE4AD}"/>
          </ac:spMkLst>
        </pc:spChg>
        <pc:spChg chg="add mod">
          <ac:chgData name="Nataliia Chornii (UA)" userId="4e4b8b3d-5f31-49bb-9f80-8a25c04abfff" providerId="ADAL" clId="{EE97D3FE-9ACA-4467-98E5-532EC45D9D1C}" dt="2024-03-04T08:45:59.554" v="17570" actId="1076"/>
          <ac:spMkLst>
            <pc:docMk/>
            <pc:sldMk cId="4273639525" sldId="917"/>
            <ac:spMk id="35" creationId="{C2AF3EEF-18F4-C17A-DE3C-2AC17A224682}"/>
          </ac:spMkLst>
        </pc:spChg>
        <pc:spChg chg="add mod">
          <ac:chgData name="Nataliia Chornii (UA)" userId="4e4b8b3d-5f31-49bb-9f80-8a25c04abfff" providerId="ADAL" clId="{EE97D3FE-9ACA-4467-98E5-532EC45D9D1C}" dt="2024-03-04T08:45:59.554" v="17570" actId="1076"/>
          <ac:spMkLst>
            <pc:docMk/>
            <pc:sldMk cId="4273639525" sldId="917"/>
            <ac:spMk id="36" creationId="{204DB6A7-E2DC-AA3D-E581-AA339DD36342}"/>
          </ac:spMkLst>
        </pc:spChg>
        <pc:spChg chg="add mod">
          <ac:chgData name="Nataliia Chornii (UA)" userId="4e4b8b3d-5f31-49bb-9f80-8a25c04abfff" providerId="ADAL" clId="{EE97D3FE-9ACA-4467-98E5-532EC45D9D1C}" dt="2024-03-04T08:45:59.554" v="17570" actId="1076"/>
          <ac:spMkLst>
            <pc:docMk/>
            <pc:sldMk cId="4273639525" sldId="917"/>
            <ac:spMk id="37" creationId="{26DBADC2-4B76-14EA-99C9-12C38A242436}"/>
          </ac:spMkLst>
        </pc:spChg>
        <pc:spChg chg="add mod">
          <ac:chgData name="Nataliia Chornii (UA)" userId="4e4b8b3d-5f31-49bb-9f80-8a25c04abfff" providerId="ADAL" clId="{EE97D3FE-9ACA-4467-98E5-532EC45D9D1C}" dt="2024-03-04T08:45:59.554" v="17570" actId="1076"/>
          <ac:spMkLst>
            <pc:docMk/>
            <pc:sldMk cId="4273639525" sldId="917"/>
            <ac:spMk id="38" creationId="{FDC03DDD-26FD-DD24-F947-CB586C9EFB29}"/>
          </ac:spMkLst>
        </pc:spChg>
        <pc:spChg chg="add mod">
          <ac:chgData name="Nataliia Chornii (UA)" userId="4e4b8b3d-5f31-49bb-9f80-8a25c04abfff" providerId="ADAL" clId="{EE97D3FE-9ACA-4467-98E5-532EC45D9D1C}" dt="2024-03-04T08:45:59.554" v="17570" actId="1076"/>
          <ac:spMkLst>
            <pc:docMk/>
            <pc:sldMk cId="4273639525" sldId="917"/>
            <ac:spMk id="39" creationId="{A60821DC-9E63-C7BD-AA14-946E64DA12AA}"/>
          </ac:spMkLst>
        </pc:spChg>
        <pc:spChg chg="add mod">
          <ac:chgData name="Nataliia Chornii (UA)" userId="4e4b8b3d-5f31-49bb-9f80-8a25c04abfff" providerId="ADAL" clId="{EE97D3FE-9ACA-4467-98E5-532EC45D9D1C}" dt="2024-03-04T08:45:59.554" v="17570" actId="1076"/>
          <ac:spMkLst>
            <pc:docMk/>
            <pc:sldMk cId="4273639525" sldId="917"/>
            <ac:spMk id="41" creationId="{03DE8749-C6D4-08C9-5257-31FFAF66E74C}"/>
          </ac:spMkLst>
        </pc:spChg>
        <pc:spChg chg="add mod">
          <ac:chgData name="Nataliia Chornii (UA)" userId="4e4b8b3d-5f31-49bb-9f80-8a25c04abfff" providerId="ADAL" clId="{EE97D3FE-9ACA-4467-98E5-532EC45D9D1C}" dt="2024-03-04T08:45:59.554" v="17570" actId="1076"/>
          <ac:spMkLst>
            <pc:docMk/>
            <pc:sldMk cId="4273639525" sldId="917"/>
            <ac:spMk id="42" creationId="{CFB3B2CE-10DB-C325-3DCB-865DCD72D32E}"/>
          </ac:spMkLst>
        </pc:spChg>
        <pc:spChg chg="add mod">
          <ac:chgData name="Nataliia Chornii (UA)" userId="4e4b8b3d-5f31-49bb-9f80-8a25c04abfff" providerId="ADAL" clId="{EE97D3FE-9ACA-4467-98E5-532EC45D9D1C}" dt="2024-03-04T08:45:59.554" v="17570" actId="1076"/>
          <ac:spMkLst>
            <pc:docMk/>
            <pc:sldMk cId="4273639525" sldId="917"/>
            <ac:spMk id="43" creationId="{8D33C578-FD40-5DAA-B6FF-379DD51EC137}"/>
          </ac:spMkLst>
        </pc:spChg>
        <pc:spChg chg="add mod">
          <ac:chgData name="Nataliia Chornii (UA)" userId="4e4b8b3d-5f31-49bb-9f80-8a25c04abfff" providerId="ADAL" clId="{EE97D3FE-9ACA-4467-98E5-532EC45D9D1C}" dt="2024-03-04T08:45:59.554" v="17570" actId="1076"/>
          <ac:spMkLst>
            <pc:docMk/>
            <pc:sldMk cId="4273639525" sldId="917"/>
            <ac:spMk id="44" creationId="{82C87D7B-B0FE-FFE8-F8A9-03FD9DC7F2C5}"/>
          </ac:spMkLst>
        </pc:spChg>
        <pc:spChg chg="add mod">
          <ac:chgData name="Nataliia Chornii (UA)" userId="4e4b8b3d-5f31-49bb-9f80-8a25c04abfff" providerId="ADAL" clId="{EE97D3FE-9ACA-4467-98E5-532EC45D9D1C}" dt="2024-03-04T08:45:59.554" v="17570" actId="1076"/>
          <ac:spMkLst>
            <pc:docMk/>
            <pc:sldMk cId="4273639525" sldId="917"/>
            <ac:spMk id="45" creationId="{FA7526CE-0059-8849-9B87-5C05050F5DDD}"/>
          </ac:spMkLst>
        </pc:spChg>
        <pc:spChg chg="add mod">
          <ac:chgData name="Nataliia Chornii (UA)" userId="4e4b8b3d-5f31-49bb-9f80-8a25c04abfff" providerId="ADAL" clId="{EE97D3FE-9ACA-4467-98E5-532EC45D9D1C}" dt="2024-03-04T08:45:59.554" v="17570" actId="1076"/>
          <ac:spMkLst>
            <pc:docMk/>
            <pc:sldMk cId="4273639525" sldId="917"/>
            <ac:spMk id="46" creationId="{881A65C4-F5CF-91F1-3868-BF33E25C5686}"/>
          </ac:spMkLst>
        </pc:spChg>
        <pc:spChg chg="add mod">
          <ac:chgData name="Nataliia Chornii (UA)" userId="4e4b8b3d-5f31-49bb-9f80-8a25c04abfff" providerId="ADAL" clId="{EE97D3FE-9ACA-4467-98E5-532EC45D9D1C}" dt="2024-03-04T08:45:59.554" v="17570" actId="1076"/>
          <ac:spMkLst>
            <pc:docMk/>
            <pc:sldMk cId="4273639525" sldId="917"/>
            <ac:spMk id="47" creationId="{8954E102-9C1D-455C-0923-C45A01B097F0}"/>
          </ac:spMkLst>
        </pc:spChg>
        <pc:spChg chg="add mod">
          <ac:chgData name="Nataliia Chornii (UA)" userId="4e4b8b3d-5f31-49bb-9f80-8a25c04abfff" providerId="ADAL" clId="{EE97D3FE-9ACA-4467-98E5-532EC45D9D1C}" dt="2024-03-04T08:46:12.256" v="17573" actId="14100"/>
          <ac:spMkLst>
            <pc:docMk/>
            <pc:sldMk cId="4273639525" sldId="917"/>
            <ac:spMk id="48" creationId="{EBAA83D0-B767-9E96-1B47-C078CEEE614B}"/>
          </ac:spMkLst>
        </pc:spChg>
        <pc:spChg chg="add mod">
          <ac:chgData name="Nataliia Chornii (UA)" userId="4e4b8b3d-5f31-49bb-9f80-8a25c04abfff" providerId="ADAL" clId="{EE97D3FE-9ACA-4467-98E5-532EC45D9D1C}" dt="2024-03-04T08:46:16.444" v="17574" actId="553"/>
          <ac:spMkLst>
            <pc:docMk/>
            <pc:sldMk cId="4273639525" sldId="917"/>
            <ac:spMk id="49" creationId="{61741A74-5C7B-7766-FAC2-162B3E3B5946}"/>
          </ac:spMkLst>
        </pc:spChg>
        <pc:spChg chg="add mod">
          <ac:chgData name="Nataliia Chornii (UA)" userId="4e4b8b3d-5f31-49bb-9f80-8a25c04abfff" providerId="ADAL" clId="{EE97D3FE-9ACA-4467-98E5-532EC45D9D1C}" dt="2024-03-04T08:46:12.256" v="17573" actId="14100"/>
          <ac:spMkLst>
            <pc:docMk/>
            <pc:sldMk cId="4273639525" sldId="917"/>
            <ac:spMk id="50" creationId="{A0C0290C-4BE9-3776-4546-3DEF56D11991}"/>
          </ac:spMkLst>
        </pc:spChg>
        <pc:spChg chg="add mod">
          <ac:chgData name="Nataliia Chornii (UA)" userId="4e4b8b3d-5f31-49bb-9f80-8a25c04abfff" providerId="ADAL" clId="{EE97D3FE-9ACA-4467-98E5-532EC45D9D1C}" dt="2024-03-04T08:46:12.256" v="17573" actId="14100"/>
          <ac:spMkLst>
            <pc:docMk/>
            <pc:sldMk cId="4273639525" sldId="917"/>
            <ac:spMk id="51" creationId="{BAB0F656-869B-B0AF-322D-5E8BBB041A61}"/>
          </ac:spMkLst>
        </pc:spChg>
        <pc:spChg chg="add mod">
          <ac:chgData name="Nataliia Chornii (UA)" userId="4e4b8b3d-5f31-49bb-9f80-8a25c04abfff" providerId="ADAL" clId="{EE97D3FE-9ACA-4467-98E5-532EC45D9D1C}" dt="2024-03-04T08:46:12.256" v="17573" actId="14100"/>
          <ac:spMkLst>
            <pc:docMk/>
            <pc:sldMk cId="4273639525" sldId="917"/>
            <ac:spMk id="52" creationId="{DAED98C7-E0EF-C092-E3F8-D2FBD65700E3}"/>
          </ac:spMkLst>
        </pc:spChg>
        <pc:spChg chg="add mod">
          <ac:chgData name="Nataliia Chornii (UA)" userId="4e4b8b3d-5f31-49bb-9f80-8a25c04abfff" providerId="ADAL" clId="{EE97D3FE-9ACA-4467-98E5-532EC45D9D1C}" dt="2024-03-04T08:46:12.256" v="17573" actId="14100"/>
          <ac:spMkLst>
            <pc:docMk/>
            <pc:sldMk cId="4273639525" sldId="917"/>
            <ac:spMk id="53" creationId="{18418CB4-C7BA-DDC9-0605-BD3AD04DF988}"/>
          </ac:spMkLst>
        </pc:spChg>
        <pc:grpChg chg="add mod">
          <ac:chgData name="Nataliia Chornii (UA)" userId="4e4b8b3d-5f31-49bb-9f80-8a25c04abfff" providerId="ADAL" clId="{EE97D3FE-9ACA-4467-98E5-532EC45D9D1C}" dt="2024-03-11T14:26:07.744" v="24087"/>
          <ac:grpSpMkLst>
            <pc:docMk/>
            <pc:sldMk cId="4273639525" sldId="917"/>
            <ac:grpSpMk id="5" creationId="{02753959-1A41-D792-A20B-C72D5DDDD89F}"/>
          </ac:grpSpMkLst>
        </pc:grpChg>
        <pc:grpChg chg="add mod">
          <ac:chgData name="Nataliia Chornii (UA)" userId="4e4b8b3d-5f31-49bb-9f80-8a25c04abfff" providerId="ADAL" clId="{EE97D3FE-9ACA-4467-98E5-532EC45D9D1C}" dt="2024-03-04T08:46:16.444" v="17574" actId="553"/>
          <ac:grpSpMkLst>
            <pc:docMk/>
            <pc:sldMk cId="4273639525" sldId="917"/>
            <ac:grpSpMk id="26" creationId="{E3370077-1573-2794-544A-AE97973345F5}"/>
          </ac:grpSpMkLst>
        </pc:grpChg>
        <pc:graphicFrameChg chg="add mod ord modVis replST">
          <ac:chgData name="Nataliia Chornii (UA)" userId="4e4b8b3d-5f31-49bb-9f80-8a25c04abfff" providerId="ADAL" clId="{EE97D3FE-9ACA-4467-98E5-532EC45D9D1C}" dt="2024-03-04T08:45:50.687" v="17568"/>
          <ac:graphicFrameMkLst>
            <pc:docMk/>
            <pc:sldMk cId="4273639525" sldId="917"/>
            <ac:graphicFrameMk id="9" creationId="{4E94DAC8-1E8F-3291-FA16-E6E35EB47422}"/>
          </ac:graphicFrameMkLst>
        </pc:graphicFrameChg>
        <pc:cxnChg chg="add mod">
          <ac:chgData name="Nataliia Chornii (UA)" userId="4e4b8b3d-5f31-49bb-9f80-8a25c04abfff" providerId="ADAL" clId="{EE97D3FE-9ACA-4467-98E5-532EC45D9D1C}" dt="2024-03-04T08:45:59.554" v="17570" actId="1076"/>
          <ac:cxnSpMkLst>
            <pc:docMk/>
            <pc:sldMk cId="4273639525" sldId="917"/>
            <ac:cxnSpMk id="40" creationId="{AEA46143-65A0-F604-7AFA-8190A092D080}"/>
          </ac:cxnSpMkLst>
        </pc:cxnChg>
        <pc:cxnChg chg="add mod">
          <ac:chgData name="Nataliia Chornii (UA)" userId="4e4b8b3d-5f31-49bb-9f80-8a25c04abfff" providerId="ADAL" clId="{EE97D3FE-9ACA-4467-98E5-532EC45D9D1C}" dt="2024-03-04T08:46:12.256" v="17573" actId="14100"/>
          <ac:cxnSpMkLst>
            <pc:docMk/>
            <pc:sldMk cId="4273639525" sldId="917"/>
            <ac:cxnSpMk id="54" creationId="{4281C6C9-CAE5-FE3D-692E-4632AFDD42D6}"/>
          </ac:cxnSpMkLst>
        </pc:cxnChg>
        <pc:cxnChg chg="add mod">
          <ac:chgData name="Nataliia Chornii (UA)" userId="4e4b8b3d-5f31-49bb-9f80-8a25c04abfff" providerId="ADAL" clId="{EE97D3FE-9ACA-4467-98E5-532EC45D9D1C}" dt="2024-03-04T08:46:12.256" v="17573" actId="14100"/>
          <ac:cxnSpMkLst>
            <pc:docMk/>
            <pc:sldMk cId="4273639525" sldId="917"/>
            <ac:cxnSpMk id="55" creationId="{C204DE99-827A-F3C1-EF6A-10E3F0F8DA85}"/>
          </ac:cxnSpMkLst>
        </pc:cxnChg>
        <pc:cxnChg chg="add mod">
          <ac:chgData name="Nataliia Chornii (UA)" userId="4e4b8b3d-5f31-49bb-9f80-8a25c04abfff" providerId="ADAL" clId="{EE97D3FE-9ACA-4467-98E5-532EC45D9D1C}" dt="2024-03-04T08:46:12.256" v="17573" actId="14100"/>
          <ac:cxnSpMkLst>
            <pc:docMk/>
            <pc:sldMk cId="4273639525" sldId="917"/>
            <ac:cxnSpMk id="56" creationId="{3747D388-5C9D-8CB8-22C8-4081EA6BC8AE}"/>
          </ac:cxnSpMkLst>
        </pc:cxnChg>
        <pc:cxnChg chg="add mod">
          <ac:chgData name="Nataliia Chornii (UA)" userId="4e4b8b3d-5f31-49bb-9f80-8a25c04abfff" providerId="ADAL" clId="{EE97D3FE-9ACA-4467-98E5-532EC45D9D1C}" dt="2024-03-04T08:46:12.256" v="17573" actId="14100"/>
          <ac:cxnSpMkLst>
            <pc:docMk/>
            <pc:sldMk cId="4273639525" sldId="917"/>
            <ac:cxnSpMk id="57" creationId="{3756723B-C315-85E8-1B45-2DA50AA203A1}"/>
          </ac:cxnSpMkLst>
        </pc:cxnChg>
        <pc:cxnChg chg="add mod">
          <ac:chgData name="Nataliia Chornii (UA)" userId="4e4b8b3d-5f31-49bb-9f80-8a25c04abfff" providerId="ADAL" clId="{EE97D3FE-9ACA-4467-98E5-532EC45D9D1C}" dt="2024-03-04T08:46:12.256" v="17573" actId="14100"/>
          <ac:cxnSpMkLst>
            <pc:docMk/>
            <pc:sldMk cId="4273639525" sldId="917"/>
            <ac:cxnSpMk id="58" creationId="{BBCE494F-89AF-8E94-59B9-02836329B37E}"/>
          </ac:cxnSpMkLst>
        </pc:cxnChg>
      </pc:sldChg>
      <pc:sldChg chg="addSp delSp modSp mod modClrScheme modCm chgLayout">
        <pc:chgData name="Nataliia Chornii (UA)" userId="4e4b8b3d-5f31-49bb-9f80-8a25c04abfff" providerId="ADAL" clId="{EE97D3FE-9ACA-4467-98E5-532EC45D9D1C}" dt="2024-03-11T14:29:47.729" v="24241"/>
        <pc:sldMkLst>
          <pc:docMk/>
          <pc:sldMk cId="785221003" sldId="918"/>
        </pc:sldMkLst>
        <pc:spChg chg="del mod">
          <ac:chgData name="Nataliia Chornii (UA)" userId="4e4b8b3d-5f31-49bb-9f80-8a25c04abfff" providerId="ADAL" clId="{EE97D3FE-9ACA-4467-98E5-532EC45D9D1C}" dt="2024-03-01T15:21:02.149" v="17052" actId="478"/>
          <ac:spMkLst>
            <pc:docMk/>
            <pc:sldMk cId="785221003" sldId="918"/>
            <ac:spMk id="2" creationId="{A1EA5253-E431-DFFC-E94A-6F8E087CC2C0}"/>
          </ac:spMkLst>
        </pc:spChg>
        <pc:spChg chg="mod ord">
          <ac:chgData name="Nataliia Chornii (UA)" userId="4e4b8b3d-5f31-49bb-9f80-8a25c04abfff" providerId="ADAL" clId="{EE97D3FE-9ACA-4467-98E5-532EC45D9D1C}" dt="2024-03-01T15:22:08.474" v="17098" actId="948"/>
          <ac:spMkLst>
            <pc:docMk/>
            <pc:sldMk cId="785221003" sldId="918"/>
            <ac:spMk id="3" creationId="{F4CCF02E-F3C4-C376-8F56-61BD85A2E74B}"/>
          </ac:spMkLst>
        </pc:spChg>
        <pc:spChg chg="mod ord">
          <ac:chgData name="Nataliia Chornii (UA)" userId="4e4b8b3d-5f31-49bb-9f80-8a25c04abfff" providerId="ADAL" clId="{EE97D3FE-9ACA-4467-98E5-532EC45D9D1C}" dt="2024-03-01T15:21:06.627" v="17053" actId="700"/>
          <ac:spMkLst>
            <pc:docMk/>
            <pc:sldMk cId="785221003" sldId="918"/>
            <ac:spMk id="4" creationId="{872966CD-924A-B939-E655-A6BAF817DCBF}"/>
          </ac:spMkLst>
        </pc:spChg>
        <pc:spChg chg="mod">
          <ac:chgData name="Nataliia Chornii (UA)" userId="4e4b8b3d-5f31-49bb-9f80-8a25c04abfff" providerId="ADAL" clId="{EE97D3FE-9ACA-4467-98E5-532EC45D9D1C}" dt="2024-03-04T10:00:19.911" v="20229"/>
          <ac:spMkLst>
            <pc:docMk/>
            <pc:sldMk cId="785221003" sldId="918"/>
            <ac:spMk id="5" creationId="{E11A9D5A-8E51-59DF-2E6E-3D637E7AA57E}"/>
          </ac:spMkLst>
        </pc:spChg>
        <pc:spChg chg="del mod ord">
          <ac:chgData name="Nataliia Chornii (UA)" userId="4e4b8b3d-5f31-49bb-9f80-8a25c04abfff" providerId="ADAL" clId="{EE97D3FE-9ACA-4467-98E5-532EC45D9D1C}" dt="2024-03-01T15:21:09.200" v="17080" actId="478"/>
          <ac:spMkLst>
            <pc:docMk/>
            <pc:sldMk cId="785221003" sldId="918"/>
            <ac:spMk id="5" creationId="{FF11D90A-8D15-0E43-4C2E-D42257331C13}"/>
          </ac:spMkLst>
        </pc:spChg>
        <pc:spChg chg="del mod ord">
          <ac:chgData name="Nataliia Chornii (UA)" userId="4e4b8b3d-5f31-49bb-9f80-8a25c04abfff" providerId="ADAL" clId="{EE97D3FE-9ACA-4467-98E5-532EC45D9D1C}" dt="2024-03-01T15:21:09.200" v="17080" actId="478"/>
          <ac:spMkLst>
            <pc:docMk/>
            <pc:sldMk cId="785221003" sldId="918"/>
            <ac:spMk id="6" creationId="{0F377277-EC46-FAC5-F379-194FCD82679C}"/>
          </ac:spMkLst>
        </pc:spChg>
        <pc:spChg chg="mod">
          <ac:chgData name="Nataliia Chornii (UA)" userId="4e4b8b3d-5f31-49bb-9f80-8a25c04abfff" providerId="ADAL" clId="{EE97D3FE-9ACA-4467-98E5-532EC45D9D1C}" dt="2024-03-04T10:00:19.911" v="20229"/>
          <ac:spMkLst>
            <pc:docMk/>
            <pc:sldMk cId="785221003" sldId="918"/>
            <ac:spMk id="6" creationId="{6307E12D-8818-3ECA-6181-7E94A3D6C8D0}"/>
          </ac:spMkLst>
        </pc:spChg>
        <pc:spChg chg="mod">
          <ac:chgData name="Nataliia Chornii (UA)" userId="4e4b8b3d-5f31-49bb-9f80-8a25c04abfff" providerId="ADAL" clId="{EE97D3FE-9ACA-4467-98E5-532EC45D9D1C}" dt="2024-03-04T10:00:19.911" v="20229"/>
          <ac:spMkLst>
            <pc:docMk/>
            <pc:sldMk cId="785221003" sldId="918"/>
            <ac:spMk id="7" creationId="{47D87D78-B0B4-1ED8-A0B0-A0CE22744212}"/>
          </ac:spMkLst>
        </pc:spChg>
        <pc:spChg chg="del mod">
          <ac:chgData name="Nataliia Chornii (UA)" userId="4e4b8b3d-5f31-49bb-9f80-8a25c04abfff" providerId="ADAL" clId="{EE97D3FE-9ACA-4467-98E5-532EC45D9D1C}" dt="2024-03-01T15:21:27.853" v="17089" actId="478"/>
          <ac:spMkLst>
            <pc:docMk/>
            <pc:sldMk cId="785221003" sldId="918"/>
            <ac:spMk id="7" creationId="{8E846963-540E-9336-DE83-B87EC3AB5727}"/>
          </ac:spMkLst>
        </pc:spChg>
        <pc:spChg chg="mod">
          <ac:chgData name="Nataliia Chornii (UA)" userId="4e4b8b3d-5f31-49bb-9f80-8a25c04abfff" providerId="ADAL" clId="{EE97D3FE-9ACA-4467-98E5-532EC45D9D1C}" dt="2024-03-04T10:00:19.911" v="20229"/>
          <ac:spMkLst>
            <pc:docMk/>
            <pc:sldMk cId="785221003" sldId="918"/>
            <ac:spMk id="8" creationId="{0639B4B7-C04C-3972-0434-7F6234C301E2}"/>
          </ac:spMkLst>
        </pc:spChg>
        <pc:spChg chg="del mod">
          <ac:chgData name="Nataliia Chornii (UA)" userId="4e4b8b3d-5f31-49bb-9f80-8a25c04abfff" providerId="ADAL" clId="{EE97D3FE-9ACA-4467-98E5-532EC45D9D1C}" dt="2024-03-01T15:21:02.149" v="17052" actId="478"/>
          <ac:spMkLst>
            <pc:docMk/>
            <pc:sldMk cId="785221003" sldId="918"/>
            <ac:spMk id="8" creationId="{598AB23C-0BF9-85FE-4B7A-DC0CF1A85603}"/>
          </ac:spMkLst>
        </pc:spChg>
        <pc:spChg chg="add del mod modVis">
          <ac:chgData name="Nataliia Chornii (UA)" userId="4e4b8b3d-5f31-49bb-9f80-8a25c04abfff" providerId="ADAL" clId="{EE97D3FE-9ACA-4467-98E5-532EC45D9D1C}" dt="2024-03-01T08:48:59.424" v="1344"/>
          <ac:spMkLst>
            <pc:docMk/>
            <pc:sldMk cId="785221003" sldId="918"/>
            <ac:spMk id="9" creationId="{D1E1762F-AEF4-0A34-3EF0-1F5A88985AA1}"/>
          </ac:spMkLst>
        </pc:spChg>
        <pc:spChg chg="add mod">
          <ac:chgData name="Nataliia Chornii (UA)" userId="4e4b8b3d-5f31-49bb-9f80-8a25c04abfff" providerId="ADAL" clId="{EE97D3FE-9ACA-4467-98E5-532EC45D9D1C}" dt="2024-03-11T14:29:47.729" v="24241"/>
          <ac:spMkLst>
            <pc:docMk/>
            <pc:sldMk cId="785221003" sldId="918"/>
            <ac:spMk id="9" creationId="{D6675418-2A93-363B-B413-4411681F4838}"/>
          </ac:spMkLst>
        </pc:spChg>
        <pc:spChg chg="del">
          <ac:chgData name="Nataliia Chornii (UA)" userId="4e4b8b3d-5f31-49bb-9f80-8a25c04abfff" providerId="ADAL" clId="{EE97D3FE-9ACA-4467-98E5-532EC45D9D1C}" dt="2024-03-01T15:19:40.751" v="17046" actId="478"/>
          <ac:spMkLst>
            <pc:docMk/>
            <pc:sldMk cId="785221003" sldId="918"/>
            <ac:spMk id="10" creationId="{489B7680-E5EE-2A50-7733-37F2F144B869}"/>
          </ac:spMkLst>
        </pc:spChg>
        <pc:spChg chg="del mod">
          <ac:chgData name="Nataliia Chornii (UA)" userId="4e4b8b3d-5f31-49bb-9f80-8a25c04abfff" providerId="ADAL" clId="{EE97D3FE-9ACA-4467-98E5-532EC45D9D1C}" dt="2024-03-01T15:21:02.149" v="17052" actId="478"/>
          <ac:spMkLst>
            <pc:docMk/>
            <pc:sldMk cId="785221003" sldId="918"/>
            <ac:spMk id="11" creationId="{327B1A4B-6980-7B00-091C-6006703B82A0}"/>
          </ac:spMkLst>
        </pc:spChg>
        <pc:spChg chg="add del mod modVis">
          <ac:chgData name="Nataliia Chornii (UA)" userId="4e4b8b3d-5f31-49bb-9f80-8a25c04abfff" providerId="ADAL" clId="{EE97D3FE-9ACA-4467-98E5-532EC45D9D1C}" dt="2024-03-01T08:49:33.738" v="2814"/>
          <ac:spMkLst>
            <pc:docMk/>
            <pc:sldMk cId="785221003" sldId="918"/>
            <ac:spMk id="13" creationId="{F2F39DDB-97BF-07D4-08F0-4D77FE014842}"/>
          </ac:spMkLst>
        </pc:spChg>
        <pc:spChg chg="add del mod modVis">
          <ac:chgData name="Nataliia Chornii (UA)" userId="4e4b8b3d-5f31-49bb-9f80-8a25c04abfff" providerId="ADAL" clId="{EE97D3FE-9ACA-4467-98E5-532EC45D9D1C}" dt="2024-03-01T08:49:59.788" v="3802"/>
          <ac:spMkLst>
            <pc:docMk/>
            <pc:sldMk cId="785221003" sldId="918"/>
            <ac:spMk id="14" creationId="{5F35AFF9-51E3-210C-E519-1B81CADF5693}"/>
          </ac:spMkLst>
        </pc:spChg>
        <pc:spChg chg="add del mod modVis">
          <ac:chgData name="Nataliia Chornii (UA)" userId="4e4b8b3d-5f31-49bb-9f80-8a25c04abfff" providerId="ADAL" clId="{EE97D3FE-9ACA-4467-98E5-532EC45D9D1C}" dt="2024-03-01T08:51:26.106" v="4790"/>
          <ac:spMkLst>
            <pc:docMk/>
            <pc:sldMk cId="785221003" sldId="918"/>
            <ac:spMk id="15" creationId="{E5530182-F8A7-FC09-87C9-CBF87BA553FD}"/>
          </ac:spMkLst>
        </pc:spChg>
        <pc:spChg chg="add del mod modVis">
          <ac:chgData name="Nataliia Chornii (UA)" userId="4e4b8b3d-5f31-49bb-9f80-8a25c04abfff" providerId="ADAL" clId="{EE97D3FE-9ACA-4467-98E5-532EC45D9D1C}" dt="2024-03-01T08:51:56.094" v="5779"/>
          <ac:spMkLst>
            <pc:docMk/>
            <pc:sldMk cId="785221003" sldId="918"/>
            <ac:spMk id="16" creationId="{8DAF834F-898A-3EC3-B954-4118463FEB08}"/>
          </ac:spMkLst>
        </pc:spChg>
        <pc:spChg chg="add del mod modVis">
          <ac:chgData name="Nataliia Chornii (UA)" userId="4e4b8b3d-5f31-49bb-9f80-8a25c04abfff" providerId="ADAL" clId="{EE97D3FE-9ACA-4467-98E5-532EC45D9D1C}" dt="2024-03-01T08:52:18.267" v="6767"/>
          <ac:spMkLst>
            <pc:docMk/>
            <pc:sldMk cId="785221003" sldId="918"/>
            <ac:spMk id="17" creationId="{88C5AEF0-2751-EFE0-3FE2-3A6864E410F0}"/>
          </ac:spMkLst>
        </pc:spChg>
        <pc:spChg chg="add del mod">
          <ac:chgData name="Nataliia Chornii (UA)" userId="4e4b8b3d-5f31-49bb-9f80-8a25c04abfff" providerId="ADAL" clId="{EE97D3FE-9ACA-4467-98E5-532EC45D9D1C}" dt="2024-03-11T14:29:47.411" v="24240" actId="478"/>
          <ac:spMkLst>
            <pc:docMk/>
            <pc:sldMk cId="785221003" sldId="918"/>
            <ac:spMk id="18" creationId="{23E9260F-7D31-ECC7-43D3-C957B0AE80DF}"/>
          </ac:spMkLst>
        </pc:spChg>
        <pc:spChg chg="add mod">
          <ac:chgData name="Nataliia Chornii (UA)" userId="4e4b8b3d-5f31-49bb-9f80-8a25c04abfff" providerId="ADAL" clId="{EE97D3FE-9ACA-4467-98E5-532EC45D9D1C}" dt="2024-03-01T15:21:23.813" v="17086"/>
          <ac:spMkLst>
            <pc:docMk/>
            <pc:sldMk cId="785221003" sldId="918"/>
            <ac:spMk id="19" creationId="{827EABF6-479E-1D54-0AC1-0797AA292992}"/>
          </ac:spMkLst>
        </pc:spChg>
        <pc:spChg chg="add mod">
          <ac:chgData name="Nataliia Chornii (UA)" userId="4e4b8b3d-5f31-49bb-9f80-8a25c04abfff" providerId="ADAL" clId="{EE97D3FE-9ACA-4467-98E5-532EC45D9D1C}" dt="2024-03-01T15:20:59.939" v="17051"/>
          <ac:spMkLst>
            <pc:docMk/>
            <pc:sldMk cId="785221003" sldId="918"/>
            <ac:spMk id="20" creationId="{847D706E-F710-03AC-BCF0-D538BE2E2785}"/>
          </ac:spMkLst>
        </pc:spChg>
        <pc:spChg chg="add mod">
          <ac:chgData name="Nataliia Chornii (UA)" userId="4e4b8b3d-5f31-49bb-9f80-8a25c04abfff" providerId="ADAL" clId="{EE97D3FE-9ACA-4467-98E5-532EC45D9D1C}" dt="2024-03-01T15:20:59.939" v="17051"/>
          <ac:spMkLst>
            <pc:docMk/>
            <pc:sldMk cId="785221003" sldId="918"/>
            <ac:spMk id="21" creationId="{61C8033F-9026-6947-7EE6-397F054EE5E9}"/>
          </ac:spMkLst>
        </pc:spChg>
        <pc:spChg chg="add mod">
          <ac:chgData name="Nataliia Chornii (UA)" userId="4e4b8b3d-5f31-49bb-9f80-8a25c04abfff" providerId="ADAL" clId="{EE97D3FE-9ACA-4467-98E5-532EC45D9D1C}" dt="2024-03-01T15:20:59.939" v="17051"/>
          <ac:spMkLst>
            <pc:docMk/>
            <pc:sldMk cId="785221003" sldId="918"/>
            <ac:spMk id="22" creationId="{B09E11E2-8AE6-0A0F-4A94-E932ABB73C99}"/>
          </ac:spMkLst>
        </pc:spChg>
        <pc:spChg chg="add mod">
          <ac:chgData name="Nataliia Chornii (UA)" userId="4e4b8b3d-5f31-49bb-9f80-8a25c04abfff" providerId="ADAL" clId="{EE97D3FE-9ACA-4467-98E5-532EC45D9D1C}" dt="2024-03-01T15:20:59.939" v="17051"/>
          <ac:spMkLst>
            <pc:docMk/>
            <pc:sldMk cId="785221003" sldId="918"/>
            <ac:spMk id="23" creationId="{BE5CF2FF-6329-BA97-D895-B7D9631A9ED4}"/>
          </ac:spMkLst>
        </pc:spChg>
        <pc:spChg chg="add mod">
          <ac:chgData name="Nataliia Chornii (UA)" userId="4e4b8b3d-5f31-49bb-9f80-8a25c04abfff" providerId="ADAL" clId="{EE97D3FE-9ACA-4467-98E5-532EC45D9D1C}" dt="2024-03-01T15:21:49.434" v="17094" actId="552"/>
          <ac:spMkLst>
            <pc:docMk/>
            <pc:sldMk cId="785221003" sldId="918"/>
            <ac:spMk id="24" creationId="{626CA42B-7CD9-E034-925C-318DE6B1B621}"/>
          </ac:spMkLst>
        </pc:spChg>
        <pc:spChg chg="mod">
          <ac:chgData name="Nataliia Chornii (UA)" userId="4e4b8b3d-5f31-49bb-9f80-8a25c04abfff" providerId="ADAL" clId="{EE97D3FE-9ACA-4467-98E5-532EC45D9D1C}" dt="2024-03-01T15:20:59.939" v="17051"/>
          <ac:spMkLst>
            <pc:docMk/>
            <pc:sldMk cId="785221003" sldId="918"/>
            <ac:spMk id="26" creationId="{1D5CC5FA-E4E2-B6C1-ED9E-17D84C8C96B1}"/>
          </ac:spMkLst>
        </pc:spChg>
        <pc:spChg chg="mod">
          <ac:chgData name="Nataliia Chornii (UA)" userId="4e4b8b3d-5f31-49bb-9f80-8a25c04abfff" providerId="ADAL" clId="{EE97D3FE-9ACA-4467-98E5-532EC45D9D1C}" dt="2024-03-01T15:20:59.939" v="17051"/>
          <ac:spMkLst>
            <pc:docMk/>
            <pc:sldMk cId="785221003" sldId="918"/>
            <ac:spMk id="27" creationId="{092277DB-BA50-6537-4310-BF69D5C5B122}"/>
          </ac:spMkLst>
        </pc:spChg>
        <pc:spChg chg="mod">
          <ac:chgData name="Nataliia Chornii (UA)" userId="4e4b8b3d-5f31-49bb-9f80-8a25c04abfff" providerId="ADAL" clId="{EE97D3FE-9ACA-4467-98E5-532EC45D9D1C}" dt="2024-03-01T15:20:59.939" v="17051"/>
          <ac:spMkLst>
            <pc:docMk/>
            <pc:sldMk cId="785221003" sldId="918"/>
            <ac:spMk id="28" creationId="{4EE197B0-8DE5-F0F1-FF3C-F17D1EDE6597}"/>
          </ac:spMkLst>
        </pc:spChg>
        <pc:spChg chg="add mod">
          <ac:chgData name="Nataliia Chornii (UA)" userId="4e4b8b3d-5f31-49bb-9f80-8a25c04abfff" providerId="ADAL" clId="{EE97D3FE-9ACA-4467-98E5-532EC45D9D1C}" dt="2024-03-01T15:20:59.939" v="17051"/>
          <ac:spMkLst>
            <pc:docMk/>
            <pc:sldMk cId="785221003" sldId="918"/>
            <ac:spMk id="29" creationId="{EAD00C83-2924-49D8-CEA1-9E5AB7ED0D17}"/>
          </ac:spMkLst>
        </pc:spChg>
        <pc:spChg chg="add mod">
          <ac:chgData name="Nataliia Chornii (UA)" userId="4e4b8b3d-5f31-49bb-9f80-8a25c04abfff" providerId="ADAL" clId="{EE97D3FE-9ACA-4467-98E5-532EC45D9D1C}" dt="2024-03-01T15:20:59.939" v="17051"/>
          <ac:spMkLst>
            <pc:docMk/>
            <pc:sldMk cId="785221003" sldId="918"/>
            <ac:spMk id="30" creationId="{EE8F8324-6D8B-6B2B-257E-B0AD4FD556D2}"/>
          </ac:spMkLst>
        </pc:spChg>
        <pc:spChg chg="add mod">
          <ac:chgData name="Nataliia Chornii (UA)" userId="4e4b8b3d-5f31-49bb-9f80-8a25c04abfff" providerId="ADAL" clId="{EE97D3FE-9ACA-4467-98E5-532EC45D9D1C}" dt="2024-03-01T15:20:59.939" v="17051"/>
          <ac:spMkLst>
            <pc:docMk/>
            <pc:sldMk cId="785221003" sldId="918"/>
            <ac:spMk id="31" creationId="{6E059F87-0DD1-5DD0-DFE1-EAFE24644414}"/>
          </ac:spMkLst>
        </pc:spChg>
        <pc:spChg chg="add mod">
          <ac:chgData name="Nataliia Chornii (UA)" userId="4e4b8b3d-5f31-49bb-9f80-8a25c04abfff" providerId="ADAL" clId="{EE97D3FE-9ACA-4467-98E5-532EC45D9D1C}" dt="2024-03-01T15:22:55.541" v="17137" actId="555"/>
          <ac:spMkLst>
            <pc:docMk/>
            <pc:sldMk cId="785221003" sldId="918"/>
            <ac:spMk id="32" creationId="{498DF9C8-E99C-2B4F-A3C1-C58A792C99F7}"/>
          </ac:spMkLst>
        </pc:spChg>
        <pc:spChg chg="add del mod ord">
          <ac:chgData name="Nataliia Chornii (UA)" userId="4e4b8b3d-5f31-49bb-9f80-8a25c04abfff" providerId="ADAL" clId="{EE97D3FE-9ACA-4467-98E5-532EC45D9D1C}" dt="2024-03-01T15:21:06.627" v="17053" actId="700"/>
          <ac:spMkLst>
            <pc:docMk/>
            <pc:sldMk cId="785221003" sldId="918"/>
            <ac:spMk id="34" creationId="{86E1F084-DFB5-2BFD-A75F-42D9E1623743}"/>
          </ac:spMkLst>
        </pc:spChg>
        <pc:spChg chg="add del mod ord">
          <ac:chgData name="Nataliia Chornii (UA)" userId="4e4b8b3d-5f31-49bb-9f80-8a25c04abfff" providerId="ADAL" clId="{EE97D3FE-9ACA-4467-98E5-532EC45D9D1C}" dt="2024-03-01T15:21:10.098" v="17081" actId="478"/>
          <ac:spMkLst>
            <pc:docMk/>
            <pc:sldMk cId="785221003" sldId="918"/>
            <ac:spMk id="35" creationId="{A2A81ABD-C8D0-00F5-A8E7-FA5FAF31C30C}"/>
          </ac:spMkLst>
        </pc:spChg>
        <pc:spChg chg="add del mod modVis">
          <ac:chgData name="Nataliia Chornii (UA)" userId="4e4b8b3d-5f31-49bb-9f80-8a25c04abfff" providerId="ADAL" clId="{EE97D3FE-9ACA-4467-98E5-532EC45D9D1C}" dt="2024-03-01T15:21:07.148" v="17077"/>
          <ac:spMkLst>
            <pc:docMk/>
            <pc:sldMk cId="785221003" sldId="918"/>
            <ac:spMk id="36" creationId="{19D5B8DA-F523-1423-5EB3-81D4DC05526F}"/>
          </ac:spMkLst>
        </pc:spChg>
        <pc:spChg chg="add del mod">
          <ac:chgData name="Nataliia Chornii (UA)" userId="4e4b8b3d-5f31-49bb-9f80-8a25c04abfff" providerId="ADAL" clId="{EE97D3FE-9ACA-4467-98E5-532EC45D9D1C}" dt="2024-03-01T15:21:25.578" v="17087" actId="478"/>
          <ac:spMkLst>
            <pc:docMk/>
            <pc:sldMk cId="785221003" sldId="918"/>
            <ac:spMk id="37" creationId="{52DCBF02-20AB-FB78-7F1B-DDFA4AAAC10F}"/>
          </ac:spMkLst>
        </pc:spChg>
        <pc:spChg chg="add del mod">
          <ac:chgData name="Nataliia Chornii (UA)" userId="4e4b8b3d-5f31-49bb-9f80-8a25c04abfff" providerId="ADAL" clId="{EE97D3FE-9ACA-4467-98E5-532EC45D9D1C}" dt="2024-03-01T15:22:45.234" v="17135" actId="478"/>
          <ac:spMkLst>
            <pc:docMk/>
            <pc:sldMk cId="785221003" sldId="918"/>
            <ac:spMk id="38" creationId="{457D081F-7EC8-3099-9C3F-C5869A148F31}"/>
          </ac:spMkLst>
        </pc:spChg>
        <pc:spChg chg="add del mod">
          <ac:chgData name="Nataliia Chornii (UA)" userId="4e4b8b3d-5f31-49bb-9f80-8a25c04abfff" providerId="ADAL" clId="{EE97D3FE-9ACA-4467-98E5-532EC45D9D1C}" dt="2024-03-01T15:21:25.578" v="17087" actId="478"/>
          <ac:spMkLst>
            <pc:docMk/>
            <pc:sldMk cId="785221003" sldId="918"/>
            <ac:spMk id="39" creationId="{C9CCA64B-1AB2-BA41-8AD5-77EF9C8084C7}"/>
          </ac:spMkLst>
        </pc:spChg>
        <pc:spChg chg="add mod topLvl">
          <ac:chgData name="Nataliia Chornii (UA)" userId="4e4b8b3d-5f31-49bb-9f80-8a25c04abfff" providerId="ADAL" clId="{EE97D3FE-9ACA-4467-98E5-532EC45D9D1C}" dt="2024-03-01T15:21:50.317" v="17095" actId="165"/>
          <ac:spMkLst>
            <pc:docMk/>
            <pc:sldMk cId="785221003" sldId="918"/>
            <ac:spMk id="40" creationId="{E7DFDF9F-592A-F0CA-2966-D927B82170D7}"/>
          </ac:spMkLst>
        </pc:spChg>
        <pc:spChg chg="add mod topLvl">
          <ac:chgData name="Nataliia Chornii (UA)" userId="4e4b8b3d-5f31-49bb-9f80-8a25c04abfff" providerId="ADAL" clId="{EE97D3FE-9ACA-4467-98E5-532EC45D9D1C}" dt="2024-03-01T15:21:50.317" v="17095" actId="165"/>
          <ac:spMkLst>
            <pc:docMk/>
            <pc:sldMk cId="785221003" sldId="918"/>
            <ac:spMk id="41" creationId="{948C0DCA-7348-FCD6-02E7-70F96CB85371}"/>
          </ac:spMkLst>
        </pc:spChg>
        <pc:spChg chg="add mod topLvl">
          <ac:chgData name="Nataliia Chornii (UA)" userId="4e4b8b3d-5f31-49bb-9f80-8a25c04abfff" providerId="ADAL" clId="{EE97D3FE-9ACA-4467-98E5-532EC45D9D1C}" dt="2024-03-01T15:22:59.262" v="17138" actId="465"/>
          <ac:spMkLst>
            <pc:docMk/>
            <pc:sldMk cId="785221003" sldId="918"/>
            <ac:spMk id="42" creationId="{D0960EB4-A2F3-DA4E-033D-4FC6F9827739}"/>
          </ac:spMkLst>
        </pc:spChg>
        <pc:spChg chg="add mod topLvl">
          <ac:chgData name="Nataliia Chornii (UA)" userId="4e4b8b3d-5f31-49bb-9f80-8a25c04abfff" providerId="ADAL" clId="{EE97D3FE-9ACA-4467-98E5-532EC45D9D1C}" dt="2024-03-01T15:22:59.262" v="17138" actId="465"/>
          <ac:spMkLst>
            <pc:docMk/>
            <pc:sldMk cId="785221003" sldId="918"/>
            <ac:spMk id="43" creationId="{5E8528F0-B4BD-7341-A99F-8A53E01D7F5D}"/>
          </ac:spMkLst>
        </pc:spChg>
        <pc:spChg chg="add mod topLvl">
          <ac:chgData name="Nataliia Chornii (UA)" userId="4e4b8b3d-5f31-49bb-9f80-8a25c04abfff" providerId="ADAL" clId="{EE97D3FE-9ACA-4467-98E5-532EC45D9D1C}" dt="2024-03-01T15:22:55.541" v="17137" actId="555"/>
          <ac:spMkLst>
            <pc:docMk/>
            <pc:sldMk cId="785221003" sldId="918"/>
            <ac:spMk id="44" creationId="{9F357977-85D3-0A26-C484-1D746BE796D3}"/>
          </ac:spMkLst>
        </pc:spChg>
        <pc:spChg chg="add mod topLvl">
          <ac:chgData name="Nataliia Chornii (UA)" userId="4e4b8b3d-5f31-49bb-9f80-8a25c04abfff" providerId="ADAL" clId="{EE97D3FE-9ACA-4467-98E5-532EC45D9D1C}" dt="2024-03-01T15:21:50.317" v="17095" actId="165"/>
          <ac:spMkLst>
            <pc:docMk/>
            <pc:sldMk cId="785221003" sldId="918"/>
            <ac:spMk id="45" creationId="{F17A6BB1-ABB8-2B7A-05AC-E37C9BF8E581}"/>
          </ac:spMkLst>
        </pc:spChg>
        <pc:spChg chg="add mod topLvl">
          <ac:chgData name="Nataliia Chornii (UA)" userId="4e4b8b3d-5f31-49bb-9f80-8a25c04abfff" providerId="ADAL" clId="{EE97D3FE-9ACA-4467-98E5-532EC45D9D1C}" dt="2024-03-01T15:21:50.317" v="17095" actId="165"/>
          <ac:spMkLst>
            <pc:docMk/>
            <pc:sldMk cId="785221003" sldId="918"/>
            <ac:spMk id="47" creationId="{085AB03D-1000-EACA-A2C3-56C47B409C5B}"/>
          </ac:spMkLst>
        </pc:spChg>
        <pc:spChg chg="add mod topLvl">
          <ac:chgData name="Nataliia Chornii (UA)" userId="4e4b8b3d-5f31-49bb-9f80-8a25c04abfff" providerId="ADAL" clId="{EE97D3FE-9ACA-4467-98E5-532EC45D9D1C}" dt="2024-03-01T15:21:50.317" v="17095" actId="165"/>
          <ac:spMkLst>
            <pc:docMk/>
            <pc:sldMk cId="785221003" sldId="918"/>
            <ac:spMk id="48" creationId="{AB2CB7B3-00A8-4BDF-F99B-904321C2FB7F}"/>
          </ac:spMkLst>
        </pc:spChg>
        <pc:spChg chg="add mod topLvl">
          <ac:chgData name="Nataliia Chornii (UA)" userId="4e4b8b3d-5f31-49bb-9f80-8a25c04abfff" providerId="ADAL" clId="{EE97D3FE-9ACA-4467-98E5-532EC45D9D1C}" dt="2024-03-01T15:23:07.617" v="17141" actId="1035"/>
          <ac:spMkLst>
            <pc:docMk/>
            <pc:sldMk cId="785221003" sldId="918"/>
            <ac:spMk id="49" creationId="{345770BF-53B5-8752-0746-7658F0373CD7}"/>
          </ac:spMkLst>
        </pc:spChg>
        <pc:spChg chg="add mod topLvl">
          <ac:chgData name="Nataliia Chornii (UA)" userId="4e4b8b3d-5f31-49bb-9f80-8a25c04abfff" providerId="ADAL" clId="{EE97D3FE-9ACA-4467-98E5-532EC45D9D1C}" dt="2024-03-01T15:23:03.343" v="17139" actId="1076"/>
          <ac:spMkLst>
            <pc:docMk/>
            <pc:sldMk cId="785221003" sldId="918"/>
            <ac:spMk id="50" creationId="{7F881EA9-8822-B77F-AFA9-7F65F90F62C7}"/>
          </ac:spMkLst>
        </pc:spChg>
        <pc:spChg chg="add mod topLvl">
          <ac:chgData name="Nataliia Chornii (UA)" userId="4e4b8b3d-5f31-49bb-9f80-8a25c04abfff" providerId="ADAL" clId="{EE97D3FE-9ACA-4467-98E5-532EC45D9D1C}" dt="2024-03-01T15:21:50.317" v="17095" actId="165"/>
          <ac:spMkLst>
            <pc:docMk/>
            <pc:sldMk cId="785221003" sldId="918"/>
            <ac:spMk id="51" creationId="{A8A06EA0-CE73-3CAC-664B-15CD52DDE7C1}"/>
          </ac:spMkLst>
        </pc:spChg>
        <pc:spChg chg="add mod topLvl">
          <ac:chgData name="Nataliia Chornii (UA)" userId="4e4b8b3d-5f31-49bb-9f80-8a25c04abfff" providerId="ADAL" clId="{EE97D3FE-9ACA-4467-98E5-532EC45D9D1C}" dt="2024-03-01T15:21:50.317" v="17095" actId="165"/>
          <ac:spMkLst>
            <pc:docMk/>
            <pc:sldMk cId="785221003" sldId="918"/>
            <ac:spMk id="52" creationId="{E0491BA6-4EAC-C6A2-0710-B8EBE4271701}"/>
          </ac:spMkLst>
        </pc:spChg>
        <pc:spChg chg="add mod topLvl">
          <ac:chgData name="Nataliia Chornii (UA)" userId="4e4b8b3d-5f31-49bb-9f80-8a25c04abfff" providerId="ADAL" clId="{EE97D3FE-9ACA-4467-98E5-532EC45D9D1C}" dt="2024-03-01T15:21:50.317" v="17095" actId="165"/>
          <ac:spMkLst>
            <pc:docMk/>
            <pc:sldMk cId="785221003" sldId="918"/>
            <ac:spMk id="53" creationId="{BE991518-07C2-B796-3C8E-E23AB9701B79}"/>
          </ac:spMkLst>
        </pc:spChg>
        <pc:spChg chg="add mod">
          <ac:chgData name="Nataliia Chornii (UA)" userId="4e4b8b3d-5f31-49bb-9f80-8a25c04abfff" providerId="ADAL" clId="{EE97D3FE-9ACA-4467-98E5-532EC45D9D1C}" dt="2024-03-01T15:22:20.373" v="17129"/>
          <ac:spMkLst>
            <pc:docMk/>
            <pc:sldMk cId="785221003" sldId="918"/>
            <ac:spMk id="55" creationId="{0AC02ECA-987D-40AF-BE7A-B239872F0524}"/>
          </ac:spMkLst>
        </pc:spChg>
        <pc:spChg chg="add mod">
          <ac:chgData name="Nataliia Chornii (UA)" userId="4e4b8b3d-5f31-49bb-9f80-8a25c04abfff" providerId="ADAL" clId="{EE97D3FE-9ACA-4467-98E5-532EC45D9D1C}" dt="2024-03-01T15:23:13.846" v="17142" actId="465"/>
          <ac:spMkLst>
            <pc:docMk/>
            <pc:sldMk cId="785221003" sldId="918"/>
            <ac:spMk id="56" creationId="{C3C28A52-D275-6E2C-BE22-283C8364819D}"/>
          </ac:spMkLst>
        </pc:spChg>
        <pc:spChg chg="add mod">
          <ac:chgData name="Nataliia Chornii (UA)" userId="4e4b8b3d-5f31-49bb-9f80-8a25c04abfff" providerId="ADAL" clId="{EE97D3FE-9ACA-4467-98E5-532EC45D9D1C}" dt="2024-03-01T15:23:13.846" v="17142" actId="465"/>
          <ac:spMkLst>
            <pc:docMk/>
            <pc:sldMk cId="785221003" sldId="918"/>
            <ac:spMk id="57" creationId="{B157BBC1-EAD4-45A3-5D5A-DD3191AD5488}"/>
          </ac:spMkLst>
        </pc:spChg>
        <pc:spChg chg="add mod">
          <ac:chgData name="Nataliia Chornii (UA)" userId="4e4b8b3d-5f31-49bb-9f80-8a25c04abfff" providerId="ADAL" clId="{EE97D3FE-9ACA-4467-98E5-532EC45D9D1C}" dt="2024-03-01T15:23:13.846" v="17142" actId="465"/>
          <ac:spMkLst>
            <pc:docMk/>
            <pc:sldMk cId="785221003" sldId="918"/>
            <ac:spMk id="58" creationId="{2BCD24FF-F127-6E9F-1E4E-2363B2E8176F}"/>
          </ac:spMkLst>
        </pc:spChg>
        <pc:spChg chg="add del mod">
          <ac:chgData name="Nataliia Chornii (UA)" userId="4e4b8b3d-5f31-49bb-9f80-8a25c04abfff" providerId="ADAL" clId="{EE97D3FE-9ACA-4467-98E5-532EC45D9D1C}" dt="2024-03-01T15:22:02.351" v="17097" actId="478"/>
          <ac:spMkLst>
            <pc:docMk/>
            <pc:sldMk cId="785221003" sldId="918"/>
            <ac:spMk id="59" creationId="{291BBA69-D575-0548-0E88-91CA0CB3E942}"/>
          </ac:spMkLst>
        </pc:spChg>
        <pc:spChg chg="add del mod">
          <ac:chgData name="Nataliia Chornii (UA)" userId="4e4b8b3d-5f31-49bb-9f80-8a25c04abfff" providerId="ADAL" clId="{EE97D3FE-9ACA-4467-98E5-532EC45D9D1C}" dt="2024-03-01T15:22:02.351" v="17097" actId="478"/>
          <ac:spMkLst>
            <pc:docMk/>
            <pc:sldMk cId="785221003" sldId="918"/>
            <ac:spMk id="60" creationId="{B249CFB6-A675-2E07-4398-A58ECA14A3F6}"/>
          </ac:spMkLst>
        </pc:spChg>
        <pc:spChg chg="add mod">
          <ac:chgData name="Nataliia Chornii (UA)" userId="4e4b8b3d-5f31-49bb-9f80-8a25c04abfff" providerId="ADAL" clId="{EE97D3FE-9ACA-4467-98E5-532EC45D9D1C}" dt="2024-03-01T15:23:13.846" v="17142" actId="465"/>
          <ac:spMkLst>
            <pc:docMk/>
            <pc:sldMk cId="785221003" sldId="918"/>
            <ac:spMk id="61" creationId="{E5F98DAA-B86C-DE09-039A-F11E1F0780A4}"/>
          </ac:spMkLst>
        </pc:spChg>
        <pc:spChg chg="add mod">
          <ac:chgData name="Nataliia Chornii (UA)" userId="4e4b8b3d-5f31-49bb-9f80-8a25c04abfff" providerId="ADAL" clId="{EE97D3FE-9ACA-4467-98E5-532EC45D9D1C}" dt="2024-03-01T15:22:44.240" v="17134"/>
          <ac:spMkLst>
            <pc:docMk/>
            <pc:sldMk cId="785221003" sldId="918"/>
            <ac:spMk id="62" creationId="{D4227107-781D-25F3-67A7-75215C978573}"/>
          </ac:spMkLst>
        </pc:spChg>
        <pc:spChg chg="add del mod">
          <ac:chgData name="Nataliia Chornii (UA)" userId="4e4b8b3d-5f31-49bb-9f80-8a25c04abfff" providerId="ADAL" clId="{EE97D3FE-9ACA-4467-98E5-532EC45D9D1C}" dt="2024-03-01T15:22:02.351" v="17097" actId="478"/>
          <ac:spMkLst>
            <pc:docMk/>
            <pc:sldMk cId="785221003" sldId="918"/>
            <ac:spMk id="71" creationId="{F72BC3DD-7D5A-9125-A00C-A261924FF068}"/>
          </ac:spMkLst>
        </pc:spChg>
        <pc:grpChg chg="add mod">
          <ac:chgData name="Nataliia Chornii (UA)" userId="4e4b8b3d-5f31-49bb-9f80-8a25c04abfff" providerId="ADAL" clId="{EE97D3FE-9ACA-4467-98E5-532EC45D9D1C}" dt="2024-03-04T10:00:19.911" v="20229"/>
          <ac:grpSpMkLst>
            <pc:docMk/>
            <pc:sldMk cId="785221003" sldId="918"/>
            <ac:grpSpMk id="2" creationId="{8F0CE6DF-CA25-0F5B-805D-A9F9AE65047A}"/>
          </ac:grpSpMkLst>
        </pc:grpChg>
        <pc:grpChg chg="add mod">
          <ac:chgData name="Nataliia Chornii (UA)" userId="4e4b8b3d-5f31-49bb-9f80-8a25c04abfff" providerId="ADAL" clId="{EE97D3FE-9ACA-4467-98E5-532EC45D9D1C}" dt="2024-03-01T15:20:59.939" v="17051"/>
          <ac:grpSpMkLst>
            <pc:docMk/>
            <pc:sldMk cId="785221003" sldId="918"/>
            <ac:grpSpMk id="25" creationId="{8EEEE7BA-6741-828E-2C36-7DB0A2110164}"/>
          </ac:grpSpMkLst>
        </pc:grpChg>
        <pc:grpChg chg="add del mod">
          <ac:chgData name="Nataliia Chornii (UA)" userId="4e4b8b3d-5f31-49bb-9f80-8a25c04abfff" providerId="ADAL" clId="{EE97D3FE-9ACA-4467-98E5-532EC45D9D1C}" dt="2024-03-01T15:21:50.317" v="17095" actId="165"/>
          <ac:grpSpMkLst>
            <pc:docMk/>
            <pc:sldMk cId="785221003" sldId="918"/>
            <ac:grpSpMk id="54" creationId="{8B26D26D-342F-A3C0-4525-B44F0ADD1AA2}"/>
          </ac:grpSpMkLst>
        </pc:grpChg>
        <pc:graphicFrameChg chg="add mod ord modVis replST">
          <ac:chgData name="Nataliia Chornii (UA)" userId="4e4b8b3d-5f31-49bb-9f80-8a25c04abfff" providerId="ADAL" clId="{EE97D3FE-9ACA-4467-98E5-532EC45D9D1C}" dt="2024-03-01T15:22:08.489" v="17126"/>
          <ac:graphicFrameMkLst>
            <pc:docMk/>
            <pc:sldMk cId="785221003" sldId="918"/>
            <ac:graphicFrameMk id="12" creationId="{D666C9E8-6DFD-D4D1-8102-E97D69DD7F8B}"/>
          </ac:graphicFrameMkLst>
        </pc:graphicFrameChg>
        <pc:cxnChg chg="add mod topLvl">
          <ac:chgData name="Nataliia Chornii (UA)" userId="4e4b8b3d-5f31-49bb-9f80-8a25c04abfff" providerId="ADAL" clId="{EE97D3FE-9ACA-4467-98E5-532EC45D9D1C}" dt="2024-03-01T15:21:50.317" v="17095" actId="165"/>
          <ac:cxnSpMkLst>
            <pc:docMk/>
            <pc:sldMk cId="785221003" sldId="918"/>
            <ac:cxnSpMk id="46" creationId="{27AFD618-7ECB-3F0F-6F2E-55DBF37153BC}"/>
          </ac:cxnSpMkLst>
        </pc:cxnChg>
        <pc:cxnChg chg="add mod">
          <ac:chgData name="Nataliia Chornii (UA)" userId="4e4b8b3d-5f31-49bb-9f80-8a25c04abfff" providerId="ADAL" clId="{EE97D3FE-9ACA-4467-98E5-532EC45D9D1C}" dt="2024-03-01T15:23:13.846" v="17142" actId="465"/>
          <ac:cxnSpMkLst>
            <pc:docMk/>
            <pc:sldMk cId="785221003" sldId="918"/>
            <ac:cxnSpMk id="63" creationId="{31B040CF-6540-E531-4FCB-56B59B80EB7F}"/>
          </ac:cxnSpMkLst>
        </pc:cxnChg>
        <pc:cxnChg chg="add mod">
          <ac:chgData name="Nataliia Chornii (UA)" userId="4e4b8b3d-5f31-49bb-9f80-8a25c04abfff" providerId="ADAL" clId="{EE97D3FE-9ACA-4467-98E5-532EC45D9D1C}" dt="2024-03-01T15:23:13.846" v="17142" actId="465"/>
          <ac:cxnSpMkLst>
            <pc:docMk/>
            <pc:sldMk cId="785221003" sldId="918"/>
            <ac:cxnSpMk id="64" creationId="{96AF9122-AE78-ECF6-9687-CBD7365E3A59}"/>
          </ac:cxnSpMkLst>
        </pc:cxnChg>
        <pc:cxnChg chg="add mod">
          <ac:chgData name="Nataliia Chornii (UA)" userId="4e4b8b3d-5f31-49bb-9f80-8a25c04abfff" providerId="ADAL" clId="{EE97D3FE-9ACA-4467-98E5-532EC45D9D1C}" dt="2024-03-01T15:23:13.846" v="17142" actId="465"/>
          <ac:cxnSpMkLst>
            <pc:docMk/>
            <pc:sldMk cId="785221003" sldId="918"/>
            <ac:cxnSpMk id="65" creationId="{8579AF8C-577F-0814-EFD6-67A60D929ED2}"/>
          </ac:cxnSpMkLst>
        </pc:cxnChg>
        <pc:cxnChg chg="add mod">
          <ac:chgData name="Nataliia Chornii (UA)" userId="4e4b8b3d-5f31-49bb-9f80-8a25c04abfff" providerId="ADAL" clId="{EE97D3FE-9ACA-4467-98E5-532EC45D9D1C}" dt="2024-03-01T15:23:13.846" v="17142" actId="465"/>
          <ac:cxnSpMkLst>
            <pc:docMk/>
            <pc:sldMk cId="785221003" sldId="918"/>
            <ac:cxnSpMk id="66" creationId="{73045070-3E8B-1D35-97F3-7226B0B5550A}"/>
          </ac:cxnSpMkLst>
        </pc:cxnChg>
        <pc:cxnChg chg="add mod">
          <ac:chgData name="Nataliia Chornii (UA)" userId="4e4b8b3d-5f31-49bb-9f80-8a25c04abfff" providerId="ADAL" clId="{EE97D3FE-9ACA-4467-98E5-532EC45D9D1C}" dt="2024-03-01T15:23:13.846" v="17142" actId="465"/>
          <ac:cxnSpMkLst>
            <pc:docMk/>
            <pc:sldMk cId="785221003" sldId="918"/>
            <ac:cxnSpMk id="67" creationId="{8303DD6B-855C-69D1-AA97-9B41427E38B6}"/>
          </ac:cxnSpMkLst>
        </pc:cxnChg>
        <pc:cxnChg chg="add del mod">
          <ac:chgData name="Nataliia Chornii (UA)" userId="4e4b8b3d-5f31-49bb-9f80-8a25c04abfff" providerId="ADAL" clId="{EE97D3FE-9ACA-4467-98E5-532EC45D9D1C}" dt="2024-03-01T15:22:02.351" v="17097" actId="478"/>
          <ac:cxnSpMkLst>
            <pc:docMk/>
            <pc:sldMk cId="785221003" sldId="918"/>
            <ac:cxnSpMk id="68" creationId="{5371978A-ACD9-85EE-86E7-3E5CFDDA6848}"/>
          </ac:cxnSpMkLst>
        </pc:cxnChg>
        <pc:cxnChg chg="add del mod">
          <ac:chgData name="Nataliia Chornii (UA)" userId="4e4b8b3d-5f31-49bb-9f80-8a25c04abfff" providerId="ADAL" clId="{EE97D3FE-9ACA-4467-98E5-532EC45D9D1C}" dt="2024-03-01T15:22:02.351" v="17097" actId="478"/>
          <ac:cxnSpMkLst>
            <pc:docMk/>
            <pc:sldMk cId="785221003" sldId="918"/>
            <ac:cxnSpMk id="69" creationId="{4D496650-DADC-2C00-3B88-31B2D386FBBD}"/>
          </ac:cxnSpMkLst>
        </pc:cxnChg>
        <pc:cxnChg chg="add del mod">
          <ac:chgData name="Nataliia Chornii (UA)" userId="4e4b8b3d-5f31-49bb-9f80-8a25c04abfff" providerId="ADAL" clId="{EE97D3FE-9ACA-4467-98E5-532EC45D9D1C}" dt="2024-03-01T15:22:02.351" v="17097" actId="478"/>
          <ac:cxnSpMkLst>
            <pc:docMk/>
            <pc:sldMk cId="785221003" sldId="918"/>
            <ac:cxnSpMk id="70" creationId="{B2E62905-AFB9-7777-B280-80CB214257D2}"/>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2:41.119" v="22439"/>
              <pc2:cmMkLst xmlns:pc2="http://schemas.microsoft.com/office/powerpoint/2019/9/main/command">
                <pc:docMk/>
                <pc:sldMk cId="785221003" sldId="918"/>
                <pc2:cmMk id="{39B106E8-C7E7-4FB5-92B8-011F0FC0D0A6}"/>
              </pc2:cmMkLst>
            </pc226:cmChg>
          </p:ext>
        </pc:extLst>
      </pc:sldChg>
      <pc:sldChg chg="addSp delSp modSp mod modClrScheme modCm chgLayout">
        <pc:chgData name="Nataliia Chornii (UA)" userId="4e4b8b3d-5f31-49bb-9f80-8a25c04abfff" providerId="ADAL" clId="{EE97D3FE-9ACA-4467-98E5-532EC45D9D1C}" dt="2024-03-11T14:29:59.392" v="24247" actId="478"/>
        <pc:sldMkLst>
          <pc:docMk/>
          <pc:sldMk cId="2008209705" sldId="919"/>
        </pc:sldMkLst>
        <pc:spChg chg="add mod">
          <ac:chgData name="Nataliia Chornii (UA)" userId="4e4b8b3d-5f31-49bb-9f80-8a25c04abfff" providerId="ADAL" clId="{EE97D3FE-9ACA-4467-98E5-532EC45D9D1C}" dt="2024-03-11T14:26:08.974" v="24088"/>
          <ac:spMkLst>
            <pc:docMk/>
            <pc:sldMk cId="2008209705" sldId="919"/>
            <ac:spMk id="2" creationId="{1A11DA6D-DA25-ED8D-5C57-8D2D2452FA26}"/>
          </ac:spMkLst>
        </pc:spChg>
        <pc:spChg chg="add del mod modVis">
          <ac:chgData name="Nataliia Chornii (UA)" userId="4e4b8b3d-5f31-49bb-9f80-8a25c04abfff" providerId="ADAL" clId="{EE97D3FE-9ACA-4467-98E5-532EC45D9D1C}" dt="2024-03-04T10:01:08.076" v="20316"/>
          <ac:spMkLst>
            <pc:docMk/>
            <pc:sldMk cId="2008209705" sldId="919"/>
            <ac:spMk id="2" creationId="{7E4C7FE7-55F1-72DD-75BC-C464DE7E098F}"/>
          </ac:spMkLst>
        </pc:spChg>
        <pc:spChg chg="del mod ord">
          <ac:chgData name="Nataliia Chornii (UA)" userId="4e4b8b3d-5f31-49bb-9f80-8a25c04abfff" providerId="ADAL" clId="{EE97D3FE-9ACA-4467-98E5-532EC45D9D1C}" dt="2024-03-01T13:21:51.294" v="12988" actId="478"/>
          <ac:spMkLst>
            <pc:docMk/>
            <pc:sldMk cId="2008209705" sldId="919"/>
            <ac:spMk id="2" creationId="{C9BF2A51-7557-EA83-DCCB-BCD30FDA6886}"/>
          </ac:spMkLst>
        </pc:spChg>
        <pc:spChg chg="mod ord">
          <ac:chgData name="Nataliia Chornii (UA)" userId="4e4b8b3d-5f31-49bb-9f80-8a25c04abfff" providerId="ADAL" clId="{EE97D3FE-9ACA-4467-98E5-532EC45D9D1C}" dt="2024-03-04T10:01:08.046" v="20274"/>
          <ac:spMkLst>
            <pc:docMk/>
            <pc:sldMk cId="2008209705" sldId="919"/>
            <ac:spMk id="3" creationId="{F4CCF02E-F3C4-C376-8F56-61BD85A2E74B}"/>
          </ac:spMkLst>
        </pc:spChg>
        <pc:spChg chg="mod ord">
          <ac:chgData name="Nataliia Chornii (UA)" userId="4e4b8b3d-5f31-49bb-9f80-8a25c04abfff" providerId="ADAL" clId="{EE97D3FE-9ACA-4467-98E5-532EC45D9D1C}" dt="2024-03-04T10:01:08.060" v="20276"/>
          <ac:spMkLst>
            <pc:docMk/>
            <pc:sldMk cId="2008209705" sldId="919"/>
            <ac:spMk id="4" creationId="{872966CD-924A-B939-E655-A6BAF817DCBF}"/>
          </ac:spMkLst>
        </pc:spChg>
        <pc:spChg chg="del">
          <ac:chgData name="Nataliia Chornii (UA)" userId="4e4b8b3d-5f31-49bb-9f80-8a25c04abfff" providerId="ADAL" clId="{EE97D3FE-9ACA-4467-98E5-532EC45D9D1C}" dt="2024-03-01T13:11:46.439" v="12383" actId="478"/>
          <ac:spMkLst>
            <pc:docMk/>
            <pc:sldMk cId="2008209705" sldId="919"/>
            <ac:spMk id="5" creationId="{FF11D90A-8D15-0E43-4C2E-D42257331C13}"/>
          </ac:spMkLst>
        </pc:spChg>
        <pc:spChg chg="del">
          <ac:chgData name="Nataliia Chornii (UA)" userId="4e4b8b3d-5f31-49bb-9f80-8a25c04abfff" providerId="ADAL" clId="{EE97D3FE-9ACA-4467-98E5-532EC45D9D1C}" dt="2024-03-01T13:11:46.439" v="12383" actId="478"/>
          <ac:spMkLst>
            <pc:docMk/>
            <pc:sldMk cId="2008209705" sldId="919"/>
            <ac:spMk id="6" creationId="{0F377277-EC46-FAC5-F379-194FCD82679C}"/>
          </ac:spMkLst>
        </pc:spChg>
        <pc:spChg chg="mod">
          <ac:chgData name="Nataliia Chornii (UA)" userId="4e4b8b3d-5f31-49bb-9f80-8a25c04abfff" providerId="ADAL" clId="{EE97D3FE-9ACA-4467-98E5-532EC45D9D1C}" dt="2024-03-11T14:26:08.974" v="24088"/>
          <ac:spMkLst>
            <pc:docMk/>
            <pc:sldMk cId="2008209705" sldId="919"/>
            <ac:spMk id="6" creationId="{152E980B-0604-EA1B-8C57-97CFA23B0841}"/>
          </ac:spMkLst>
        </pc:spChg>
        <pc:spChg chg="add del mod modVis">
          <ac:chgData name="Nataliia Chornii (UA)" userId="4e4b8b3d-5f31-49bb-9f80-8a25c04abfff" providerId="ADAL" clId="{EE97D3FE-9ACA-4467-98E5-532EC45D9D1C}" dt="2024-03-01T08:48:59.610" v="1427"/>
          <ac:spMkLst>
            <pc:docMk/>
            <pc:sldMk cId="2008209705" sldId="919"/>
            <ac:spMk id="7" creationId="{19D901D0-FE20-0FC2-C9F2-13934D534929}"/>
          </ac:spMkLst>
        </pc:spChg>
        <pc:spChg chg="mod">
          <ac:chgData name="Nataliia Chornii (UA)" userId="4e4b8b3d-5f31-49bb-9f80-8a25c04abfff" providerId="ADAL" clId="{EE97D3FE-9ACA-4467-98E5-532EC45D9D1C}" dt="2024-03-11T14:26:08.974" v="24088"/>
          <ac:spMkLst>
            <pc:docMk/>
            <pc:sldMk cId="2008209705" sldId="919"/>
            <ac:spMk id="7" creationId="{A12EB2C9-E210-E124-0273-45E27BBAAEA5}"/>
          </ac:spMkLst>
        </pc:spChg>
        <pc:spChg chg="mod">
          <ac:chgData name="Nataliia Chornii (UA)" userId="4e4b8b3d-5f31-49bb-9f80-8a25c04abfff" providerId="ADAL" clId="{EE97D3FE-9ACA-4467-98E5-532EC45D9D1C}" dt="2024-03-11T14:26:08.974" v="24088"/>
          <ac:spMkLst>
            <pc:docMk/>
            <pc:sldMk cId="2008209705" sldId="919"/>
            <ac:spMk id="8" creationId="{156B2AC7-A7FE-B1BA-FE9A-5319530BAFE9}"/>
          </ac:spMkLst>
        </pc:spChg>
        <pc:spChg chg="del mod ord">
          <ac:chgData name="Nataliia Chornii (UA)" userId="4e4b8b3d-5f31-49bb-9f80-8a25c04abfff" providerId="ADAL" clId="{EE97D3FE-9ACA-4467-98E5-532EC45D9D1C}" dt="2024-03-01T13:13:45.128" v="12464" actId="478"/>
          <ac:spMkLst>
            <pc:docMk/>
            <pc:sldMk cId="2008209705" sldId="919"/>
            <ac:spMk id="8" creationId="{598AB23C-0BF9-85FE-4B7A-DC0CF1A85603}"/>
          </ac:spMkLst>
        </pc:spChg>
        <pc:spChg chg="del mod ord">
          <ac:chgData name="Nataliia Chornii (UA)" userId="4e4b8b3d-5f31-49bb-9f80-8a25c04abfff" providerId="ADAL" clId="{EE97D3FE-9ACA-4467-98E5-532EC45D9D1C}" dt="2024-03-01T13:27:40.456" v="13011" actId="478"/>
          <ac:spMkLst>
            <pc:docMk/>
            <pc:sldMk cId="2008209705" sldId="919"/>
            <ac:spMk id="10" creationId="{489B7680-E5EE-2A50-7733-37F2F144B869}"/>
          </ac:spMkLst>
        </pc:spChg>
        <pc:spChg chg="mod">
          <ac:chgData name="Nataliia Chornii (UA)" userId="4e4b8b3d-5f31-49bb-9f80-8a25c04abfff" providerId="ADAL" clId="{EE97D3FE-9ACA-4467-98E5-532EC45D9D1C}" dt="2024-03-11T14:26:08.974" v="24088"/>
          <ac:spMkLst>
            <pc:docMk/>
            <pc:sldMk cId="2008209705" sldId="919"/>
            <ac:spMk id="10" creationId="{A2887567-A851-FD6C-AF65-C74F0409C5D8}"/>
          </ac:spMkLst>
        </pc:spChg>
        <pc:spChg chg="del mod ord">
          <ac:chgData name="Nataliia Chornii (UA)" userId="4e4b8b3d-5f31-49bb-9f80-8a25c04abfff" providerId="ADAL" clId="{EE97D3FE-9ACA-4467-98E5-532EC45D9D1C}" dt="2024-03-01T13:13:45.128" v="12464" actId="478"/>
          <ac:spMkLst>
            <pc:docMk/>
            <pc:sldMk cId="2008209705" sldId="919"/>
            <ac:spMk id="11" creationId="{327B1A4B-6980-7B00-091C-6006703B82A0}"/>
          </ac:spMkLst>
        </pc:spChg>
        <pc:spChg chg="mod">
          <ac:chgData name="Nataliia Chornii (UA)" userId="4e4b8b3d-5f31-49bb-9f80-8a25c04abfff" providerId="ADAL" clId="{EE97D3FE-9ACA-4467-98E5-532EC45D9D1C}" dt="2024-03-11T14:26:08.974" v="24088"/>
          <ac:spMkLst>
            <pc:docMk/>
            <pc:sldMk cId="2008209705" sldId="919"/>
            <ac:spMk id="11" creationId="{3727D235-C9A9-C09F-892D-2D10558F980F}"/>
          </ac:spMkLst>
        </pc:spChg>
        <pc:spChg chg="mod ord">
          <ac:chgData name="Nataliia Chornii (UA)" userId="4e4b8b3d-5f31-49bb-9f80-8a25c04abfff" providerId="ADAL" clId="{EE97D3FE-9ACA-4467-98E5-532EC45D9D1C}" dt="2024-03-04T10:01:08.046" v="20252"/>
          <ac:spMkLst>
            <pc:docMk/>
            <pc:sldMk cId="2008209705" sldId="919"/>
            <ac:spMk id="12" creationId="{F17E280A-26FF-1631-ADC9-96AE3A637C2C}"/>
          </ac:spMkLst>
        </pc:spChg>
        <pc:spChg chg="mod ord">
          <ac:chgData name="Nataliia Chornii (UA)" userId="4e4b8b3d-5f31-49bb-9f80-8a25c04abfff" providerId="ADAL" clId="{EE97D3FE-9ACA-4467-98E5-532EC45D9D1C}" dt="2024-03-04T10:01:08.046" v="20254"/>
          <ac:spMkLst>
            <pc:docMk/>
            <pc:sldMk cId="2008209705" sldId="919"/>
            <ac:spMk id="13" creationId="{318FD8EE-145C-CF57-FA8A-2208CA63BD22}"/>
          </ac:spMkLst>
        </pc:spChg>
        <pc:spChg chg="add del mod modVis">
          <ac:chgData name="Nataliia Chornii (UA)" userId="4e4b8b3d-5f31-49bb-9f80-8a25c04abfff" providerId="ADAL" clId="{EE97D3FE-9ACA-4467-98E5-532EC45D9D1C}" dt="2024-03-01T08:49:33.777" v="2832"/>
          <ac:spMkLst>
            <pc:docMk/>
            <pc:sldMk cId="2008209705" sldId="919"/>
            <ac:spMk id="14" creationId="{27941896-57EC-EB22-3DEB-88A55F6E91C1}"/>
          </ac:spMkLst>
        </pc:spChg>
        <pc:spChg chg="mod">
          <ac:chgData name="Nataliia Chornii (UA)" userId="4e4b8b3d-5f31-49bb-9f80-8a25c04abfff" providerId="ADAL" clId="{EE97D3FE-9ACA-4467-98E5-532EC45D9D1C}" dt="2024-03-11T14:26:08.974" v="24088"/>
          <ac:spMkLst>
            <pc:docMk/>
            <pc:sldMk cId="2008209705" sldId="919"/>
            <ac:spMk id="14" creationId="{806CF869-9FB9-C60B-30A1-F3CF6D45058E}"/>
          </ac:spMkLst>
        </pc:spChg>
        <pc:spChg chg="add mod">
          <ac:chgData name="Nataliia Chornii (UA)" userId="4e4b8b3d-5f31-49bb-9f80-8a25c04abfff" providerId="ADAL" clId="{EE97D3FE-9ACA-4467-98E5-532EC45D9D1C}" dt="2024-03-11T14:29:58.219" v="24246"/>
          <ac:spMkLst>
            <pc:docMk/>
            <pc:sldMk cId="2008209705" sldId="919"/>
            <ac:spMk id="15" creationId="{5AD0BD56-73F9-7FB2-F558-97697187F40F}"/>
          </ac:spMkLst>
        </pc:spChg>
        <pc:spChg chg="add del mod modVis">
          <ac:chgData name="Nataliia Chornii (UA)" userId="4e4b8b3d-5f31-49bb-9f80-8a25c04abfff" providerId="ADAL" clId="{EE97D3FE-9ACA-4467-98E5-532EC45D9D1C}" dt="2024-03-01T08:49:59.804" v="3820"/>
          <ac:spMkLst>
            <pc:docMk/>
            <pc:sldMk cId="2008209705" sldId="919"/>
            <ac:spMk id="15" creationId="{AF71A073-685D-C316-CC6A-FFDE69F98FDE}"/>
          </ac:spMkLst>
        </pc:spChg>
        <pc:spChg chg="mod ord topLvl">
          <ac:chgData name="Nataliia Chornii (UA)" userId="4e4b8b3d-5f31-49bb-9f80-8a25c04abfff" providerId="ADAL" clId="{EE97D3FE-9ACA-4467-98E5-532EC45D9D1C}" dt="2024-03-04T10:01:08.060" v="20292"/>
          <ac:spMkLst>
            <pc:docMk/>
            <pc:sldMk cId="2008209705" sldId="919"/>
            <ac:spMk id="16" creationId="{30819613-CE74-49B6-0807-44FDBB81D466}"/>
          </ac:spMkLst>
        </pc:spChg>
        <pc:spChg chg="add del mod modVis">
          <ac:chgData name="Nataliia Chornii (UA)" userId="4e4b8b3d-5f31-49bb-9f80-8a25c04abfff" providerId="ADAL" clId="{EE97D3FE-9ACA-4467-98E5-532EC45D9D1C}" dt="2024-03-01T08:51:26.124" v="4808"/>
          <ac:spMkLst>
            <pc:docMk/>
            <pc:sldMk cId="2008209705" sldId="919"/>
            <ac:spMk id="17" creationId="{0D403144-4E7E-B444-0A42-33E700FC5126}"/>
          </ac:spMkLst>
        </pc:spChg>
        <pc:spChg chg="mod ord">
          <ac:chgData name="Nataliia Chornii (UA)" userId="4e4b8b3d-5f31-49bb-9f80-8a25c04abfff" providerId="ADAL" clId="{EE97D3FE-9ACA-4467-98E5-532EC45D9D1C}" dt="2024-03-04T10:01:08.060" v="20294"/>
          <ac:spMkLst>
            <pc:docMk/>
            <pc:sldMk cId="2008209705" sldId="919"/>
            <ac:spMk id="18" creationId="{E1D4AC8F-0322-E8A8-E509-5AF71473A8F4}"/>
          </ac:spMkLst>
        </pc:spChg>
        <pc:spChg chg="add del mod modVis">
          <ac:chgData name="Nataliia Chornii (UA)" userId="4e4b8b3d-5f31-49bb-9f80-8a25c04abfff" providerId="ADAL" clId="{EE97D3FE-9ACA-4467-98E5-532EC45D9D1C}" dt="2024-03-01T08:51:56.127" v="5797"/>
          <ac:spMkLst>
            <pc:docMk/>
            <pc:sldMk cId="2008209705" sldId="919"/>
            <ac:spMk id="19" creationId="{7CD3BC40-CBD0-EA2D-704C-3C157D5DD0B1}"/>
          </ac:spMkLst>
        </pc:spChg>
        <pc:spChg chg="mod ord topLvl">
          <ac:chgData name="Nataliia Chornii (UA)" userId="4e4b8b3d-5f31-49bb-9f80-8a25c04abfff" providerId="ADAL" clId="{EE97D3FE-9ACA-4467-98E5-532EC45D9D1C}" dt="2024-03-04T10:01:08.060" v="20290"/>
          <ac:spMkLst>
            <pc:docMk/>
            <pc:sldMk cId="2008209705" sldId="919"/>
            <ac:spMk id="20" creationId="{BCB0856A-D775-E9B2-A22B-A661D9F8D43C}"/>
          </ac:spMkLst>
        </pc:spChg>
        <pc:spChg chg="add del mod modVis">
          <ac:chgData name="Nataliia Chornii (UA)" userId="4e4b8b3d-5f31-49bb-9f80-8a25c04abfff" providerId="ADAL" clId="{EE97D3FE-9ACA-4467-98E5-532EC45D9D1C}" dt="2024-03-01T08:52:18.284" v="6785"/>
          <ac:spMkLst>
            <pc:docMk/>
            <pc:sldMk cId="2008209705" sldId="919"/>
            <ac:spMk id="21" creationId="{B5A53007-7753-495C-6C14-DA283BBD3FE3}"/>
          </ac:spMkLst>
        </pc:spChg>
        <pc:spChg chg="mod ord">
          <ac:chgData name="Nataliia Chornii (UA)" userId="4e4b8b3d-5f31-49bb-9f80-8a25c04abfff" providerId="ADAL" clId="{EE97D3FE-9ACA-4467-98E5-532EC45D9D1C}" dt="2024-03-04T10:01:08.060" v="20278"/>
          <ac:spMkLst>
            <pc:docMk/>
            <pc:sldMk cId="2008209705" sldId="919"/>
            <ac:spMk id="22" creationId="{044C1CE5-09D8-63ED-7E23-4A59A70CC41B}"/>
          </ac:spMkLst>
        </pc:spChg>
        <pc:spChg chg="del mod ord">
          <ac:chgData name="Nataliia Chornii (UA)" userId="4e4b8b3d-5f31-49bb-9f80-8a25c04abfff" providerId="ADAL" clId="{EE97D3FE-9ACA-4467-98E5-532EC45D9D1C}" dt="2024-03-01T13:25:47.431" v="12991" actId="478"/>
          <ac:spMkLst>
            <pc:docMk/>
            <pc:sldMk cId="2008209705" sldId="919"/>
            <ac:spMk id="23" creationId="{EEA0E558-7D58-6458-34C2-801898E3B0F7}"/>
          </ac:spMkLst>
        </pc:spChg>
        <pc:spChg chg="add del mod ord">
          <ac:chgData name="Nataliia Chornii (UA)" userId="4e4b8b3d-5f31-49bb-9f80-8a25c04abfff" providerId="ADAL" clId="{EE97D3FE-9ACA-4467-98E5-532EC45D9D1C}" dt="2024-03-01T13:11:53.057" v="12411" actId="478"/>
          <ac:spMkLst>
            <pc:docMk/>
            <pc:sldMk cId="2008209705" sldId="919"/>
            <ac:spMk id="24" creationId="{145E4574-92CD-FBE7-613D-090842E4C83E}"/>
          </ac:spMkLst>
        </pc:spChg>
        <pc:spChg chg="add del mod modVis">
          <ac:chgData name="Nataliia Chornii (UA)" userId="4e4b8b3d-5f31-49bb-9f80-8a25c04abfff" providerId="ADAL" clId="{EE97D3FE-9ACA-4467-98E5-532EC45D9D1C}" dt="2024-03-01T13:11:51.669" v="12408"/>
          <ac:spMkLst>
            <pc:docMk/>
            <pc:sldMk cId="2008209705" sldId="919"/>
            <ac:spMk id="25" creationId="{FE521BDC-F21F-11EB-4A80-E31BB8748731}"/>
          </ac:spMkLst>
        </pc:spChg>
        <pc:spChg chg="add mod ord topLvl">
          <ac:chgData name="Nataliia Chornii (UA)" userId="4e4b8b3d-5f31-49bb-9f80-8a25c04abfff" providerId="ADAL" clId="{EE97D3FE-9ACA-4467-98E5-532EC45D9D1C}" dt="2024-03-04T10:01:08.060" v="20282"/>
          <ac:spMkLst>
            <pc:docMk/>
            <pc:sldMk cId="2008209705" sldId="919"/>
            <ac:spMk id="26" creationId="{F4BD1622-7D50-0F82-F4EA-9B149E2C9337}"/>
          </ac:spMkLst>
        </pc:spChg>
        <pc:spChg chg="add mod ord">
          <ac:chgData name="Nataliia Chornii (UA)" userId="4e4b8b3d-5f31-49bb-9f80-8a25c04abfff" providerId="ADAL" clId="{EE97D3FE-9ACA-4467-98E5-532EC45D9D1C}" dt="2024-03-04T10:01:08.046" v="20266"/>
          <ac:spMkLst>
            <pc:docMk/>
            <pc:sldMk cId="2008209705" sldId="919"/>
            <ac:spMk id="27" creationId="{7534A09C-F780-703E-D29D-E15D964028ED}"/>
          </ac:spMkLst>
        </pc:spChg>
        <pc:spChg chg="add mod ord topLvl">
          <ac:chgData name="Nataliia Chornii (UA)" userId="4e4b8b3d-5f31-49bb-9f80-8a25c04abfff" providerId="ADAL" clId="{EE97D3FE-9ACA-4467-98E5-532EC45D9D1C}" dt="2024-03-04T10:01:08.060" v="20284"/>
          <ac:spMkLst>
            <pc:docMk/>
            <pc:sldMk cId="2008209705" sldId="919"/>
            <ac:spMk id="28" creationId="{940F388E-486C-4144-FC48-8EC3F5EB8934}"/>
          </ac:spMkLst>
        </pc:spChg>
        <pc:spChg chg="add mod ord topLvl">
          <ac:chgData name="Nataliia Chornii (UA)" userId="4e4b8b3d-5f31-49bb-9f80-8a25c04abfff" providerId="ADAL" clId="{EE97D3FE-9ACA-4467-98E5-532EC45D9D1C}" dt="2024-03-04T10:01:08.060" v="20286"/>
          <ac:spMkLst>
            <pc:docMk/>
            <pc:sldMk cId="2008209705" sldId="919"/>
            <ac:spMk id="29" creationId="{956EC9FA-D79D-EBB6-415B-5CDF58A619D3}"/>
          </ac:spMkLst>
        </pc:spChg>
        <pc:spChg chg="add mod ord">
          <ac:chgData name="Nataliia Chornii (UA)" userId="4e4b8b3d-5f31-49bb-9f80-8a25c04abfff" providerId="ADAL" clId="{EE97D3FE-9ACA-4467-98E5-532EC45D9D1C}" dt="2024-03-04T10:01:08.046" v="20268"/>
          <ac:spMkLst>
            <pc:docMk/>
            <pc:sldMk cId="2008209705" sldId="919"/>
            <ac:spMk id="30" creationId="{49150277-B275-65B3-4400-351CC3893360}"/>
          </ac:spMkLst>
        </pc:spChg>
        <pc:spChg chg="add mod ord">
          <ac:chgData name="Nataliia Chornii (UA)" userId="4e4b8b3d-5f31-49bb-9f80-8a25c04abfff" providerId="ADAL" clId="{EE97D3FE-9ACA-4467-98E5-532EC45D9D1C}" dt="2024-03-04T10:01:08.046" v="20270"/>
          <ac:spMkLst>
            <pc:docMk/>
            <pc:sldMk cId="2008209705" sldId="919"/>
            <ac:spMk id="31" creationId="{4DB1E4EC-FA2B-5BDF-CD75-83FF77AC514E}"/>
          </ac:spMkLst>
        </pc:spChg>
        <pc:spChg chg="add mod ord topLvl">
          <ac:chgData name="Nataliia Chornii (UA)" userId="4e4b8b3d-5f31-49bb-9f80-8a25c04abfff" providerId="ADAL" clId="{EE97D3FE-9ACA-4467-98E5-532EC45D9D1C}" dt="2024-03-04T10:01:08.060" v="20288"/>
          <ac:spMkLst>
            <pc:docMk/>
            <pc:sldMk cId="2008209705" sldId="919"/>
            <ac:spMk id="32" creationId="{D158687D-E8E5-64E9-B572-2CDA9BEEEC9E}"/>
          </ac:spMkLst>
        </pc:spChg>
        <pc:spChg chg="add mod ord">
          <ac:chgData name="Nataliia Chornii (UA)" userId="4e4b8b3d-5f31-49bb-9f80-8a25c04abfff" providerId="ADAL" clId="{EE97D3FE-9ACA-4467-98E5-532EC45D9D1C}" dt="2024-03-04T10:01:08.046" v="20272"/>
          <ac:spMkLst>
            <pc:docMk/>
            <pc:sldMk cId="2008209705" sldId="919"/>
            <ac:spMk id="33" creationId="{17411BF9-B1C6-CBA6-B71F-2D85B6DD58F7}"/>
          </ac:spMkLst>
        </pc:spChg>
        <pc:spChg chg="add del mod modVis">
          <ac:chgData name="Nataliia Chornii (UA)" userId="4e4b8b3d-5f31-49bb-9f80-8a25c04abfff" providerId="ADAL" clId="{EE97D3FE-9ACA-4467-98E5-532EC45D9D1C}" dt="2024-03-01T13:13:57.224" v="12500"/>
          <ac:spMkLst>
            <pc:docMk/>
            <pc:sldMk cId="2008209705" sldId="919"/>
            <ac:spMk id="34" creationId="{8409701F-ACE7-3175-272F-6CF949F888A0}"/>
          </ac:spMkLst>
        </pc:spChg>
        <pc:spChg chg="add mod ord">
          <ac:chgData name="Nataliia Chornii (UA)" userId="4e4b8b3d-5f31-49bb-9f80-8a25c04abfff" providerId="ADAL" clId="{EE97D3FE-9ACA-4467-98E5-532EC45D9D1C}" dt="2024-03-04T10:01:08.046" v="20262"/>
          <ac:spMkLst>
            <pc:docMk/>
            <pc:sldMk cId="2008209705" sldId="919"/>
            <ac:spMk id="35" creationId="{D0FFCE22-3355-23A5-C05B-A47142787789}"/>
          </ac:spMkLst>
        </pc:spChg>
        <pc:spChg chg="add mod ord">
          <ac:chgData name="Nataliia Chornii (UA)" userId="4e4b8b3d-5f31-49bb-9f80-8a25c04abfff" providerId="ADAL" clId="{EE97D3FE-9ACA-4467-98E5-532EC45D9D1C}" dt="2024-03-04T10:01:08.046" v="20260"/>
          <ac:spMkLst>
            <pc:docMk/>
            <pc:sldMk cId="2008209705" sldId="919"/>
            <ac:spMk id="36" creationId="{A13A384A-4773-8E59-A5BC-38C350A535AD}"/>
          </ac:spMkLst>
        </pc:spChg>
        <pc:spChg chg="add mod ord">
          <ac:chgData name="Nataliia Chornii (UA)" userId="4e4b8b3d-5f31-49bb-9f80-8a25c04abfff" providerId="ADAL" clId="{EE97D3FE-9ACA-4467-98E5-532EC45D9D1C}" dt="2024-03-04T10:01:08.060" v="20296"/>
          <ac:spMkLst>
            <pc:docMk/>
            <pc:sldMk cId="2008209705" sldId="919"/>
            <ac:spMk id="37" creationId="{FBB83616-D769-3BCE-5CC9-32E44E1D0490}"/>
          </ac:spMkLst>
        </pc:spChg>
        <pc:spChg chg="add mod ord">
          <ac:chgData name="Nataliia Chornii (UA)" userId="4e4b8b3d-5f31-49bb-9f80-8a25c04abfff" providerId="ADAL" clId="{EE97D3FE-9ACA-4467-98E5-532EC45D9D1C}" dt="2024-03-04T10:01:08.060" v="20298"/>
          <ac:spMkLst>
            <pc:docMk/>
            <pc:sldMk cId="2008209705" sldId="919"/>
            <ac:spMk id="38" creationId="{8F9FA745-238A-E98E-8CF0-3C76151FB7AE}"/>
          </ac:spMkLst>
        </pc:spChg>
        <pc:spChg chg="add mod ord topLvl">
          <ac:chgData name="Nataliia Chornii (UA)" userId="4e4b8b3d-5f31-49bb-9f80-8a25c04abfff" providerId="ADAL" clId="{EE97D3FE-9ACA-4467-98E5-532EC45D9D1C}" dt="2024-03-04T10:01:08.060" v="20280"/>
          <ac:spMkLst>
            <pc:docMk/>
            <pc:sldMk cId="2008209705" sldId="919"/>
            <ac:spMk id="39" creationId="{B1C2BD6E-F200-2036-F362-0FBDE1CE31EC}"/>
          </ac:spMkLst>
        </pc:spChg>
        <pc:spChg chg="add mod ord">
          <ac:chgData name="Nataliia Chornii (UA)" userId="4e4b8b3d-5f31-49bb-9f80-8a25c04abfff" providerId="ADAL" clId="{EE97D3FE-9ACA-4467-98E5-532EC45D9D1C}" dt="2024-03-04T10:01:08.046" v="20264"/>
          <ac:spMkLst>
            <pc:docMk/>
            <pc:sldMk cId="2008209705" sldId="919"/>
            <ac:spMk id="40" creationId="{A0A100B2-7EFA-1260-2F90-7D239569594F}"/>
          </ac:spMkLst>
        </pc:spChg>
        <pc:spChg chg="add del mod modVis">
          <ac:chgData name="Nataliia Chornii (UA)" userId="4e4b8b3d-5f31-49bb-9f80-8a25c04abfff" providerId="ADAL" clId="{EE97D3FE-9ACA-4467-98E5-532EC45D9D1C}" dt="2024-03-01T13:17:38.777" v="12873"/>
          <ac:spMkLst>
            <pc:docMk/>
            <pc:sldMk cId="2008209705" sldId="919"/>
            <ac:spMk id="41" creationId="{B6B2A400-33CD-E6E9-B60C-2011F028010A}"/>
          </ac:spMkLst>
        </pc:spChg>
        <pc:spChg chg="add del mod modVis">
          <ac:chgData name="Nataliia Chornii (UA)" userId="4e4b8b3d-5f31-49bb-9f80-8a25c04abfff" providerId="ADAL" clId="{EE97D3FE-9ACA-4467-98E5-532EC45D9D1C}" dt="2024-03-01T13:19:31.335" v="12971"/>
          <ac:spMkLst>
            <pc:docMk/>
            <pc:sldMk cId="2008209705" sldId="919"/>
            <ac:spMk id="42" creationId="{F29FD36D-8937-4773-3A21-4A8EE86BC395}"/>
          </ac:spMkLst>
        </pc:spChg>
        <pc:spChg chg="add mod ord">
          <ac:chgData name="Nataliia Chornii (UA)" userId="4e4b8b3d-5f31-49bb-9f80-8a25c04abfff" providerId="ADAL" clId="{EE97D3FE-9ACA-4467-98E5-532EC45D9D1C}" dt="2024-03-04T10:01:08.070" v="20300"/>
          <ac:spMkLst>
            <pc:docMk/>
            <pc:sldMk cId="2008209705" sldId="919"/>
            <ac:spMk id="43" creationId="{08672088-BEE3-1A7C-8215-2BB54DC2401B}"/>
          </ac:spMkLst>
        </pc:spChg>
        <pc:spChg chg="add mod ord">
          <ac:chgData name="Nataliia Chornii (UA)" userId="4e4b8b3d-5f31-49bb-9f80-8a25c04abfff" providerId="ADAL" clId="{EE97D3FE-9ACA-4467-98E5-532EC45D9D1C}" dt="2024-03-04T10:01:08.070" v="20302"/>
          <ac:spMkLst>
            <pc:docMk/>
            <pc:sldMk cId="2008209705" sldId="919"/>
            <ac:spMk id="44" creationId="{6FF10B2E-1E3F-70CE-7D27-FC202A31080A}"/>
          </ac:spMkLst>
        </pc:spChg>
        <pc:spChg chg="add del mod">
          <ac:chgData name="Nataliia Chornii (UA)" userId="4e4b8b3d-5f31-49bb-9f80-8a25c04abfff" providerId="ADAL" clId="{EE97D3FE-9ACA-4467-98E5-532EC45D9D1C}" dt="2024-03-01T13:20:01.674" v="12981" actId="478"/>
          <ac:spMkLst>
            <pc:docMk/>
            <pc:sldMk cId="2008209705" sldId="919"/>
            <ac:spMk id="45" creationId="{39F5F237-D708-66F9-3D2F-B7AC0D2BF73D}"/>
          </ac:spMkLst>
        </pc:spChg>
        <pc:spChg chg="add mod ord">
          <ac:chgData name="Nataliia Chornii (UA)" userId="4e4b8b3d-5f31-49bb-9f80-8a25c04abfff" providerId="ADAL" clId="{EE97D3FE-9ACA-4467-98E5-532EC45D9D1C}" dt="2024-03-04T10:01:08.070" v="20306"/>
          <ac:spMkLst>
            <pc:docMk/>
            <pc:sldMk cId="2008209705" sldId="919"/>
            <ac:spMk id="47" creationId="{C8FD1C37-F5B4-5E7C-A965-521B4DCC5EDC}"/>
          </ac:spMkLst>
        </pc:spChg>
        <pc:spChg chg="add mod ord">
          <ac:chgData name="Nataliia Chornii (UA)" userId="4e4b8b3d-5f31-49bb-9f80-8a25c04abfff" providerId="ADAL" clId="{EE97D3FE-9ACA-4467-98E5-532EC45D9D1C}" dt="2024-03-04T10:01:08.070" v="20308"/>
          <ac:spMkLst>
            <pc:docMk/>
            <pc:sldMk cId="2008209705" sldId="919"/>
            <ac:spMk id="48" creationId="{033F6E87-CC9A-057D-8CE2-3979C0987503}"/>
          </ac:spMkLst>
        </pc:spChg>
        <pc:spChg chg="add mod ord">
          <ac:chgData name="Nataliia Chornii (UA)" userId="4e4b8b3d-5f31-49bb-9f80-8a25c04abfff" providerId="ADAL" clId="{EE97D3FE-9ACA-4467-98E5-532EC45D9D1C}" dt="2024-03-04T10:01:08.070" v="20310"/>
          <ac:spMkLst>
            <pc:docMk/>
            <pc:sldMk cId="2008209705" sldId="919"/>
            <ac:spMk id="49" creationId="{48F28BF5-CEB5-F9B7-B7D3-08B863298812}"/>
          </ac:spMkLst>
        </pc:spChg>
        <pc:spChg chg="add del mod ord">
          <ac:chgData name="Nataliia Chornii (UA)" userId="4e4b8b3d-5f31-49bb-9f80-8a25c04abfff" providerId="ADAL" clId="{EE97D3FE-9ACA-4467-98E5-532EC45D9D1C}" dt="2024-03-11T14:29:59.392" v="24247" actId="478"/>
          <ac:spMkLst>
            <pc:docMk/>
            <pc:sldMk cId="2008209705" sldId="919"/>
            <ac:spMk id="50" creationId="{A6E0EF21-F851-B0E9-4F3F-E386F3795999}"/>
          </ac:spMkLst>
        </pc:spChg>
        <pc:spChg chg="add del mod ord">
          <ac:chgData name="Nataliia Chornii (UA)" userId="4e4b8b3d-5f31-49bb-9f80-8a25c04abfff" providerId="ADAL" clId="{EE97D3FE-9ACA-4467-98E5-532EC45D9D1C}" dt="2024-03-01T13:35:21.323" v="13481"/>
          <ac:spMkLst>
            <pc:docMk/>
            <pc:sldMk cId="2008209705" sldId="919"/>
            <ac:spMk id="51" creationId="{D732DC80-AC22-BD27-0034-F29452D0FC4B}"/>
          </ac:spMkLst>
        </pc:spChg>
        <pc:spChg chg="add del mod ord">
          <ac:chgData name="Nataliia Chornii (UA)" userId="4e4b8b3d-5f31-49bb-9f80-8a25c04abfff" providerId="ADAL" clId="{EE97D3FE-9ACA-4467-98E5-532EC45D9D1C}" dt="2024-03-01T13:35:26.104" v="13482"/>
          <ac:spMkLst>
            <pc:docMk/>
            <pc:sldMk cId="2008209705" sldId="919"/>
            <ac:spMk id="52" creationId="{6F015928-4334-675D-69FD-11ECF7B43904}"/>
          </ac:spMkLst>
        </pc:spChg>
        <pc:spChg chg="add del mod modVis">
          <ac:chgData name="Nataliia Chornii (UA)" userId="4e4b8b3d-5f31-49bb-9f80-8a25c04abfff" providerId="ADAL" clId="{EE97D3FE-9ACA-4467-98E5-532EC45D9D1C}" dt="2024-03-01T13:34:11.974" v="13107"/>
          <ac:spMkLst>
            <pc:docMk/>
            <pc:sldMk cId="2008209705" sldId="919"/>
            <ac:spMk id="53" creationId="{417475C3-B7E4-403B-6F9A-DB02E4CF1A53}"/>
          </ac:spMkLst>
        </pc:spChg>
        <pc:grpChg chg="add mod">
          <ac:chgData name="Nataliia Chornii (UA)" userId="4e4b8b3d-5f31-49bb-9f80-8a25c04abfff" providerId="ADAL" clId="{EE97D3FE-9ACA-4467-98E5-532EC45D9D1C}" dt="2024-03-11T14:26:08.974" v="24088"/>
          <ac:grpSpMkLst>
            <pc:docMk/>
            <pc:sldMk cId="2008209705" sldId="919"/>
            <ac:grpSpMk id="5" creationId="{C6AB7A3D-ED4C-D6A5-8418-660206F05726}"/>
          </ac:grpSpMkLst>
        </pc:grpChg>
        <pc:grpChg chg="add del mod">
          <ac:chgData name="Nataliia Chornii (UA)" userId="4e4b8b3d-5f31-49bb-9f80-8a25c04abfff" providerId="ADAL" clId="{EE97D3FE-9ACA-4467-98E5-532EC45D9D1C}" dt="2024-03-01T14:29:52.905" v="14706" actId="165"/>
          <ac:grpSpMkLst>
            <pc:docMk/>
            <pc:sldMk cId="2008209705" sldId="919"/>
            <ac:grpSpMk id="60" creationId="{2ACC07B1-6F34-468E-16F5-AB6426A40AB8}"/>
          </ac:grpSpMkLst>
        </pc:grpChg>
        <pc:graphicFrameChg chg="add mod ord modVis replST">
          <ac:chgData name="Nataliia Chornii (UA)" userId="4e4b8b3d-5f31-49bb-9f80-8a25c04abfff" providerId="ADAL" clId="{EE97D3FE-9ACA-4467-98E5-532EC45D9D1C}" dt="2024-03-04T10:01:08.076" v="20318"/>
          <ac:graphicFrameMkLst>
            <pc:docMk/>
            <pc:sldMk cId="2008209705" sldId="919"/>
            <ac:graphicFrameMk id="9" creationId="{86CB3FF0-42B4-2144-B8DF-5D9275EFE50B}"/>
          </ac:graphicFrameMkLst>
        </pc:graphicFrameChg>
        <pc:picChg chg="add del mod ord">
          <ac:chgData name="Nataliia Chornii (UA)" userId="4e4b8b3d-5f31-49bb-9f80-8a25c04abfff" providerId="ADAL" clId="{EE97D3FE-9ACA-4467-98E5-532EC45D9D1C}" dt="2024-03-01T13:35:21.323" v="13481"/>
          <ac:picMkLst>
            <pc:docMk/>
            <pc:sldMk cId="2008209705" sldId="919"/>
            <ac:picMk id="55" creationId="{9AE73A19-9D42-464F-4522-A9E94697DEAB}"/>
          </ac:picMkLst>
        </pc:picChg>
        <pc:picChg chg="add del mod ord">
          <ac:chgData name="Nataliia Chornii (UA)" userId="4e4b8b3d-5f31-49bb-9f80-8a25c04abfff" providerId="ADAL" clId="{EE97D3FE-9ACA-4467-98E5-532EC45D9D1C}" dt="2024-03-01T13:35:26.104" v="13482"/>
          <ac:picMkLst>
            <pc:docMk/>
            <pc:sldMk cId="2008209705" sldId="919"/>
            <ac:picMk id="57" creationId="{7B4FD363-40FD-332C-6CC6-0959C2862E27}"/>
          </ac:picMkLst>
        </pc:picChg>
        <pc:picChg chg="del mod ord modCrop">
          <ac:chgData name="Nataliia Chornii (UA)" userId="4e4b8b3d-5f31-49bb-9f80-8a25c04abfff" providerId="ADAL" clId="{EE97D3FE-9ACA-4467-98E5-532EC45D9D1C}" dt="2024-03-04T10:01:11.251" v="20319" actId="478"/>
          <ac:picMkLst>
            <pc:docMk/>
            <pc:sldMk cId="2008209705" sldId="919"/>
            <ac:picMk id="58" creationId="{DC485393-0D43-80D5-76A2-C4BE9CD6F7C4}"/>
          </ac:picMkLst>
        </pc:picChg>
        <pc:picChg chg="del mod ord modCrop">
          <ac:chgData name="Nataliia Chornii (UA)" userId="4e4b8b3d-5f31-49bb-9f80-8a25c04abfff" providerId="ADAL" clId="{EE97D3FE-9ACA-4467-98E5-532EC45D9D1C}" dt="2024-03-04T10:01:11.251" v="20319" actId="478"/>
          <ac:picMkLst>
            <pc:docMk/>
            <pc:sldMk cId="2008209705" sldId="919"/>
            <ac:picMk id="59" creationId="{5DCA2C4E-B520-7A67-56C1-B04419C5FE5F}"/>
          </ac:picMkLst>
        </pc:picChg>
        <pc:cxnChg chg="add mod ord">
          <ac:chgData name="Nataliia Chornii (UA)" userId="4e4b8b3d-5f31-49bb-9f80-8a25c04abfff" providerId="ADAL" clId="{EE97D3FE-9ACA-4467-98E5-532EC45D9D1C}" dt="2024-03-04T10:01:08.070" v="20304"/>
          <ac:cxnSpMkLst>
            <pc:docMk/>
            <pc:sldMk cId="2008209705" sldId="919"/>
            <ac:cxnSpMk id="46" creationId="{1FC65FCF-FD80-DAC7-1847-F385C385E92B}"/>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2:45.816" v="22440"/>
              <pc2:cmMkLst xmlns:pc2="http://schemas.microsoft.com/office/powerpoint/2019/9/main/command">
                <pc:docMk/>
                <pc:sldMk cId="2008209705" sldId="919"/>
                <pc2:cmMk id="{26D3AAD2-275A-49BD-8B7A-0A67E598B3CB}"/>
              </pc2:cmMkLst>
            </pc226:cmChg>
          </p:ext>
        </pc:extLst>
      </pc:sldChg>
      <pc:sldChg chg="addSp delSp modSp mod">
        <pc:chgData name="Nataliia Chornii (UA)" userId="4e4b8b3d-5f31-49bb-9f80-8a25c04abfff" providerId="ADAL" clId="{EE97D3FE-9ACA-4467-98E5-532EC45D9D1C}" dt="2024-03-11T14:30:11.799" v="24253" actId="478"/>
        <pc:sldMkLst>
          <pc:docMk/>
          <pc:sldMk cId="2755231185" sldId="920"/>
        </pc:sldMkLst>
        <pc:spChg chg="add mod">
          <ac:chgData name="Nataliia Chornii (UA)" userId="4e4b8b3d-5f31-49bb-9f80-8a25c04abfff" providerId="ADAL" clId="{EE97D3FE-9ACA-4467-98E5-532EC45D9D1C}" dt="2024-03-04T09:20:12.881" v="18712" actId="207"/>
          <ac:spMkLst>
            <pc:docMk/>
            <pc:sldMk cId="2755231185" sldId="920"/>
            <ac:spMk id="2" creationId="{B893D956-176C-11CE-8C57-0284D21830E0}"/>
          </ac:spMkLst>
        </pc:spChg>
        <pc:spChg chg="del">
          <ac:chgData name="Nataliia Chornii (UA)" userId="4e4b8b3d-5f31-49bb-9f80-8a25c04abfff" providerId="ADAL" clId="{EE97D3FE-9ACA-4467-98E5-532EC45D9D1C}" dt="2024-03-01T14:04:19.148" v="13566" actId="478"/>
          <ac:spMkLst>
            <pc:docMk/>
            <pc:sldMk cId="2755231185" sldId="920"/>
            <ac:spMk id="2" creationId="{C9BF2A51-7557-EA83-DCCB-BCD30FDA6886}"/>
          </ac:spMkLst>
        </pc:spChg>
        <pc:spChg chg="mod ord">
          <ac:chgData name="Nataliia Chornii (UA)" userId="4e4b8b3d-5f31-49bb-9f80-8a25c04abfff" providerId="ADAL" clId="{EE97D3FE-9ACA-4467-98E5-532EC45D9D1C}" dt="2024-03-04T09:19:52.377" v="18692" actId="948"/>
          <ac:spMkLst>
            <pc:docMk/>
            <pc:sldMk cId="2755231185" sldId="920"/>
            <ac:spMk id="3" creationId="{F4CCF02E-F3C4-C376-8F56-61BD85A2E74B}"/>
          </ac:spMkLst>
        </pc:spChg>
        <pc:spChg chg="mod ord">
          <ac:chgData name="Nataliia Chornii (UA)" userId="4e4b8b3d-5f31-49bb-9f80-8a25c04abfff" providerId="ADAL" clId="{EE97D3FE-9ACA-4467-98E5-532EC45D9D1C}" dt="2024-03-01T14:32:51.577" v="14981"/>
          <ac:spMkLst>
            <pc:docMk/>
            <pc:sldMk cId="2755231185" sldId="920"/>
            <ac:spMk id="4" creationId="{872966CD-924A-B939-E655-A6BAF817DCBF}"/>
          </ac:spMkLst>
        </pc:spChg>
        <pc:spChg chg="add mod">
          <ac:chgData name="Nataliia Chornii (UA)" userId="4e4b8b3d-5f31-49bb-9f80-8a25c04abfff" providerId="ADAL" clId="{EE97D3FE-9ACA-4467-98E5-532EC45D9D1C}" dt="2024-03-04T09:20:12.881" v="18712" actId="207"/>
          <ac:spMkLst>
            <pc:docMk/>
            <pc:sldMk cId="2755231185" sldId="920"/>
            <ac:spMk id="5" creationId="{B0E2286B-FF4C-E63E-93B0-B50375ED16F4}"/>
          </ac:spMkLst>
        </pc:spChg>
        <pc:spChg chg="del mod ord">
          <ac:chgData name="Nataliia Chornii (UA)" userId="4e4b8b3d-5f31-49bb-9f80-8a25c04abfff" providerId="ADAL" clId="{EE97D3FE-9ACA-4467-98E5-532EC45D9D1C}" dt="2024-03-01T14:07:57.624" v="13831" actId="478"/>
          <ac:spMkLst>
            <pc:docMk/>
            <pc:sldMk cId="2755231185" sldId="920"/>
            <ac:spMk id="5" creationId="{FF11D90A-8D15-0E43-4C2E-D42257331C13}"/>
          </ac:spMkLst>
        </pc:spChg>
        <pc:spChg chg="del mod ord">
          <ac:chgData name="Nataliia Chornii (UA)" userId="4e4b8b3d-5f31-49bb-9f80-8a25c04abfff" providerId="ADAL" clId="{EE97D3FE-9ACA-4467-98E5-532EC45D9D1C}" dt="2024-03-01T14:07:57.624" v="13831" actId="478"/>
          <ac:spMkLst>
            <pc:docMk/>
            <pc:sldMk cId="2755231185" sldId="920"/>
            <ac:spMk id="6" creationId="{0F377277-EC46-FAC5-F379-194FCD82679C}"/>
          </ac:spMkLst>
        </pc:spChg>
        <pc:spChg chg="add del mod">
          <ac:chgData name="Nataliia Chornii (UA)" userId="4e4b8b3d-5f31-49bb-9f80-8a25c04abfff" providerId="ADAL" clId="{EE97D3FE-9ACA-4467-98E5-532EC45D9D1C}" dt="2024-03-04T09:20:08.877" v="18710" actId="478"/>
          <ac:spMkLst>
            <pc:docMk/>
            <pc:sldMk cId="2755231185" sldId="920"/>
            <ac:spMk id="6" creationId="{8A80E844-591D-0AD4-F797-81A02D34A6AA}"/>
          </ac:spMkLst>
        </pc:spChg>
        <pc:spChg chg="add mod">
          <ac:chgData name="Nataliia Chornii (UA)" userId="4e4b8b3d-5f31-49bb-9f80-8a25c04abfff" providerId="ADAL" clId="{EE97D3FE-9ACA-4467-98E5-532EC45D9D1C}" dt="2024-03-11T14:26:12.584" v="24090"/>
          <ac:spMkLst>
            <pc:docMk/>
            <pc:sldMk cId="2755231185" sldId="920"/>
            <ac:spMk id="6" creationId="{B43CD9A4-2C97-7D6A-7A53-C7898F589C28}"/>
          </ac:spMkLst>
        </pc:spChg>
        <pc:spChg chg="add del mod modVis">
          <ac:chgData name="Nataliia Chornii (UA)" userId="4e4b8b3d-5f31-49bb-9f80-8a25c04abfff" providerId="ADAL" clId="{EE97D3FE-9ACA-4467-98E5-532EC45D9D1C}" dt="2024-03-01T08:48:59.881" v="1559"/>
          <ac:spMkLst>
            <pc:docMk/>
            <pc:sldMk cId="2755231185" sldId="920"/>
            <ac:spMk id="7" creationId="{EBB9FE51-1FB4-1FE6-DA9E-878DBAF4FACC}"/>
          </ac:spMkLst>
        </pc:spChg>
        <pc:spChg chg="add del mod">
          <ac:chgData name="Nataliia Chornii (UA)" userId="4e4b8b3d-5f31-49bb-9f80-8a25c04abfff" providerId="ADAL" clId="{EE97D3FE-9ACA-4467-98E5-532EC45D9D1C}" dt="2024-03-04T09:20:14.986" v="18713" actId="478"/>
          <ac:spMkLst>
            <pc:docMk/>
            <pc:sldMk cId="2755231185" sldId="920"/>
            <ac:spMk id="7" creationId="{F4CD3414-099E-6D17-F011-271B51836094}"/>
          </ac:spMkLst>
        </pc:spChg>
        <pc:spChg chg="add del mod modVis">
          <ac:chgData name="Nataliia Chornii (UA)" userId="4e4b8b3d-5f31-49bb-9f80-8a25c04abfff" providerId="ADAL" clId="{EE97D3FE-9ACA-4467-98E5-532EC45D9D1C}" dt="2024-03-04T09:19:52.139" v="18689"/>
          <ac:spMkLst>
            <pc:docMk/>
            <pc:sldMk cId="2755231185" sldId="920"/>
            <ac:spMk id="8" creationId="{2AAA5224-A901-AD25-6EEF-E9ADF504442B}"/>
          </ac:spMkLst>
        </pc:spChg>
        <pc:spChg chg="del">
          <ac:chgData name="Nataliia Chornii (UA)" userId="4e4b8b3d-5f31-49bb-9f80-8a25c04abfff" providerId="ADAL" clId="{EE97D3FE-9ACA-4467-98E5-532EC45D9D1C}" dt="2024-03-01T14:04:08.692" v="13565" actId="478"/>
          <ac:spMkLst>
            <pc:docMk/>
            <pc:sldMk cId="2755231185" sldId="920"/>
            <ac:spMk id="8" creationId="{598AB23C-0BF9-85FE-4B7A-DC0CF1A85603}"/>
          </ac:spMkLst>
        </pc:spChg>
        <pc:spChg chg="mod">
          <ac:chgData name="Nataliia Chornii (UA)" userId="4e4b8b3d-5f31-49bb-9f80-8a25c04abfff" providerId="ADAL" clId="{EE97D3FE-9ACA-4467-98E5-532EC45D9D1C}" dt="2024-03-11T14:26:12.584" v="24090"/>
          <ac:spMkLst>
            <pc:docMk/>
            <pc:sldMk cId="2755231185" sldId="920"/>
            <ac:spMk id="8" creationId="{7E103022-AF69-1F1A-7456-109B70205321}"/>
          </ac:spMkLst>
        </pc:spChg>
        <pc:spChg chg="del mod">
          <ac:chgData name="Nataliia Chornii (UA)" userId="4e4b8b3d-5f31-49bb-9f80-8a25c04abfff" providerId="ADAL" clId="{EE97D3FE-9ACA-4467-98E5-532EC45D9D1C}" dt="2024-03-01T14:04:26.137" v="13570" actId="478"/>
          <ac:spMkLst>
            <pc:docMk/>
            <pc:sldMk cId="2755231185" sldId="920"/>
            <ac:spMk id="10" creationId="{489B7680-E5EE-2A50-7733-37F2F144B869}"/>
          </ac:spMkLst>
        </pc:spChg>
        <pc:spChg chg="mod">
          <ac:chgData name="Nataliia Chornii (UA)" userId="4e4b8b3d-5f31-49bb-9f80-8a25c04abfff" providerId="ADAL" clId="{EE97D3FE-9ACA-4467-98E5-532EC45D9D1C}" dt="2024-03-11T14:26:12.584" v="24090"/>
          <ac:spMkLst>
            <pc:docMk/>
            <pc:sldMk cId="2755231185" sldId="920"/>
            <ac:spMk id="10" creationId="{51A1E6BB-6DD3-EAF1-9619-FE033F246790}"/>
          </ac:spMkLst>
        </pc:spChg>
        <pc:spChg chg="del">
          <ac:chgData name="Nataliia Chornii (UA)" userId="4e4b8b3d-5f31-49bb-9f80-8a25c04abfff" providerId="ADAL" clId="{EE97D3FE-9ACA-4467-98E5-532EC45D9D1C}" dt="2024-03-01T14:04:08.692" v="13565" actId="478"/>
          <ac:spMkLst>
            <pc:docMk/>
            <pc:sldMk cId="2755231185" sldId="920"/>
            <ac:spMk id="11" creationId="{327B1A4B-6980-7B00-091C-6006703B82A0}"/>
          </ac:spMkLst>
        </pc:spChg>
        <pc:spChg chg="mod">
          <ac:chgData name="Nataliia Chornii (UA)" userId="4e4b8b3d-5f31-49bb-9f80-8a25c04abfff" providerId="ADAL" clId="{EE97D3FE-9ACA-4467-98E5-532EC45D9D1C}" dt="2024-03-11T14:26:12.584" v="24090"/>
          <ac:spMkLst>
            <pc:docMk/>
            <pc:sldMk cId="2755231185" sldId="920"/>
            <ac:spMk id="11" creationId="{CF66F1DD-0349-F422-A5D4-527B69A9FEA7}"/>
          </ac:spMkLst>
        </pc:spChg>
        <pc:spChg chg="mod">
          <ac:chgData name="Nataliia Chornii (UA)" userId="4e4b8b3d-5f31-49bb-9f80-8a25c04abfff" providerId="ADAL" clId="{EE97D3FE-9ACA-4467-98E5-532EC45D9D1C}" dt="2024-03-11T14:26:12.584" v="24090"/>
          <ac:spMkLst>
            <pc:docMk/>
            <pc:sldMk cId="2755231185" sldId="920"/>
            <ac:spMk id="12" creationId="{05332AE7-9331-006A-4480-3E09208ADD02}"/>
          </ac:spMkLst>
        </pc:spChg>
        <pc:spChg chg="del mod ord">
          <ac:chgData name="Nataliia Chornii (UA)" userId="4e4b8b3d-5f31-49bb-9f80-8a25c04abfff" providerId="ADAL" clId="{EE97D3FE-9ACA-4467-98E5-532EC45D9D1C}" dt="2024-03-01T14:06:26.032" v="13656" actId="478"/>
          <ac:spMkLst>
            <pc:docMk/>
            <pc:sldMk cId="2755231185" sldId="920"/>
            <ac:spMk id="12" creationId="{F17E280A-26FF-1631-ADC9-96AE3A637C2C}"/>
          </ac:spMkLst>
        </pc:spChg>
        <pc:spChg chg="del mod ord">
          <ac:chgData name="Nataliia Chornii (UA)" userId="4e4b8b3d-5f31-49bb-9f80-8a25c04abfff" providerId="ADAL" clId="{EE97D3FE-9ACA-4467-98E5-532EC45D9D1C}" dt="2024-03-01T14:06:26.032" v="13656" actId="478"/>
          <ac:spMkLst>
            <pc:docMk/>
            <pc:sldMk cId="2755231185" sldId="920"/>
            <ac:spMk id="13" creationId="{318FD8EE-145C-CF57-FA8A-2208CA63BD22}"/>
          </ac:spMkLst>
        </pc:spChg>
        <pc:spChg chg="mod">
          <ac:chgData name="Nataliia Chornii (UA)" userId="4e4b8b3d-5f31-49bb-9f80-8a25c04abfff" providerId="ADAL" clId="{EE97D3FE-9ACA-4467-98E5-532EC45D9D1C}" dt="2024-03-11T14:26:12.584" v="24090"/>
          <ac:spMkLst>
            <pc:docMk/>
            <pc:sldMk cId="2755231185" sldId="920"/>
            <ac:spMk id="13" creationId="{3F63A660-71EB-62D9-547E-3F76DBBC1660}"/>
          </ac:spMkLst>
        </pc:spChg>
        <pc:spChg chg="add del mod modVis">
          <ac:chgData name="Nataliia Chornii (UA)" userId="4e4b8b3d-5f31-49bb-9f80-8a25c04abfff" providerId="ADAL" clId="{EE97D3FE-9ACA-4467-98E5-532EC45D9D1C}" dt="2024-03-01T08:49:33.808" v="2860"/>
          <ac:spMkLst>
            <pc:docMk/>
            <pc:sldMk cId="2755231185" sldId="920"/>
            <ac:spMk id="14" creationId="{42F99875-6B68-3029-3132-CB9ADA425CD0}"/>
          </ac:spMkLst>
        </pc:spChg>
        <pc:spChg chg="mod">
          <ac:chgData name="Nataliia Chornii (UA)" userId="4e4b8b3d-5f31-49bb-9f80-8a25c04abfff" providerId="ADAL" clId="{EE97D3FE-9ACA-4467-98E5-532EC45D9D1C}" dt="2024-03-11T14:26:12.584" v="24090"/>
          <ac:spMkLst>
            <pc:docMk/>
            <pc:sldMk cId="2755231185" sldId="920"/>
            <ac:spMk id="14" creationId="{B0400B5C-2FF5-4675-DD9C-DD67B46AEF32}"/>
          </ac:spMkLst>
        </pc:spChg>
        <pc:spChg chg="add del mod modVis">
          <ac:chgData name="Nataliia Chornii (UA)" userId="4e4b8b3d-5f31-49bb-9f80-8a25c04abfff" providerId="ADAL" clId="{EE97D3FE-9ACA-4467-98E5-532EC45D9D1C}" dt="2024-03-01T08:49:59.835" v="3848"/>
          <ac:spMkLst>
            <pc:docMk/>
            <pc:sldMk cId="2755231185" sldId="920"/>
            <ac:spMk id="15" creationId="{C69FEDBF-F121-4556-A913-23FD76C63BE9}"/>
          </ac:spMkLst>
        </pc:spChg>
        <pc:spChg chg="add mod">
          <ac:chgData name="Nataliia Chornii (UA)" userId="4e4b8b3d-5f31-49bb-9f80-8a25c04abfff" providerId="ADAL" clId="{EE97D3FE-9ACA-4467-98E5-532EC45D9D1C}" dt="2024-03-11T14:30:10.991" v="24252"/>
          <ac:spMkLst>
            <pc:docMk/>
            <pc:sldMk cId="2755231185" sldId="920"/>
            <ac:spMk id="15" creationId="{F03290B5-C181-1DC0-3FC7-05E4ED60A773}"/>
          </ac:spMkLst>
        </pc:spChg>
        <pc:spChg chg="mod ord">
          <ac:chgData name="Nataliia Chornii (UA)" userId="4e4b8b3d-5f31-49bb-9f80-8a25c04abfff" providerId="ADAL" clId="{EE97D3FE-9ACA-4467-98E5-532EC45D9D1C}" dt="2024-03-01T14:33:23.261" v="15070" actId="552"/>
          <ac:spMkLst>
            <pc:docMk/>
            <pc:sldMk cId="2755231185" sldId="920"/>
            <ac:spMk id="16" creationId="{30819613-CE74-49B6-0807-44FDBB81D466}"/>
          </ac:spMkLst>
        </pc:spChg>
        <pc:spChg chg="add del mod modVis">
          <ac:chgData name="Nataliia Chornii (UA)" userId="4e4b8b3d-5f31-49bb-9f80-8a25c04abfff" providerId="ADAL" clId="{EE97D3FE-9ACA-4467-98E5-532EC45D9D1C}" dt="2024-03-01T08:51:26.154" v="4836"/>
          <ac:spMkLst>
            <pc:docMk/>
            <pc:sldMk cId="2755231185" sldId="920"/>
            <ac:spMk id="17" creationId="{3A38E480-FE0F-0B2A-40ED-A350F8E9AFE7}"/>
          </ac:spMkLst>
        </pc:spChg>
        <pc:spChg chg="mod ord">
          <ac:chgData name="Nataliia Chornii (UA)" userId="4e4b8b3d-5f31-49bb-9f80-8a25c04abfff" providerId="ADAL" clId="{EE97D3FE-9ACA-4467-98E5-532EC45D9D1C}" dt="2024-03-01T14:33:20.607" v="15069" actId="552"/>
          <ac:spMkLst>
            <pc:docMk/>
            <pc:sldMk cId="2755231185" sldId="920"/>
            <ac:spMk id="18" creationId="{E1D4AC8F-0322-E8A8-E509-5AF71473A8F4}"/>
          </ac:spMkLst>
        </pc:spChg>
        <pc:spChg chg="add del mod modVis">
          <ac:chgData name="Nataliia Chornii (UA)" userId="4e4b8b3d-5f31-49bb-9f80-8a25c04abfff" providerId="ADAL" clId="{EE97D3FE-9ACA-4467-98E5-532EC45D9D1C}" dt="2024-03-01T08:51:56.157" v="5825"/>
          <ac:spMkLst>
            <pc:docMk/>
            <pc:sldMk cId="2755231185" sldId="920"/>
            <ac:spMk id="19" creationId="{5AFACB33-7C5E-6014-FFE4-D92F4F1C3031}"/>
          </ac:spMkLst>
        </pc:spChg>
        <pc:spChg chg="mod ord">
          <ac:chgData name="Nataliia Chornii (UA)" userId="4e4b8b3d-5f31-49bb-9f80-8a25c04abfff" providerId="ADAL" clId="{EE97D3FE-9ACA-4467-98E5-532EC45D9D1C}" dt="2024-03-01T14:33:23.261" v="15070" actId="552"/>
          <ac:spMkLst>
            <pc:docMk/>
            <pc:sldMk cId="2755231185" sldId="920"/>
            <ac:spMk id="20" creationId="{BCB0856A-D775-E9B2-A22B-A661D9F8D43C}"/>
          </ac:spMkLst>
        </pc:spChg>
        <pc:spChg chg="add del mod modVis">
          <ac:chgData name="Nataliia Chornii (UA)" userId="4e4b8b3d-5f31-49bb-9f80-8a25c04abfff" providerId="ADAL" clId="{EE97D3FE-9ACA-4467-98E5-532EC45D9D1C}" dt="2024-03-01T08:52:18.312" v="6813"/>
          <ac:spMkLst>
            <pc:docMk/>
            <pc:sldMk cId="2755231185" sldId="920"/>
            <ac:spMk id="21" creationId="{7832E883-E7BB-EEF7-A70E-3195A045EE8F}"/>
          </ac:spMkLst>
        </pc:spChg>
        <pc:spChg chg="mod ord">
          <ac:chgData name="Nataliia Chornii (UA)" userId="4e4b8b3d-5f31-49bb-9f80-8a25c04abfff" providerId="ADAL" clId="{EE97D3FE-9ACA-4467-98E5-532EC45D9D1C}" dt="2024-03-01T14:33:20.607" v="15069" actId="552"/>
          <ac:spMkLst>
            <pc:docMk/>
            <pc:sldMk cId="2755231185" sldId="920"/>
            <ac:spMk id="22" creationId="{044C1CE5-09D8-63ED-7E23-4A59A70CC41B}"/>
          </ac:spMkLst>
        </pc:spChg>
        <pc:spChg chg="add del mod ord">
          <ac:chgData name="Nataliia Chornii (UA)" userId="4e4b8b3d-5f31-49bb-9f80-8a25c04abfff" providerId="ADAL" clId="{EE97D3FE-9ACA-4467-98E5-532EC45D9D1C}" dt="2024-03-11T14:30:11.799" v="24253" actId="478"/>
          <ac:spMkLst>
            <pc:docMk/>
            <pc:sldMk cId="2755231185" sldId="920"/>
            <ac:spMk id="23" creationId="{F0F92295-EBAE-39D7-7494-D9035179A285}"/>
          </ac:spMkLst>
        </pc:spChg>
        <pc:spChg chg="add del mod ord">
          <ac:chgData name="Nataliia Chornii (UA)" userId="4e4b8b3d-5f31-49bb-9f80-8a25c04abfff" providerId="ADAL" clId="{EE97D3FE-9ACA-4467-98E5-532EC45D9D1C}" dt="2024-03-01T14:32:37.828" v="14890" actId="478"/>
          <ac:spMkLst>
            <pc:docMk/>
            <pc:sldMk cId="2755231185" sldId="920"/>
            <ac:spMk id="24" creationId="{6291F660-4399-3100-7AA6-1A96F2BE2FA0}"/>
          </ac:spMkLst>
        </pc:spChg>
        <pc:spChg chg="add del mod ord">
          <ac:chgData name="Nataliia Chornii (UA)" userId="4e4b8b3d-5f31-49bb-9f80-8a25c04abfff" providerId="ADAL" clId="{EE97D3FE-9ACA-4467-98E5-532EC45D9D1C}" dt="2024-03-01T14:32:37.074" v="14889" actId="478"/>
          <ac:spMkLst>
            <pc:docMk/>
            <pc:sldMk cId="2755231185" sldId="920"/>
            <ac:spMk id="25" creationId="{5EF755D9-3B19-3121-7148-7B4F37248EA8}"/>
          </ac:spMkLst>
        </pc:spChg>
        <pc:spChg chg="add del mod ord">
          <ac:chgData name="Nataliia Chornii (UA)" userId="4e4b8b3d-5f31-49bb-9f80-8a25c04abfff" providerId="ADAL" clId="{EE97D3FE-9ACA-4467-98E5-532EC45D9D1C}" dt="2024-03-01T14:32:37.074" v="14889" actId="478"/>
          <ac:spMkLst>
            <pc:docMk/>
            <pc:sldMk cId="2755231185" sldId="920"/>
            <ac:spMk id="26" creationId="{D3B06146-D695-C0D1-DE10-612BD2266EB5}"/>
          </ac:spMkLst>
        </pc:spChg>
        <pc:spChg chg="add del mod ord">
          <ac:chgData name="Nataliia Chornii (UA)" userId="4e4b8b3d-5f31-49bb-9f80-8a25c04abfff" providerId="ADAL" clId="{EE97D3FE-9ACA-4467-98E5-532EC45D9D1C}" dt="2024-03-01T14:32:37.074" v="14889" actId="478"/>
          <ac:spMkLst>
            <pc:docMk/>
            <pc:sldMk cId="2755231185" sldId="920"/>
            <ac:spMk id="27" creationId="{C67C067A-BA44-E473-03E2-74C4CDD50A4F}"/>
          </ac:spMkLst>
        </pc:spChg>
        <pc:spChg chg="add del mod ord">
          <ac:chgData name="Nataliia Chornii (UA)" userId="4e4b8b3d-5f31-49bb-9f80-8a25c04abfff" providerId="ADAL" clId="{EE97D3FE-9ACA-4467-98E5-532EC45D9D1C}" dt="2024-03-01T14:32:37.074" v="14889" actId="478"/>
          <ac:spMkLst>
            <pc:docMk/>
            <pc:sldMk cId="2755231185" sldId="920"/>
            <ac:spMk id="28" creationId="{E6632A91-C990-C64C-6F5B-FCB2451BD5A7}"/>
          </ac:spMkLst>
        </pc:spChg>
        <pc:spChg chg="add del mod ord">
          <ac:chgData name="Nataliia Chornii (UA)" userId="4e4b8b3d-5f31-49bb-9f80-8a25c04abfff" providerId="ADAL" clId="{EE97D3FE-9ACA-4467-98E5-532EC45D9D1C}" dt="2024-03-01T14:32:37.074" v="14889" actId="478"/>
          <ac:spMkLst>
            <pc:docMk/>
            <pc:sldMk cId="2755231185" sldId="920"/>
            <ac:spMk id="29" creationId="{69C14E03-FCEC-D42E-5785-FE3FD67A2269}"/>
          </ac:spMkLst>
        </pc:spChg>
        <pc:spChg chg="add del mod ord">
          <ac:chgData name="Nataliia Chornii (UA)" userId="4e4b8b3d-5f31-49bb-9f80-8a25c04abfff" providerId="ADAL" clId="{EE97D3FE-9ACA-4467-98E5-532EC45D9D1C}" dt="2024-03-01T14:32:37.074" v="14889" actId="478"/>
          <ac:spMkLst>
            <pc:docMk/>
            <pc:sldMk cId="2755231185" sldId="920"/>
            <ac:spMk id="30" creationId="{AD97BBB0-7D2A-0CBE-6249-FB26EF157720}"/>
          </ac:spMkLst>
        </pc:spChg>
        <pc:spChg chg="add del mod ord">
          <ac:chgData name="Nataliia Chornii (UA)" userId="4e4b8b3d-5f31-49bb-9f80-8a25c04abfff" providerId="ADAL" clId="{EE97D3FE-9ACA-4467-98E5-532EC45D9D1C}" dt="2024-03-01T14:32:37.074" v="14889" actId="478"/>
          <ac:spMkLst>
            <pc:docMk/>
            <pc:sldMk cId="2755231185" sldId="920"/>
            <ac:spMk id="31" creationId="{AE1F2CF7-12B2-2C61-02F4-8E90DCAB95C7}"/>
          </ac:spMkLst>
        </pc:spChg>
        <pc:spChg chg="add del mod ord">
          <ac:chgData name="Nataliia Chornii (UA)" userId="4e4b8b3d-5f31-49bb-9f80-8a25c04abfff" providerId="ADAL" clId="{EE97D3FE-9ACA-4467-98E5-532EC45D9D1C}" dt="2024-03-01T14:32:37.074" v="14889" actId="478"/>
          <ac:spMkLst>
            <pc:docMk/>
            <pc:sldMk cId="2755231185" sldId="920"/>
            <ac:spMk id="32" creationId="{AA14433E-3F38-54C2-3C19-F70FDD5BB4F8}"/>
          </ac:spMkLst>
        </pc:spChg>
        <pc:spChg chg="add del mod ord">
          <ac:chgData name="Nataliia Chornii (UA)" userId="4e4b8b3d-5f31-49bb-9f80-8a25c04abfff" providerId="ADAL" clId="{EE97D3FE-9ACA-4467-98E5-532EC45D9D1C}" dt="2024-03-01T14:32:37.074" v="14889" actId="478"/>
          <ac:spMkLst>
            <pc:docMk/>
            <pc:sldMk cId="2755231185" sldId="920"/>
            <ac:spMk id="33" creationId="{F92B9C6C-8C5B-AC82-5DDC-E8DB5ABA08D5}"/>
          </ac:spMkLst>
        </pc:spChg>
        <pc:spChg chg="add del mod ord">
          <ac:chgData name="Nataliia Chornii (UA)" userId="4e4b8b3d-5f31-49bb-9f80-8a25c04abfff" providerId="ADAL" clId="{EE97D3FE-9ACA-4467-98E5-532EC45D9D1C}" dt="2024-03-01T14:32:47.406" v="14943" actId="478"/>
          <ac:spMkLst>
            <pc:docMk/>
            <pc:sldMk cId="2755231185" sldId="920"/>
            <ac:spMk id="34" creationId="{F1D573D1-C07D-A943-A741-380994F48A4F}"/>
          </ac:spMkLst>
        </pc:spChg>
        <pc:spChg chg="add del mod ord">
          <ac:chgData name="Nataliia Chornii (UA)" userId="4e4b8b3d-5f31-49bb-9f80-8a25c04abfff" providerId="ADAL" clId="{EE97D3FE-9ACA-4467-98E5-532EC45D9D1C}" dt="2024-03-01T14:32:47.406" v="14943" actId="478"/>
          <ac:spMkLst>
            <pc:docMk/>
            <pc:sldMk cId="2755231185" sldId="920"/>
            <ac:spMk id="35" creationId="{4F177113-0781-5137-1CD7-3B2F5D62C022}"/>
          </ac:spMkLst>
        </pc:spChg>
        <pc:spChg chg="add mod ord">
          <ac:chgData name="Nataliia Chornii (UA)" userId="4e4b8b3d-5f31-49bb-9f80-8a25c04abfff" providerId="ADAL" clId="{EE97D3FE-9ACA-4467-98E5-532EC45D9D1C}" dt="2024-03-01T14:33:11.606" v="15040" actId="554"/>
          <ac:spMkLst>
            <pc:docMk/>
            <pc:sldMk cId="2755231185" sldId="920"/>
            <ac:spMk id="36" creationId="{A8F39C25-781C-A7DA-387A-D92FCABEE1F5}"/>
          </ac:spMkLst>
        </pc:spChg>
        <pc:spChg chg="add mod ord">
          <ac:chgData name="Nataliia Chornii (UA)" userId="4e4b8b3d-5f31-49bb-9f80-8a25c04abfff" providerId="ADAL" clId="{EE97D3FE-9ACA-4467-98E5-532EC45D9D1C}" dt="2024-03-01T14:33:13.758" v="15041" actId="554"/>
          <ac:spMkLst>
            <pc:docMk/>
            <pc:sldMk cId="2755231185" sldId="920"/>
            <ac:spMk id="37" creationId="{BD11DB78-D65B-9D3C-EED7-1721F1C9BCF6}"/>
          </ac:spMkLst>
        </pc:spChg>
        <pc:spChg chg="add mod ord">
          <ac:chgData name="Nataliia Chornii (UA)" userId="4e4b8b3d-5f31-49bb-9f80-8a25c04abfff" providerId="ADAL" clId="{EE97D3FE-9ACA-4467-98E5-532EC45D9D1C}" dt="2024-03-01T14:33:01.418" v="15017" actId="554"/>
          <ac:spMkLst>
            <pc:docMk/>
            <pc:sldMk cId="2755231185" sldId="920"/>
            <ac:spMk id="38" creationId="{7B1F3CCD-2DE1-C2A8-D340-EAF5B3993679}"/>
          </ac:spMkLst>
        </pc:spChg>
        <pc:spChg chg="add mod ord">
          <ac:chgData name="Nataliia Chornii (UA)" userId="4e4b8b3d-5f31-49bb-9f80-8a25c04abfff" providerId="ADAL" clId="{EE97D3FE-9ACA-4467-98E5-532EC45D9D1C}" dt="2024-03-01T14:33:04.782" v="15018" actId="554"/>
          <ac:spMkLst>
            <pc:docMk/>
            <pc:sldMk cId="2755231185" sldId="920"/>
            <ac:spMk id="39" creationId="{DCB78F50-A328-CF00-9A1A-F2F677D9CB38}"/>
          </ac:spMkLst>
        </pc:spChg>
        <pc:spChg chg="add mod ord">
          <ac:chgData name="Nataliia Chornii (UA)" userId="4e4b8b3d-5f31-49bb-9f80-8a25c04abfff" providerId="ADAL" clId="{EE97D3FE-9ACA-4467-98E5-532EC45D9D1C}" dt="2024-03-01T14:32:51.577" v="14951"/>
          <ac:spMkLst>
            <pc:docMk/>
            <pc:sldMk cId="2755231185" sldId="920"/>
            <ac:spMk id="40" creationId="{20F59D2F-1518-9016-5B9F-D2809CA79C07}"/>
          </ac:spMkLst>
        </pc:spChg>
        <pc:spChg chg="add mod ord">
          <ac:chgData name="Nataliia Chornii (UA)" userId="4e4b8b3d-5f31-49bb-9f80-8a25c04abfff" providerId="ADAL" clId="{EE97D3FE-9ACA-4467-98E5-532EC45D9D1C}" dt="2024-03-01T14:32:51.577" v="14953"/>
          <ac:spMkLst>
            <pc:docMk/>
            <pc:sldMk cId="2755231185" sldId="920"/>
            <ac:spMk id="41" creationId="{0EB00E11-8C1F-B5F4-5905-2A785933B1C2}"/>
          </ac:spMkLst>
        </pc:spChg>
        <pc:spChg chg="add mod ord">
          <ac:chgData name="Nataliia Chornii (UA)" userId="4e4b8b3d-5f31-49bb-9f80-8a25c04abfff" providerId="ADAL" clId="{EE97D3FE-9ACA-4467-98E5-532EC45D9D1C}" dt="2024-03-01T14:33:20.607" v="15069" actId="552"/>
          <ac:spMkLst>
            <pc:docMk/>
            <pc:sldMk cId="2755231185" sldId="920"/>
            <ac:spMk id="42" creationId="{C5E2FBCB-4C78-8BA6-92C2-113E2A9A0F99}"/>
          </ac:spMkLst>
        </pc:spChg>
        <pc:spChg chg="add mod ord">
          <ac:chgData name="Nataliia Chornii (UA)" userId="4e4b8b3d-5f31-49bb-9f80-8a25c04abfff" providerId="ADAL" clId="{EE97D3FE-9ACA-4467-98E5-532EC45D9D1C}" dt="2024-03-01T14:32:51.577" v="14957"/>
          <ac:spMkLst>
            <pc:docMk/>
            <pc:sldMk cId="2755231185" sldId="920"/>
            <ac:spMk id="43" creationId="{E4B9AF95-5B50-0DDD-E36D-06F50BD88F73}"/>
          </ac:spMkLst>
        </pc:spChg>
        <pc:spChg chg="add mod ord">
          <ac:chgData name="Nataliia Chornii (UA)" userId="4e4b8b3d-5f31-49bb-9f80-8a25c04abfff" providerId="ADAL" clId="{EE97D3FE-9ACA-4467-98E5-532EC45D9D1C}" dt="2024-03-01T14:32:51.577" v="14959"/>
          <ac:spMkLst>
            <pc:docMk/>
            <pc:sldMk cId="2755231185" sldId="920"/>
            <ac:spMk id="44" creationId="{432432F1-3AAF-D466-9140-90195C502BE5}"/>
          </ac:spMkLst>
        </pc:spChg>
        <pc:spChg chg="add mod ord">
          <ac:chgData name="Nataliia Chornii (UA)" userId="4e4b8b3d-5f31-49bb-9f80-8a25c04abfff" providerId="ADAL" clId="{EE97D3FE-9ACA-4467-98E5-532EC45D9D1C}" dt="2024-03-01T14:32:51.577" v="14961"/>
          <ac:spMkLst>
            <pc:docMk/>
            <pc:sldMk cId="2755231185" sldId="920"/>
            <ac:spMk id="45" creationId="{BBB618E7-38BE-5D5E-5829-50BF3F885A7A}"/>
          </ac:spMkLst>
        </pc:spChg>
        <pc:spChg chg="add mod ord">
          <ac:chgData name="Nataliia Chornii (UA)" userId="4e4b8b3d-5f31-49bb-9f80-8a25c04abfff" providerId="ADAL" clId="{EE97D3FE-9ACA-4467-98E5-532EC45D9D1C}" dt="2024-03-01T14:33:23.261" v="15070" actId="552"/>
          <ac:spMkLst>
            <pc:docMk/>
            <pc:sldMk cId="2755231185" sldId="920"/>
            <ac:spMk id="46" creationId="{CCBFC508-29E6-E18C-F026-338E7CFE8F62}"/>
          </ac:spMkLst>
        </pc:spChg>
        <pc:spChg chg="add mod ord">
          <ac:chgData name="Nataliia Chornii (UA)" userId="4e4b8b3d-5f31-49bb-9f80-8a25c04abfff" providerId="ADAL" clId="{EE97D3FE-9ACA-4467-98E5-532EC45D9D1C}" dt="2024-03-01T14:32:51.577" v="14965"/>
          <ac:spMkLst>
            <pc:docMk/>
            <pc:sldMk cId="2755231185" sldId="920"/>
            <ac:spMk id="47" creationId="{2250920E-45D4-FCBD-658A-DADC92648ECC}"/>
          </ac:spMkLst>
        </pc:spChg>
        <pc:spChg chg="add mod ord">
          <ac:chgData name="Nataliia Chornii (UA)" userId="4e4b8b3d-5f31-49bb-9f80-8a25c04abfff" providerId="ADAL" clId="{EE97D3FE-9ACA-4467-98E5-532EC45D9D1C}" dt="2024-03-01T14:32:51.577" v="14967"/>
          <ac:spMkLst>
            <pc:docMk/>
            <pc:sldMk cId="2755231185" sldId="920"/>
            <ac:spMk id="48" creationId="{E5159085-1D43-0CA9-BCE2-A9337DBD2665}"/>
          </ac:spMkLst>
        </pc:spChg>
        <pc:spChg chg="add mod ord">
          <ac:chgData name="Nataliia Chornii (UA)" userId="4e4b8b3d-5f31-49bb-9f80-8a25c04abfff" providerId="ADAL" clId="{EE97D3FE-9ACA-4467-98E5-532EC45D9D1C}" dt="2024-03-01T14:32:51.577" v="14969"/>
          <ac:spMkLst>
            <pc:docMk/>
            <pc:sldMk cId="2755231185" sldId="920"/>
            <ac:spMk id="49" creationId="{94C05F3C-8F40-7D2D-07B6-C191DB36D094}"/>
          </ac:spMkLst>
        </pc:spChg>
        <pc:spChg chg="add mod ord">
          <ac:chgData name="Nataliia Chornii (UA)" userId="4e4b8b3d-5f31-49bb-9f80-8a25c04abfff" providerId="ADAL" clId="{EE97D3FE-9ACA-4467-98E5-532EC45D9D1C}" dt="2024-03-01T14:33:04.782" v="15018" actId="554"/>
          <ac:spMkLst>
            <pc:docMk/>
            <pc:sldMk cId="2755231185" sldId="920"/>
            <ac:spMk id="50" creationId="{1A4BBEAC-6EB5-25F4-811D-DB45F02F0295}"/>
          </ac:spMkLst>
        </pc:spChg>
        <pc:spChg chg="add mod ord">
          <ac:chgData name="Nataliia Chornii (UA)" userId="4e4b8b3d-5f31-49bb-9f80-8a25c04abfff" providerId="ADAL" clId="{EE97D3FE-9ACA-4467-98E5-532EC45D9D1C}" dt="2024-03-01T14:33:01.418" v="15017" actId="554"/>
          <ac:spMkLst>
            <pc:docMk/>
            <pc:sldMk cId="2755231185" sldId="920"/>
            <ac:spMk id="51" creationId="{0E0F8141-5C16-7EC2-B865-14B3D6B78AD4}"/>
          </ac:spMkLst>
        </pc:spChg>
        <pc:grpChg chg="add mod">
          <ac:chgData name="Nataliia Chornii (UA)" userId="4e4b8b3d-5f31-49bb-9f80-8a25c04abfff" providerId="ADAL" clId="{EE97D3FE-9ACA-4467-98E5-532EC45D9D1C}" dt="2024-03-11T14:26:12.584" v="24090"/>
          <ac:grpSpMkLst>
            <pc:docMk/>
            <pc:sldMk cId="2755231185" sldId="920"/>
            <ac:grpSpMk id="7" creationId="{0D90173C-1A66-88E3-6A08-37FDF4EE86D4}"/>
          </ac:grpSpMkLst>
        </pc:grpChg>
        <pc:graphicFrameChg chg="add mod ord modVis replST">
          <ac:chgData name="Nataliia Chornii (UA)" userId="4e4b8b3d-5f31-49bb-9f80-8a25c04abfff" providerId="ADAL" clId="{EE97D3FE-9ACA-4467-98E5-532EC45D9D1C}" dt="2024-03-04T09:19:52.399" v="18704"/>
          <ac:graphicFrameMkLst>
            <pc:docMk/>
            <pc:sldMk cId="2755231185" sldId="920"/>
            <ac:graphicFrameMk id="9" creationId="{D9E6BB6A-4571-FBF8-9A7D-06ADE4374D4D}"/>
          </ac:graphicFrameMkLst>
        </pc:graphicFrameChg>
      </pc:sldChg>
      <pc:sldChg chg="addSp delSp modSp mod modClrScheme chgLayout">
        <pc:chgData name="Nataliia Chornii (UA)" userId="4e4b8b3d-5f31-49bb-9f80-8a25c04abfff" providerId="ADAL" clId="{EE97D3FE-9ACA-4467-98E5-532EC45D9D1C}" dt="2024-03-11T14:30:03.375" v="24249"/>
        <pc:sldMkLst>
          <pc:docMk/>
          <pc:sldMk cId="1632897735" sldId="921"/>
        </pc:sldMkLst>
        <pc:spChg chg="add mod">
          <ac:chgData name="Nataliia Chornii (UA)" userId="4e4b8b3d-5f31-49bb-9f80-8a25c04abfff" providerId="ADAL" clId="{EE97D3FE-9ACA-4467-98E5-532EC45D9D1C}" dt="2024-03-04T09:18:32.100" v="18651" actId="207"/>
          <ac:spMkLst>
            <pc:docMk/>
            <pc:sldMk cId="1632897735" sldId="921"/>
            <ac:spMk id="2" creationId="{04E643C0-53EC-4B65-8E60-51723ABD9750}"/>
          </ac:spMkLst>
        </pc:spChg>
        <pc:spChg chg="del">
          <ac:chgData name="Nataliia Chornii (UA)" userId="4e4b8b3d-5f31-49bb-9f80-8a25c04abfff" providerId="ADAL" clId="{EE97D3FE-9ACA-4467-98E5-532EC45D9D1C}" dt="2024-03-01T13:30:46.487" v="13025" actId="478"/>
          <ac:spMkLst>
            <pc:docMk/>
            <pc:sldMk cId="1632897735" sldId="921"/>
            <ac:spMk id="2" creationId="{C9BF2A51-7557-EA83-DCCB-BCD30FDA6886}"/>
          </ac:spMkLst>
        </pc:spChg>
        <pc:spChg chg="mod ord">
          <ac:chgData name="Nataliia Chornii (UA)" userId="4e4b8b3d-5f31-49bb-9f80-8a25c04abfff" providerId="ADAL" clId="{EE97D3FE-9ACA-4467-98E5-532EC45D9D1C}" dt="2024-03-04T09:18:13.574" v="18632" actId="948"/>
          <ac:spMkLst>
            <pc:docMk/>
            <pc:sldMk cId="1632897735" sldId="921"/>
            <ac:spMk id="3" creationId="{F4CCF02E-F3C4-C376-8F56-61BD85A2E74B}"/>
          </ac:spMkLst>
        </pc:spChg>
        <pc:spChg chg="mod ord">
          <ac:chgData name="Nataliia Chornii (UA)" userId="4e4b8b3d-5f31-49bb-9f80-8a25c04abfff" providerId="ADAL" clId="{EE97D3FE-9ACA-4467-98E5-532EC45D9D1C}" dt="2024-03-01T13:31:27.375" v="13032" actId="700"/>
          <ac:spMkLst>
            <pc:docMk/>
            <pc:sldMk cId="1632897735" sldId="921"/>
            <ac:spMk id="4" creationId="{872966CD-924A-B939-E655-A6BAF817DCBF}"/>
          </ac:spMkLst>
        </pc:spChg>
        <pc:spChg chg="add mod">
          <ac:chgData name="Nataliia Chornii (UA)" userId="4e4b8b3d-5f31-49bb-9f80-8a25c04abfff" providerId="ADAL" clId="{EE97D3FE-9ACA-4467-98E5-532EC45D9D1C}" dt="2024-03-04T09:18:32.100" v="18651" actId="207"/>
          <ac:spMkLst>
            <pc:docMk/>
            <pc:sldMk cId="1632897735" sldId="921"/>
            <ac:spMk id="5" creationId="{DD727D00-8427-9A93-4DBE-80FB4E223318}"/>
          </ac:spMkLst>
        </pc:spChg>
        <pc:spChg chg="del">
          <ac:chgData name="Nataliia Chornii (UA)" userId="4e4b8b3d-5f31-49bb-9f80-8a25c04abfff" providerId="ADAL" clId="{EE97D3FE-9ACA-4467-98E5-532EC45D9D1C}" dt="2024-03-01T13:31:23.488" v="13031" actId="478"/>
          <ac:spMkLst>
            <pc:docMk/>
            <pc:sldMk cId="1632897735" sldId="921"/>
            <ac:spMk id="5" creationId="{FF11D90A-8D15-0E43-4C2E-D42257331C13}"/>
          </ac:spMkLst>
        </pc:spChg>
        <pc:spChg chg="del">
          <ac:chgData name="Nataliia Chornii (UA)" userId="4e4b8b3d-5f31-49bb-9f80-8a25c04abfff" providerId="ADAL" clId="{EE97D3FE-9ACA-4467-98E5-532EC45D9D1C}" dt="2024-03-01T13:31:13.866" v="13027" actId="478"/>
          <ac:spMkLst>
            <pc:docMk/>
            <pc:sldMk cId="1632897735" sldId="921"/>
            <ac:spMk id="6" creationId="{0F377277-EC46-FAC5-F379-194FCD82679C}"/>
          </ac:spMkLst>
        </pc:spChg>
        <pc:spChg chg="add mod">
          <ac:chgData name="Nataliia Chornii (UA)" userId="4e4b8b3d-5f31-49bb-9f80-8a25c04abfff" providerId="ADAL" clId="{EE97D3FE-9ACA-4467-98E5-532EC45D9D1C}" dt="2024-03-11T14:26:10.960" v="24089"/>
          <ac:spMkLst>
            <pc:docMk/>
            <pc:sldMk cId="1632897735" sldId="921"/>
            <ac:spMk id="6" creationId="{4C448523-D199-838D-0012-DA39AE2F2FF6}"/>
          </ac:spMkLst>
        </pc:spChg>
        <pc:spChg chg="add del mod">
          <ac:chgData name="Nataliia Chornii (UA)" userId="4e4b8b3d-5f31-49bb-9f80-8a25c04abfff" providerId="ADAL" clId="{EE97D3FE-9ACA-4467-98E5-532EC45D9D1C}" dt="2024-03-04T09:18:04.094" v="18617" actId="478"/>
          <ac:spMkLst>
            <pc:docMk/>
            <pc:sldMk cId="1632897735" sldId="921"/>
            <ac:spMk id="6" creationId="{61E3893F-05AD-C26D-5053-F6B1AFD313BF}"/>
          </ac:spMkLst>
        </pc:spChg>
        <pc:spChg chg="add del mod">
          <ac:chgData name="Nataliia Chornii (UA)" userId="4e4b8b3d-5f31-49bb-9f80-8a25c04abfff" providerId="ADAL" clId="{EE97D3FE-9ACA-4467-98E5-532EC45D9D1C}" dt="2024-03-04T09:18:04.094" v="18617" actId="478"/>
          <ac:spMkLst>
            <pc:docMk/>
            <pc:sldMk cId="1632897735" sldId="921"/>
            <ac:spMk id="7" creationId="{733F6D60-0AF3-38BD-1AD2-AC8466192AB1}"/>
          </ac:spMkLst>
        </pc:spChg>
        <pc:spChg chg="add del mod modVis">
          <ac:chgData name="Nataliia Chornii (UA)" userId="4e4b8b3d-5f31-49bb-9f80-8a25c04abfff" providerId="ADAL" clId="{EE97D3FE-9ACA-4467-98E5-532EC45D9D1C}" dt="2024-03-01T08:48:59.684" v="1461"/>
          <ac:spMkLst>
            <pc:docMk/>
            <pc:sldMk cId="1632897735" sldId="921"/>
            <ac:spMk id="7" creationId="{D037C9FC-C789-5E4F-180A-8D81C59AD7D3}"/>
          </ac:spMkLst>
        </pc:spChg>
        <pc:spChg chg="del">
          <ac:chgData name="Nataliia Chornii (UA)" userId="4e4b8b3d-5f31-49bb-9f80-8a25c04abfff" providerId="ADAL" clId="{EE97D3FE-9ACA-4467-98E5-532EC45D9D1C}" dt="2024-03-01T13:31:19.545" v="13029" actId="478"/>
          <ac:spMkLst>
            <pc:docMk/>
            <pc:sldMk cId="1632897735" sldId="921"/>
            <ac:spMk id="8" creationId="{598AB23C-0BF9-85FE-4B7A-DC0CF1A85603}"/>
          </ac:spMkLst>
        </pc:spChg>
        <pc:spChg chg="add del mod modVis">
          <ac:chgData name="Nataliia Chornii (UA)" userId="4e4b8b3d-5f31-49bb-9f80-8a25c04abfff" providerId="ADAL" clId="{EE97D3FE-9ACA-4467-98E5-532EC45D9D1C}" dt="2024-03-04T09:17:56.003" v="18601"/>
          <ac:spMkLst>
            <pc:docMk/>
            <pc:sldMk cId="1632897735" sldId="921"/>
            <ac:spMk id="8" creationId="{E1BCA498-73C0-60FB-95E8-D8C20D978369}"/>
          </ac:spMkLst>
        </pc:spChg>
        <pc:spChg chg="mod">
          <ac:chgData name="Nataliia Chornii (UA)" userId="4e4b8b3d-5f31-49bb-9f80-8a25c04abfff" providerId="ADAL" clId="{EE97D3FE-9ACA-4467-98E5-532EC45D9D1C}" dt="2024-03-11T14:26:10.960" v="24089"/>
          <ac:spMkLst>
            <pc:docMk/>
            <pc:sldMk cId="1632897735" sldId="921"/>
            <ac:spMk id="8" creationId="{EA93FD2B-DFA2-F1D4-7D2B-E2D5A15A558D}"/>
          </ac:spMkLst>
        </pc:spChg>
        <pc:spChg chg="mod">
          <ac:chgData name="Nataliia Chornii (UA)" userId="4e4b8b3d-5f31-49bb-9f80-8a25c04abfff" providerId="ADAL" clId="{EE97D3FE-9ACA-4467-98E5-532EC45D9D1C}" dt="2024-03-11T14:26:10.960" v="24089"/>
          <ac:spMkLst>
            <pc:docMk/>
            <pc:sldMk cId="1632897735" sldId="921"/>
            <ac:spMk id="10" creationId="{0B2C0176-403D-D130-44B9-CDFB548E935D}"/>
          </ac:spMkLst>
        </pc:spChg>
        <pc:spChg chg="del">
          <ac:chgData name="Nataliia Chornii (UA)" userId="4e4b8b3d-5f31-49bb-9f80-8a25c04abfff" providerId="ADAL" clId="{EE97D3FE-9ACA-4467-98E5-532EC45D9D1C}" dt="2024-03-01T13:30:43.095" v="13023" actId="478"/>
          <ac:spMkLst>
            <pc:docMk/>
            <pc:sldMk cId="1632897735" sldId="921"/>
            <ac:spMk id="10" creationId="{489B7680-E5EE-2A50-7733-37F2F144B869}"/>
          </ac:spMkLst>
        </pc:spChg>
        <pc:spChg chg="add del mod">
          <ac:chgData name="Nataliia Chornii (UA)" userId="4e4b8b3d-5f31-49bb-9f80-8a25c04abfff" providerId="ADAL" clId="{EE97D3FE-9ACA-4467-98E5-532EC45D9D1C}" dt="2024-03-04T09:18:21.248" v="18647" actId="478"/>
          <ac:spMkLst>
            <pc:docMk/>
            <pc:sldMk cId="1632897735" sldId="921"/>
            <ac:spMk id="10" creationId="{93772AB8-87B8-50E0-BFE7-F3A8A573FEC0}"/>
          </ac:spMkLst>
        </pc:spChg>
        <pc:spChg chg="del mod">
          <ac:chgData name="Nataliia Chornii (UA)" userId="4e4b8b3d-5f31-49bb-9f80-8a25c04abfff" providerId="ADAL" clId="{EE97D3FE-9ACA-4467-98E5-532EC45D9D1C}" dt="2024-03-01T13:31:19.545" v="13029" actId="478"/>
          <ac:spMkLst>
            <pc:docMk/>
            <pc:sldMk cId="1632897735" sldId="921"/>
            <ac:spMk id="11" creationId="{327B1A4B-6980-7B00-091C-6006703B82A0}"/>
          </ac:spMkLst>
        </pc:spChg>
        <pc:spChg chg="mod">
          <ac:chgData name="Nataliia Chornii (UA)" userId="4e4b8b3d-5f31-49bb-9f80-8a25c04abfff" providerId="ADAL" clId="{EE97D3FE-9ACA-4467-98E5-532EC45D9D1C}" dt="2024-03-11T14:26:10.960" v="24089"/>
          <ac:spMkLst>
            <pc:docMk/>
            <pc:sldMk cId="1632897735" sldId="921"/>
            <ac:spMk id="11" creationId="{5CC1E3FD-67C7-8193-DB76-C56A751AA27B}"/>
          </ac:spMkLst>
        </pc:spChg>
        <pc:spChg chg="add del mod">
          <ac:chgData name="Nataliia Chornii (UA)" userId="4e4b8b3d-5f31-49bb-9f80-8a25c04abfff" providerId="ADAL" clId="{EE97D3FE-9ACA-4467-98E5-532EC45D9D1C}" dt="2024-03-04T09:18:28.750" v="18650" actId="478"/>
          <ac:spMkLst>
            <pc:docMk/>
            <pc:sldMk cId="1632897735" sldId="921"/>
            <ac:spMk id="11" creationId="{BC4939A4-6306-20EF-1DA3-4D85E6E1A659}"/>
          </ac:spMkLst>
        </pc:spChg>
        <pc:spChg chg="del mod">
          <ac:chgData name="Nataliia Chornii (UA)" userId="4e4b8b3d-5f31-49bb-9f80-8a25c04abfff" providerId="ADAL" clId="{EE97D3FE-9ACA-4467-98E5-532EC45D9D1C}" dt="2024-03-01T13:31:41.720" v="13063" actId="478"/>
          <ac:spMkLst>
            <pc:docMk/>
            <pc:sldMk cId="1632897735" sldId="921"/>
            <ac:spMk id="12" creationId="{F17E280A-26FF-1631-ADC9-96AE3A637C2C}"/>
          </ac:spMkLst>
        </pc:spChg>
        <pc:spChg chg="mod">
          <ac:chgData name="Nataliia Chornii (UA)" userId="4e4b8b3d-5f31-49bb-9f80-8a25c04abfff" providerId="ADAL" clId="{EE97D3FE-9ACA-4467-98E5-532EC45D9D1C}" dt="2024-03-11T14:26:10.960" v="24089"/>
          <ac:spMkLst>
            <pc:docMk/>
            <pc:sldMk cId="1632897735" sldId="921"/>
            <ac:spMk id="12" creationId="{F2ED617E-4EF0-3C37-DB0C-87790A1174FE}"/>
          </ac:spMkLst>
        </pc:spChg>
        <pc:spChg chg="del mod">
          <ac:chgData name="Nataliia Chornii (UA)" userId="4e4b8b3d-5f31-49bb-9f80-8a25c04abfff" providerId="ADAL" clId="{EE97D3FE-9ACA-4467-98E5-532EC45D9D1C}" dt="2024-03-01T13:31:41.720" v="13063" actId="478"/>
          <ac:spMkLst>
            <pc:docMk/>
            <pc:sldMk cId="1632897735" sldId="921"/>
            <ac:spMk id="13" creationId="{318FD8EE-145C-CF57-FA8A-2208CA63BD22}"/>
          </ac:spMkLst>
        </pc:spChg>
        <pc:spChg chg="mod">
          <ac:chgData name="Nataliia Chornii (UA)" userId="4e4b8b3d-5f31-49bb-9f80-8a25c04abfff" providerId="ADAL" clId="{EE97D3FE-9ACA-4467-98E5-532EC45D9D1C}" dt="2024-03-11T14:26:10.960" v="24089"/>
          <ac:spMkLst>
            <pc:docMk/>
            <pc:sldMk cId="1632897735" sldId="921"/>
            <ac:spMk id="13" creationId="{E9DDB23A-0BF9-6D18-C31A-09E150CE8626}"/>
          </ac:spMkLst>
        </pc:spChg>
        <pc:spChg chg="mod">
          <ac:chgData name="Nataliia Chornii (UA)" userId="4e4b8b3d-5f31-49bb-9f80-8a25c04abfff" providerId="ADAL" clId="{EE97D3FE-9ACA-4467-98E5-532EC45D9D1C}" dt="2024-03-11T14:26:10.960" v="24089"/>
          <ac:spMkLst>
            <pc:docMk/>
            <pc:sldMk cId="1632897735" sldId="921"/>
            <ac:spMk id="14" creationId="{DE010F8F-D871-0AB3-A0B8-9208D95CA672}"/>
          </ac:spMkLst>
        </pc:spChg>
        <pc:spChg chg="add del mod modVis">
          <ac:chgData name="Nataliia Chornii (UA)" userId="4e4b8b3d-5f31-49bb-9f80-8a25c04abfff" providerId="ADAL" clId="{EE97D3FE-9ACA-4467-98E5-532EC45D9D1C}" dt="2024-03-01T08:49:33.777" v="2840"/>
          <ac:spMkLst>
            <pc:docMk/>
            <pc:sldMk cId="1632897735" sldId="921"/>
            <ac:spMk id="14" creationId="{EB0F6F9C-C24C-5765-4B39-1E781A2EA590}"/>
          </ac:spMkLst>
        </pc:spChg>
        <pc:spChg chg="add mod">
          <ac:chgData name="Nataliia Chornii (UA)" userId="4e4b8b3d-5f31-49bb-9f80-8a25c04abfff" providerId="ADAL" clId="{EE97D3FE-9ACA-4467-98E5-532EC45D9D1C}" dt="2024-03-11T14:30:03.375" v="24249"/>
          <ac:spMkLst>
            <pc:docMk/>
            <pc:sldMk cId="1632897735" sldId="921"/>
            <ac:spMk id="15" creationId="{195BC487-1210-1AD0-818D-2F292AAC6012}"/>
          </ac:spMkLst>
        </pc:spChg>
        <pc:spChg chg="add del mod modVis">
          <ac:chgData name="Nataliia Chornii (UA)" userId="4e4b8b3d-5f31-49bb-9f80-8a25c04abfff" providerId="ADAL" clId="{EE97D3FE-9ACA-4467-98E5-532EC45D9D1C}" dt="2024-03-01T08:49:59.819" v="3828"/>
          <ac:spMkLst>
            <pc:docMk/>
            <pc:sldMk cId="1632897735" sldId="921"/>
            <ac:spMk id="15" creationId="{E9E30B47-E75D-74F8-B01B-AFE8176FF736}"/>
          </ac:spMkLst>
        </pc:spChg>
        <pc:spChg chg="del mod">
          <ac:chgData name="Nataliia Chornii (UA)" userId="4e4b8b3d-5f31-49bb-9f80-8a25c04abfff" providerId="ADAL" clId="{EE97D3FE-9ACA-4467-98E5-532EC45D9D1C}" dt="2024-03-01T13:31:59.175" v="13071" actId="478"/>
          <ac:spMkLst>
            <pc:docMk/>
            <pc:sldMk cId="1632897735" sldId="921"/>
            <ac:spMk id="16" creationId="{30819613-CE74-49B6-0807-44FDBB81D466}"/>
          </ac:spMkLst>
        </pc:spChg>
        <pc:spChg chg="add del mod modVis">
          <ac:chgData name="Nataliia Chornii (UA)" userId="4e4b8b3d-5f31-49bb-9f80-8a25c04abfff" providerId="ADAL" clId="{EE97D3FE-9ACA-4467-98E5-532EC45D9D1C}" dt="2024-03-01T08:51:26.124" v="4816"/>
          <ac:spMkLst>
            <pc:docMk/>
            <pc:sldMk cId="1632897735" sldId="921"/>
            <ac:spMk id="17" creationId="{5EC97991-9967-140F-C740-26C71C168C0A}"/>
          </ac:spMkLst>
        </pc:spChg>
        <pc:spChg chg="del mod">
          <ac:chgData name="Nataliia Chornii (UA)" userId="4e4b8b3d-5f31-49bb-9f80-8a25c04abfff" providerId="ADAL" clId="{EE97D3FE-9ACA-4467-98E5-532EC45D9D1C}" dt="2024-03-01T13:31:59.175" v="13071" actId="478"/>
          <ac:spMkLst>
            <pc:docMk/>
            <pc:sldMk cId="1632897735" sldId="921"/>
            <ac:spMk id="18" creationId="{E1D4AC8F-0322-E8A8-E509-5AF71473A8F4}"/>
          </ac:spMkLst>
        </pc:spChg>
        <pc:spChg chg="add del mod modVis">
          <ac:chgData name="Nataliia Chornii (UA)" userId="4e4b8b3d-5f31-49bb-9f80-8a25c04abfff" providerId="ADAL" clId="{EE97D3FE-9ACA-4467-98E5-532EC45D9D1C}" dt="2024-03-01T08:51:56.150" v="5805"/>
          <ac:spMkLst>
            <pc:docMk/>
            <pc:sldMk cId="1632897735" sldId="921"/>
            <ac:spMk id="19" creationId="{53919A01-3377-8DCE-B069-8BB3B86FD4EF}"/>
          </ac:spMkLst>
        </pc:spChg>
        <pc:spChg chg="del mod">
          <ac:chgData name="Nataliia Chornii (UA)" userId="4e4b8b3d-5f31-49bb-9f80-8a25c04abfff" providerId="ADAL" clId="{EE97D3FE-9ACA-4467-98E5-532EC45D9D1C}" dt="2024-03-01T13:32:00.311" v="13072" actId="478"/>
          <ac:spMkLst>
            <pc:docMk/>
            <pc:sldMk cId="1632897735" sldId="921"/>
            <ac:spMk id="20" creationId="{BCB0856A-D775-E9B2-A22B-A661D9F8D43C}"/>
          </ac:spMkLst>
        </pc:spChg>
        <pc:spChg chg="add del mod modVis">
          <ac:chgData name="Nataliia Chornii (UA)" userId="4e4b8b3d-5f31-49bb-9f80-8a25c04abfff" providerId="ADAL" clId="{EE97D3FE-9ACA-4467-98E5-532EC45D9D1C}" dt="2024-03-01T08:52:18.296" v="6793"/>
          <ac:spMkLst>
            <pc:docMk/>
            <pc:sldMk cId="1632897735" sldId="921"/>
            <ac:spMk id="21" creationId="{565CF0BC-B382-5687-CCF3-53A3B885BC25}"/>
          </ac:spMkLst>
        </pc:spChg>
        <pc:spChg chg="del mod">
          <ac:chgData name="Nataliia Chornii (UA)" userId="4e4b8b3d-5f31-49bb-9f80-8a25c04abfff" providerId="ADAL" clId="{EE97D3FE-9ACA-4467-98E5-532EC45D9D1C}" dt="2024-03-01T13:31:59.175" v="13071" actId="478"/>
          <ac:spMkLst>
            <pc:docMk/>
            <pc:sldMk cId="1632897735" sldId="921"/>
            <ac:spMk id="22" creationId="{044C1CE5-09D8-63ED-7E23-4A59A70CC41B}"/>
          </ac:spMkLst>
        </pc:spChg>
        <pc:spChg chg="add del mod">
          <ac:chgData name="Nataliia Chornii (UA)" userId="4e4b8b3d-5f31-49bb-9f80-8a25c04abfff" providerId="ADAL" clId="{EE97D3FE-9ACA-4467-98E5-532EC45D9D1C}" dt="2024-03-11T14:30:03.024" v="24248" actId="478"/>
          <ac:spMkLst>
            <pc:docMk/>
            <pc:sldMk cId="1632897735" sldId="921"/>
            <ac:spMk id="23" creationId="{88B111F6-05FB-7044-2F8E-2C70FFCA0ABD}"/>
          </ac:spMkLst>
        </pc:spChg>
        <pc:spChg chg="add del mod ord">
          <ac:chgData name="Nataliia Chornii (UA)" userId="4e4b8b3d-5f31-49bb-9f80-8a25c04abfff" providerId="ADAL" clId="{EE97D3FE-9ACA-4467-98E5-532EC45D9D1C}" dt="2024-03-01T13:31:28.623" v="13059" actId="478"/>
          <ac:spMkLst>
            <pc:docMk/>
            <pc:sldMk cId="1632897735" sldId="921"/>
            <ac:spMk id="24" creationId="{76686FC7-974F-32EF-8311-2D0CB8CA607D}"/>
          </ac:spMkLst>
        </pc:spChg>
        <pc:spChg chg="add del mod modVis">
          <ac:chgData name="Nataliia Chornii (UA)" userId="4e4b8b3d-5f31-49bb-9f80-8a25c04abfff" providerId="ADAL" clId="{EE97D3FE-9ACA-4467-98E5-532EC45D9D1C}" dt="2024-03-01T13:31:27.929" v="13056"/>
          <ac:spMkLst>
            <pc:docMk/>
            <pc:sldMk cId="1632897735" sldId="921"/>
            <ac:spMk id="25" creationId="{9DE6B194-243E-F422-EECC-C571E4947EFA}"/>
          </ac:spMkLst>
        </pc:spChg>
        <pc:spChg chg="add mod">
          <ac:chgData name="Nataliia Chornii (UA)" userId="4e4b8b3d-5f31-49bb-9f80-8a25c04abfff" providerId="ADAL" clId="{EE97D3FE-9ACA-4467-98E5-532EC45D9D1C}" dt="2024-03-01T14:31:43.478" v="14881" actId="554"/>
          <ac:spMkLst>
            <pc:docMk/>
            <pc:sldMk cId="1632897735" sldId="921"/>
            <ac:spMk id="26" creationId="{75CE378D-0AD1-9BD1-B80E-BB684E86C908}"/>
          </ac:spMkLst>
        </pc:spChg>
        <pc:spChg chg="add mod">
          <ac:chgData name="Nataliia Chornii (UA)" userId="4e4b8b3d-5f31-49bb-9f80-8a25c04abfff" providerId="ADAL" clId="{EE97D3FE-9ACA-4467-98E5-532EC45D9D1C}" dt="2024-03-01T14:31:30.106" v="14877" actId="554"/>
          <ac:spMkLst>
            <pc:docMk/>
            <pc:sldMk cId="1632897735" sldId="921"/>
            <ac:spMk id="27" creationId="{26BF525F-45B3-C14A-12E8-A83E64EF16FF}"/>
          </ac:spMkLst>
        </pc:spChg>
        <pc:spChg chg="add mod">
          <ac:chgData name="Nataliia Chornii (UA)" userId="4e4b8b3d-5f31-49bb-9f80-8a25c04abfff" providerId="ADAL" clId="{EE97D3FE-9ACA-4467-98E5-532EC45D9D1C}" dt="2024-03-01T14:31:54.234" v="14883" actId="14100"/>
          <ac:spMkLst>
            <pc:docMk/>
            <pc:sldMk cId="1632897735" sldId="921"/>
            <ac:spMk id="28" creationId="{18CEB400-BC29-94CA-625A-8B9380FCF3EB}"/>
          </ac:spMkLst>
        </pc:spChg>
        <pc:spChg chg="add mod">
          <ac:chgData name="Nataliia Chornii (UA)" userId="4e4b8b3d-5f31-49bb-9f80-8a25c04abfff" providerId="ADAL" clId="{EE97D3FE-9ACA-4467-98E5-532EC45D9D1C}" dt="2024-03-01T14:31:54.234" v="14883" actId="14100"/>
          <ac:spMkLst>
            <pc:docMk/>
            <pc:sldMk cId="1632897735" sldId="921"/>
            <ac:spMk id="29" creationId="{22DB8157-5B10-8AC7-8999-CD47C0BE8FC0}"/>
          </ac:spMkLst>
        </pc:spChg>
        <pc:spChg chg="add del mod">
          <ac:chgData name="Nataliia Chornii (UA)" userId="4e4b8b3d-5f31-49bb-9f80-8a25c04abfff" providerId="ADAL" clId="{EE97D3FE-9ACA-4467-98E5-532EC45D9D1C}" dt="2024-03-01T14:05:35.544" v="13581" actId="478"/>
          <ac:spMkLst>
            <pc:docMk/>
            <pc:sldMk cId="1632897735" sldId="921"/>
            <ac:spMk id="30" creationId="{667FDDA6-1C46-077F-07DA-446EB88B0555}"/>
          </ac:spMkLst>
        </pc:spChg>
        <pc:spChg chg="add del mod">
          <ac:chgData name="Nataliia Chornii (UA)" userId="4e4b8b3d-5f31-49bb-9f80-8a25c04abfff" providerId="ADAL" clId="{EE97D3FE-9ACA-4467-98E5-532EC45D9D1C}" dt="2024-03-01T14:05:35.544" v="13581" actId="478"/>
          <ac:spMkLst>
            <pc:docMk/>
            <pc:sldMk cId="1632897735" sldId="921"/>
            <ac:spMk id="31" creationId="{042FA010-52DB-E52C-FA16-A518F12F6917}"/>
          </ac:spMkLst>
        </pc:spChg>
        <pc:spChg chg="add del mod">
          <ac:chgData name="Nataliia Chornii (UA)" userId="4e4b8b3d-5f31-49bb-9f80-8a25c04abfff" providerId="ADAL" clId="{EE97D3FE-9ACA-4467-98E5-532EC45D9D1C}" dt="2024-03-01T14:05:35.544" v="13581" actId="478"/>
          <ac:spMkLst>
            <pc:docMk/>
            <pc:sldMk cId="1632897735" sldId="921"/>
            <ac:spMk id="32" creationId="{94F39753-7695-8184-12DB-1D6634B0878B}"/>
          </ac:spMkLst>
        </pc:spChg>
        <pc:spChg chg="add del mod">
          <ac:chgData name="Nataliia Chornii (UA)" userId="4e4b8b3d-5f31-49bb-9f80-8a25c04abfff" providerId="ADAL" clId="{EE97D3FE-9ACA-4467-98E5-532EC45D9D1C}" dt="2024-03-01T14:05:35.544" v="13581" actId="478"/>
          <ac:spMkLst>
            <pc:docMk/>
            <pc:sldMk cId="1632897735" sldId="921"/>
            <ac:spMk id="33" creationId="{9E02F0A3-1D8C-4FBB-E5FA-162D952AE36E}"/>
          </ac:spMkLst>
        </pc:spChg>
        <pc:spChg chg="add del mod">
          <ac:chgData name="Nataliia Chornii (UA)" userId="4e4b8b3d-5f31-49bb-9f80-8a25c04abfff" providerId="ADAL" clId="{EE97D3FE-9ACA-4467-98E5-532EC45D9D1C}" dt="2024-03-01T14:05:35.544" v="13581" actId="478"/>
          <ac:spMkLst>
            <pc:docMk/>
            <pc:sldMk cId="1632897735" sldId="921"/>
            <ac:spMk id="34" creationId="{C891CCAA-471D-E571-FB9B-EBBBE06A8227}"/>
          </ac:spMkLst>
        </pc:spChg>
        <pc:spChg chg="add del mod">
          <ac:chgData name="Nataliia Chornii (UA)" userId="4e4b8b3d-5f31-49bb-9f80-8a25c04abfff" providerId="ADAL" clId="{EE97D3FE-9ACA-4467-98E5-532EC45D9D1C}" dt="2024-03-01T14:05:35.544" v="13581" actId="478"/>
          <ac:spMkLst>
            <pc:docMk/>
            <pc:sldMk cId="1632897735" sldId="921"/>
            <ac:spMk id="35" creationId="{B2178C50-7A87-2E92-4EEB-99DF544AB922}"/>
          </ac:spMkLst>
        </pc:spChg>
        <pc:spChg chg="add del mod">
          <ac:chgData name="Nataliia Chornii (UA)" userId="4e4b8b3d-5f31-49bb-9f80-8a25c04abfff" providerId="ADAL" clId="{EE97D3FE-9ACA-4467-98E5-532EC45D9D1C}" dt="2024-03-01T14:05:35.544" v="13581" actId="478"/>
          <ac:spMkLst>
            <pc:docMk/>
            <pc:sldMk cId="1632897735" sldId="921"/>
            <ac:spMk id="36" creationId="{BE906658-543D-794F-1EEB-4F1A12D864B0}"/>
          </ac:spMkLst>
        </pc:spChg>
        <pc:spChg chg="add del mod">
          <ac:chgData name="Nataliia Chornii (UA)" userId="4e4b8b3d-5f31-49bb-9f80-8a25c04abfff" providerId="ADAL" clId="{EE97D3FE-9ACA-4467-98E5-532EC45D9D1C}" dt="2024-03-01T14:05:35.544" v="13581" actId="478"/>
          <ac:spMkLst>
            <pc:docMk/>
            <pc:sldMk cId="1632897735" sldId="921"/>
            <ac:spMk id="37" creationId="{8656F31E-C926-DEB1-F55F-34E04A41662E}"/>
          </ac:spMkLst>
        </pc:spChg>
        <pc:spChg chg="add mod">
          <ac:chgData name="Nataliia Chornii (UA)" userId="4e4b8b3d-5f31-49bb-9f80-8a25c04abfff" providerId="ADAL" clId="{EE97D3FE-9ACA-4467-98E5-532EC45D9D1C}" dt="2024-03-01T14:31:30.106" v="14877" actId="554"/>
          <ac:spMkLst>
            <pc:docMk/>
            <pc:sldMk cId="1632897735" sldId="921"/>
            <ac:spMk id="38" creationId="{3B47E99D-002C-F019-6092-E26E9521906E}"/>
          </ac:spMkLst>
        </pc:spChg>
        <pc:spChg chg="add mod">
          <ac:chgData name="Nataliia Chornii (UA)" userId="4e4b8b3d-5f31-49bb-9f80-8a25c04abfff" providerId="ADAL" clId="{EE97D3FE-9ACA-4467-98E5-532EC45D9D1C}" dt="2024-03-01T14:31:46.278" v="14882" actId="555"/>
          <ac:spMkLst>
            <pc:docMk/>
            <pc:sldMk cId="1632897735" sldId="921"/>
            <ac:spMk id="39" creationId="{396FA384-DF9D-8B3C-8EE0-DC36034FD5B1}"/>
          </ac:spMkLst>
        </pc:spChg>
        <pc:spChg chg="add mod">
          <ac:chgData name="Nataliia Chornii (UA)" userId="4e4b8b3d-5f31-49bb-9f80-8a25c04abfff" providerId="ADAL" clId="{EE97D3FE-9ACA-4467-98E5-532EC45D9D1C}" dt="2024-03-01T14:31:40.786" v="14880" actId="554"/>
          <ac:spMkLst>
            <pc:docMk/>
            <pc:sldMk cId="1632897735" sldId="921"/>
            <ac:spMk id="40" creationId="{3C04D558-6349-59B4-4891-C3B362679252}"/>
          </ac:spMkLst>
        </pc:spChg>
        <pc:spChg chg="add mod">
          <ac:chgData name="Nataliia Chornii (UA)" userId="4e4b8b3d-5f31-49bb-9f80-8a25c04abfff" providerId="ADAL" clId="{EE97D3FE-9ACA-4467-98E5-532EC45D9D1C}" dt="2024-03-01T14:32:12.118" v="14888" actId="14100"/>
          <ac:spMkLst>
            <pc:docMk/>
            <pc:sldMk cId="1632897735" sldId="921"/>
            <ac:spMk id="41" creationId="{A5FCE91E-7750-1062-5437-D153B9C8E110}"/>
          </ac:spMkLst>
        </pc:spChg>
        <pc:spChg chg="add mod">
          <ac:chgData name="Nataliia Chornii (UA)" userId="4e4b8b3d-5f31-49bb-9f80-8a25c04abfff" providerId="ADAL" clId="{EE97D3FE-9ACA-4467-98E5-532EC45D9D1C}" dt="2024-03-01T14:31:30.106" v="14877" actId="554"/>
          <ac:spMkLst>
            <pc:docMk/>
            <pc:sldMk cId="1632897735" sldId="921"/>
            <ac:spMk id="42" creationId="{41F206C0-1514-9A56-1E69-C897346ADB21}"/>
          </ac:spMkLst>
        </pc:spChg>
        <pc:spChg chg="add mod">
          <ac:chgData name="Nataliia Chornii (UA)" userId="4e4b8b3d-5f31-49bb-9f80-8a25c04abfff" providerId="ADAL" clId="{EE97D3FE-9ACA-4467-98E5-532EC45D9D1C}" dt="2024-03-01T14:31:30.106" v="14877" actId="554"/>
          <ac:spMkLst>
            <pc:docMk/>
            <pc:sldMk cId="1632897735" sldId="921"/>
            <ac:spMk id="43" creationId="{C333C631-7908-BAEB-F79D-7746A92C6B90}"/>
          </ac:spMkLst>
        </pc:spChg>
        <pc:spChg chg="add mod">
          <ac:chgData name="Nataliia Chornii (UA)" userId="4e4b8b3d-5f31-49bb-9f80-8a25c04abfff" providerId="ADAL" clId="{EE97D3FE-9ACA-4467-98E5-532EC45D9D1C}" dt="2024-03-01T14:31:30.106" v="14877" actId="554"/>
          <ac:spMkLst>
            <pc:docMk/>
            <pc:sldMk cId="1632897735" sldId="921"/>
            <ac:spMk id="44" creationId="{F7B0A12B-EBED-EB91-D3B9-4B151635FA06}"/>
          </ac:spMkLst>
        </pc:spChg>
        <pc:spChg chg="add mod">
          <ac:chgData name="Nataliia Chornii (UA)" userId="4e4b8b3d-5f31-49bb-9f80-8a25c04abfff" providerId="ADAL" clId="{EE97D3FE-9ACA-4467-98E5-532EC45D9D1C}" dt="2024-03-01T14:31:40.786" v="14880" actId="554"/>
          <ac:spMkLst>
            <pc:docMk/>
            <pc:sldMk cId="1632897735" sldId="921"/>
            <ac:spMk id="45" creationId="{1BE28122-DCB8-C4C7-9167-163A091C3810}"/>
          </ac:spMkLst>
        </pc:spChg>
        <pc:spChg chg="add del mod">
          <ac:chgData name="Nataliia Chornii (UA)" userId="4e4b8b3d-5f31-49bb-9f80-8a25c04abfff" providerId="ADAL" clId="{EE97D3FE-9ACA-4467-98E5-532EC45D9D1C}" dt="2024-03-01T13:36:42.770" v="13561" actId="478"/>
          <ac:spMkLst>
            <pc:docMk/>
            <pc:sldMk cId="1632897735" sldId="921"/>
            <ac:spMk id="46" creationId="{C5878F71-4A8D-6269-1A24-6BABEDC6727F}"/>
          </ac:spMkLst>
        </pc:spChg>
        <pc:spChg chg="add del mod">
          <ac:chgData name="Nataliia Chornii (UA)" userId="4e4b8b3d-5f31-49bb-9f80-8a25c04abfff" providerId="ADAL" clId="{EE97D3FE-9ACA-4467-98E5-532EC45D9D1C}" dt="2024-03-01T13:36:42.770" v="13561" actId="478"/>
          <ac:spMkLst>
            <pc:docMk/>
            <pc:sldMk cId="1632897735" sldId="921"/>
            <ac:spMk id="47" creationId="{5AE5F107-E7F4-622C-608A-363323B2EFBD}"/>
          </ac:spMkLst>
        </pc:spChg>
        <pc:spChg chg="add del mod">
          <ac:chgData name="Nataliia Chornii (UA)" userId="4e4b8b3d-5f31-49bb-9f80-8a25c04abfff" providerId="ADAL" clId="{EE97D3FE-9ACA-4467-98E5-532EC45D9D1C}" dt="2024-03-01T14:30:45.832" v="14774" actId="478"/>
          <ac:spMkLst>
            <pc:docMk/>
            <pc:sldMk cId="1632897735" sldId="921"/>
            <ac:spMk id="48" creationId="{118E6111-566E-1BD8-B975-D01EF66B91A7}"/>
          </ac:spMkLst>
        </pc:spChg>
        <pc:spChg chg="add del mod">
          <ac:chgData name="Nataliia Chornii (UA)" userId="4e4b8b3d-5f31-49bb-9f80-8a25c04abfff" providerId="ADAL" clId="{EE97D3FE-9ACA-4467-98E5-532EC45D9D1C}" dt="2024-03-01T14:30:45.832" v="14774" actId="478"/>
          <ac:spMkLst>
            <pc:docMk/>
            <pc:sldMk cId="1632897735" sldId="921"/>
            <ac:spMk id="49" creationId="{F8F2F556-1FE5-D03D-9EC4-B84857A25871}"/>
          </ac:spMkLst>
        </pc:spChg>
        <pc:spChg chg="add del mod">
          <ac:chgData name="Nataliia Chornii (UA)" userId="4e4b8b3d-5f31-49bb-9f80-8a25c04abfff" providerId="ADAL" clId="{EE97D3FE-9ACA-4467-98E5-532EC45D9D1C}" dt="2024-03-01T14:30:45.832" v="14774" actId="478"/>
          <ac:spMkLst>
            <pc:docMk/>
            <pc:sldMk cId="1632897735" sldId="921"/>
            <ac:spMk id="50" creationId="{01BD9FF9-A8BE-75AB-4647-A24F9EE8996E}"/>
          </ac:spMkLst>
        </pc:spChg>
        <pc:spChg chg="add del mod">
          <ac:chgData name="Nataliia Chornii (UA)" userId="4e4b8b3d-5f31-49bb-9f80-8a25c04abfff" providerId="ADAL" clId="{EE97D3FE-9ACA-4467-98E5-532EC45D9D1C}" dt="2024-03-01T14:30:45.832" v="14774" actId="478"/>
          <ac:spMkLst>
            <pc:docMk/>
            <pc:sldMk cId="1632897735" sldId="921"/>
            <ac:spMk id="51" creationId="{3D8D84F2-4F20-4C4B-1B44-3379BB74F4B5}"/>
          </ac:spMkLst>
        </pc:spChg>
        <pc:spChg chg="add del mod">
          <ac:chgData name="Nataliia Chornii (UA)" userId="4e4b8b3d-5f31-49bb-9f80-8a25c04abfff" providerId="ADAL" clId="{EE97D3FE-9ACA-4467-98E5-532EC45D9D1C}" dt="2024-03-01T14:30:45.832" v="14774" actId="478"/>
          <ac:spMkLst>
            <pc:docMk/>
            <pc:sldMk cId="1632897735" sldId="921"/>
            <ac:spMk id="52" creationId="{E675D400-04F2-631D-25D8-9F1E3C9F9B1E}"/>
          </ac:spMkLst>
        </pc:spChg>
        <pc:spChg chg="add del mod">
          <ac:chgData name="Nataliia Chornii (UA)" userId="4e4b8b3d-5f31-49bb-9f80-8a25c04abfff" providerId="ADAL" clId="{EE97D3FE-9ACA-4467-98E5-532EC45D9D1C}" dt="2024-03-01T14:30:45.832" v="14774" actId="478"/>
          <ac:spMkLst>
            <pc:docMk/>
            <pc:sldMk cId="1632897735" sldId="921"/>
            <ac:spMk id="53" creationId="{3BD3BD23-6DBA-72B0-1413-25E0BCA17788}"/>
          </ac:spMkLst>
        </pc:spChg>
        <pc:spChg chg="add del mod">
          <ac:chgData name="Nataliia Chornii (UA)" userId="4e4b8b3d-5f31-49bb-9f80-8a25c04abfff" providerId="ADAL" clId="{EE97D3FE-9ACA-4467-98E5-532EC45D9D1C}" dt="2024-03-01T14:30:45.832" v="14774" actId="478"/>
          <ac:spMkLst>
            <pc:docMk/>
            <pc:sldMk cId="1632897735" sldId="921"/>
            <ac:spMk id="54" creationId="{59750C4B-282E-4434-DB75-220B159F7426}"/>
          </ac:spMkLst>
        </pc:spChg>
        <pc:spChg chg="add del mod">
          <ac:chgData name="Nataliia Chornii (UA)" userId="4e4b8b3d-5f31-49bb-9f80-8a25c04abfff" providerId="ADAL" clId="{EE97D3FE-9ACA-4467-98E5-532EC45D9D1C}" dt="2024-03-01T14:30:45.832" v="14774" actId="478"/>
          <ac:spMkLst>
            <pc:docMk/>
            <pc:sldMk cId="1632897735" sldId="921"/>
            <ac:spMk id="55" creationId="{1E1762AD-6D95-AC10-8F99-714FA02E1F5F}"/>
          </ac:spMkLst>
        </pc:spChg>
        <pc:spChg chg="add del mod">
          <ac:chgData name="Nataliia Chornii (UA)" userId="4e4b8b3d-5f31-49bb-9f80-8a25c04abfff" providerId="ADAL" clId="{EE97D3FE-9ACA-4467-98E5-532EC45D9D1C}" dt="2024-03-01T14:05:52.698" v="13591" actId="478"/>
          <ac:spMkLst>
            <pc:docMk/>
            <pc:sldMk cId="1632897735" sldId="921"/>
            <ac:spMk id="56" creationId="{D3630E74-5248-36D8-82C0-4745CC0C8027}"/>
          </ac:spMkLst>
        </pc:spChg>
        <pc:spChg chg="add mod">
          <ac:chgData name="Nataliia Chornii (UA)" userId="4e4b8b3d-5f31-49bb-9f80-8a25c04abfff" providerId="ADAL" clId="{EE97D3FE-9ACA-4467-98E5-532EC45D9D1C}" dt="2024-03-01T14:31:27.016" v="14876" actId="552"/>
          <ac:spMkLst>
            <pc:docMk/>
            <pc:sldMk cId="1632897735" sldId="921"/>
            <ac:spMk id="57" creationId="{5289A2E1-8F6D-9610-E7CE-9B7600169B03}"/>
          </ac:spMkLst>
        </pc:spChg>
        <pc:spChg chg="add mod">
          <ac:chgData name="Nataliia Chornii (UA)" userId="4e4b8b3d-5f31-49bb-9f80-8a25c04abfff" providerId="ADAL" clId="{EE97D3FE-9ACA-4467-98E5-532EC45D9D1C}" dt="2024-03-01T14:30:46.369" v="14775"/>
          <ac:spMkLst>
            <pc:docMk/>
            <pc:sldMk cId="1632897735" sldId="921"/>
            <ac:spMk id="58" creationId="{B43C1AF2-DE1A-E208-918C-6E21E6ECECF0}"/>
          </ac:spMkLst>
        </pc:spChg>
        <pc:spChg chg="add mod">
          <ac:chgData name="Nataliia Chornii (UA)" userId="4e4b8b3d-5f31-49bb-9f80-8a25c04abfff" providerId="ADAL" clId="{EE97D3FE-9ACA-4467-98E5-532EC45D9D1C}" dt="2024-03-01T14:30:46.369" v="14775"/>
          <ac:spMkLst>
            <pc:docMk/>
            <pc:sldMk cId="1632897735" sldId="921"/>
            <ac:spMk id="59" creationId="{6BD4F1BB-8A78-68F3-D3A0-8192F86B0E35}"/>
          </ac:spMkLst>
        </pc:spChg>
        <pc:spChg chg="add mod">
          <ac:chgData name="Nataliia Chornii (UA)" userId="4e4b8b3d-5f31-49bb-9f80-8a25c04abfff" providerId="ADAL" clId="{EE97D3FE-9ACA-4467-98E5-532EC45D9D1C}" dt="2024-03-01T14:30:46.369" v="14775"/>
          <ac:spMkLst>
            <pc:docMk/>
            <pc:sldMk cId="1632897735" sldId="921"/>
            <ac:spMk id="60" creationId="{988F552D-1F52-271D-E2BA-F2EA7028AE0C}"/>
          </ac:spMkLst>
        </pc:spChg>
        <pc:spChg chg="add mod">
          <ac:chgData name="Nataliia Chornii (UA)" userId="4e4b8b3d-5f31-49bb-9f80-8a25c04abfff" providerId="ADAL" clId="{EE97D3FE-9ACA-4467-98E5-532EC45D9D1C}" dt="2024-03-01T14:31:24.139" v="14875" actId="552"/>
          <ac:spMkLst>
            <pc:docMk/>
            <pc:sldMk cId="1632897735" sldId="921"/>
            <ac:spMk id="61" creationId="{754CE708-1BDC-782F-9C8A-0F59E276292A}"/>
          </ac:spMkLst>
        </pc:spChg>
        <pc:spChg chg="add mod">
          <ac:chgData name="Nataliia Chornii (UA)" userId="4e4b8b3d-5f31-49bb-9f80-8a25c04abfff" providerId="ADAL" clId="{EE97D3FE-9ACA-4467-98E5-532EC45D9D1C}" dt="2024-03-01T14:30:46.369" v="14775"/>
          <ac:spMkLst>
            <pc:docMk/>
            <pc:sldMk cId="1632897735" sldId="921"/>
            <ac:spMk id="62" creationId="{E6F89702-5666-40AD-82B9-D38CE70085DA}"/>
          </ac:spMkLst>
        </pc:spChg>
        <pc:spChg chg="add mod">
          <ac:chgData name="Nataliia Chornii (UA)" userId="4e4b8b3d-5f31-49bb-9f80-8a25c04abfff" providerId="ADAL" clId="{EE97D3FE-9ACA-4467-98E5-532EC45D9D1C}" dt="2024-03-01T14:30:46.369" v="14775"/>
          <ac:spMkLst>
            <pc:docMk/>
            <pc:sldMk cId="1632897735" sldId="921"/>
            <ac:spMk id="63" creationId="{51093CB8-6D43-2C06-65C9-248B175E887C}"/>
          </ac:spMkLst>
        </pc:spChg>
        <pc:spChg chg="add mod">
          <ac:chgData name="Nataliia Chornii (UA)" userId="4e4b8b3d-5f31-49bb-9f80-8a25c04abfff" providerId="ADAL" clId="{EE97D3FE-9ACA-4467-98E5-532EC45D9D1C}" dt="2024-03-01T14:30:46.369" v="14775"/>
          <ac:spMkLst>
            <pc:docMk/>
            <pc:sldMk cId="1632897735" sldId="921"/>
            <ac:spMk id="64" creationId="{08EF3060-4C16-1E7E-8A2E-5716356493F0}"/>
          </ac:spMkLst>
        </pc:spChg>
        <pc:spChg chg="add del mod">
          <ac:chgData name="Nataliia Chornii (UA)" userId="4e4b8b3d-5f31-49bb-9f80-8a25c04abfff" providerId="ADAL" clId="{EE97D3FE-9ACA-4467-98E5-532EC45D9D1C}" dt="2024-03-01T14:31:10.355" v="14808" actId="478"/>
          <ac:spMkLst>
            <pc:docMk/>
            <pc:sldMk cId="1632897735" sldId="921"/>
            <ac:spMk id="65" creationId="{1CF7948B-F5E1-5B86-D13C-4E47DFF2CBDF}"/>
          </ac:spMkLst>
        </pc:spChg>
        <pc:spChg chg="add del mod">
          <ac:chgData name="Nataliia Chornii (UA)" userId="4e4b8b3d-5f31-49bb-9f80-8a25c04abfff" providerId="ADAL" clId="{EE97D3FE-9ACA-4467-98E5-532EC45D9D1C}" dt="2024-03-01T14:31:10.355" v="14808" actId="478"/>
          <ac:spMkLst>
            <pc:docMk/>
            <pc:sldMk cId="1632897735" sldId="921"/>
            <ac:spMk id="66" creationId="{74290CBE-D219-A17F-67F2-CBD5DCBC8BB9}"/>
          </ac:spMkLst>
        </pc:spChg>
        <pc:grpChg chg="add mod">
          <ac:chgData name="Nataliia Chornii (UA)" userId="4e4b8b3d-5f31-49bb-9f80-8a25c04abfff" providerId="ADAL" clId="{EE97D3FE-9ACA-4467-98E5-532EC45D9D1C}" dt="2024-03-11T14:26:10.960" v="24089"/>
          <ac:grpSpMkLst>
            <pc:docMk/>
            <pc:sldMk cId="1632897735" sldId="921"/>
            <ac:grpSpMk id="7" creationId="{0E16886F-1660-D9CA-AF41-13EDD241F0BC}"/>
          </ac:grpSpMkLst>
        </pc:grpChg>
        <pc:graphicFrameChg chg="add mod ord modVis replST">
          <ac:chgData name="Nataliia Chornii (UA)" userId="4e4b8b3d-5f31-49bb-9f80-8a25c04abfff" providerId="ADAL" clId="{EE97D3FE-9ACA-4467-98E5-532EC45D9D1C}" dt="2024-03-04T09:18:13.605" v="18644"/>
          <ac:graphicFrameMkLst>
            <pc:docMk/>
            <pc:sldMk cId="1632897735" sldId="921"/>
            <ac:graphicFrameMk id="9" creationId="{B1B11D56-80D9-3D1E-3606-F06395515494}"/>
          </ac:graphicFrameMkLst>
        </pc:graphicFrameChg>
      </pc:sldChg>
      <pc:sldChg chg="addSp delSp modSp mod modClrScheme chgLayout">
        <pc:chgData name="Nataliia Chornii (UA)" userId="4e4b8b3d-5f31-49bb-9f80-8a25c04abfff" providerId="ADAL" clId="{EE97D3FE-9ACA-4467-98E5-532EC45D9D1C}" dt="2024-03-11T14:30:21.967" v="24257" actId="478"/>
        <pc:sldMkLst>
          <pc:docMk/>
          <pc:sldMk cId="3183596888" sldId="922"/>
        </pc:sldMkLst>
        <pc:spChg chg="add del mod modVis">
          <ac:chgData name="Nataliia Chornii (UA)" userId="4e4b8b3d-5f31-49bb-9f80-8a25c04abfff" providerId="ADAL" clId="{EE97D3FE-9ACA-4467-98E5-532EC45D9D1C}" dt="2024-03-01T08:48:59.811" v="1527"/>
          <ac:spMkLst>
            <pc:docMk/>
            <pc:sldMk cId="3183596888" sldId="922"/>
            <ac:spMk id="2" creationId="{618AED58-C774-F8C8-7705-F0E0C7540D44}"/>
          </ac:spMkLst>
        </pc:spChg>
        <pc:spChg chg="add del mod">
          <ac:chgData name="Nataliia Chornii (UA)" userId="4e4b8b3d-5f31-49bb-9f80-8a25c04abfff" providerId="ADAL" clId="{EE97D3FE-9ACA-4467-98E5-532EC45D9D1C}" dt="2024-03-11T14:30:21.967" v="24257" actId="478"/>
          <ac:spMkLst>
            <pc:docMk/>
            <pc:sldMk cId="3183596888" sldId="922"/>
            <ac:spMk id="2" creationId="{F1D6F790-6D5A-4BF8-B010-A12DBE713578}"/>
          </ac:spMkLst>
        </pc:spChg>
        <pc:spChg chg="mod ord">
          <ac:chgData name="Nataliia Chornii (UA)" userId="4e4b8b3d-5f31-49bb-9f80-8a25c04abfff" providerId="ADAL" clId="{EE97D3FE-9ACA-4467-98E5-532EC45D9D1C}" dt="2024-03-01T14:27:28.792" v="14455"/>
          <ac:spMkLst>
            <pc:docMk/>
            <pc:sldMk cId="3183596888" sldId="922"/>
            <ac:spMk id="3" creationId="{F4CCF02E-F3C4-C376-8F56-61BD85A2E74B}"/>
          </ac:spMkLst>
        </pc:spChg>
        <pc:spChg chg="mod ord">
          <ac:chgData name="Nataliia Chornii (UA)" userId="4e4b8b3d-5f31-49bb-9f80-8a25c04abfff" providerId="ADAL" clId="{EE97D3FE-9ACA-4467-98E5-532EC45D9D1C}" dt="2024-03-04T08:47:56.365" v="17583" actId="207"/>
          <ac:spMkLst>
            <pc:docMk/>
            <pc:sldMk cId="3183596888" sldId="922"/>
            <ac:spMk id="4" creationId="{872966CD-924A-B939-E655-A6BAF817DCBF}"/>
          </ac:spMkLst>
        </pc:spChg>
        <pc:spChg chg="add mod">
          <ac:chgData name="Nataliia Chornii (UA)" userId="4e4b8b3d-5f31-49bb-9f80-8a25c04abfff" providerId="ADAL" clId="{EE97D3FE-9ACA-4467-98E5-532EC45D9D1C}" dt="2024-03-11T14:26:13.525" v="24091"/>
          <ac:spMkLst>
            <pc:docMk/>
            <pc:sldMk cId="3183596888" sldId="922"/>
            <ac:spMk id="5" creationId="{1806521B-FB80-1F07-D596-6A488A95DE31}"/>
          </ac:spMkLst>
        </pc:spChg>
        <pc:spChg chg="del">
          <ac:chgData name="Nataliia Chornii (UA)" userId="4e4b8b3d-5f31-49bb-9f80-8a25c04abfff" providerId="ADAL" clId="{EE97D3FE-9ACA-4467-98E5-532EC45D9D1C}" dt="2024-03-01T14:19:41.988" v="14205" actId="478"/>
          <ac:spMkLst>
            <pc:docMk/>
            <pc:sldMk cId="3183596888" sldId="922"/>
            <ac:spMk id="5" creationId="{FF11D90A-8D15-0E43-4C2E-D42257331C13}"/>
          </ac:spMkLst>
        </pc:spChg>
        <pc:spChg chg="del">
          <ac:chgData name="Nataliia Chornii (UA)" userId="4e4b8b3d-5f31-49bb-9f80-8a25c04abfff" providerId="ADAL" clId="{EE97D3FE-9ACA-4467-98E5-532EC45D9D1C}" dt="2024-03-01T14:19:41.988" v="14205" actId="478"/>
          <ac:spMkLst>
            <pc:docMk/>
            <pc:sldMk cId="3183596888" sldId="922"/>
            <ac:spMk id="6" creationId="{0F377277-EC46-FAC5-F379-194FCD82679C}"/>
          </ac:spMkLst>
        </pc:spChg>
        <pc:spChg chg="del">
          <ac:chgData name="Nataliia Chornii (UA)" userId="4e4b8b3d-5f31-49bb-9f80-8a25c04abfff" providerId="ADAL" clId="{EE97D3FE-9ACA-4467-98E5-532EC45D9D1C}" dt="2024-03-01T14:25:40.861" v="14327" actId="478"/>
          <ac:spMkLst>
            <pc:docMk/>
            <pc:sldMk cId="3183596888" sldId="922"/>
            <ac:spMk id="7" creationId="{8E846963-540E-9336-DE83-B87EC3AB5727}"/>
          </ac:spMkLst>
        </pc:spChg>
        <pc:spChg chg="mod">
          <ac:chgData name="Nataliia Chornii (UA)" userId="4e4b8b3d-5f31-49bb-9f80-8a25c04abfff" providerId="ADAL" clId="{EE97D3FE-9ACA-4467-98E5-532EC45D9D1C}" dt="2024-03-11T14:26:13.525" v="24091"/>
          <ac:spMkLst>
            <pc:docMk/>
            <pc:sldMk cId="3183596888" sldId="922"/>
            <ac:spMk id="7" creationId="{E5DC344B-53BC-F9F3-1925-A2C9BFCAA54E}"/>
          </ac:spMkLst>
        </pc:spChg>
        <pc:spChg chg="del mod">
          <ac:chgData name="Nataliia Chornii (UA)" userId="4e4b8b3d-5f31-49bb-9f80-8a25c04abfff" providerId="ADAL" clId="{EE97D3FE-9ACA-4467-98E5-532EC45D9D1C}" dt="2024-03-01T14:20:47.945" v="14258" actId="478"/>
          <ac:spMkLst>
            <pc:docMk/>
            <pc:sldMk cId="3183596888" sldId="922"/>
            <ac:spMk id="8" creationId="{598AB23C-0BF9-85FE-4B7A-DC0CF1A85603}"/>
          </ac:spMkLst>
        </pc:spChg>
        <pc:spChg chg="mod">
          <ac:chgData name="Nataliia Chornii (UA)" userId="4e4b8b3d-5f31-49bb-9f80-8a25c04abfff" providerId="ADAL" clId="{EE97D3FE-9ACA-4467-98E5-532EC45D9D1C}" dt="2024-03-11T14:26:13.525" v="24091"/>
          <ac:spMkLst>
            <pc:docMk/>
            <pc:sldMk cId="3183596888" sldId="922"/>
            <ac:spMk id="8" creationId="{858F6A1C-4D05-9C29-5850-8587402F92BA}"/>
          </ac:spMkLst>
        </pc:spChg>
        <pc:spChg chg="del mod ord">
          <ac:chgData name="Nataliia Chornii (UA)" userId="4e4b8b3d-5f31-49bb-9f80-8a25c04abfff" providerId="ADAL" clId="{EE97D3FE-9ACA-4467-98E5-532EC45D9D1C}" dt="2024-03-01T14:26:18.603" v="14445" actId="478"/>
          <ac:spMkLst>
            <pc:docMk/>
            <pc:sldMk cId="3183596888" sldId="922"/>
            <ac:spMk id="10" creationId="{489B7680-E5EE-2A50-7733-37F2F144B869}"/>
          </ac:spMkLst>
        </pc:spChg>
        <pc:spChg chg="mod">
          <ac:chgData name="Nataliia Chornii (UA)" userId="4e4b8b3d-5f31-49bb-9f80-8a25c04abfff" providerId="ADAL" clId="{EE97D3FE-9ACA-4467-98E5-532EC45D9D1C}" dt="2024-03-11T14:26:13.525" v="24091"/>
          <ac:spMkLst>
            <pc:docMk/>
            <pc:sldMk cId="3183596888" sldId="922"/>
            <ac:spMk id="10" creationId="{A92EAB28-6138-2C0C-300C-D5C82E838F67}"/>
          </ac:spMkLst>
        </pc:spChg>
        <pc:spChg chg="del mod">
          <ac:chgData name="Nataliia Chornii (UA)" userId="4e4b8b3d-5f31-49bb-9f80-8a25c04abfff" providerId="ADAL" clId="{EE97D3FE-9ACA-4467-98E5-532EC45D9D1C}" dt="2024-03-01T14:25:39.723" v="14326" actId="478"/>
          <ac:spMkLst>
            <pc:docMk/>
            <pc:sldMk cId="3183596888" sldId="922"/>
            <ac:spMk id="11" creationId="{327B1A4B-6980-7B00-091C-6006703B82A0}"/>
          </ac:spMkLst>
        </pc:spChg>
        <pc:spChg chg="mod">
          <ac:chgData name="Nataliia Chornii (UA)" userId="4e4b8b3d-5f31-49bb-9f80-8a25c04abfff" providerId="ADAL" clId="{EE97D3FE-9ACA-4467-98E5-532EC45D9D1C}" dt="2024-03-11T14:26:13.525" v="24091"/>
          <ac:spMkLst>
            <pc:docMk/>
            <pc:sldMk cId="3183596888" sldId="922"/>
            <ac:spMk id="11" creationId="{746ACE7A-C6A4-BF9F-578D-9403D1412634}"/>
          </ac:spMkLst>
        </pc:spChg>
        <pc:spChg chg="mod">
          <ac:chgData name="Nataliia Chornii (UA)" userId="4e4b8b3d-5f31-49bb-9f80-8a25c04abfff" providerId="ADAL" clId="{EE97D3FE-9ACA-4467-98E5-532EC45D9D1C}" dt="2024-03-11T14:26:13.525" v="24091"/>
          <ac:spMkLst>
            <pc:docMk/>
            <pc:sldMk cId="3183596888" sldId="922"/>
            <ac:spMk id="12" creationId="{2BD2EED7-64F0-31AF-9749-E92667CED116}"/>
          </ac:spMkLst>
        </pc:spChg>
        <pc:spChg chg="add del mod modVis">
          <ac:chgData name="Nataliia Chornii (UA)" userId="4e4b8b3d-5f31-49bb-9f80-8a25c04abfff" providerId="ADAL" clId="{EE97D3FE-9ACA-4467-98E5-532EC45D9D1C}" dt="2024-03-01T08:49:33.792" v="2854"/>
          <ac:spMkLst>
            <pc:docMk/>
            <pc:sldMk cId="3183596888" sldId="922"/>
            <ac:spMk id="12" creationId="{C964F4A6-369B-BD9F-122F-3F30F54753F6}"/>
          </ac:spMkLst>
        </pc:spChg>
        <pc:spChg chg="mod">
          <ac:chgData name="Nataliia Chornii (UA)" userId="4e4b8b3d-5f31-49bb-9f80-8a25c04abfff" providerId="ADAL" clId="{EE97D3FE-9ACA-4467-98E5-532EC45D9D1C}" dt="2024-03-11T14:26:13.525" v="24091"/>
          <ac:spMkLst>
            <pc:docMk/>
            <pc:sldMk cId="3183596888" sldId="922"/>
            <ac:spMk id="13" creationId="{6FFD7DB8-95D3-5BBC-8FED-B83EAF8D42EC}"/>
          </ac:spMkLst>
        </pc:spChg>
        <pc:spChg chg="add del mod modVis">
          <ac:chgData name="Nataliia Chornii (UA)" userId="4e4b8b3d-5f31-49bb-9f80-8a25c04abfff" providerId="ADAL" clId="{EE97D3FE-9ACA-4467-98E5-532EC45D9D1C}" dt="2024-03-01T08:49:59.835" v="3842"/>
          <ac:spMkLst>
            <pc:docMk/>
            <pc:sldMk cId="3183596888" sldId="922"/>
            <ac:spMk id="13" creationId="{76A2EAB5-E2EF-34A8-7633-300B6FF97543}"/>
          </ac:spMkLst>
        </pc:spChg>
        <pc:spChg chg="add del mod modVis">
          <ac:chgData name="Nataliia Chornii (UA)" userId="4e4b8b3d-5f31-49bb-9f80-8a25c04abfff" providerId="ADAL" clId="{EE97D3FE-9ACA-4467-98E5-532EC45D9D1C}" dt="2024-03-01T08:51:26.139" v="4830"/>
          <ac:spMkLst>
            <pc:docMk/>
            <pc:sldMk cId="3183596888" sldId="922"/>
            <ac:spMk id="14" creationId="{BD5D02C1-2A8C-CE61-DA59-12BD1E2AC4FA}"/>
          </ac:spMkLst>
        </pc:spChg>
        <pc:spChg chg="add mod">
          <ac:chgData name="Nataliia Chornii (UA)" userId="4e4b8b3d-5f31-49bb-9f80-8a25c04abfff" providerId="ADAL" clId="{EE97D3FE-9ACA-4467-98E5-532EC45D9D1C}" dt="2024-03-11T14:30:20.358" v="24256"/>
          <ac:spMkLst>
            <pc:docMk/>
            <pc:sldMk cId="3183596888" sldId="922"/>
            <ac:spMk id="14" creationId="{C4842404-4092-146E-F10A-12B247EC98A1}"/>
          </ac:spMkLst>
        </pc:spChg>
        <pc:spChg chg="add del mod modVis">
          <ac:chgData name="Nataliia Chornii (UA)" userId="4e4b8b3d-5f31-49bb-9f80-8a25c04abfff" providerId="ADAL" clId="{EE97D3FE-9ACA-4467-98E5-532EC45D9D1C}" dt="2024-03-01T08:51:56.157" v="5819"/>
          <ac:spMkLst>
            <pc:docMk/>
            <pc:sldMk cId="3183596888" sldId="922"/>
            <ac:spMk id="15" creationId="{A65B03BB-EB50-DE25-F7C1-556B99FB595B}"/>
          </ac:spMkLst>
        </pc:spChg>
        <pc:spChg chg="add del mod modVis">
          <ac:chgData name="Nataliia Chornii (UA)" userId="4e4b8b3d-5f31-49bb-9f80-8a25c04abfff" providerId="ADAL" clId="{EE97D3FE-9ACA-4467-98E5-532EC45D9D1C}" dt="2024-03-01T08:52:18.312" v="6807"/>
          <ac:spMkLst>
            <pc:docMk/>
            <pc:sldMk cId="3183596888" sldId="922"/>
            <ac:spMk id="16" creationId="{71A6767F-363E-AC40-EE94-1C9E705680F5}"/>
          </ac:spMkLst>
        </pc:spChg>
        <pc:spChg chg="add mod ord">
          <ac:chgData name="Nataliia Chornii (UA)" userId="4e4b8b3d-5f31-49bb-9f80-8a25c04abfff" providerId="ADAL" clId="{EE97D3FE-9ACA-4467-98E5-532EC45D9D1C}" dt="2024-03-01T14:55:46.443" v="15914" actId="555"/>
          <ac:spMkLst>
            <pc:docMk/>
            <pc:sldMk cId="3183596888" sldId="922"/>
            <ac:spMk id="17" creationId="{6FA36F9D-90F9-114F-5453-39394D16CFF6}"/>
          </ac:spMkLst>
        </pc:spChg>
        <pc:spChg chg="add mod ord">
          <ac:chgData name="Nataliia Chornii (UA)" userId="4e4b8b3d-5f31-49bb-9f80-8a25c04abfff" providerId="ADAL" clId="{EE97D3FE-9ACA-4467-98E5-532EC45D9D1C}" dt="2024-03-01T14:55:56.918" v="15917" actId="12789"/>
          <ac:spMkLst>
            <pc:docMk/>
            <pc:sldMk cId="3183596888" sldId="922"/>
            <ac:spMk id="18" creationId="{D0D5258A-7E40-C195-904C-0D59B96D8721}"/>
          </ac:spMkLst>
        </pc:spChg>
        <pc:spChg chg="add del mod ord">
          <ac:chgData name="Nataliia Chornii (UA)" userId="4e4b8b3d-5f31-49bb-9f80-8a25c04abfff" providerId="ADAL" clId="{EE97D3FE-9ACA-4467-98E5-532EC45D9D1C}" dt="2024-03-01T14:55:01.641" v="15899" actId="478"/>
          <ac:spMkLst>
            <pc:docMk/>
            <pc:sldMk cId="3183596888" sldId="922"/>
            <ac:spMk id="19" creationId="{298EEC85-32E6-6167-52ED-5BBD7874F9B7}"/>
          </ac:spMkLst>
        </pc:spChg>
        <pc:spChg chg="add del mod ord">
          <ac:chgData name="Nataliia Chornii (UA)" userId="4e4b8b3d-5f31-49bb-9f80-8a25c04abfff" providerId="ADAL" clId="{EE97D3FE-9ACA-4467-98E5-532EC45D9D1C}" dt="2024-03-01T14:55:01.641" v="15899" actId="478"/>
          <ac:spMkLst>
            <pc:docMk/>
            <pc:sldMk cId="3183596888" sldId="922"/>
            <ac:spMk id="20" creationId="{878B7128-915D-7794-5EEC-F2D3BAFD52E1}"/>
          </ac:spMkLst>
        </pc:spChg>
        <pc:spChg chg="add del mod ord">
          <ac:chgData name="Nataliia Chornii (UA)" userId="4e4b8b3d-5f31-49bb-9f80-8a25c04abfff" providerId="ADAL" clId="{EE97D3FE-9ACA-4467-98E5-532EC45D9D1C}" dt="2024-03-01T14:55:01.641" v="15899" actId="478"/>
          <ac:spMkLst>
            <pc:docMk/>
            <pc:sldMk cId="3183596888" sldId="922"/>
            <ac:spMk id="21" creationId="{AB12B0CF-FDF1-9360-5F2F-EB460F5A173D}"/>
          </ac:spMkLst>
        </pc:spChg>
        <pc:spChg chg="add del mod ord">
          <ac:chgData name="Nataliia Chornii (UA)" userId="4e4b8b3d-5f31-49bb-9f80-8a25c04abfff" providerId="ADAL" clId="{EE97D3FE-9ACA-4467-98E5-532EC45D9D1C}" dt="2024-03-01T14:55:01.641" v="15899" actId="478"/>
          <ac:spMkLst>
            <pc:docMk/>
            <pc:sldMk cId="3183596888" sldId="922"/>
            <ac:spMk id="22" creationId="{2908A0DC-C413-5F51-C087-FA8158241888}"/>
          </ac:spMkLst>
        </pc:spChg>
        <pc:spChg chg="add del mod ord">
          <ac:chgData name="Nataliia Chornii (UA)" userId="4e4b8b3d-5f31-49bb-9f80-8a25c04abfff" providerId="ADAL" clId="{EE97D3FE-9ACA-4467-98E5-532EC45D9D1C}" dt="2024-03-01T14:55:01.641" v="15899" actId="478"/>
          <ac:spMkLst>
            <pc:docMk/>
            <pc:sldMk cId="3183596888" sldId="922"/>
            <ac:spMk id="23" creationId="{52BE34D9-FD61-0DAD-B1D6-E60C22682993}"/>
          </ac:spMkLst>
        </pc:spChg>
        <pc:spChg chg="add del mod ord">
          <ac:chgData name="Nataliia Chornii (UA)" userId="4e4b8b3d-5f31-49bb-9f80-8a25c04abfff" providerId="ADAL" clId="{EE97D3FE-9ACA-4467-98E5-532EC45D9D1C}" dt="2024-03-01T14:55:01.641" v="15899" actId="478"/>
          <ac:spMkLst>
            <pc:docMk/>
            <pc:sldMk cId="3183596888" sldId="922"/>
            <ac:spMk id="24" creationId="{105914F6-CE1A-DBBA-14B3-D0D76561EAB0}"/>
          </ac:spMkLst>
        </pc:spChg>
        <pc:spChg chg="add mod ord">
          <ac:chgData name="Nataliia Chornii (UA)" userId="4e4b8b3d-5f31-49bb-9f80-8a25c04abfff" providerId="ADAL" clId="{EE97D3FE-9ACA-4467-98E5-532EC45D9D1C}" dt="2024-03-01T14:55:49.085" v="15915" actId="465"/>
          <ac:spMkLst>
            <pc:docMk/>
            <pc:sldMk cId="3183596888" sldId="922"/>
            <ac:spMk id="25" creationId="{F90FB644-2ECF-579C-968C-E4B723BA5A4A}"/>
          </ac:spMkLst>
        </pc:spChg>
        <pc:spChg chg="add mod ord">
          <ac:chgData name="Nataliia Chornii (UA)" userId="4e4b8b3d-5f31-49bb-9f80-8a25c04abfff" providerId="ADAL" clId="{EE97D3FE-9ACA-4467-98E5-532EC45D9D1C}" dt="2024-03-01T14:55:49.085" v="15915" actId="465"/>
          <ac:spMkLst>
            <pc:docMk/>
            <pc:sldMk cId="3183596888" sldId="922"/>
            <ac:spMk id="26" creationId="{81B54A20-703E-18F4-F82D-7F7C7C1E55E0}"/>
          </ac:spMkLst>
        </pc:spChg>
        <pc:spChg chg="add mod ord">
          <ac:chgData name="Nataliia Chornii (UA)" userId="4e4b8b3d-5f31-49bb-9f80-8a25c04abfff" providerId="ADAL" clId="{EE97D3FE-9ACA-4467-98E5-532EC45D9D1C}" dt="2024-03-01T14:56:00.509" v="15919" actId="12789"/>
          <ac:spMkLst>
            <pc:docMk/>
            <pc:sldMk cId="3183596888" sldId="922"/>
            <ac:spMk id="27" creationId="{057BA24F-824C-F813-F48B-B72FDA4806E5}"/>
          </ac:spMkLst>
        </pc:spChg>
        <pc:spChg chg="add del mod">
          <ac:chgData name="Nataliia Chornii (UA)" userId="4e4b8b3d-5f31-49bb-9f80-8a25c04abfff" providerId="ADAL" clId="{EE97D3FE-9ACA-4467-98E5-532EC45D9D1C}" dt="2024-03-01T14:18:43.847" v="14196" actId="478"/>
          <ac:spMkLst>
            <pc:docMk/>
            <pc:sldMk cId="3183596888" sldId="922"/>
            <ac:spMk id="28" creationId="{3DBBAA0F-9591-9662-1A77-F19E0AAC9089}"/>
          </ac:spMkLst>
        </pc:spChg>
        <pc:spChg chg="add del mod">
          <ac:chgData name="Nataliia Chornii (UA)" userId="4e4b8b3d-5f31-49bb-9f80-8a25c04abfff" providerId="ADAL" clId="{EE97D3FE-9ACA-4467-98E5-532EC45D9D1C}" dt="2024-03-01T14:18:43.847" v="14196" actId="478"/>
          <ac:spMkLst>
            <pc:docMk/>
            <pc:sldMk cId="3183596888" sldId="922"/>
            <ac:spMk id="29" creationId="{90326B2F-E62F-8214-4388-9D32503900A2}"/>
          </ac:spMkLst>
        </pc:spChg>
        <pc:spChg chg="add del mod">
          <ac:chgData name="Nataliia Chornii (UA)" userId="4e4b8b3d-5f31-49bb-9f80-8a25c04abfff" providerId="ADAL" clId="{EE97D3FE-9ACA-4467-98E5-532EC45D9D1C}" dt="2024-03-01T14:18:43.847" v="14196" actId="478"/>
          <ac:spMkLst>
            <pc:docMk/>
            <pc:sldMk cId="3183596888" sldId="922"/>
            <ac:spMk id="30" creationId="{9C48010D-A474-311D-388D-BB5197C5677C}"/>
          </ac:spMkLst>
        </pc:spChg>
        <pc:spChg chg="add del mod">
          <ac:chgData name="Nataliia Chornii (UA)" userId="4e4b8b3d-5f31-49bb-9f80-8a25c04abfff" providerId="ADAL" clId="{EE97D3FE-9ACA-4467-98E5-532EC45D9D1C}" dt="2024-03-01T14:19:39.808" v="14204" actId="478"/>
          <ac:spMkLst>
            <pc:docMk/>
            <pc:sldMk cId="3183596888" sldId="922"/>
            <ac:spMk id="31" creationId="{FEBD885F-FA96-8A1B-4258-9BEC0C067BB1}"/>
          </ac:spMkLst>
        </pc:spChg>
        <pc:spChg chg="add mod ord">
          <ac:chgData name="Nataliia Chornii (UA)" userId="4e4b8b3d-5f31-49bb-9f80-8a25c04abfff" providerId="ADAL" clId="{EE97D3FE-9ACA-4467-98E5-532EC45D9D1C}" dt="2024-03-01T14:56:03.539" v="15920" actId="465"/>
          <ac:spMkLst>
            <pc:docMk/>
            <pc:sldMk cId="3183596888" sldId="922"/>
            <ac:spMk id="32" creationId="{4856FA89-D34A-DD8D-457A-FE1983E9ECD3}"/>
          </ac:spMkLst>
        </pc:spChg>
        <pc:spChg chg="add mod ord">
          <ac:chgData name="Nataliia Chornii (UA)" userId="4e4b8b3d-5f31-49bb-9f80-8a25c04abfff" providerId="ADAL" clId="{EE97D3FE-9ACA-4467-98E5-532EC45D9D1C}" dt="2024-03-01T14:56:00.509" v="15919" actId="12789"/>
          <ac:spMkLst>
            <pc:docMk/>
            <pc:sldMk cId="3183596888" sldId="922"/>
            <ac:spMk id="33" creationId="{5F20B02B-319A-56A8-B3AD-0245CFA22F57}"/>
          </ac:spMkLst>
        </pc:spChg>
        <pc:spChg chg="add del mod">
          <ac:chgData name="Nataliia Chornii (UA)" userId="4e4b8b3d-5f31-49bb-9f80-8a25c04abfff" providerId="ADAL" clId="{EE97D3FE-9ACA-4467-98E5-532EC45D9D1C}" dt="2024-03-01T14:18:56.978" v="14198" actId="478"/>
          <ac:spMkLst>
            <pc:docMk/>
            <pc:sldMk cId="3183596888" sldId="922"/>
            <ac:spMk id="34" creationId="{034E0E93-7A1B-BBA2-057A-ED1218950BF6}"/>
          </ac:spMkLst>
        </pc:spChg>
        <pc:spChg chg="add del mod">
          <ac:chgData name="Nataliia Chornii (UA)" userId="4e4b8b3d-5f31-49bb-9f80-8a25c04abfff" providerId="ADAL" clId="{EE97D3FE-9ACA-4467-98E5-532EC45D9D1C}" dt="2024-03-01T14:18:56.978" v="14198" actId="478"/>
          <ac:spMkLst>
            <pc:docMk/>
            <pc:sldMk cId="3183596888" sldId="922"/>
            <ac:spMk id="35" creationId="{467EF71F-39E5-AE2E-52D0-5CDAD6490806}"/>
          </ac:spMkLst>
        </pc:spChg>
        <pc:spChg chg="add del mod">
          <ac:chgData name="Nataliia Chornii (UA)" userId="4e4b8b3d-5f31-49bb-9f80-8a25c04abfff" providerId="ADAL" clId="{EE97D3FE-9ACA-4467-98E5-532EC45D9D1C}" dt="2024-03-01T14:18:56.978" v="14198" actId="478"/>
          <ac:spMkLst>
            <pc:docMk/>
            <pc:sldMk cId="3183596888" sldId="922"/>
            <ac:spMk id="36" creationId="{5BAAB962-63C1-8AB7-E2F9-579BEAA71473}"/>
          </ac:spMkLst>
        </pc:spChg>
        <pc:spChg chg="add mod ord">
          <ac:chgData name="Nataliia Chornii (UA)" userId="4e4b8b3d-5f31-49bb-9f80-8a25c04abfff" providerId="ADAL" clId="{EE97D3FE-9ACA-4467-98E5-532EC45D9D1C}" dt="2024-03-01T14:56:03.539" v="15920" actId="465"/>
          <ac:spMkLst>
            <pc:docMk/>
            <pc:sldMk cId="3183596888" sldId="922"/>
            <ac:spMk id="37" creationId="{B4A1FCDF-F4EF-2C95-ABB1-CBEA3086D555}"/>
          </ac:spMkLst>
        </pc:spChg>
        <pc:spChg chg="add del mod">
          <ac:chgData name="Nataliia Chornii (UA)" userId="4e4b8b3d-5f31-49bb-9f80-8a25c04abfff" providerId="ADAL" clId="{EE97D3FE-9ACA-4467-98E5-532EC45D9D1C}" dt="2024-03-01T14:18:56.978" v="14198" actId="478"/>
          <ac:spMkLst>
            <pc:docMk/>
            <pc:sldMk cId="3183596888" sldId="922"/>
            <ac:spMk id="38" creationId="{FBF22FC9-6E54-06C4-9AF0-FAC32D753534}"/>
          </ac:spMkLst>
        </pc:spChg>
        <pc:spChg chg="add del mod ord">
          <ac:chgData name="Nataliia Chornii (UA)" userId="4e4b8b3d-5f31-49bb-9f80-8a25c04abfff" providerId="ADAL" clId="{EE97D3FE-9ACA-4467-98E5-532EC45D9D1C}" dt="2024-03-01T14:55:01.641" v="15899" actId="478"/>
          <ac:spMkLst>
            <pc:docMk/>
            <pc:sldMk cId="3183596888" sldId="922"/>
            <ac:spMk id="46" creationId="{183405AE-27D6-CD53-8CDD-144DF0B67F8A}"/>
          </ac:spMkLst>
        </pc:spChg>
        <pc:spChg chg="add del mod ord">
          <ac:chgData name="Nataliia Chornii (UA)" userId="4e4b8b3d-5f31-49bb-9f80-8a25c04abfff" providerId="ADAL" clId="{EE97D3FE-9ACA-4467-98E5-532EC45D9D1C}" dt="2024-03-01T14:55:01.641" v="15899" actId="478"/>
          <ac:spMkLst>
            <pc:docMk/>
            <pc:sldMk cId="3183596888" sldId="922"/>
            <ac:spMk id="47" creationId="{964CD051-14CA-84B0-D4E8-45A6C1A922E9}"/>
          </ac:spMkLst>
        </pc:spChg>
        <pc:spChg chg="add mod ord">
          <ac:chgData name="Nataliia Chornii (UA)" userId="4e4b8b3d-5f31-49bb-9f80-8a25c04abfff" providerId="ADAL" clId="{EE97D3FE-9ACA-4467-98E5-532EC45D9D1C}" dt="2024-03-01T14:56:19.141" v="15924" actId="12789"/>
          <ac:spMkLst>
            <pc:docMk/>
            <pc:sldMk cId="3183596888" sldId="922"/>
            <ac:spMk id="48" creationId="{6AC80282-8A0D-F35B-8056-0432B6772D55}"/>
          </ac:spMkLst>
        </pc:spChg>
        <pc:spChg chg="add mod ord">
          <ac:chgData name="Nataliia Chornii (UA)" userId="4e4b8b3d-5f31-49bb-9f80-8a25c04abfff" providerId="ADAL" clId="{EE97D3FE-9ACA-4467-98E5-532EC45D9D1C}" dt="2024-03-01T14:56:19.141" v="15924" actId="12789"/>
          <ac:spMkLst>
            <pc:docMk/>
            <pc:sldMk cId="3183596888" sldId="922"/>
            <ac:spMk id="50" creationId="{C7A420F0-5CC5-29EF-B3BB-7D5781CABFC2}"/>
          </ac:spMkLst>
        </pc:spChg>
        <pc:spChg chg="add mod ord">
          <ac:chgData name="Nataliia Chornii (UA)" userId="4e4b8b3d-5f31-49bb-9f80-8a25c04abfff" providerId="ADAL" clId="{EE97D3FE-9ACA-4467-98E5-532EC45D9D1C}" dt="2024-03-01T14:56:12.174" v="15922" actId="1076"/>
          <ac:spMkLst>
            <pc:docMk/>
            <pc:sldMk cId="3183596888" sldId="922"/>
            <ac:spMk id="51" creationId="{4BEF1C2A-C650-BD1B-C954-06A60EF7BAB8}"/>
          </ac:spMkLst>
        </pc:spChg>
        <pc:spChg chg="add del mod">
          <ac:chgData name="Nataliia Chornii (UA)" userId="4e4b8b3d-5f31-49bb-9f80-8a25c04abfff" providerId="ADAL" clId="{EE97D3FE-9ACA-4467-98E5-532EC45D9D1C}" dt="2024-03-01T14:20:59.876" v="14260" actId="478"/>
          <ac:spMkLst>
            <pc:docMk/>
            <pc:sldMk cId="3183596888" sldId="922"/>
            <ac:spMk id="52" creationId="{0614E846-C8FF-324D-0A21-8E473BC9AD38}"/>
          </ac:spMkLst>
        </pc:spChg>
        <pc:spChg chg="add del mod">
          <ac:chgData name="Nataliia Chornii (UA)" userId="4e4b8b3d-5f31-49bb-9f80-8a25c04abfff" providerId="ADAL" clId="{EE97D3FE-9ACA-4467-98E5-532EC45D9D1C}" dt="2024-03-01T14:18:43.847" v="14196" actId="478"/>
          <ac:spMkLst>
            <pc:docMk/>
            <pc:sldMk cId="3183596888" sldId="922"/>
            <ac:spMk id="53" creationId="{A93C4B80-6A29-055A-B6EB-C858662278D7}"/>
          </ac:spMkLst>
        </pc:spChg>
        <pc:spChg chg="add del mod">
          <ac:chgData name="Nataliia Chornii (UA)" userId="4e4b8b3d-5f31-49bb-9f80-8a25c04abfff" providerId="ADAL" clId="{EE97D3FE-9ACA-4467-98E5-532EC45D9D1C}" dt="2024-03-01T14:18:43.847" v="14196" actId="478"/>
          <ac:spMkLst>
            <pc:docMk/>
            <pc:sldMk cId="3183596888" sldId="922"/>
            <ac:spMk id="54" creationId="{4721885D-EA08-F3C9-E1B0-1ED78A71E263}"/>
          </ac:spMkLst>
        </pc:spChg>
        <pc:spChg chg="add del mod">
          <ac:chgData name="Nataliia Chornii (UA)" userId="4e4b8b3d-5f31-49bb-9f80-8a25c04abfff" providerId="ADAL" clId="{EE97D3FE-9ACA-4467-98E5-532EC45D9D1C}" dt="2024-03-01T14:18:43.847" v="14196" actId="478"/>
          <ac:spMkLst>
            <pc:docMk/>
            <pc:sldMk cId="3183596888" sldId="922"/>
            <ac:spMk id="55" creationId="{AA7C692B-DA88-D310-535E-B87CED59111F}"/>
          </ac:spMkLst>
        </pc:spChg>
        <pc:spChg chg="add mod ord">
          <ac:chgData name="Nataliia Chornii (UA)" userId="4e4b8b3d-5f31-49bb-9f80-8a25c04abfff" providerId="ADAL" clId="{EE97D3FE-9ACA-4467-98E5-532EC45D9D1C}" dt="2024-03-01T14:27:28.831" v="14505"/>
          <ac:spMkLst>
            <pc:docMk/>
            <pc:sldMk cId="3183596888" sldId="922"/>
            <ac:spMk id="56" creationId="{7BF8F9D7-9A9A-877C-A900-4F3857B14B3E}"/>
          </ac:spMkLst>
        </pc:spChg>
        <pc:spChg chg="add mod ord">
          <ac:chgData name="Nataliia Chornii (UA)" userId="4e4b8b3d-5f31-49bb-9f80-8a25c04abfff" providerId="ADAL" clId="{EE97D3FE-9ACA-4467-98E5-532EC45D9D1C}" dt="2024-03-01T14:56:15.717" v="15923" actId="1076"/>
          <ac:spMkLst>
            <pc:docMk/>
            <pc:sldMk cId="3183596888" sldId="922"/>
            <ac:spMk id="57" creationId="{E6C32A6B-F4F4-20A4-DBFD-E4DD8B7DC32F}"/>
          </ac:spMkLst>
        </pc:spChg>
        <pc:spChg chg="add mod ord">
          <ac:chgData name="Nataliia Chornii (UA)" userId="4e4b8b3d-5f31-49bb-9f80-8a25c04abfff" providerId="ADAL" clId="{EE97D3FE-9ACA-4467-98E5-532EC45D9D1C}" dt="2024-03-01T14:56:09.946" v="15921" actId="1076"/>
          <ac:spMkLst>
            <pc:docMk/>
            <pc:sldMk cId="3183596888" sldId="922"/>
            <ac:spMk id="58" creationId="{8CFA9846-2872-E7EB-E30B-CC6BA514198E}"/>
          </ac:spMkLst>
        </pc:spChg>
        <pc:spChg chg="add del mod ord">
          <ac:chgData name="Nataliia Chornii (UA)" userId="4e4b8b3d-5f31-49bb-9f80-8a25c04abfff" providerId="ADAL" clId="{EE97D3FE-9ACA-4467-98E5-532EC45D9D1C}" dt="2024-03-01T14:19:49.110" v="14233" actId="478"/>
          <ac:spMkLst>
            <pc:docMk/>
            <pc:sldMk cId="3183596888" sldId="922"/>
            <ac:spMk id="59" creationId="{353B48BD-EE0C-D706-66A0-9E20312ED172}"/>
          </ac:spMkLst>
        </pc:spChg>
        <pc:spChg chg="add del mod modVis">
          <ac:chgData name="Nataliia Chornii (UA)" userId="4e4b8b3d-5f31-49bb-9f80-8a25c04abfff" providerId="ADAL" clId="{EE97D3FE-9ACA-4467-98E5-532EC45D9D1C}" dt="2024-03-01T14:19:47.763" v="14230"/>
          <ac:spMkLst>
            <pc:docMk/>
            <pc:sldMk cId="3183596888" sldId="922"/>
            <ac:spMk id="60" creationId="{15FBA32E-325E-DE55-9D74-F00474CF2F64}"/>
          </ac:spMkLst>
        </pc:spChg>
        <pc:spChg chg="add mod ord">
          <ac:chgData name="Nataliia Chornii (UA)" userId="4e4b8b3d-5f31-49bb-9f80-8a25c04abfff" providerId="ADAL" clId="{EE97D3FE-9ACA-4467-98E5-532EC45D9D1C}" dt="2024-03-01T14:27:28.782" v="14453"/>
          <ac:spMkLst>
            <pc:docMk/>
            <pc:sldMk cId="3183596888" sldId="922"/>
            <ac:spMk id="65" creationId="{A66567BC-F479-C8B0-F1F1-1178C47EDF98}"/>
          </ac:spMkLst>
        </pc:spChg>
        <pc:spChg chg="add del mod modVis">
          <ac:chgData name="Nataliia Chornii (UA)" userId="4e4b8b3d-5f31-49bb-9f80-8a25c04abfff" providerId="ADAL" clId="{EE97D3FE-9ACA-4467-98E5-532EC45D9D1C}" dt="2024-03-01T14:26:00.843" v="14412"/>
          <ac:spMkLst>
            <pc:docMk/>
            <pc:sldMk cId="3183596888" sldId="922"/>
            <ac:spMk id="66" creationId="{6C178FC6-C5E7-09DA-B313-0C551010FDFA}"/>
          </ac:spMkLst>
        </pc:spChg>
        <pc:spChg chg="add del mod modVis">
          <ac:chgData name="Nataliia Chornii (UA)" userId="4e4b8b3d-5f31-49bb-9f80-8a25c04abfff" providerId="ADAL" clId="{EE97D3FE-9ACA-4467-98E5-532EC45D9D1C}" dt="2024-03-01T14:26:03.979" v="14439"/>
          <ac:spMkLst>
            <pc:docMk/>
            <pc:sldMk cId="3183596888" sldId="922"/>
            <ac:spMk id="67" creationId="{DC7D372A-9934-7EB4-FA30-FC0BD9B5237F}"/>
          </ac:spMkLst>
        </pc:spChg>
        <pc:spChg chg="add del mod ord">
          <ac:chgData name="Nataliia Chornii (UA)" userId="4e4b8b3d-5f31-49bb-9f80-8a25c04abfff" providerId="ADAL" clId="{EE97D3FE-9ACA-4467-98E5-532EC45D9D1C}" dt="2024-03-04T08:47:47.554" v="17582" actId="478"/>
          <ac:spMkLst>
            <pc:docMk/>
            <pc:sldMk cId="3183596888" sldId="922"/>
            <ac:spMk id="68" creationId="{BE6F404A-A5F3-AF80-7B89-33B7156396F6}"/>
          </ac:spMkLst>
        </pc:spChg>
        <pc:spChg chg="add mod">
          <ac:chgData name="Nataliia Chornii (UA)" userId="4e4b8b3d-5f31-49bb-9f80-8a25c04abfff" providerId="ADAL" clId="{EE97D3FE-9ACA-4467-98E5-532EC45D9D1C}" dt="2024-03-01T14:55:09.196" v="15900"/>
          <ac:spMkLst>
            <pc:docMk/>
            <pc:sldMk cId="3183596888" sldId="922"/>
            <ac:spMk id="71" creationId="{3E04E0E7-0EC0-D3DB-7FE5-CC0F07D12428}"/>
          </ac:spMkLst>
        </pc:spChg>
        <pc:spChg chg="add mod">
          <ac:chgData name="Nataliia Chornii (UA)" userId="4e4b8b3d-5f31-49bb-9f80-8a25c04abfff" providerId="ADAL" clId="{EE97D3FE-9ACA-4467-98E5-532EC45D9D1C}" dt="2024-03-01T14:55:09.196" v="15900"/>
          <ac:spMkLst>
            <pc:docMk/>
            <pc:sldMk cId="3183596888" sldId="922"/>
            <ac:spMk id="72" creationId="{6ED56BAD-AE11-5901-9D85-F397888A0CC3}"/>
          </ac:spMkLst>
        </pc:spChg>
        <pc:spChg chg="add mod">
          <ac:chgData name="Nataliia Chornii (UA)" userId="4e4b8b3d-5f31-49bb-9f80-8a25c04abfff" providerId="ADAL" clId="{EE97D3FE-9ACA-4467-98E5-532EC45D9D1C}" dt="2024-03-01T14:55:09.196" v="15900"/>
          <ac:spMkLst>
            <pc:docMk/>
            <pc:sldMk cId="3183596888" sldId="922"/>
            <ac:spMk id="73" creationId="{DF3C57B4-60A3-13A2-E235-62DF01A8E0B9}"/>
          </ac:spMkLst>
        </pc:spChg>
        <pc:spChg chg="add mod">
          <ac:chgData name="Nataliia Chornii (UA)" userId="4e4b8b3d-5f31-49bb-9f80-8a25c04abfff" providerId="ADAL" clId="{EE97D3FE-9ACA-4467-98E5-532EC45D9D1C}" dt="2024-03-01T14:55:09.196" v="15900"/>
          <ac:spMkLst>
            <pc:docMk/>
            <pc:sldMk cId="3183596888" sldId="922"/>
            <ac:spMk id="74" creationId="{38413369-E04F-F149-0D9B-B962C3B0DD33}"/>
          </ac:spMkLst>
        </pc:spChg>
        <pc:spChg chg="add mod">
          <ac:chgData name="Nataliia Chornii (UA)" userId="4e4b8b3d-5f31-49bb-9f80-8a25c04abfff" providerId="ADAL" clId="{EE97D3FE-9ACA-4467-98E5-532EC45D9D1C}" dt="2024-03-01T14:55:09.196" v="15900"/>
          <ac:spMkLst>
            <pc:docMk/>
            <pc:sldMk cId="3183596888" sldId="922"/>
            <ac:spMk id="75" creationId="{079A215C-D463-B463-2E11-B6BF21F093DD}"/>
          </ac:spMkLst>
        </pc:spChg>
        <pc:spChg chg="add mod">
          <ac:chgData name="Nataliia Chornii (UA)" userId="4e4b8b3d-5f31-49bb-9f80-8a25c04abfff" providerId="ADAL" clId="{EE97D3FE-9ACA-4467-98E5-532EC45D9D1C}" dt="2024-03-01T14:55:09.196" v="15900"/>
          <ac:spMkLst>
            <pc:docMk/>
            <pc:sldMk cId="3183596888" sldId="922"/>
            <ac:spMk id="76" creationId="{D53CE3FB-D8DB-2493-59AB-E8018BFB7D6C}"/>
          </ac:spMkLst>
        </pc:spChg>
        <pc:spChg chg="add mod">
          <ac:chgData name="Nataliia Chornii (UA)" userId="4e4b8b3d-5f31-49bb-9f80-8a25c04abfff" providerId="ADAL" clId="{EE97D3FE-9ACA-4467-98E5-532EC45D9D1C}" dt="2024-03-01T14:55:09.196" v="15900"/>
          <ac:spMkLst>
            <pc:docMk/>
            <pc:sldMk cId="3183596888" sldId="922"/>
            <ac:spMk id="77" creationId="{47AD76CF-BFB9-FA4C-78FC-9ED47D9FA257}"/>
          </ac:spMkLst>
        </pc:spChg>
        <pc:spChg chg="add mod">
          <ac:chgData name="Nataliia Chornii (UA)" userId="4e4b8b3d-5f31-49bb-9f80-8a25c04abfff" providerId="ADAL" clId="{EE97D3FE-9ACA-4467-98E5-532EC45D9D1C}" dt="2024-03-01T14:55:09.196" v="15900"/>
          <ac:spMkLst>
            <pc:docMk/>
            <pc:sldMk cId="3183596888" sldId="922"/>
            <ac:spMk id="78" creationId="{20FDFD41-DB71-D9C8-B2A5-805131BA4C05}"/>
          </ac:spMkLst>
        </pc:spChg>
        <pc:spChg chg="add del mod">
          <ac:chgData name="Nataliia Chornii (UA)" userId="4e4b8b3d-5f31-49bb-9f80-8a25c04abfff" providerId="ADAL" clId="{EE97D3FE-9ACA-4467-98E5-532EC45D9D1C}" dt="2024-03-01T14:55:24.886" v="15907" actId="478"/>
          <ac:spMkLst>
            <pc:docMk/>
            <pc:sldMk cId="3183596888" sldId="922"/>
            <ac:spMk id="79" creationId="{DB3C57CC-AACD-B9DE-0994-A33619E521A3}"/>
          </ac:spMkLst>
        </pc:spChg>
        <pc:grpChg chg="add mod">
          <ac:chgData name="Nataliia Chornii (UA)" userId="4e4b8b3d-5f31-49bb-9f80-8a25c04abfff" providerId="ADAL" clId="{EE97D3FE-9ACA-4467-98E5-532EC45D9D1C}" dt="2024-03-11T14:26:13.525" v="24091"/>
          <ac:grpSpMkLst>
            <pc:docMk/>
            <pc:sldMk cId="3183596888" sldId="922"/>
            <ac:grpSpMk id="6" creationId="{27F631B7-D1E2-9A31-F9B7-579A31B91DFE}"/>
          </ac:grpSpMkLst>
        </pc:grpChg>
        <pc:grpChg chg="add mod">
          <ac:chgData name="Nataliia Chornii (UA)" userId="4e4b8b3d-5f31-49bb-9f80-8a25c04abfff" providerId="ADAL" clId="{EE97D3FE-9ACA-4467-98E5-532EC45D9D1C}" dt="2024-03-01T14:20:28.532" v="14254" actId="164"/>
          <ac:grpSpMkLst>
            <pc:docMk/>
            <pc:sldMk cId="3183596888" sldId="922"/>
            <ac:grpSpMk id="61" creationId="{B41E5A4E-B022-ADC3-743D-B2BF7FEFA28B}"/>
          </ac:grpSpMkLst>
        </pc:grpChg>
        <pc:graphicFrameChg chg="add mod ord modVis replST">
          <ac:chgData name="Nataliia Chornii (UA)" userId="4e4b8b3d-5f31-49bb-9f80-8a25c04abfff" providerId="ADAL" clId="{EE97D3FE-9ACA-4467-98E5-532EC45D9D1C}" dt="2024-03-01T14:27:28.845" v="14515"/>
          <ac:graphicFrameMkLst>
            <pc:docMk/>
            <pc:sldMk cId="3183596888" sldId="922"/>
            <ac:graphicFrameMk id="9" creationId="{0DCFA2E8-0775-D340-DF72-3AC623CD1A2E}"/>
          </ac:graphicFrameMkLst>
        </pc:graphicFrameChg>
        <pc:picChg chg="add mod ord">
          <ac:chgData name="Nataliia Chornii (UA)" userId="4e4b8b3d-5f31-49bb-9f80-8a25c04abfff" providerId="ADAL" clId="{EE97D3FE-9ACA-4467-98E5-532EC45D9D1C}" dt="2024-03-01T14:27:28.782" v="14451"/>
          <ac:picMkLst>
            <pc:docMk/>
            <pc:sldMk cId="3183596888" sldId="922"/>
            <ac:picMk id="70" creationId="{201E7002-41DC-209F-D2DC-9D687999BD7E}"/>
          </ac:picMkLst>
        </pc:picChg>
        <pc:cxnChg chg="add mod ord">
          <ac:chgData name="Nataliia Chornii (UA)" userId="4e4b8b3d-5f31-49bb-9f80-8a25c04abfff" providerId="ADAL" clId="{EE97D3FE-9ACA-4467-98E5-532EC45D9D1C}" dt="2024-03-01T14:56:03.539" v="15920" actId="465"/>
          <ac:cxnSpMkLst>
            <pc:docMk/>
            <pc:sldMk cId="3183596888" sldId="922"/>
            <ac:cxnSpMk id="39" creationId="{E5B5A8D2-DACA-34DC-E1F9-FFE3A65E4C21}"/>
          </ac:cxnSpMkLst>
        </pc:cxnChg>
        <pc:cxnChg chg="add mod ord">
          <ac:chgData name="Nataliia Chornii (UA)" userId="4e4b8b3d-5f31-49bb-9f80-8a25c04abfff" providerId="ADAL" clId="{EE97D3FE-9ACA-4467-98E5-532EC45D9D1C}" dt="2024-03-01T14:56:03.539" v="15920" actId="465"/>
          <ac:cxnSpMkLst>
            <pc:docMk/>
            <pc:sldMk cId="3183596888" sldId="922"/>
            <ac:cxnSpMk id="40" creationId="{942B66D5-0C09-51A1-421D-3AD9CCF09FAE}"/>
          </ac:cxnSpMkLst>
        </pc:cxnChg>
        <pc:cxnChg chg="add mod ord">
          <ac:chgData name="Nataliia Chornii (UA)" userId="4e4b8b3d-5f31-49bb-9f80-8a25c04abfff" providerId="ADAL" clId="{EE97D3FE-9ACA-4467-98E5-532EC45D9D1C}" dt="2024-03-01T14:56:03.539" v="15920" actId="465"/>
          <ac:cxnSpMkLst>
            <pc:docMk/>
            <pc:sldMk cId="3183596888" sldId="922"/>
            <ac:cxnSpMk id="41" creationId="{64D1A3C3-EF5C-5967-D3FE-A630BE40A6E7}"/>
          </ac:cxnSpMkLst>
        </pc:cxnChg>
        <pc:cxnChg chg="add del mod">
          <ac:chgData name="Nataliia Chornii (UA)" userId="4e4b8b3d-5f31-49bb-9f80-8a25c04abfff" providerId="ADAL" clId="{EE97D3FE-9ACA-4467-98E5-532EC45D9D1C}" dt="2024-03-01T14:18:50.749" v="14197" actId="478"/>
          <ac:cxnSpMkLst>
            <pc:docMk/>
            <pc:sldMk cId="3183596888" sldId="922"/>
            <ac:cxnSpMk id="42" creationId="{00266C94-1FCE-1AC5-9261-3A6F90C742A3}"/>
          </ac:cxnSpMkLst>
        </pc:cxnChg>
        <pc:cxnChg chg="add del mod">
          <ac:chgData name="Nataliia Chornii (UA)" userId="4e4b8b3d-5f31-49bb-9f80-8a25c04abfff" providerId="ADAL" clId="{EE97D3FE-9ACA-4467-98E5-532EC45D9D1C}" dt="2024-03-01T14:18:50.749" v="14197" actId="478"/>
          <ac:cxnSpMkLst>
            <pc:docMk/>
            <pc:sldMk cId="3183596888" sldId="922"/>
            <ac:cxnSpMk id="43" creationId="{BA0AFA90-6C33-D591-1C9F-AC56674EE15E}"/>
          </ac:cxnSpMkLst>
        </pc:cxnChg>
        <pc:cxnChg chg="add del mod">
          <ac:chgData name="Nataliia Chornii (UA)" userId="4e4b8b3d-5f31-49bb-9f80-8a25c04abfff" providerId="ADAL" clId="{EE97D3FE-9ACA-4467-98E5-532EC45D9D1C}" dt="2024-03-01T14:18:50.749" v="14197" actId="478"/>
          <ac:cxnSpMkLst>
            <pc:docMk/>
            <pc:sldMk cId="3183596888" sldId="922"/>
            <ac:cxnSpMk id="44" creationId="{214086F4-6B30-701C-B959-FDB5E15EF2E1}"/>
          </ac:cxnSpMkLst>
        </pc:cxnChg>
        <pc:cxnChg chg="add del mod">
          <ac:chgData name="Nataliia Chornii (UA)" userId="4e4b8b3d-5f31-49bb-9f80-8a25c04abfff" providerId="ADAL" clId="{EE97D3FE-9ACA-4467-98E5-532EC45D9D1C}" dt="2024-03-01T14:18:50.749" v="14197" actId="478"/>
          <ac:cxnSpMkLst>
            <pc:docMk/>
            <pc:sldMk cId="3183596888" sldId="922"/>
            <ac:cxnSpMk id="45" creationId="{8D83F035-7145-3C3B-8BF9-06487BAE8131}"/>
          </ac:cxnSpMkLst>
        </pc:cxnChg>
        <pc:cxnChg chg="add mod ord">
          <ac:chgData name="Nataliia Chornii (UA)" userId="4e4b8b3d-5f31-49bb-9f80-8a25c04abfff" providerId="ADAL" clId="{EE97D3FE-9ACA-4467-98E5-532EC45D9D1C}" dt="2024-03-01T14:56:38.386" v="15925" actId="14100"/>
          <ac:cxnSpMkLst>
            <pc:docMk/>
            <pc:sldMk cId="3183596888" sldId="922"/>
            <ac:cxnSpMk id="49" creationId="{6812EC73-51E6-27BB-47B7-1E03B679803C}"/>
          </ac:cxnSpMkLst>
        </pc:cxnChg>
      </pc:sldChg>
      <pc:sldChg chg="addSp delSp modSp mod">
        <pc:chgData name="Nataliia Chornii (UA)" userId="4e4b8b3d-5f31-49bb-9f80-8a25c04abfff" providerId="ADAL" clId="{EE97D3FE-9ACA-4467-98E5-532EC45D9D1C}" dt="2024-03-01T08:52:18.296" v="6799"/>
        <pc:sldMkLst>
          <pc:docMk/>
          <pc:sldMk cId="1997891973" sldId="923"/>
        </pc:sldMkLst>
        <pc:spChg chg="add del mod modVis">
          <ac:chgData name="Nataliia Chornii (UA)" userId="4e4b8b3d-5f31-49bb-9f80-8a25c04abfff" providerId="ADAL" clId="{EE97D3FE-9ACA-4467-98E5-532EC45D9D1C}" dt="2024-03-01T08:48:59.712" v="1478"/>
          <ac:spMkLst>
            <pc:docMk/>
            <pc:sldMk cId="1997891973" sldId="923"/>
            <ac:spMk id="2" creationId="{1C211787-88BF-D12E-D043-F44AFDF35E82}"/>
          </ac:spMkLst>
        </pc:spChg>
        <pc:spChg chg="mod">
          <ac:chgData name="Nataliia Chornii (UA)" userId="4e4b8b3d-5f31-49bb-9f80-8a25c04abfff" providerId="ADAL" clId="{EE97D3FE-9ACA-4467-98E5-532EC45D9D1C}" dt="2024-03-01T08:52:17.697" v="6327" actId="948"/>
          <ac:spMkLst>
            <pc:docMk/>
            <pc:sldMk cId="1997891973" sldId="923"/>
            <ac:spMk id="3" creationId="{F4CCF02E-F3C4-C376-8F56-61BD85A2E74B}"/>
          </ac:spMkLst>
        </pc:spChg>
        <pc:spChg chg="add del mod modVis">
          <ac:chgData name="Nataliia Chornii (UA)" userId="4e4b8b3d-5f31-49bb-9f80-8a25c04abfff" providerId="ADAL" clId="{EE97D3FE-9ACA-4467-98E5-532EC45D9D1C}" dt="2024-03-01T08:49:33.777" v="2844"/>
          <ac:spMkLst>
            <pc:docMk/>
            <pc:sldMk cId="1997891973" sldId="923"/>
            <ac:spMk id="12" creationId="{A6DF3916-38D2-BC4D-5338-FC349B4A0059}"/>
          </ac:spMkLst>
        </pc:spChg>
        <pc:spChg chg="add del mod modVis">
          <ac:chgData name="Nataliia Chornii (UA)" userId="4e4b8b3d-5f31-49bb-9f80-8a25c04abfff" providerId="ADAL" clId="{EE97D3FE-9ACA-4467-98E5-532EC45D9D1C}" dt="2024-03-01T08:49:59.819" v="3832"/>
          <ac:spMkLst>
            <pc:docMk/>
            <pc:sldMk cId="1997891973" sldId="923"/>
            <ac:spMk id="13" creationId="{DAEB8668-A671-A6E5-202F-F5021CCC8F4E}"/>
          </ac:spMkLst>
        </pc:spChg>
        <pc:spChg chg="add del mod modVis">
          <ac:chgData name="Nataliia Chornii (UA)" userId="4e4b8b3d-5f31-49bb-9f80-8a25c04abfff" providerId="ADAL" clId="{EE97D3FE-9ACA-4467-98E5-532EC45D9D1C}" dt="2024-03-01T08:51:26.124" v="4820"/>
          <ac:spMkLst>
            <pc:docMk/>
            <pc:sldMk cId="1997891973" sldId="923"/>
            <ac:spMk id="14" creationId="{61E3B46E-CD2E-87B3-B011-D2C60D63EC76}"/>
          </ac:spMkLst>
        </pc:spChg>
        <pc:spChg chg="add del mod modVis">
          <ac:chgData name="Nataliia Chornii (UA)" userId="4e4b8b3d-5f31-49bb-9f80-8a25c04abfff" providerId="ADAL" clId="{EE97D3FE-9ACA-4467-98E5-532EC45D9D1C}" dt="2024-03-01T08:51:56.150" v="5809"/>
          <ac:spMkLst>
            <pc:docMk/>
            <pc:sldMk cId="1997891973" sldId="923"/>
            <ac:spMk id="15" creationId="{3A564656-53F1-84A6-7A98-9C671AA0BDB8}"/>
          </ac:spMkLst>
        </pc:spChg>
        <pc:spChg chg="add del mod modVis">
          <ac:chgData name="Nataliia Chornii (UA)" userId="4e4b8b3d-5f31-49bb-9f80-8a25c04abfff" providerId="ADAL" clId="{EE97D3FE-9ACA-4467-98E5-532EC45D9D1C}" dt="2024-03-01T08:52:18.296" v="6797"/>
          <ac:spMkLst>
            <pc:docMk/>
            <pc:sldMk cId="1997891973" sldId="923"/>
            <ac:spMk id="16" creationId="{1833A7C2-7463-4F81-3581-89FF34B2F7AA}"/>
          </ac:spMkLst>
        </pc:spChg>
        <pc:graphicFrameChg chg="add mod ord modVis replST">
          <ac:chgData name="Nataliia Chornii (UA)" userId="4e4b8b3d-5f31-49bb-9f80-8a25c04abfff" providerId="ADAL" clId="{EE97D3FE-9ACA-4467-98E5-532EC45D9D1C}" dt="2024-03-01T08:52:18.296" v="6799"/>
          <ac:graphicFrameMkLst>
            <pc:docMk/>
            <pc:sldMk cId="1997891973" sldId="923"/>
            <ac:graphicFrameMk id="9" creationId="{C4E82D38-6292-D63C-5DAD-3FE4D75D2565}"/>
          </ac:graphicFrameMkLst>
        </pc:graphicFrameChg>
      </pc:sldChg>
      <pc:sldChg chg="addSp delSp modSp add del mod modClrScheme chgLayout">
        <pc:chgData name="Nataliia Chornii (UA)" userId="4e4b8b3d-5f31-49bb-9f80-8a25c04abfff" providerId="ADAL" clId="{EE97D3FE-9ACA-4467-98E5-532EC45D9D1C}" dt="2024-03-11T14:20:46.724" v="23959"/>
        <pc:sldMkLst>
          <pc:docMk/>
          <pc:sldMk cId="2333946943" sldId="924"/>
        </pc:sldMkLst>
        <pc:spChg chg="mod ord">
          <ac:chgData name="Nataliia Chornii (UA)" userId="4e4b8b3d-5f31-49bb-9f80-8a25c04abfff" providerId="ADAL" clId="{EE97D3FE-9ACA-4467-98E5-532EC45D9D1C}" dt="2024-03-04T09:58:43.279" v="20176"/>
          <ac:spMkLst>
            <pc:docMk/>
            <pc:sldMk cId="2333946943" sldId="924"/>
            <ac:spMk id="2" creationId="{20E40FBF-934F-95FE-8778-92F849DEC1EA}"/>
          </ac:spMkLst>
        </pc:spChg>
        <pc:spChg chg="mod ord">
          <ac:chgData name="Nataliia Chornii (UA)" userId="4e4b8b3d-5f31-49bb-9f80-8a25c04abfff" providerId="ADAL" clId="{EE97D3FE-9ACA-4467-98E5-532EC45D9D1C}" dt="2024-03-11T14:06:58.698" v="23456" actId="948"/>
          <ac:spMkLst>
            <pc:docMk/>
            <pc:sldMk cId="2333946943" sldId="924"/>
            <ac:spMk id="3" creationId="{AAFE076C-9B8C-9BB3-8680-7E4B60DEC21C}"/>
          </ac:spMkLst>
        </pc:spChg>
        <pc:spChg chg="mod ord">
          <ac:chgData name="Nataliia Chornii (UA)" userId="4e4b8b3d-5f31-49bb-9f80-8a25c04abfff" providerId="ADAL" clId="{EE97D3FE-9ACA-4467-98E5-532EC45D9D1C}" dt="2024-03-04T09:58:43.279" v="20174"/>
          <ac:spMkLst>
            <pc:docMk/>
            <pc:sldMk cId="2333946943" sldId="924"/>
            <ac:spMk id="4" creationId="{51A056F4-4CF2-BBE9-52F6-908FF9154948}"/>
          </ac:spMkLst>
        </pc:spChg>
        <pc:spChg chg="del mod ord">
          <ac:chgData name="Nataliia Chornii (UA)" userId="4e4b8b3d-5f31-49bb-9f80-8a25c04abfff" providerId="ADAL" clId="{EE97D3FE-9ACA-4467-98E5-532EC45D9D1C}" dt="2024-03-01T08:56:10.445" v="7185" actId="478"/>
          <ac:spMkLst>
            <pc:docMk/>
            <pc:sldMk cId="2333946943" sldId="924"/>
            <ac:spMk id="5" creationId="{1C73DC58-4723-3B96-46FC-CBBC7FA3EB02}"/>
          </ac:spMkLst>
        </pc:spChg>
        <pc:spChg chg="mod">
          <ac:chgData name="Nataliia Chornii (UA)" userId="4e4b8b3d-5f31-49bb-9f80-8a25c04abfff" providerId="ADAL" clId="{EE97D3FE-9ACA-4467-98E5-532EC45D9D1C}" dt="2024-03-04T09:58:39.137" v="20146"/>
          <ac:spMkLst>
            <pc:docMk/>
            <pc:sldMk cId="2333946943" sldId="924"/>
            <ac:spMk id="6" creationId="{2433D90B-E7DC-1074-506C-53A72F530B6D}"/>
          </ac:spMkLst>
        </pc:spChg>
        <pc:spChg chg="del mod ord">
          <ac:chgData name="Nataliia Chornii (UA)" userId="4e4b8b3d-5f31-49bb-9f80-8a25c04abfff" providerId="ADAL" clId="{EE97D3FE-9ACA-4467-98E5-532EC45D9D1C}" dt="2024-03-01T08:56:04.490" v="7155" actId="478"/>
          <ac:spMkLst>
            <pc:docMk/>
            <pc:sldMk cId="2333946943" sldId="924"/>
            <ac:spMk id="6" creationId="{2E672114-781E-3E9E-07DD-B0CC53AC0021}"/>
          </ac:spMkLst>
        </pc:spChg>
        <pc:spChg chg="mod ord">
          <ac:chgData name="Nataliia Chornii (UA)" userId="4e4b8b3d-5f31-49bb-9f80-8a25c04abfff" providerId="ADAL" clId="{EE97D3FE-9ACA-4467-98E5-532EC45D9D1C}" dt="2024-03-04T09:58:43.279" v="20178"/>
          <ac:spMkLst>
            <pc:docMk/>
            <pc:sldMk cId="2333946943" sldId="924"/>
            <ac:spMk id="7" creationId="{11B054F7-BD3F-CC04-8F9A-A47566ADA21E}"/>
          </ac:spMkLst>
        </pc:spChg>
        <pc:spChg chg="mod ord">
          <ac:chgData name="Nataliia Chornii (UA)" userId="4e4b8b3d-5f31-49bb-9f80-8a25c04abfff" providerId="ADAL" clId="{EE97D3FE-9ACA-4467-98E5-532EC45D9D1C}" dt="2024-03-04T09:58:43.279" v="20194"/>
          <ac:spMkLst>
            <pc:docMk/>
            <pc:sldMk cId="2333946943" sldId="924"/>
            <ac:spMk id="8" creationId="{A2A4EF95-EBC5-2113-75C0-757B07E343F3}"/>
          </ac:spMkLst>
        </pc:spChg>
        <pc:spChg chg="mod">
          <ac:chgData name="Nataliia Chornii (UA)" userId="4e4b8b3d-5f31-49bb-9f80-8a25c04abfff" providerId="ADAL" clId="{EE97D3FE-9ACA-4467-98E5-532EC45D9D1C}" dt="2024-03-04T09:58:39.137" v="20146"/>
          <ac:spMkLst>
            <pc:docMk/>
            <pc:sldMk cId="2333946943" sldId="924"/>
            <ac:spMk id="9" creationId="{79CC5FE2-D0F9-19B2-E01D-F1228C678ED5}"/>
          </ac:spMkLst>
        </pc:spChg>
        <pc:spChg chg="del mod ord">
          <ac:chgData name="Nataliia Chornii (UA)" userId="4e4b8b3d-5f31-49bb-9f80-8a25c04abfff" providerId="ADAL" clId="{EE97D3FE-9ACA-4467-98E5-532EC45D9D1C}" dt="2024-03-01T09:04:38.083" v="7699" actId="478"/>
          <ac:spMkLst>
            <pc:docMk/>
            <pc:sldMk cId="2333946943" sldId="924"/>
            <ac:spMk id="9" creationId="{8A75DB60-66FB-2F24-092E-9D81D3271877}"/>
          </ac:spMkLst>
        </pc:spChg>
        <pc:spChg chg="del">
          <ac:chgData name="Nataliia Chornii (UA)" userId="4e4b8b3d-5f31-49bb-9f80-8a25c04abfff" providerId="ADAL" clId="{EE97D3FE-9ACA-4467-98E5-532EC45D9D1C}" dt="2024-03-01T08:58:35.643" v="7544" actId="478"/>
          <ac:spMkLst>
            <pc:docMk/>
            <pc:sldMk cId="2333946943" sldId="924"/>
            <ac:spMk id="10" creationId="{9289F6C4-FC0B-0E3A-DAD4-24B0CD0E3DD5}"/>
          </ac:spMkLst>
        </pc:spChg>
        <pc:spChg chg="add del mod modVis">
          <ac:chgData name="Nataliia Chornii (UA)" userId="4e4b8b3d-5f31-49bb-9f80-8a25c04abfff" providerId="ADAL" clId="{EE97D3FE-9ACA-4467-98E5-532EC45D9D1C}" dt="2024-03-01T08:48:59.157" v="1191"/>
          <ac:spMkLst>
            <pc:docMk/>
            <pc:sldMk cId="2333946943" sldId="924"/>
            <ac:spMk id="11" creationId="{5482D1DA-73B6-AF9E-FE02-D1F0B57BF2A4}"/>
          </ac:spMkLst>
        </pc:spChg>
        <pc:spChg chg="mod">
          <ac:chgData name="Nataliia Chornii (UA)" userId="4e4b8b3d-5f31-49bb-9f80-8a25c04abfff" providerId="ADAL" clId="{EE97D3FE-9ACA-4467-98E5-532EC45D9D1C}" dt="2024-03-04T09:58:39.137" v="20146"/>
          <ac:spMkLst>
            <pc:docMk/>
            <pc:sldMk cId="2333946943" sldId="924"/>
            <ac:spMk id="11" creationId="{FAAF8042-FA87-2277-604A-2B80951C96CA}"/>
          </ac:spMkLst>
        </pc:spChg>
        <pc:spChg chg="del mod">
          <ac:chgData name="Nataliia Chornii (UA)" userId="4e4b8b3d-5f31-49bb-9f80-8a25c04abfff" providerId="ADAL" clId="{EE97D3FE-9ACA-4467-98E5-532EC45D9D1C}" dt="2024-03-01T08:56:03.688" v="7154" actId="478"/>
          <ac:spMkLst>
            <pc:docMk/>
            <pc:sldMk cId="2333946943" sldId="924"/>
            <ac:spMk id="12" creationId="{5BA3FC79-5B8F-4417-8615-05D13DBFFB22}"/>
          </ac:spMkLst>
        </pc:spChg>
        <pc:spChg chg="mod">
          <ac:chgData name="Nataliia Chornii (UA)" userId="4e4b8b3d-5f31-49bb-9f80-8a25c04abfff" providerId="ADAL" clId="{EE97D3FE-9ACA-4467-98E5-532EC45D9D1C}" dt="2024-03-04T09:58:39.137" v="20146"/>
          <ac:spMkLst>
            <pc:docMk/>
            <pc:sldMk cId="2333946943" sldId="924"/>
            <ac:spMk id="12" creationId="{6DA0E041-E210-8556-8DD1-4B49FE009618}"/>
          </ac:spMkLst>
        </pc:spChg>
        <pc:spChg chg="mod">
          <ac:chgData name="Nataliia Chornii (UA)" userId="4e4b8b3d-5f31-49bb-9f80-8a25c04abfff" providerId="ADAL" clId="{EE97D3FE-9ACA-4467-98E5-532EC45D9D1C}" dt="2024-03-04T09:58:39.137" v="20146"/>
          <ac:spMkLst>
            <pc:docMk/>
            <pc:sldMk cId="2333946943" sldId="924"/>
            <ac:spMk id="14" creationId="{0AB8E9EA-C968-44EB-8B34-41ACF4CD9CF4}"/>
          </ac:spMkLst>
        </pc:spChg>
        <pc:spChg chg="add del mod modVis">
          <ac:chgData name="Nataliia Chornii (UA)" userId="4e4b8b3d-5f31-49bb-9f80-8a25c04abfff" providerId="ADAL" clId="{EE97D3FE-9ACA-4467-98E5-532EC45D9D1C}" dt="2024-03-01T08:49:33.687" v="2778"/>
          <ac:spMkLst>
            <pc:docMk/>
            <pc:sldMk cId="2333946943" sldId="924"/>
            <ac:spMk id="14" creationId="{DFFCFC77-2154-F098-43BA-21EB4B014E1C}"/>
          </ac:spMkLst>
        </pc:spChg>
        <pc:spChg chg="mod">
          <ac:chgData name="Nataliia Chornii (UA)" userId="4e4b8b3d-5f31-49bb-9f80-8a25c04abfff" providerId="ADAL" clId="{EE97D3FE-9ACA-4467-98E5-532EC45D9D1C}" dt="2024-03-04T09:58:39.137" v="20146"/>
          <ac:spMkLst>
            <pc:docMk/>
            <pc:sldMk cId="2333946943" sldId="924"/>
            <ac:spMk id="15" creationId="{7DF40D55-C69A-1E34-C5EB-1A6FBDABFF9B}"/>
          </ac:spMkLst>
        </pc:spChg>
        <pc:spChg chg="add del mod modVis">
          <ac:chgData name="Nataliia Chornii (UA)" userId="4e4b8b3d-5f31-49bb-9f80-8a25c04abfff" providerId="ADAL" clId="{EE97D3FE-9ACA-4467-98E5-532EC45D9D1C}" dt="2024-03-01T08:49:59.757" v="3766"/>
          <ac:spMkLst>
            <pc:docMk/>
            <pc:sldMk cId="2333946943" sldId="924"/>
            <ac:spMk id="15" creationId="{A58007AA-F674-7B52-82A7-4E498D9F0DE1}"/>
          </ac:spMkLst>
        </pc:spChg>
        <pc:spChg chg="add del mod modVis">
          <ac:chgData name="Nataliia Chornii (UA)" userId="4e4b8b3d-5f31-49bb-9f80-8a25c04abfff" providerId="ADAL" clId="{EE97D3FE-9ACA-4467-98E5-532EC45D9D1C}" dt="2024-03-01T08:51:26.070" v="4754"/>
          <ac:spMkLst>
            <pc:docMk/>
            <pc:sldMk cId="2333946943" sldId="924"/>
            <ac:spMk id="16" creationId="{067F3946-0762-1092-53BD-E7BA18BF6B29}"/>
          </ac:spMkLst>
        </pc:spChg>
        <pc:spChg chg="mod">
          <ac:chgData name="Nataliia Chornii (UA)" userId="4e4b8b3d-5f31-49bb-9f80-8a25c04abfff" providerId="ADAL" clId="{EE97D3FE-9ACA-4467-98E5-532EC45D9D1C}" dt="2024-03-04T09:58:39.137" v="20146"/>
          <ac:spMkLst>
            <pc:docMk/>
            <pc:sldMk cId="2333946943" sldId="924"/>
            <ac:spMk id="16" creationId="{BC455CBB-497F-D8AF-C4B2-951640A8C8FE}"/>
          </ac:spMkLst>
        </pc:spChg>
        <pc:spChg chg="mod">
          <ac:chgData name="Nataliia Chornii (UA)" userId="4e4b8b3d-5f31-49bb-9f80-8a25c04abfff" providerId="ADAL" clId="{EE97D3FE-9ACA-4467-98E5-532EC45D9D1C}" dt="2024-03-04T09:58:39.137" v="20146"/>
          <ac:spMkLst>
            <pc:docMk/>
            <pc:sldMk cId="2333946943" sldId="924"/>
            <ac:spMk id="17" creationId="{1019684F-EB37-FD93-4317-58CA68C8508A}"/>
          </ac:spMkLst>
        </pc:spChg>
        <pc:spChg chg="add del mod modVis">
          <ac:chgData name="Nataliia Chornii (UA)" userId="4e4b8b3d-5f31-49bb-9f80-8a25c04abfff" providerId="ADAL" clId="{EE97D3FE-9ACA-4467-98E5-532EC45D9D1C}" dt="2024-03-01T08:51:56.063" v="5743"/>
          <ac:spMkLst>
            <pc:docMk/>
            <pc:sldMk cId="2333946943" sldId="924"/>
            <ac:spMk id="17" creationId="{FD9F0DB6-C542-F7F1-1437-87AAFB8CC770}"/>
          </ac:spMkLst>
        </pc:spChg>
        <pc:spChg chg="add del mod modVis">
          <ac:chgData name="Nataliia Chornii (UA)" userId="4e4b8b3d-5f31-49bb-9f80-8a25c04abfff" providerId="ADAL" clId="{EE97D3FE-9ACA-4467-98E5-532EC45D9D1C}" dt="2024-03-01T08:52:18.233" v="6731"/>
          <ac:spMkLst>
            <pc:docMk/>
            <pc:sldMk cId="2333946943" sldId="924"/>
            <ac:spMk id="18" creationId="{7F3796DD-F6C5-07CA-B979-F66D421BA007}"/>
          </ac:spMkLst>
        </pc:spChg>
        <pc:spChg chg="mod">
          <ac:chgData name="Nataliia Chornii (UA)" userId="4e4b8b3d-5f31-49bb-9f80-8a25c04abfff" providerId="ADAL" clId="{EE97D3FE-9ACA-4467-98E5-532EC45D9D1C}" dt="2024-03-04T09:58:39.137" v="20146"/>
          <ac:spMkLst>
            <pc:docMk/>
            <pc:sldMk cId="2333946943" sldId="924"/>
            <ac:spMk id="18" creationId="{928C371F-1308-C0BB-1B53-0F9277CF9C82}"/>
          </ac:spMkLst>
        </pc:spChg>
        <pc:spChg chg="add del mod modVis">
          <ac:chgData name="Nataliia Chornii (UA)" userId="4e4b8b3d-5f31-49bb-9f80-8a25c04abfff" providerId="ADAL" clId="{EE97D3FE-9ACA-4467-98E5-532EC45D9D1C}" dt="2024-03-01T08:55:59.130" v="7123"/>
          <ac:spMkLst>
            <pc:docMk/>
            <pc:sldMk cId="2333946943" sldId="924"/>
            <ac:spMk id="19" creationId="{04948EEF-CE35-0148-112A-8936229D83BE}"/>
          </ac:spMkLst>
        </pc:spChg>
        <pc:spChg chg="mod">
          <ac:chgData name="Nataliia Chornii (UA)" userId="4e4b8b3d-5f31-49bb-9f80-8a25c04abfff" providerId="ADAL" clId="{EE97D3FE-9ACA-4467-98E5-532EC45D9D1C}" dt="2024-03-04T09:58:39.137" v="20146"/>
          <ac:spMkLst>
            <pc:docMk/>
            <pc:sldMk cId="2333946943" sldId="924"/>
            <ac:spMk id="19" creationId="{935478A3-0258-D2D1-C55B-6818E570EEC2}"/>
          </ac:spMkLst>
        </pc:spChg>
        <pc:spChg chg="add del mod">
          <ac:chgData name="Nataliia Chornii (UA)" userId="4e4b8b3d-5f31-49bb-9f80-8a25c04abfff" providerId="ADAL" clId="{EE97D3FE-9ACA-4467-98E5-532EC45D9D1C}" dt="2024-03-01T08:55:59.771" v="7126" actId="6264"/>
          <ac:spMkLst>
            <pc:docMk/>
            <pc:sldMk cId="2333946943" sldId="924"/>
            <ac:spMk id="20" creationId="{4309EA09-BC2E-1688-4D59-9D77FA252932}"/>
          </ac:spMkLst>
        </pc:spChg>
        <pc:spChg chg="mod">
          <ac:chgData name="Nataliia Chornii (UA)" userId="4e4b8b3d-5f31-49bb-9f80-8a25c04abfff" providerId="ADAL" clId="{EE97D3FE-9ACA-4467-98E5-532EC45D9D1C}" dt="2024-03-04T09:58:39.137" v="20146"/>
          <ac:spMkLst>
            <pc:docMk/>
            <pc:sldMk cId="2333946943" sldId="924"/>
            <ac:spMk id="20" creationId="{65F13B8F-5C19-FC21-AF33-0F4E3175271E}"/>
          </ac:spMkLst>
        </pc:spChg>
        <pc:spChg chg="mod">
          <ac:chgData name="Nataliia Chornii (UA)" userId="4e4b8b3d-5f31-49bb-9f80-8a25c04abfff" providerId="ADAL" clId="{EE97D3FE-9ACA-4467-98E5-532EC45D9D1C}" dt="2024-03-04T09:58:39.137" v="20146"/>
          <ac:spMkLst>
            <pc:docMk/>
            <pc:sldMk cId="2333946943" sldId="924"/>
            <ac:spMk id="21" creationId="{D6863F23-A5B1-AF50-FF88-3A3AAA5D0D41}"/>
          </ac:spMkLst>
        </pc:spChg>
        <pc:spChg chg="add del mod">
          <ac:chgData name="Nataliia Chornii (UA)" userId="4e4b8b3d-5f31-49bb-9f80-8a25c04abfff" providerId="ADAL" clId="{EE97D3FE-9ACA-4467-98E5-532EC45D9D1C}" dt="2024-03-01T08:55:59.771" v="7126" actId="6264"/>
          <ac:spMkLst>
            <pc:docMk/>
            <pc:sldMk cId="2333946943" sldId="924"/>
            <ac:spMk id="21" creationId="{E6B5CBFF-F1F3-4219-7161-6CC295FA7F52}"/>
          </ac:spMkLst>
        </pc:spChg>
        <pc:spChg chg="mod">
          <ac:chgData name="Nataliia Chornii (UA)" userId="4e4b8b3d-5f31-49bb-9f80-8a25c04abfff" providerId="ADAL" clId="{EE97D3FE-9ACA-4467-98E5-532EC45D9D1C}" dt="2024-03-04T09:58:39.137" v="20146"/>
          <ac:spMkLst>
            <pc:docMk/>
            <pc:sldMk cId="2333946943" sldId="924"/>
            <ac:spMk id="22" creationId="{4B8688AB-0D7B-A5C1-5CDF-C4BE9B644ED8}"/>
          </ac:spMkLst>
        </pc:spChg>
        <pc:spChg chg="add del mod">
          <ac:chgData name="Nataliia Chornii (UA)" userId="4e4b8b3d-5f31-49bb-9f80-8a25c04abfff" providerId="ADAL" clId="{EE97D3FE-9ACA-4467-98E5-532EC45D9D1C}" dt="2024-03-01T08:55:59.771" v="7126" actId="6264"/>
          <ac:spMkLst>
            <pc:docMk/>
            <pc:sldMk cId="2333946943" sldId="924"/>
            <ac:spMk id="22" creationId="{C8D62C5B-ABD6-2002-21FE-15867DF5C79D}"/>
          </ac:spMkLst>
        </pc:spChg>
        <pc:spChg chg="add del mod">
          <ac:chgData name="Nataliia Chornii (UA)" userId="4e4b8b3d-5f31-49bb-9f80-8a25c04abfff" providerId="ADAL" clId="{EE97D3FE-9ACA-4467-98E5-532EC45D9D1C}" dt="2024-03-01T08:55:59.771" v="7126" actId="6264"/>
          <ac:spMkLst>
            <pc:docMk/>
            <pc:sldMk cId="2333946943" sldId="924"/>
            <ac:spMk id="23" creationId="{607A9454-051F-5F29-5540-1AF04206A950}"/>
          </ac:spMkLst>
        </pc:spChg>
        <pc:spChg chg="mod">
          <ac:chgData name="Nataliia Chornii (UA)" userId="4e4b8b3d-5f31-49bb-9f80-8a25c04abfff" providerId="ADAL" clId="{EE97D3FE-9ACA-4467-98E5-532EC45D9D1C}" dt="2024-03-04T09:58:39.137" v="20146"/>
          <ac:spMkLst>
            <pc:docMk/>
            <pc:sldMk cId="2333946943" sldId="924"/>
            <ac:spMk id="23" creationId="{AE8882F9-6CA9-4D3C-A314-801BC21ABFB7}"/>
          </ac:spMkLst>
        </pc:spChg>
        <pc:spChg chg="mod">
          <ac:chgData name="Nataliia Chornii (UA)" userId="4e4b8b3d-5f31-49bb-9f80-8a25c04abfff" providerId="ADAL" clId="{EE97D3FE-9ACA-4467-98E5-532EC45D9D1C}" dt="2024-03-04T09:58:39.137" v="20146"/>
          <ac:spMkLst>
            <pc:docMk/>
            <pc:sldMk cId="2333946943" sldId="924"/>
            <ac:spMk id="24" creationId="{B80DF1EC-2FDF-CB0D-C12F-569EC95EAED8}"/>
          </ac:spMkLst>
        </pc:spChg>
        <pc:spChg chg="add del mod">
          <ac:chgData name="Nataliia Chornii (UA)" userId="4e4b8b3d-5f31-49bb-9f80-8a25c04abfff" providerId="ADAL" clId="{EE97D3FE-9ACA-4467-98E5-532EC45D9D1C}" dt="2024-03-01T08:56:05.878" v="7156" actId="6264"/>
          <ac:spMkLst>
            <pc:docMk/>
            <pc:sldMk cId="2333946943" sldId="924"/>
            <ac:spMk id="24" creationId="{EA9E688A-D552-9804-3B28-2F2F7CBAA877}"/>
          </ac:spMkLst>
        </pc:spChg>
        <pc:spChg chg="add del mod">
          <ac:chgData name="Nataliia Chornii (UA)" userId="4e4b8b3d-5f31-49bb-9f80-8a25c04abfff" providerId="ADAL" clId="{EE97D3FE-9ACA-4467-98E5-532EC45D9D1C}" dt="2024-03-01T08:56:05.878" v="7156" actId="6264"/>
          <ac:spMkLst>
            <pc:docMk/>
            <pc:sldMk cId="2333946943" sldId="924"/>
            <ac:spMk id="25" creationId="{8DD78B85-136E-CACB-9665-23C96C8FD783}"/>
          </ac:spMkLst>
        </pc:spChg>
        <pc:spChg chg="mod">
          <ac:chgData name="Nataliia Chornii (UA)" userId="4e4b8b3d-5f31-49bb-9f80-8a25c04abfff" providerId="ADAL" clId="{EE97D3FE-9ACA-4467-98E5-532EC45D9D1C}" dt="2024-03-04T09:58:39.137" v="20146"/>
          <ac:spMkLst>
            <pc:docMk/>
            <pc:sldMk cId="2333946943" sldId="924"/>
            <ac:spMk id="25" creationId="{E0CFBFFC-89A5-85EB-8558-1D2BE3078546}"/>
          </ac:spMkLst>
        </pc:spChg>
        <pc:spChg chg="add del mod">
          <ac:chgData name="Nataliia Chornii (UA)" userId="4e4b8b3d-5f31-49bb-9f80-8a25c04abfff" providerId="ADAL" clId="{EE97D3FE-9ACA-4467-98E5-532EC45D9D1C}" dt="2024-03-01T08:56:05.878" v="7156" actId="6264"/>
          <ac:spMkLst>
            <pc:docMk/>
            <pc:sldMk cId="2333946943" sldId="924"/>
            <ac:spMk id="26" creationId="{33EBAC46-F918-0227-935E-4F1ABED872DA}"/>
          </ac:spMkLst>
        </pc:spChg>
        <pc:spChg chg="mod">
          <ac:chgData name="Nataliia Chornii (UA)" userId="4e4b8b3d-5f31-49bb-9f80-8a25c04abfff" providerId="ADAL" clId="{EE97D3FE-9ACA-4467-98E5-532EC45D9D1C}" dt="2024-03-04T09:58:39.137" v="20146"/>
          <ac:spMkLst>
            <pc:docMk/>
            <pc:sldMk cId="2333946943" sldId="924"/>
            <ac:spMk id="26" creationId="{76A0636A-46E9-9CA9-DDBE-B186617BD287}"/>
          </ac:spMkLst>
        </pc:spChg>
        <pc:spChg chg="add del mod modVis">
          <ac:chgData name="Nataliia Chornii (UA)" userId="4e4b8b3d-5f31-49bb-9f80-8a25c04abfff" providerId="ADAL" clId="{EE97D3FE-9ACA-4467-98E5-532EC45D9D1C}" dt="2024-03-01T08:56:06.430" v="7180"/>
          <ac:spMkLst>
            <pc:docMk/>
            <pc:sldMk cId="2333946943" sldId="924"/>
            <ac:spMk id="27" creationId="{5591C79A-3E42-0BDA-DA44-4BBF212F3513}"/>
          </ac:spMkLst>
        </pc:spChg>
        <pc:spChg chg="mod">
          <ac:chgData name="Nataliia Chornii (UA)" userId="4e4b8b3d-5f31-49bb-9f80-8a25c04abfff" providerId="ADAL" clId="{EE97D3FE-9ACA-4467-98E5-532EC45D9D1C}" dt="2024-03-04T09:58:39.137" v="20146"/>
          <ac:spMkLst>
            <pc:docMk/>
            <pc:sldMk cId="2333946943" sldId="924"/>
            <ac:spMk id="27" creationId="{5EDDC7B7-B0EE-7882-5258-6D30866A66CF}"/>
          </ac:spMkLst>
        </pc:spChg>
        <pc:spChg chg="add del mod">
          <ac:chgData name="Nataliia Chornii (UA)" userId="4e4b8b3d-5f31-49bb-9f80-8a25c04abfff" providerId="ADAL" clId="{EE97D3FE-9ACA-4467-98E5-532EC45D9D1C}" dt="2024-03-11T14:20:41.107" v="23958" actId="478"/>
          <ac:spMkLst>
            <pc:docMk/>
            <pc:sldMk cId="2333946943" sldId="924"/>
            <ac:spMk id="28" creationId="{5064B5A9-52F3-41A2-AF96-FFD5338C92F3}"/>
          </ac:spMkLst>
        </pc:spChg>
        <pc:spChg chg="add del mod modVis">
          <ac:chgData name="Nataliia Chornii (UA)" userId="4e4b8b3d-5f31-49bb-9f80-8a25c04abfff" providerId="ADAL" clId="{EE97D3FE-9ACA-4467-98E5-532EC45D9D1C}" dt="2024-03-04T09:58:43.295" v="20206"/>
          <ac:spMkLst>
            <pc:docMk/>
            <pc:sldMk cId="2333946943" sldId="924"/>
            <ac:spMk id="28" creationId="{BEF43D9A-FC0A-61A9-E99F-C2C921323857}"/>
          </ac:spMkLst>
        </pc:spChg>
        <pc:spChg chg="add mod topLvl">
          <ac:chgData name="Nataliia Chornii (UA)" userId="4e4b8b3d-5f31-49bb-9f80-8a25c04abfff" providerId="ADAL" clId="{EE97D3FE-9ACA-4467-98E5-532EC45D9D1C}" dt="2024-03-11T14:07:14.045" v="23485" actId="164"/>
          <ac:spMkLst>
            <pc:docMk/>
            <pc:sldMk cId="2333946943" sldId="924"/>
            <ac:spMk id="29" creationId="{644A81C3-B52D-8470-CF92-316C7D37A523}"/>
          </ac:spMkLst>
        </pc:spChg>
        <pc:spChg chg="add del mod">
          <ac:chgData name="Nataliia Chornii (UA)" userId="4e4b8b3d-5f31-49bb-9f80-8a25c04abfff" providerId="ADAL" clId="{EE97D3FE-9ACA-4467-98E5-532EC45D9D1C}" dt="2024-03-01T08:58:03.087" v="7429" actId="478"/>
          <ac:spMkLst>
            <pc:docMk/>
            <pc:sldMk cId="2333946943" sldId="924"/>
            <ac:spMk id="29" creationId="{A0830D90-F2F1-5AE1-F4B3-DDB9272E3A3D}"/>
          </ac:spMkLst>
        </pc:spChg>
        <pc:spChg chg="add del mod ord">
          <ac:chgData name="Nataliia Chornii (UA)" userId="4e4b8b3d-5f31-49bb-9f80-8a25c04abfff" providerId="ADAL" clId="{EE97D3FE-9ACA-4467-98E5-532EC45D9D1C}" dt="2024-03-01T08:57:50.787" v="7397" actId="478"/>
          <ac:spMkLst>
            <pc:docMk/>
            <pc:sldMk cId="2333946943" sldId="924"/>
            <ac:spMk id="30" creationId="{8F199A7A-3ECD-7376-82B9-F839C7404709}"/>
          </ac:spMkLst>
        </pc:spChg>
        <pc:spChg chg="add mod topLvl">
          <ac:chgData name="Nataliia Chornii (UA)" userId="4e4b8b3d-5f31-49bb-9f80-8a25c04abfff" providerId="ADAL" clId="{EE97D3FE-9ACA-4467-98E5-532EC45D9D1C}" dt="2024-03-11T14:07:14.045" v="23485" actId="164"/>
          <ac:spMkLst>
            <pc:docMk/>
            <pc:sldMk cId="2333946943" sldId="924"/>
            <ac:spMk id="30" creationId="{CDE1BCDF-D64D-8A20-7A13-81F3F323C809}"/>
          </ac:spMkLst>
        </pc:spChg>
        <pc:spChg chg="add del mod">
          <ac:chgData name="Nataliia Chornii (UA)" userId="4e4b8b3d-5f31-49bb-9f80-8a25c04abfff" providerId="ADAL" clId="{EE97D3FE-9ACA-4467-98E5-532EC45D9D1C}" dt="2024-03-01T08:56:24.786" v="7195" actId="6264"/>
          <ac:spMkLst>
            <pc:docMk/>
            <pc:sldMk cId="2333946943" sldId="924"/>
            <ac:spMk id="31" creationId="{7FCFFBAE-52BA-C4CF-2830-0A7FC336E177}"/>
          </ac:spMkLst>
        </pc:spChg>
        <pc:spChg chg="add mod topLvl">
          <ac:chgData name="Nataliia Chornii (UA)" userId="4e4b8b3d-5f31-49bb-9f80-8a25c04abfff" providerId="ADAL" clId="{EE97D3FE-9ACA-4467-98E5-532EC45D9D1C}" dt="2024-03-11T14:07:14.045" v="23485" actId="164"/>
          <ac:spMkLst>
            <pc:docMk/>
            <pc:sldMk cId="2333946943" sldId="924"/>
            <ac:spMk id="31" creationId="{C52AD53F-833A-1803-23D5-DAD4D5ECCD0E}"/>
          </ac:spMkLst>
        </pc:spChg>
        <pc:spChg chg="add del mod">
          <ac:chgData name="Nataliia Chornii (UA)" userId="4e4b8b3d-5f31-49bb-9f80-8a25c04abfff" providerId="ADAL" clId="{EE97D3FE-9ACA-4467-98E5-532EC45D9D1C}" dt="2024-03-01T08:56:24.786" v="7195" actId="6264"/>
          <ac:spMkLst>
            <pc:docMk/>
            <pc:sldMk cId="2333946943" sldId="924"/>
            <ac:spMk id="32" creationId="{8C8580E9-E65B-782A-E8DF-A90A706C215E}"/>
          </ac:spMkLst>
        </pc:spChg>
        <pc:spChg chg="add mod topLvl">
          <ac:chgData name="Nataliia Chornii (UA)" userId="4e4b8b3d-5f31-49bb-9f80-8a25c04abfff" providerId="ADAL" clId="{EE97D3FE-9ACA-4467-98E5-532EC45D9D1C}" dt="2024-03-11T14:07:14.045" v="23485" actId="164"/>
          <ac:spMkLst>
            <pc:docMk/>
            <pc:sldMk cId="2333946943" sldId="924"/>
            <ac:spMk id="32" creationId="{920DD9A7-95B1-8718-E03F-43042128CE10}"/>
          </ac:spMkLst>
        </pc:spChg>
        <pc:spChg chg="add del mod">
          <ac:chgData name="Nataliia Chornii (UA)" userId="4e4b8b3d-5f31-49bb-9f80-8a25c04abfff" providerId="ADAL" clId="{EE97D3FE-9ACA-4467-98E5-532EC45D9D1C}" dt="2024-03-01T08:56:24.786" v="7195" actId="6264"/>
          <ac:spMkLst>
            <pc:docMk/>
            <pc:sldMk cId="2333946943" sldId="924"/>
            <ac:spMk id="33" creationId="{0E33E1E4-6371-B52F-D512-3CCDE3DA2F8B}"/>
          </ac:spMkLst>
        </pc:spChg>
        <pc:spChg chg="add mod topLvl">
          <ac:chgData name="Nataliia Chornii (UA)" userId="4e4b8b3d-5f31-49bb-9f80-8a25c04abfff" providerId="ADAL" clId="{EE97D3FE-9ACA-4467-98E5-532EC45D9D1C}" dt="2024-03-11T14:07:14.045" v="23485" actId="164"/>
          <ac:spMkLst>
            <pc:docMk/>
            <pc:sldMk cId="2333946943" sldId="924"/>
            <ac:spMk id="33" creationId="{FBBFE447-C84A-9696-9B09-D4EE2A0761C0}"/>
          </ac:spMkLst>
        </pc:spChg>
        <pc:spChg chg="add mod topLvl">
          <ac:chgData name="Nataliia Chornii (UA)" userId="4e4b8b3d-5f31-49bb-9f80-8a25c04abfff" providerId="ADAL" clId="{EE97D3FE-9ACA-4467-98E5-532EC45D9D1C}" dt="2024-03-11T14:07:14.045" v="23485" actId="164"/>
          <ac:spMkLst>
            <pc:docMk/>
            <pc:sldMk cId="2333946943" sldId="924"/>
            <ac:spMk id="34" creationId="{65D50FA6-5E2F-2600-479E-13B8A1BF7778}"/>
          </ac:spMkLst>
        </pc:spChg>
        <pc:spChg chg="add del mod modVis">
          <ac:chgData name="Nataliia Chornii (UA)" userId="4e4b8b3d-5f31-49bb-9f80-8a25c04abfff" providerId="ADAL" clId="{EE97D3FE-9ACA-4467-98E5-532EC45D9D1C}" dt="2024-03-01T08:56:25.361" v="7219"/>
          <ac:spMkLst>
            <pc:docMk/>
            <pc:sldMk cId="2333946943" sldId="924"/>
            <ac:spMk id="34" creationId="{B12F50A0-B07A-15DF-B205-E6727C464AE8}"/>
          </ac:spMkLst>
        </pc:spChg>
        <pc:spChg chg="add del mod">
          <ac:chgData name="Nataliia Chornii (UA)" userId="4e4b8b3d-5f31-49bb-9f80-8a25c04abfff" providerId="ADAL" clId="{EE97D3FE-9ACA-4467-98E5-532EC45D9D1C}" dt="2024-03-01T08:57:47.108" v="7396" actId="6264"/>
          <ac:spMkLst>
            <pc:docMk/>
            <pc:sldMk cId="2333946943" sldId="924"/>
            <ac:spMk id="35" creationId="{2152A7E0-BE7A-3DF4-DB0E-0B5E57F5F076}"/>
          </ac:spMkLst>
        </pc:spChg>
        <pc:spChg chg="add del mod">
          <ac:chgData name="Nataliia Chornii (UA)" userId="4e4b8b3d-5f31-49bb-9f80-8a25c04abfff" providerId="ADAL" clId="{EE97D3FE-9ACA-4467-98E5-532EC45D9D1C}" dt="2024-03-01T08:57:47.108" v="7396" actId="6264"/>
          <ac:spMkLst>
            <pc:docMk/>
            <pc:sldMk cId="2333946943" sldId="924"/>
            <ac:spMk id="36" creationId="{53BA858D-4F80-224A-1745-D710C765240B}"/>
          </ac:spMkLst>
        </pc:spChg>
        <pc:spChg chg="add del mod modVis">
          <ac:chgData name="Nataliia Chornii (UA)" userId="4e4b8b3d-5f31-49bb-9f80-8a25c04abfff" providerId="ADAL" clId="{EE97D3FE-9ACA-4467-98E5-532EC45D9D1C}" dt="2024-03-11T14:06:54.415" v="23450" actId="962"/>
          <ac:spMkLst>
            <pc:docMk/>
            <pc:sldMk cId="2333946943" sldId="924"/>
            <ac:spMk id="36" creationId="{EA88CFA2-881C-0D5F-5102-35A967CE560A}"/>
          </ac:spMkLst>
        </pc:spChg>
        <pc:spChg chg="add del mod modVis">
          <ac:chgData name="Nataliia Chornii (UA)" userId="4e4b8b3d-5f31-49bb-9f80-8a25c04abfff" providerId="ADAL" clId="{EE97D3FE-9ACA-4467-98E5-532EC45D9D1C}" dt="2024-03-11T14:06:58.713" v="23479"/>
          <ac:spMkLst>
            <pc:docMk/>
            <pc:sldMk cId="2333946943" sldId="924"/>
            <ac:spMk id="37" creationId="{6B725250-99C0-8852-1A90-203246F55B9F}"/>
          </ac:spMkLst>
        </pc:spChg>
        <pc:spChg chg="add del mod">
          <ac:chgData name="Nataliia Chornii (UA)" userId="4e4b8b3d-5f31-49bb-9f80-8a25c04abfff" providerId="ADAL" clId="{EE97D3FE-9ACA-4467-98E5-532EC45D9D1C}" dt="2024-03-01T08:57:47.108" v="7396" actId="6264"/>
          <ac:spMkLst>
            <pc:docMk/>
            <pc:sldMk cId="2333946943" sldId="924"/>
            <ac:spMk id="37" creationId="{7DB873AF-F955-A7A7-7802-55868188B196}"/>
          </ac:spMkLst>
        </pc:spChg>
        <pc:spChg chg="add del mod modVis">
          <ac:chgData name="Nataliia Chornii (UA)" userId="4e4b8b3d-5f31-49bb-9f80-8a25c04abfff" providerId="ADAL" clId="{EE97D3FE-9ACA-4467-98E5-532EC45D9D1C}" dt="2024-03-01T08:57:43.842" v="7390" actId="962"/>
          <ac:spMkLst>
            <pc:docMk/>
            <pc:sldMk cId="2333946943" sldId="924"/>
            <ac:spMk id="38" creationId="{6545C7FB-3C74-5145-A794-8AAC44784433}"/>
          </ac:spMkLst>
        </pc:spChg>
        <pc:spChg chg="add del mod">
          <ac:chgData name="Nataliia Chornii (UA)" userId="4e4b8b3d-5f31-49bb-9f80-8a25c04abfff" providerId="ADAL" clId="{EE97D3FE-9ACA-4467-98E5-532EC45D9D1C}" dt="2024-03-01T08:57:52.222" v="7398" actId="6264"/>
          <ac:spMkLst>
            <pc:docMk/>
            <pc:sldMk cId="2333946943" sldId="924"/>
            <ac:spMk id="39" creationId="{CC4144B2-7A42-94F1-9187-ED3D32B380A7}"/>
          </ac:spMkLst>
        </pc:spChg>
        <pc:spChg chg="add del mod">
          <ac:chgData name="Nataliia Chornii (UA)" userId="4e4b8b3d-5f31-49bb-9f80-8a25c04abfff" providerId="ADAL" clId="{EE97D3FE-9ACA-4467-98E5-532EC45D9D1C}" dt="2024-03-11T14:20:40.111" v="23957" actId="478"/>
          <ac:spMkLst>
            <pc:docMk/>
            <pc:sldMk cId="2333946943" sldId="924"/>
            <ac:spMk id="39" creationId="{FD0FA554-773D-9959-6DCA-0B871496783A}"/>
          </ac:spMkLst>
        </pc:spChg>
        <pc:spChg chg="add mod">
          <ac:chgData name="Nataliia Chornii (UA)" userId="4e4b8b3d-5f31-49bb-9f80-8a25c04abfff" providerId="ADAL" clId="{EE97D3FE-9ACA-4467-98E5-532EC45D9D1C}" dt="2024-03-11T14:20:46.724" v="23959"/>
          <ac:spMkLst>
            <pc:docMk/>
            <pc:sldMk cId="2333946943" sldId="924"/>
            <ac:spMk id="40" creationId="{53E5DDFB-E533-6702-E6D6-2A7771983A4B}"/>
          </ac:spMkLst>
        </pc:spChg>
        <pc:spChg chg="add del mod">
          <ac:chgData name="Nataliia Chornii (UA)" userId="4e4b8b3d-5f31-49bb-9f80-8a25c04abfff" providerId="ADAL" clId="{EE97D3FE-9ACA-4467-98E5-532EC45D9D1C}" dt="2024-03-01T08:57:52.222" v="7398" actId="6264"/>
          <ac:spMkLst>
            <pc:docMk/>
            <pc:sldMk cId="2333946943" sldId="924"/>
            <ac:spMk id="40" creationId="{C275B424-4372-BB0E-E208-80FCDBD46BEE}"/>
          </ac:spMkLst>
        </pc:spChg>
        <pc:spChg chg="add del mod">
          <ac:chgData name="Nataliia Chornii (UA)" userId="4e4b8b3d-5f31-49bb-9f80-8a25c04abfff" providerId="ADAL" clId="{EE97D3FE-9ACA-4467-98E5-532EC45D9D1C}" dt="2024-03-01T08:57:52.222" v="7398" actId="6264"/>
          <ac:spMkLst>
            <pc:docMk/>
            <pc:sldMk cId="2333946943" sldId="924"/>
            <ac:spMk id="41" creationId="{F7DDB121-0A40-EA00-5BA0-903D13082389}"/>
          </ac:spMkLst>
        </pc:spChg>
        <pc:spChg chg="add del mod modVis">
          <ac:chgData name="Nataliia Chornii (UA)" userId="4e4b8b3d-5f31-49bb-9f80-8a25c04abfff" providerId="ADAL" clId="{EE97D3FE-9ACA-4467-98E5-532EC45D9D1C}" dt="2024-03-01T08:57:52.805" v="7422"/>
          <ac:spMkLst>
            <pc:docMk/>
            <pc:sldMk cId="2333946943" sldId="924"/>
            <ac:spMk id="42" creationId="{06F3C05C-D17C-F07A-E4B1-E7FF6E2754E7}"/>
          </ac:spMkLst>
        </pc:spChg>
        <pc:spChg chg="mod">
          <ac:chgData name="Nataliia Chornii (UA)" userId="4e4b8b3d-5f31-49bb-9f80-8a25c04abfff" providerId="ADAL" clId="{EE97D3FE-9ACA-4467-98E5-532EC45D9D1C}" dt="2024-03-11T14:20:46.724" v="23959"/>
          <ac:spMkLst>
            <pc:docMk/>
            <pc:sldMk cId="2333946943" sldId="924"/>
            <ac:spMk id="42" creationId="{D5A8F98B-A100-8D22-1202-8F00B6AAD5B3}"/>
          </ac:spMkLst>
        </pc:spChg>
        <pc:spChg chg="mod">
          <ac:chgData name="Nataliia Chornii (UA)" userId="4e4b8b3d-5f31-49bb-9f80-8a25c04abfff" providerId="ADAL" clId="{EE97D3FE-9ACA-4467-98E5-532EC45D9D1C}" dt="2024-03-11T14:20:46.724" v="23959"/>
          <ac:spMkLst>
            <pc:docMk/>
            <pc:sldMk cId="2333946943" sldId="924"/>
            <ac:spMk id="43" creationId="{5A657692-84D5-0135-1EDD-8539C18F0922}"/>
          </ac:spMkLst>
        </pc:spChg>
        <pc:spChg chg="add del mod ord">
          <ac:chgData name="Nataliia Chornii (UA)" userId="4e4b8b3d-5f31-49bb-9f80-8a25c04abfff" providerId="ADAL" clId="{EE97D3FE-9ACA-4467-98E5-532EC45D9D1C}" dt="2024-03-04T09:58:43.279" v="20180"/>
          <ac:spMkLst>
            <pc:docMk/>
            <pc:sldMk cId="2333946943" sldId="924"/>
            <ac:spMk id="44" creationId="{D451C3AD-BF06-A491-5B76-787F273C0C52}"/>
          </ac:spMkLst>
        </pc:spChg>
        <pc:spChg chg="mod">
          <ac:chgData name="Nataliia Chornii (UA)" userId="4e4b8b3d-5f31-49bb-9f80-8a25c04abfff" providerId="ADAL" clId="{EE97D3FE-9ACA-4467-98E5-532EC45D9D1C}" dt="2024-03-11T14:20:46.724" v="23959"/>
          <ac:spMkLst>
            <pc:docMk/>
            <pc:sldMk cId="2333946943" sldId="924"/>
            <ac:spMk id="45" creationId="{7EC66DF3-0E46-3102-4A4C-72723DF7AEFC}"/>
          </ac:spMkLst>
        </pc:spChg>
        <pc:spChg chg="add del mod">
          <ac:chgData name="Nataliia Chornii (UA)" userId="4e4b8b3d-5f31-49bb-9f80-8a25c04abfff" providerId="ADAL" clId="{EE97D3FE-9ACA-4467-98E5-532EC45D9D1C}" dt="2024-03-01T08:58:04.159" v="7430" actId="6264"/>
          <ac:spMkLst>
            <pc:docMk/>
            <pc:sldMk cId="2333946943" sldId="924"/>
            <ac:spMk id="45" creationId="{C7BAD94E-6402-0831-40F9-04ABFD627847}"/>
          </ac:spMkLst>
        </pc:spChg>
        <pc:spChg chg="mod">
          <ac:chgData name="Nataliia Chornii (UA)" userId="4e4b8b3d-5f31-49bb-9f80-8a25c04abfff" providerId="ADAL" clId="{EE97D3FE-9ACA-4467-98E5-532EC45D9D1C}" dt="2024-03-11T14:20:46.724" v="23959"/>
          <ac:spMkLst>
            <pc:docMk/>
            <pc:sldMk cId="2333946943" sldId="924"/>
            <ac:spMk id="46" creationId="{892B060B-A08A-4796-8A09-69F8615476CC}"/>
          </ac:spMkLst>
        </pc:spChg>
        <pc:spChg chg="add del mod">
          <ac:chgData name="Nataliia Chornii (UA)" userId="4e4b8b3d-5f31-49bb-9f80-8a25c04abfff" providerId="ADAL" clId="{EE97D3FE-9ACA-4467-98E5-532EC45D9D1C}" dt="2024-03-01T08:58:04.159" v="7430" actId="6264"/>
          <ac:spMkLst>
            <pc:docMk/>
            <pc:sldMk cId="2333946943" sldId="924"/>
            <ac:spMk id="46" creationId="{AD41318D-2AF7-05F3-9D5C-63F980706B52}"/>
          </ac:spMkLst>
        </pc:spChg>
        <pc:spChg chg="mod">
          <ac:chgData name="Nataliia Chornii (UA)" userId="4e4b8b3d-5f31-49bb-9f80-8a25c04abfff" providerId="ADAL" clId="{EE97D3FE-9ACA-4467-98E5-532EC45D9D1C}" dt="2024-03-11T14:20:46.724" v="23959"/>
          <ac:spMkLst>
            <pc:docMk/>
            <pc:sldMk cId="2333946943" sldId="924"/>
            <ac:spMk id="47" creationId="{20A2D94F-43CB-EDD7-1A06-B60A44C0744D}"/>
          </ac:spMkLst>
        </pc:spChg>
        <pc:spChg chg="add del mod">
          <ac:chgData name="Nataliia Chornii (UA)" userId="4e4b8b3d-5f31-49bb-9f80-8a25c04abfff" providerId="ADAL" clId="{EE97D3FE-9ACA-4467-98E5-532EC45D9D1C}" dt="2024-03-01T08:58:04.159" v="7430" actId="6264"/>
          <ac:spMkLst>
            <pc:docMk/>
            <pc:sldMk cId="2333946943" sldId="924"/>
            <ac:spMk id="47" creationId="{2F90CDF7-ADD7-F8B9-8075-B68875D170D1}"/>
          </ac:spMkLst>
        </pc:spChg>
        <pc:spChg chg="mod">
          <ac:chgData name="Nataliia Chornii (UA)" userId="4e4b8b3d-5f31-49bb-9f80-8a25c04abfff" providerId="ADAL" clId="{EE97D3FE-9ACA-4467-98E5-532EC45D9D1C}" dt="2024-03-11T14:20:46.724" v="23959"/>
          <ac:spMkLst>
            <pc:docMk/>
            <pc:sldMk cId="2333946943" sldId="924"/>
            <ac:spMk id="48" creationId="{80493C8E-B927-1A54-1912-46BD21ECFA82}"/>
          </ac:spMkLst>
        </pc:spChg>
        <pc:spChg chg="add del mod modVis">
          <ac:chgData name="Nataliia Chornii (UA)" userId="4e4b8b3d-5f31-49bb-9f80-8a25c04abfff" providerId="ADAL" clId="{EE97D3FE-9ACA-4467-98E5-532EC45D9D1C}" dt="2024-03-01T08:58:04.740" v="7454"/>
          <ac:spMkLst>
            <pc:docMk/>
            <pc:sldMk cId="2333946943" sldId="924"/>
            <ac:spMk id="48" creationId="{C12D72FE-6729-B1E5-980C-8A4B51678E10}"/>
          </ac:spMkLst>
        </pc:spChg>
        <pc:spChg chg="add del mod ord">
          <ac:chgData name="Nataliia Chornii (UA)" userId="4e4b8b3d-5f31-49bb-9f80-8a25c04abfff" providerId="ADAL" clId="{EE97D3FE-9ACA-4467-98E5-532EC45D9D1C}" dt="2024-03-04T09:58:43.279" v="20182"/>
          <ac:spMkLst>
            <pc:docMk/>
            <pc:sldMk cId="2333946943" sldId="924"/>
            <ac:spMk id="49" creationId="{A6C28A3C-A620-B16D-4B58-91E913FDA302}"/>
          </ac:spMkLst>
        </pc:spChg>
        <pc:spChg chg="add mod ord">
          <ac:chgData name="Nataliia Chornii (UA)" userId="4e4b8b3d-5f31-49bb-9f80-8a25c04abfff" providerId="ADAL" clId="{EE97D3FE-9ACA-4467-98E5-532EC45D9D1C}" dt="2024-03-04T09:58:43.279" v="20184"/>
          <ac:spMkLst>
            <pc:docMk/>
            <pc:sldMk cId="2333946943" sldId="924"/>
            <ac:spMk id="50" creationId="{B5ED44FD-99B9-EA5D-A6CA-13027AC18E14}"/>
          </ac:spMkLst>
        </pc:spChg>
        <pc:spChg chg="add del mod">
          <ac:chgData name="Nataliia Chornii (UA)" userId="4e4b8b3d-5f31-49bb-9f80-8a25c04abfff" providerId="ADAL" clId="{EE97D3FE-9ACA-4467-98E5-532EC45D9D1C}" dt="2024-03-01T09:02:28.791" v="7609" actId="478"/>
          <ac:spMkLst>
            <pc:docMk/>
            <pc:sldMk cId="2333946943" sldId="924"/>
            <ac:spMk id="51" creationId="{0012FAEB-A845-87E5-BE9C-2345C5F17370}"/>
          </ac:spMkLst>
        </pc:spChg>
        <pc:spChg chg="add del mod">
          <ac:chgData name="Nataliia Chornii (UA)" userId="4e4b8b3d-5f31-49bb-9f80-8a25c04abfff" providerId="ADAL" clId="{EE97D3FE-9ACA-4467-98E5-532EC45D9D1C}" dt="2024-03-01T09:02:28.791" v="7609" actId="478"/>
          <ac:spMkLst>
            <pc:docMk/>
            <pc:sldMk cId="2333946943" sldId="924"/>
            <ac:spMk id="52" creationId="{823FF949-1A6D-D535-DD5C-18E3C911BF98}"/>
          </ac:spMkLst>
        </pc:spChg>
        <pc:spChg chg="add mod ord topLvl">
          <ac:chgData name="Nataliia Chornii (UA)" userId="4e4b8b3d-5f31-49bb-9f80-8a25c04abfff" providerId="ADAL" clId="{EE97D3FE-9ACA-4467-98E5-532EC45D9D1C}" dt="2024-03-04T09:58:43.279" v="20186"/>
          <ac:spMkLst>
            <pc:docMk/>
            <pc:sldMk cId="2333946943" sldId="924"/>
            <ac:spMk id="53" creationId="{E81B126C-1DE6-E834-F45C-027ED60209BD}"/>
          </ac:spMkLst>
        </pc:spChg>
        <pc:spChg chg="add del mod ord topLvl">
          <ac:chgData name="Nataliia Chornii (UA)" userId="4e4b8b3d-5f31-49bb-9f80-8a25c04abfff" providerId="ADAL" clId="{EE97D3FE-9ACA-4467-98E5-532EC45D9D1C}" dt="2024-03-04T09:58:43.279" v="20190"/>
          <ac:spMkLst>
            <pc:docMk/>
            <pc:sldMk cId="2333946943" sldId="924"/>
            <ac:spMk id="54" creationId="{24C1A375-8C7A-FB4D-7F47-F1622BECD0DA}"/>
          </ac:spMkLst>
        </pc:spChg>
        <pc:spChg chg="add del mod ord topLvl">
          <ac:chgData name="Nataliia Chornii (UA)" userId="4e4b8b3d-5f31-49bb-9f80-8a25c04abfff" providerId="ADAL" clId="{EE97D3FE-9ACA-4467-98E5-532EC45D9D1C}" dt="2024-03-01T09:09:56.713" v="7943" actId="478"/>
          <ac:spMkLst>
            <pc:docMk/>
            <pc:sldMk cId="2333946943" sldId="924"/>
            <ac:spMk id="55" creationId="{D8C8D1ED-9692-E4FB-8783-BF4B07E50F8E}"/>
          </ac:spMkLst>
        </pc:spChg>
        <pc:spChg chg="add mod ord topLvl">
          <ac:chgData name="Nataliia Chornii (UA)" userId="4e4b8b3d-5f31-49bb-9f80-8a25c04abfff" providerId="ADAL" clId="{EE97D3FE-9ACA-4467-98E5-532EC45D9D1C}" dt="2024-03-04T09:58:43.279" v="20188"/>
          <ac:spMkLst>
            <pc:docMk/>
            <pc:sldMk cId="2333946943" sldId="924"/>
            <ac:spMk id="56" creationId="{91FD7191-EBCA-832B-EE38-C0AD6980C89C}"/>
          </ac:spMkLst>
        </pc:spChg>
        <pc:spChg chg="add del mod ord topLvl">
          <ac:chgData name="Nataliia Chornii (UA)" userId="4e4b8b3d-5f31-49bb-9f80-8a25c04abfff" providerId="ADAL" clId="{EE97D3FE-9ACA-4467-98E5-532EC45D9D1C}" dt="2024-03-01T09:10:07.047" v="7945" actId="478"/>
          <ac:spMkLst>
            <pc:docMk/>
            <pc:sldMk cId="2333946943" sldId="924"/>
            <ac:spMk id="57" creationId="{FA12F41B-53C5-7E8E-B9A5-76289351C69D}"/>
          </ac:spMkLst>
        </pc:spChg>
        <pc:spChg chg="add del mod ord topLvl">
          <ac:chgData name="Nataliia Chornii (UA)" userId="4e4b8b3d-5f31-49bb-9f80-8a25c04abfff" providerId="ADAL" clId="{EE97D3FE-9ACA-4467-98E5-532EC45D9D1C}" dt="2024-03-01T09:09:55.370" v="7942" actId="478"/>
          <ac:spMkLst>
            <pc:docMk/>
            <pc:sldMk cId="2333946943" sldId="924"/>
            <ac:spMk id="58" creationId="{BD528CEF-757A-517C-A506-CCDB3B7253E6}"/>
          </ac:spMkLst>
        </pc:spChg>
        <pc:spChg chg="add mod ord">
          <ac:chgData name="Nataliia Chornii (UA)" userId="4e4b8b3d-5f31-49bb-9f80-8a25c04abfff" providerId="ADAL" clId="{EE97D3FE-9ACA-4467-98E5-532EC45D9D1C}" dt="2024-03-04T09:58:43.279" v="20192"/>
          <ac:spMkLst>
            <pc:docMk/>
            <pc:sldMk cId="2333946943" sldId="924"/>
            <ac:spMk id="59" creationId="{0B9A482D-D6B8-5CBF-C3DA-64F6DB0BD51D}"/>
          </ac:spMkLst>
        </pc:spChg>
        <pc:spChg chg="add mod ord">
          <ac:chgData name="Nataliia Chornii (UA)" userId="4e4b8b3d-5f31-49bb-9f80-8a25c04abfff" providerId="ADAL" clId="{EE97D3FE-9ACA-4467-98E5-532EC45D9D1C}" dt="2024-03-04T09:58:43.295" v="20202"/>
          <ac:spMkLst>
            <pc:docMk/>
            <pc:sldMk cId="2333946943" sldId="924"/>
            <ac:spMk id="60" creationId="{984E97C1-82FC-5159-8A6A-7060A68823FC}"/>
          </ac:spMkLst>
        </pc:spChg>
        <pc:spChg chg="add mod ord">
          <ac:chgData name="Nataliia Chornii (UA)" userId="4e4b8b3d-5f31-49bb-9f80-8a25c04abfff" providerId="ADAL" clId="{EE97D3FE-9ACA-4467-98E5-532EC45D9D1C}" dt="2024-03-04T09:58:43.279" v="20170"/>
          <ac:spMkLst>
            <pc:docMk/>
            <pc:sldMk cId="2333946943" sldId="924"/>
            <ac:spMk id="65" creationId="{6D2F5831-19CB-8E2E-E436-E08C83663D19}"/>
          </ac:spMkLst>
        </pc:spChg>
        <pc:spChg chg="add del mod">
          <ac:chgData name="Nataliia Chornii (UA)" userId="4e4b8b3d-5f31-49bb-9f80-8a25c04abfff" providerId="ADAL" clId="{EE97D3FE-9ACA-4467-98E5-532EC45D9D1C}" dt="2024-03-01T09:07:18.958" v="7861" actId="6264"/>
          <ac:spMkLst>
            <pc:docMk/>
            <pc:sldMk cId="2333946943" sldId="924"/>
            <ac:spMk id="66" creationId="{548F5B7E-0111-7D61-1B8C-D431DDE64BB0}"/>
          </ac:spMkLst>
        </pc:spChg>
        <pc:spChg chg="add del mod">
          <ac:chgData name="Nataliia Chornii (UA)" userId="4e4b8b3d-5f31-49bb-9f80-8a25c04abfff" providerId="ADAL" clId="{EE97D3FE-9ACA-4467-98E5-532EC45D9D1C}" dt="2024-03-01T09:07:18.958" v="7861" actId="6264"/>
          <ac:spMkLst>
            <pc:docMk/>
            <pc:sldMk cId="2333946943" sldId="924"/>
            <ac:spMk id="67" creationId="{74EFA1EC-4737-8405-548D-5B30CC7019A3}"/>
          </ac:spMkLst>
        </pc:spChg>
        <pc:spChg chg="add del mod">
          <ac:chgData name="Nataliia Chornii (UA)" userId="4e4b8b3d-5f31-49bb-9f80-8a25c04abfff" providerId="ADAL" clId="{EE97D3FE-9ACA-4467-98E5-532EC45D9D1C}" dt="2024-03-01T09:07:18.958" v="7861" actId="6264"/>
          <ac:spMkLst>
            <pc:docMk/>
            <pc:sldMk cId="2333946943" sldId="924"/>
            <ac:spMk id="68" creationId="{4291211E-3E3C-4A74-7B3B-10D7F83F1149}"/>
          </ac:spMkLst>
        </pc:spChg>
        <pc:spChg chg="add del mod modVis">
          <ac:chgData name="Nataliia Chornii (UA)" userId="4e4b8b3d-5f31-49bb-9f80-8a25c04abfff" providerId="ADAL" clId="{EE97D3FE-9ACA-4467-98E5-532EC45D9D1C}" dt="2024-03-01T09:07:19.528" v="7885"/>
          <ac:spMkLst>
            <pc:docMk/>
            <pc:sldMk cId="2333946943" sldId="924"/>
            <ac:spMk id="69" creationId="{859020BA-E61B-57DA-098E-2252FF764B1D}"/>
          </ac:spMkLst>
        </pc:spChg>
        <pc:spChg chg="mod">
          <ac:chgData name="Nataliia Chornii (UA)" userId="4e4b8b3d-5f31-49bb-9f80-8a25c04abfff" providerId="ADAL" clId="{EE97D3FE-9ACA-4467-98E5-532EC45D9D1C}" dt="2024-03-01T09:09:30.187" v="7936" actId="207"/>
          <ac:spMkLst>
            <pc:docMk/>
            <pc:sldMk cId="2333946943" sldId="924"/>
            <ac:spMk id="71" creationId="{D34374A7-1B6A-D536-0F71-C9F1AD33CB55}"/>
          </ac:spMkLst>
        </pc:spChg>
        <pc:spChg chg="mod">
          <ac:chgData name="Nataliia Chornii (UA)" userId="4e4b8b3d-5f31-49bb-9f80-8a25c04abfff" providerId="ADAL" clId="{EE97D3FE-9ACA-4467-98E5-532EC45D9D1C}" dt="2024-03-01T09:09:30.187" v="7936" actId="207"/>
          <ac:spMkLst>
            <pc:docMk/>
            <pc:sldMk cId="2333946943" sldId="924"/>
            <ac:spMk id="72" creationId="{D39FB951-ABE2-D3F5-60CF-99D55681B18D}"/>
          </ac:spMkLst>
        </pc:spChg>
        <pc:spChg chg="mod">
          <ac:chgData name="Nataliia Chornii (UA)" userId="4e4b8b3d-5f31-49bb-9f80-8a25c04abfff" providerId="ADAL" clId="{EE97D3FE-9ACA-4467-98E5-532EC45D9D1C}" dt="2024-03-01T09:09:30.187" v="7936" actId="207"/>
          <ac:spMkLst>
            <pc:docMk/>
            <pc:sldMk cId="2333946943" sldId="924"/>
            <ac:spMk id="74" creationId="{BC381A6F-70EF-C0FD-91F8-5ED4A23A8526}"/>
          </ac:spMkLst>
        </pc:spChg>
        <pc:spChg chg="mod">
          <ac:chgData name="Nataliia Chornii (UA)" userId="4e4b8b3d-5f31-49bb-9f80-8a25c04abfff" providerId="ADAL" clId="{EE97D3FE-9ACA-4467-98E5-532EC45D9D1C}" dt="2024-03-01T09:09:30.187" v="7936" actId="207"/>
          <ac:spMkLst>
            <pc:docMk/>
            <pc:sldMk cId="2333946943" sldId="924"/>
            <ac:spMk id="75" creationId="{A52302E0-D06F-B53F-6B9F-11F51A374695}"/>
          </ac:spMkLst>
        </pc:spChg>
        <pc:spChg chg="mod">
          <ac:chgData name="Nataliia Chornii (UA)" userId="4e4b8b3d-5f31-49bb-9f80-8a25c04abfff" providerId="ADAL" clId="{EE97D3FE-9ACA-4467-98E5-532EC45D9D1C}" dt="2024-03-01T09:09:30.187" v="7936" actId="207"/>
          <ac:spMkLst>
            <pc:docMk/>
            <pc:sldMk cId="2333946943" sldId="924"/>
            <ac:spMk id="76" creationId="{8E76314F-6ADE-03F0-022E-15E77BF01AC2}"/>
          </ac:spMkLst>
        </pc:spChg>
        <pc:spChg chg="mod">
          <ac:chgData name="Nataliia Chornii (UA)" userId="4e4b8b3d-5f31-49bb-9f80-8a25c04abfff" providerId="ADAL" clId="{EE97D3FE-9ACA-4467-98E5-532EC45D9D1C}" dt="2024-03-01T09:09:30.187" v="7936" actId="207"/>
          <ac:spMkLst>
            <pc:docMk/>
            <pc:sldMk cId="2333946943" sldId="924"/>
            <ac:spMk id="77" creationId="{995FAF05-38A3-6261-C723-70CC2C37EB43}"/>
          </ac:spMkLst>
        </pc:spChg>
        <pc:spChg chg="mod">
          <ac:chgData name="Nataliia Chornii (UA)" userId="4e4b8b3d-5f31-49bb-9f80-8a25c04abfff" providerId="ADAL" clId="{EE97D3FE-9ACA-4467-98E5-532EC45D9D1C}" dt="2024-03-01T09:09:30.187" v="7936" actId="207"/>
          <ac:spMkLst>
            <pc:docMk/>
            <pc:sldMk cId="2333946943" sldId="924"/>
            <ac:spMk id="78" creationId="{02526B0B-12FD-B0D4-93EC-F3E9E79038BC}"/>
          </ac:spMkLst>
        </pc:spChg>
        <pc:spChg chg="mod">
          <ac:chgData name="Nataliia Chornii (UA)" userId="4e4b8b3d-5f31-49bb-9f80-8a25c04abfff" providerId="ADAL" clId="{EE97D3FE-9ACA-4467-98E5-532EC45D9D1C}" dt="2024-03-01T09:09:30.187" v="7936" actId="207"/>
          <ac:spMkLst>
            <pc:docMk/>
            <pc:sldMk cId="2333946943" sldId="924"/>
            <ac:spMk id="79" creationId="{9C169017-F214-402F-7C37-2E157FEEBCBE}"/>
          </ac:spMkLst>
        </pc:spChg>
        <pc:spChg chg="mod">
          <ac:chgData name="Nataliia Chornii (UA)" userId="4e4b8b3d-5f31-49bb-9f80-8a25c04abfff" providerId="ADAL" clId="{EE97D3FE-9ACA-4467-98E5-532EC45D9D1C}" dt="2024-03-01T09:09:30.187" v="7936" actId="207"/>
          <ac:spMkLst>
            <pc:docMk/>
            <pc:sldMk cId="2333946943" sldId="924"/>
            <ac:spMk id="80" creationId="{D573D522-51DC-C17B-E97B-D31EAE9D45C3}"/>
          </ac:spMkLst>
        </pc:spChg>
        <pc:spChg chg="mod">
          <ac:chgData name="Nataliia Chornii (UA)" userId="4e4b8b3d-5f31-49bb-9f80-8a25c04abfff" providerId="ADAL" clId="{EE97D3FE-9ACA-4467-98E5-532EC45D9D1C}" dt="2024-03-01T09:09:30.187" v="7936" actId="207"/>
          <ac:spMkLst>
            <pc:docMk/>
            <pc:sldMk cId="2333946943" sldId="924"/>
            <ac:spMk id="81" creationId="{66E96757-69F4-73B6-A946-D3989AE3E897}"/>
          </ac:spMkLst>
        </pc:spChg>
        <pc:spChg chg="mod">
          <ac:chgData name="Nataliia Chornii (UA)" userId="4e4b8b3d-5f31-49bb-9f80-8a25c04abfff" providerId="ADAL" clId="{EE97D3FE-9ACA-4467-98E5-532EC45D9D1C}" dt="2024-03-01T09:09:30.187" v="7936" actId="207"/>
          <ac:spMkLst>
            <pc:docMk/>
            <pc:sldMk cId="2333946943" sldId="924"/>
            <ac:spMk id="82" creationId="{2C83EB92-89F8-1535-102D-C154CA3E17BD}"/>
          </ac:spMkLst>
        </pc:spChg>
        <pc:spChg chg="mod">
          <ac:chgData name="Nataliia Chornii (UA)" userId="4e4b8b3d-5f31-49bb-9f80-8a25c04abfff" providerId="ADAL" clId="{EE97D3FE-9ACA-4467-98E5-532EC45D9D1C}" dt="2024-03-01T09:09:30.187" v="7936" actId="207"/>
          <ac:spMkLst>
            <pc:docMk/>
            <pc:sldMk cId="2333946943" sldId="924"/>
            <ac:spMk id="83" creationId="{81771636-448E-D14D-8EFE-3F73ACC4E103}"/>
          </ac:spMkLst>
        </pc:spChg>
        <pc:spChg chg="mod">
          <ac:chgData name="Nataliia Chornii (UA)" userId="4e4b8b3d-5f31-49bb-9f80-8a25c04abfff" providerId="ADAL" clId="{EE97D3FE-9ACA-4467-98E5-532EC45D9D1C}" dt="2024-03-01T09:09:30.187" v="7936" actId="207"/>
          <ac:spMkLst>
            <pc:docMk/>
            <pc:sldMk cId="2333946943" sldId="924"/>
            <ac:spMk id="84" creationId="{DFB04E6B-F081-1CF1-EE6C-680BB43BBDDC}"/>
          </ac:spMkLst>
        </pc:spChg>
        <pc:spChg chg="mod">
          <ac:chgData name="Nataliia Chornii (UA)" userId="4e4b8b3d-5f31-49bb-9f80-8a25c04abfff" providerId="ADAL" clId="{EE97D3FE-9ACA-4467-98E5-532EC45D9D1C}" dt="2024-03-01T09:09:30.187" v="7936" actId="207"/>
          <ac:spMkLst>
            <pc:docMk/>
            <pc:sldMk cId="2333946943" sldId="924"/>
            <ac:spMk id="85" creationId="{DB2EBEDA-64D5-65F5-FAF7-F88B16923B7D}"/>
          </ac:spMkLst>
        </pc:spChg>
        <pc:spChg chg="mod">
          <ac:chgData name="Nataliia Chornii (UA)" userId="4e4b8b3d-5f31-49bb-9f80-8a25c04abfff" providerId="ADAL" clId="{EE97D3FE-9ACA-4467-98E5-532EC45D9D1C}" dt="2024-03-01T09:09:30.187" v="7936" actId="207"/>
          <ac:spMkLst>
            <pc:docMk/>
            <pc:sldMk cId="2333946943" sldId="924"/>
            <ac:spMk id="86" creationId="{CE18F176-A166-E494-ACCC-03BEEC7338ED}"/>
          </ac:spMkLst>
        </pc:spChg>
        <pc:spChg chg="mod">
          <ac:chgData name="Nataliia Chornii (UA)" userId="4e4b8b3d-5f31-49bb-9f80-8a25c04abfff" providerId="ADAL" clId="{EE97D3FE-9ACA-4467-98E5-532EC45D9D1C}" dt="2024-03-01T09:09:30.187" v="7936" actId="207"/>
          <ac:spMkLst>
            <pc:docMk/>
            <pc:sldMk cId="2333946943" sldId="924"/>
            <ac:spMk id="87" creationId="{20838420-654F-8F65-64D7-D387CAC2BFB8}"/>
          </ac:spMkLst>
        </pc:spChg>
        <pc:spChg chg="mod">
          <ac:chgData name="Nataliia Chornii (UA)" userId="4e4b8b3d-5f31-49bb-9f80-8a25c04abfff" providerId="ADAL" clId="{EE97D3FE-9ACA-4467-98E5-532EC45D9D1C}" dt="2024-03-01T09:09:30.187" v="7936" actId="207"/>
          <ac:spMkLst>
            <pc:docMk/>
            <pc:sldMk cId="2333946943" sldId="924"/>
            <ac:spMk id="88" creationId="{7F4F3E55-BB58-47FE-9429-A49FBF23A2B9}"/>
          </ac:spMkLst>
        </pc:spChg>
        <pc:spChg chg="mod">
          <ac:chgData name="Nataliia Chornii (UA)" userId="4e4b8b3d-5f31-49bb-9f80-8a25c04abfff" providerId="ADAL" clId="{EE97D3FE-9ACA-4467-98E5-532EC45D9D1C}" dt="2024-03-01T09:09:30.187" v="7936" actId="207"/>
          <ac:spMkLst>
            <pc:docMk/>
            <pc:sldMk cId="2333946943" sldId="924"/>
            <ac:spMk id="89" creationId="{BAAC3FF7-79DD-4C90-3798-133528A8D1CE}"/>
          </ac:spMkLst>
        </pc:spChg>
        <pc:spChg chg="add del mod ord">
          <ac:chgData name="Nataliia Chornii (UA)" userId="4e4b8b3d-5f31-49bb-9f80-8a25c04abfff" providerId="ADAL" clId="{EE97D3FE-9ACA-4467-98E5-532EC45D9D1C}" dt="2024-03-04T09:58:43.279" v="20196"/>
          <ac:spMkLst>
            <pc:docMk/>
            <pc:sldMk cId="2333946943" sldId="924"/>
            <ac:spMk id="90" creationId="{D00B4179-08F8-09B5-BD0A-9A04267AF1DF}"/>
          </ac:spMkLst>
        </pc:spChg>
        <pc:grpChg chg="add mod ord">
          <ac:chgData name="Nataliia Chornii (UA)" userId="4e4b8b3d-5f31-49bb-9f80-8a25c04abfff" providerId="ADAL" clId="{EE97D3FE-9ACA-4467-98E5-532EC45D9D1C}" dt="2024-03-04T09:58:43.279" v="20198"/>
          <ac:grpSpMkLst>
            <pc:docMk/>
            <pc:sldMk cId="2333946943" sldId="924"/>
            <ac:grpSpMk id="5" creationId="{F3DC2FB6-68B5-BA33-86F8-F122CDF00F85}"/>
          </ac:grpSpMkLst>
        </pc:grpChg>
        <pc:grpChg chg="add mod ord">
          <ac:chgData name="Nataliia Chornii (UA)" userId="4e4b8b3d-5f31-49bb-9f80-8a25c04abfff" providerId="ADAL" clId="{EE97D3FE-9ACA-4467-98E5-532EC45D9D1C}" dt="2024-03-04T09:58:43.279" v="20200"/>
          <ac:grpSpMkLst>
            <pc:docMk/>
            <pc:sldMk cId="2333946943" sldId="924"/>
            <ac:grpSpMk id="10" creationId="{7D8EE757-3407-A033-DB35-38C4C5E0D3CF}"/>
          </ac:grpSpMkLst>
        </pc:grpChg>
        <pc:grpChg chg="add del mod">
          <ac:chgData name="Nataliia Chornii (UA)" userId="4e4b8b3d-5f31-49bb-9f80-8a25c04abfff" providerId="ADAL" clId="{EE97D3FE-9ACA-4467-98E5-532EC45D9D1C}" dt="2024-03-11T14:07:11.413" v="23483" actId="165"/>
          <ac:grpSpMkLst>
            <pc:docMk/>
            <pc:sldMk cId="2333946943" sldId="924"/>
            <ac:grpSpMk id="35" creationId="{A8E0946C-1F10-28D6-DA05-3DF1185B65FA}"/>
          </ac:grpSpMkLst>
        </pc:grpChg>
        <pc:grpChg chg="add del mod">
          <ac:chgData name="Nataliia Chornii (UA)" userId="4e4b8b3d-5f31-49bb-9f80-8a25c04abfff" providerId="ADAL" clId="{EE97D3FE-9ACA-4467-98E5-532EC45D9D1C}" dt="2024-03-11T14:08:24.319" v="23499" actId="478"/>
          <ac:grpSpMkLst>
            <pc:docMk/>
            <pc:sldMk cId="2333946943" sldId="924"/>
            <ac:grpSpMk id="38" creationId="{DB229D72-3CEF-649B-1CB2-D69F96F8A294}"/>
          </ac:grpSpMkLst>
        </pc:grpChg>
        <pc:grpChg chg="add mod">
          <ac:chgData name="Nataliia Chornii (UA)" userId="4e4b8b3d-5f31-49bb-9f80-8a25c04abfff" providerId="ADAL" clId="{EE97D3FE-9ACA-4467-98E5-532EC45D9D1C}" dt="2024-03-11T14:20:46.724" v="23959"/>
          <ac:grpSpMkLst>
            <pc:docMk/>
            <pc:sldMk cId="2333946943" sldId="924"/>
            <ac:grpSpMk id="41" creationId="{92E09775-7CA5-5BE9-AF26-CCEC6FC9FEF4}"/>
          </ac:grpSpMkLst>
        </pc:grpChg>
        <pc:grpChg chg="add del mod ord">
          <ac:chgData name="Nataliia Chornii (UA)" userId="4e4b8b3d-5f31-49bb-9f80-8a25c04abfff" providerId="ADAL" clId="{EE97D3FE-9ACA-4467-98E5-532EC45D9D1C}" dt="2024-03-01T09:09:16.257" v="7932" actId="165"/>
          <ac:grpSpMkLst>
            <pc:docMk/>
            <pc:sldMk cId="2333946943" sldId="924"/>
            <ac:grpSpMk id="61" creationId="{90753E72-2AB6-E3AE-54DD-18F6D1465477}"/>
          </ac:grpSpMkLst>
        </pc:grpChg>
        <pc:grpChg chg="add del mod ord">
          <ac:chgData name="Nataliia Chornii (UA)" userId="4e4b8b3d-5f31-49bb-9f80-8a25c04abfff" providerId="ADAL" clId="{EE97D3FE-9ACA-4467-98E5-532EC45D9D1C}" dt="2024-03-01T09:09:16.257" v="7932" actId="165"/>
          <ac:grpSpMkLst>
            <pc:docMk/>
            <pc:sldMk cId="2333946943" sldId="924"/>
            <ac:grpSpMk id="62" creationId="{190E02FC-BDCE-2F28-80C0-C523985F502A}"/>
          </ac:grpSpMkLst>
        </pc:grpChg>
        <pc:grpChg chg="add del mod ord">
          <ac:chgData name="Nataliia Chornii (UA)" userId="4e4b8b3d-5f31-49bb-9f80-8a25c04abfff" providerId="ADAL" clId="{EE97D3FE-9ACA-4467-98E5-532EC45D9D1C}" dt="2024-03-04T09:58:36.807" v="20144" actId="478"/>
          <ac:grpSpMkLst>
            <pc:docMk/>
            <pc:sldMk cId="2333946943" sldId="924"/>
            <ac:grpSpMk id="70" creationId="{83669080-4BBD-9D92-7057-BD1D5C951086}"/>
          </ac:grpSpMkLst>
        </pc:grpChg>
        <pc:grpChg chg="add del mod ord">
          <ac:chgData name="Nataliia Chornii (UA)" userId="4e4b8b3d-5f31-49bb-9f80-8a25c04abfff" providerId="ADAL" clId="{EE97D3FE-9ACA-4467-98E5-532EC45D9D1C}" dt="2024-03-04T09:58:38.261" v="20145" actId="478"/>
          <ac:grpSpMkLst>
            <pc:docMk/>
            <pc:sldMk cId="2333946943" sldId="924"/>
            <ac:grpSpMk id="73" creationId="{0C702113-331F-4838-1EC1-E3ED0C81E4B7}"/>
          </ac:grpSpMkLst>
        </pc:grpChg>
        <pc:graphicFrameChg chg="add mod ord modVis replST">
          <ac:chgData name="Nataliia Chornii (UA)" userId="4e4b8b3d-5f31-49bb-9f80-8a25c04abfff" providerId="ADAL" clId="{EE97D3FE-9ACA-4467-98E5-532EC45D9D1C}" dt="2024-03-11T14:20:31.068" v="23953"/>
          <ac:graphicFrameMkLst>
            <pc:docMk/>
            <pc:sldMk cId="2333946943" sldId="924"/>
            <ac:graphicFrameMk id="13" creationId="{DC2DF85F-5191-4C4E-A171-D5D7BF03C769}"/>
          </ac:graphicFrameMkLst>
        </pc:graphicFrameChg>
        <pc:picChg chg="add mod ord modCrop">
          <ac:chgData name="Nataliia Chornii (UA)" userId="4e4b8b3d-5f31-49bb-9f80-8a25c04abfff" providerId="ADAL" clId="{EE97D3FE-9ACA-4467-98E5-532EC45D9D1C}" dt="2024-03-04T09:58:43.274" v="20168"/>
          <ac:picMkLst>
            <pc:docMk/>
            <pc:sldMk cId="2333946943" sldId="924"/>
            <ac:picMk id="64" creationId="{36D90A11-D58F-ADC1-FEA3-0420A9354C0F}"/>
          </ac:picMkLst>
        </pc:picChg>
      </pc:sldChg>
      <pc:sldChg chg="modSp add del mod">
        <pc:chgData name="Nataliia Chornii (UA)" userId="4e4b8b3d-5f31-49bb-9f80-8a25c04abfff" providerId="ADAL" clId="{EE97D3FE-9ACA-4467-98E5-532EC45D9D1C}" dt="2024-03-01T08:28:24.608" v="149" actId="47"/>
        <pc:sldMkLst>
          <pc:docMk/>
          <pc:sldMk cId="2657590379" sldId="925"/>
        </pc:sldMkLst>
        <pc:spChg chg="mod">
          <ac:chgData name="Nataliia Chornii (UA)" userId="4e4b8b3d-5f31-49bb-9f80-8a25c04abfff" providerId="ADAL" clId="{EE97D3FE-9ACA-4467-98E5-532EC45D9D1C}" dt="2024-03-01T08:27:18.630" v="1"/>
          <ac:spMkLst>
            <pc:docMk/>
            <pc:sldMk cId="2657590379" sldId="925"/>
            <ac:spMk id="12" creationId="{03235C0C-4E25-DCDB-7AAF-D34D32C9063E}"/>
          </ac:spMkLst>
        </pc:spChg>
        <pc:spChg chg="mod">
          <ac:chgData name="Nataliia Chornii (UA)" userId="4e4b8b3d-5f31-49bb-9f80-8a25c04abfff" providerId="ADAL" clId="{EE97D3FE-9ACA-4467-98E5-532EC45D9D1C}" dt="2024-03-01T08:27:54.314" v="85" actId="554"/>
          <ac:spMkLst>
            <pc:docMk/>
            <pc:sldMk cId="2657590379" sldId="925"/>
            <ac:spMk id="22" creationId="{1DD6BAA7-6B8B-B5D1-983C-47F7088D2D65}"/>
          </ac:spMkLst>
        </pc:spChg>
      </pc:sldChg>
      <pc:sldChg chg="addSp delSp modSp add mod">
        <pc:chgData name="Nataliia Chornii (UA)" userId="4e4b8b3d-5f31-49bb-9f80-8a25c04abfff" providerId="ADAL" clId="{EE97D3FE-9ACA-4467-98E5-532EC45D9D1C}" dt="2024-03-01T08:52:29.642" v="6894" actId="207"/>
        <pc:sldMkLst>
          <pc:docMk/>
          <pc:sldMk cId="4107124933" sldId="925"/>
        </pc:sldMkLst>
        <pc:spChg chg="mod ord">
          <ac:chgData name="Nataliia Chornii (UA)" userId="4e4b8b3d-5f31-49bb-9f80-8a25c04abfff" providerId="ADAL" clId="{EE97D3FE-9ACA-4467-98E5-532EC45D9D1C}" dt="2024-03-01T08:52:18.202" v="6707" actId="948"/>
          <ac:spMkLst>
            <pc:docMk/>
            <pc:sldMk cId="4107124933" sldId="925"/>
            <ac:spMk id="2" creationId="{00000000-0000-0000-0000-000000000000}"/>
          </ac:spMkLst>
        </pc:spChg>
        <pc:spChg chg="add del mod">
          <ac:chgData name="Nataliia Chornii (UA)" userId="4e4b8b3d-5f31-49bb-9f80-8a25c04abfff" providerId="ADAL" clId="{EE97D3FE-9ACA-4467-98E5-532EC45D9D1C}" dt="2024-03-01T08:42:42.153" v="268" actId="931"/>
          <ac:spMkLst>
            <pc:docMk/>
            <pc:sldMk cId="4107124933" sldId="925"/>
            <ac:spMk id="4" creationId="{88032EAD-8494-19AF-D316-E0ECE9EEFBF6}"/>
          </ac:spMkLst>
        </pc:spChg>
        <pc:spChg chg="mod ord">
          <ac:chgData name="Nataliia Chornii (UA)" userId="4e4b8b3d-5f31-49bb-9f80-8a25c04abfff" providerId="ADAL" clId="{EE97D3FE-9ACA-4467-98E5-532EC45D9D1C}" dt="2024-03-01T08:52:29.642" v="6894" actId="207"/>
          <ac:spMkLst>
            <pc:docMk/>
            <pc:sldMk cId="4107124933" sldId="925"/>
            <ac:spMk id="20" creationId="{DA4789A9-B8AF-52BF-5DEF-333466FE31C0}"/>
          </ac:spMkLst>
        </pc:spChg>
        <pc:spChg chg="mod ord">
          <ac:chgData name="Nataliia Chornii (UA)" userId="4e4b8b3d-5f31-49bb-9f80-8a25c04abfff" providerId="ADAL" clId="{EE97D3FE-9ACA-4467-98E5-532EC45D9D1C}" dt="2024-03-01T08:42:43.163" v="277"/>
          <ac:spMkLst>
            <pc:docMk/>
            <pc:sldMk cId="4107124933" sldId="925"/>
            <ac:spMk id="22" creationId="{DA09306E-3C26-7BF8-5FB5-F7E3D80F89C9}"/>
          </ac:spMkLst>
        </pc:spChg>
        <pc:spChg chg="mod ord">
          <ac:chgData name="Nataliia Chornii (UA)" userId="4e4b8b3d-5f31-49bb-9f80-8a25c04abfff" providerId="ADAL" clId="{EE97D3FE-9ACA-4467-98E5-532EC45D9D1C}" dt="2024-03-01T08:42:43.163" v="279"/>
          <ac:spMkLst>
            <pc:docMk/>
            <pc:sldMk cId="4107124933" sldId="925"/>
            <ac:spMk id="23" creationId="{B97F3C75-3AEC-3E9F-4D71-CA8C30F9835E}"/>
          </ac:spMkLst>
        </pc:spChg>
        <pc:spChg chg="mod ord">
          <ac:chgData name="Nataliia Chornii (UA)" userId="4e4b8b3d-5f31-49bb-9f80-8a25c04abfff" providerId="ADAL" clId="{EE97D3FE-9ACA-4467-98E5-532EC45D9D1C}" dt="2024-03-01T08:42:43.163" v="281"/>
          <ac:spMkLst>
            <pc:docMk/>
            <pc:sldMk cId="4107124933" sldId="925"/>
            <ac:spMk id="24" creationId="{E15793DA-AFC4-2E3B-FDAA-EF33B0365B71}"/>
          </ac:spMkLst>
        </pc:spChg>
        <pc:spChg chg="mod ord">
          <ac:chgData name="Nataliia Chornii (UA)" userId="4e4b8b3d-5f31-49bb-9f80-8a25c04abfff" providerId="ADAL" clId="{EE97D3FE-9ACA-4467-98E5-532EC45D9D1C}" dt="2024-03-01T08:42:43.170" v="283"/>
          <ac:spMkLst>
            <pc:docMk/>
            <pc:sldMk cId="4107124933" sldId="925"/>
            <ac:spMk id="25" creationId="{BFEDB8CC-ED47-80DF-F3C0-E0FEEBA29F85}"/>
          </ac:spMkLst>
        </pc:spChg>
        <pc:spChg chg="mod ord">
          <ac:chgData name="Nataliia Chornii (UA)" userId="4e4b8b3d-5f31-49bb-9f80-8a25c04abfff" providerId="ADAL" clId="{EE97D3FE-9ACA-4467-98E5-532EC45D9D1C}" dt="2024-03-01T08:42:43.173" v="285"/>
          <ac:spMkLst>
            <pc:docMk/>
            <pc:sldMk cId="4107124933" sldId="925"/>
            <ac:spMk id="26" creationId="{05E5DEE3-D3C2-1E81-B086-939B3E36E0E1}"/>
          </ac:spMkLst>
        </pc:spChg>
        <pc:graphicFrameChg chg="mod">
          <ac:chgData name="Nataliia Chornii (UA)" userId="4e4b8b3d-5f31-49bb-9f80-8a25c04abfff" providerId="ADAL" clId="{EE97D3FE-9ACA-4467-98E5-532EC45D9D1C}" dt="2024-03-01T08:52:18.423" v="6893"/>
          <ac:graphicFrameMkLst>
            <pc:docMk/>
            <pc:sldMk cId="4107124933" sldId="925"/>
            <ac:graphicFrameMk id="16" creationId="{8B5F8EBF-52CC-2EDB-41E8-3667D4E9C17E}"/>
          </ac:graphicFrameMkLst>
        </pc:graphicFrameChg>
        <pc:picChg chg="add mod ord">
          <ac:chgData name="Nataliia Chornii (UA)" userId="4e4b8b3d-5f31-49bb-9f80-8a25c04abfff" providerId="ADAL" clId="{EE97D3FE-9ACA-4467-98E5-532EC45D9D1C}" dt="2024-03-01T08:42:43.156" v="271"/>
          <ac:picMkLst>
            <pc:docMk/>
            <pc:sldMk cId="4107124933" sldId="925"/>
            <ac:picMk id="6" creationId="{DDDC1DA9-F0F8-4EDF-4943-D6FC81AF432D}"/>
          </ac:picMkLst>
        </pc:picChg>
        <pc:picChg chg="del mod ord">
          <ac:chgData name="Nataliia Chornii (UA)" userId="4e4b8b3d-5f31-49bb-9f80-8a25c04abfff" providerId="ADAL" clId="{EE97D3FE-9ACA-4467-98E5-532EC45D9D1C}" dt="2024-03-01T08:32:39.386" v="234" actId="478"/>
          <ac:picMkLst>
            <pc:docMk/>
            <pc:sldMk cId="4107124933" sldId="925"/>
            <ac:picMk id="18" creationId="{26D02910-881C-50EE-F448-D03745506520}"/>
          </ac:picMkLst>
        </pc:picChg>
      </pc:sldChg>
      <pc:sldChg chg="addSp delSp modSp add mod">
        <pc:chgData name="Nataliia Chornii (UA)" userId="4e4b8b3d-5f31-49bb-9f80-8a25c04abfff" providerId="ADAL" clId="{EE97D3FE-9ACA-4467-98E5-532EC45D9D1C}" dt="2024-03-01T09:12:50.512" v="8065"/>
        <pc:sldMkLst>
          <pc:docMk/>
          <pc:sldMk cId="76717427" sldId="926"/>
        </pc:sldMkLst>
        <pc:spChg chg="mod ord">
          <ac:chgData name="Nataliia Chornii (UA)" userId="4e4b8b3d-5f31-49bb-9f80-8a25c04abfff" providerId="ADAL" clId="{EE97D3FE-9ACA-4467-98E5-532EC45D9D1C}" dt="2024-03-01T09:12:50.500" v="8051"/>
          <ac:spMkLst>
            <pc:docMk/>
            <pc:sldMk cId="76717427" sldId="926"/>
            <ac:spMk id="2" creationId="{00000000-0000-0000-0000-000000000000}"/>
          </ac:spMkLst>
        </pc:spChg>
        <pc:spChg chg="add del mod modVis">
          <ac:chgData name="Nataliia Chornii (UA)" userId="4e4b8b3d-5f31-49bb-9f80-8a25c04abfff" providerId="ADAL" clId="{EE97D3FE-9ACA-4467-98E5-532EC45D9D1C}" dt="2024-03-01T09:12:40.722" v="8040"/>
          <ac:spMkLst>
            <pc:docMk/>
            <pc:sldMk cId="76717427" sldId="926"/>
            <ac:spMk id="3" creationId="{AC7F549D-316C-DA2D-264C-BA60CE706DA2}"/>
          </ac:spMkLst>
        </pc:spChg>
        <pc:spChg chg="add del mod">
          <ac:chgData name="Nataliia Chornii (UA)" userId="4e4b8b3d-5f31-49bb-9f80-8a25c04abfff" providerId="ADAL" clId="{EE97D3FE-9ACA-4467-98E5-532EC45D9D1C}" dt="2024-03-01T09:12:49.588" v="8044" actId="931"/>
          <ac:spMkLst>
            <pc:docMk/>
            <pc:sldMk cId="76717427" sldId="926"/>
            <ac:spMk id="5" creationId="{DF7E6CF0-77D4-87B5-CEEA-9280CD624CE8}"/>
          </ac:spMkLst>
        </pc:spChg>
        <pc:spChg chg="mod ord">
          <ac:chgData name="Nataliia Chornii (UA)" userId="4e4b8b3d-5f31-49bb-9f80-8a25c04abfff" providerId="ADAL" clId="{EE97D3FE-9ACA-4467-98E5-532EC45D9D1C}" dt="2024-03-01T09:12:50.500" v="8049"/>
          <ac:spMkLst>
            <pc:docMk/>
            <pc:sldMk cId="76717427" sldId="926"/>
            <ac:spMk id="20" creationId="{DA4789A9-B8AF-52BF-5DEF-333466FE31C0}"/>
          </ac:spMkLst>
        </pc:spChg>
        <pc:spChg chg="mod ord">
          <ac:chgData name="Nataliia Chornii (UA)" userId="4e4b8b3d-5f31-49bb-9f80-8a25c04abfff" providerId="ADAL" clId="{EE97D3FE-9ACA-4467-98E5-532EC45D9D1C}" dt="2024-03-01T09:12:50.500" v="8053"/>
          <ac:spMkLst>
            <pc:docMk/>
            <pc:sldMk cId="76717427" sldId="926"/>
            <ac:spMk id="22" creationId="{DA09306E-3C26-7BF8-5FB5-F7E3D80F89C9}"/>
          </ac:spMkLst>
        </pc:spChg>
        <pc:spChg chg="mod ord">
          <ac:chgData name="Nataliia Chornii (UA)" userId="4e4b8b3d-5f31-49bb-9f80-8a25c04abfff" providerId="ADAL" clId="{EE97D3FE-9ACA-4467-98E5-532EC45D9D1C}" dt="2024-03-01T09:12:50.500" v="8055"/>
          <ac:spMkLst>
            <pc:docMk/>
            <pc:sldMk cId="76717427" sldId="926"/>
            <ac:spMk id="23" creationId="{B97F3C75-3AEC-3E9F-4D71-CA8C30F9835E}"/>
          </ac:spMkLst>
        </pc:spChg>
        <pc:spChg chg="mod ord">
          <ac:chgData name="Nataliia Chornii (UA)" userId="4e4b8b3d-5f31-49bb-9f80-8a25c04abfff" providerId="ADAL" clId="{EE97D3FE-9ACA-4467-98E5-532EC45D9D1C}" dt="2024-03-01T09:12:50.500" v="8057"/>
          <ac:spMkLst>
            <pc:docMk/>
            <pc:sldMk cId="76717427" sldId="926"/>
            <ac:spMk id="24" creationId="{E15793DA-AFC4-2E3B-FDAA-EF33B0365B71}"/>
          </ac:spMkLst>
        </pc:spChg>
        <pc:spChg chg="mod ord">
          <ac:chgData name="Nataliia Chornii (UA)" userId="4e4b8b3d-5f31-49bb-9f80-8a25c04abfff" providerId="ADAL" clId="{EE97D3FE-9ACA-4467-98E5-532EC45D9D1C}" dt="2024-03-01T09:12:50.507" v="8059"/>
          <ac:spMkLst>
            <pc:docMk/>
            <pc:sldMk cId="76717427" sldId="926"/>
            <ac:spMk id="25" creationId="{BFEDB8CC-ED47-80DF-F3C0-E0FEEBA29F85}"/>
          </ac:spMkLst>
        </pc:spChg>
        <pc:spChg chg="mod ord">
          <ac:chgData name="Nataliia Chornii (UA)" userId="4e4b8b3d-5f31-49bb-9f80-8a25c04abfff" providerId="ADAL" clId="{EE97D3FE-9ACA-4467-98E5-532EC45D9D1C}" dt="2024-03-01T09:12:50.508" v="8061"/>
          <ac:spMkLst>
            <pc:docMk/>
            <pc:sldMk cId="76717427" sldId="926"/>
            <ac:spMk id="26" creationId="{05E5DEE3-D3C2-1E81-B086-939B3E36E0E1}"/>
          </ac:spMkLst>
        </pc:spChg>
        <pc:graphicFrameChg chg="mod">
          <ac:chgData name="Nataliia Chornii (UA)" userId="4e4b8b3d-5f31-49bb-9f80-8a25c04abfff" providerId="ADAL" clId="{EE97D3FE-9ACA-4467-98E5-532EC45D9D1C}" dt="2024-03-01T09:12:50.512" v="8065"/>
          <ac:graphicFrameMkLst>
            <pc:docMk/>
            <pc:sldMk cId="76717427" sldId="926"/>
            <ac:graphicFrameMk id="16" creationId="{8B5F8EBF-52CC-2EDB-41E8-3667D4E9C17E}"/>
          </ac:graphicFrameMkLst>
        </pc:graphicFrameChg>
        <pc:picChg chg="del">
          <ac:chgData name="Nataliia Chornii (UA)" userId="4e4b8b3d-5f31-49bb-9f80-8a25c04abfff" providerId="ADAL" clId="{EE97D3FE-9ACA-4467-98E5-532EC45D9D1C}" dt="2024-03-01T09:12:42.157" v="8043" actId="478"/>
          <ac:picMkLst>
            <pc:docMk/>
            <pc:sldMk cId="76717427" sldId="926"/>
            <ac:picMk id="6" creationId="{DDDC1DA9-F0F8-4EDF-4943-D6FC81AF432D}"/>
          </ac:picMkLst>
        </pc:picChg>
        <pc:picChg chg="add mod ord">
          <ac:chgData name="Nataliia Chornii (UA)" userId="4e4b8b3d-5f31-49bb-9f80-8a25c04abfff" providerId="ADAL" clId="{EE97D3FE-9ACA-4467-98E5-532EC45D9D1C}" dt="2024-03-01T09:12:50.500" v="8047"/>
          <ac:picMkLst>
            <pc:docMk/>
            <pc:sldMk cId="76717427" sldId="926"/>
            <ac:picMk id="8" creationId="{C12A4605-BDCD-3C9E-973D-5EC378636C7E}"/>
          </ac:picMkLst>
        </pc:picChg>
      </pc:sldChg>
      <pc:sldChg chg="add del">
        <pc:chgData name="Nataliia Chornii (UA)" userId="4e4b8b3d-5f31-49bb-9f80-8a25c04abfff" providerId="ADAL" clId="{EE97D3FE-9ACA-4467-98E5-532EC45D9D1C}" dt="2024-03-01T09:22:29.560" v="8284" actId="2696"/>
        <pc:sldMkLst>
          <pc:docMk/>
          <pc:sldMk cId="1826375005" sldId="927"/>
        </pc:sldMkLst>
      </pc:sldChg>
      <pc:sldChg chg="addSp delSp modSp add mod">
        <pc:chgData name="Nataliia Chornii (UA)" userId="4e4b8b3d-5f31-49bb-9f80-8a25c04abfff" providerId="ADAL" clId="{EE97D3FE-9ACA-4467-98E5-532EC45D9D1C}" dt="2024-03-01T09:51:17.623" v="9250"/>
        <pc:sldMkLst>
          <pc:docMk/>
          <pc:sldMk cId="4266541344" sldId="927"/>
        </pc:sldMkLst>
        <pc:spChg chg="mod ord">
          <ac:chgData name="Nataliia Chornii (UA)" userId="4e4b8b3d-5f31-49bb-9f80-8a25c04abfff" providerId="ADAL" clId="{EE97D3FE-9ACA-4467-98E5-532EC45D9D1C}" dt="2024-03-01T09:51:17.606" v="9236"/>
          <ac:spMkLst>
            <pc:docMk/>
            <pc:sldMk cId="4266541344" sldId="927"/>
            <ac:spMk id="2" creationId="{00000000-0000-0000-0000-000000000000}"/>
          </ac:spMkLst>
        </pc:spChg>
        <pc:spChg chg="add del mod modVis">
          <ac:chgData name="Nataliia Chornii (UA)" userId="4e4b8b3d-5f31-49bb-9f80-8a25c04abfff" providerId="ADAL" clId="{EE97D3FE-9ACA-4467-98E5-532EC45D9D1C}" dt="2024-03-01T09:51:02.437" v="9197"/>
          <ac:spMkLst>
            <pc:docMk/>
            <pc:sldMk cId="4266541344" sldId="927"/>
            <ac:spMk id="3" creationId="{DE9FCFB9-47E5-5F6F-EA3B-0441FC07D6A0}"/>
          </ac:spMkLst>
        </pc:spChg>
        <pc:spChg chg="add del mod modVis">
          <ac:chgData name="Nataliia Chornii (UA)" userId="4e4b8b3d-5f31-49bb-9f80-8a25c04abfff" providerId="ADAL" clId="{EE97D3FE-9ACA-4467-98E5-532EC45D9D1C}" dt="2024-03-01T09:51:04.583" v="9224"/>
          <ac:spMkLst>
            <pc:docMk/>
            <pc:sldMk cId="4266541344" sldId="927"/>
            <ac:spMk id="4" creationId="{2DFA5E78-F2B1-1024-DE7C-606017E05D0D}"/>
          </ac:spMkLst>
        </pc:spChg>
        <pc:spChg chg="add del mod">
          <ac:chgData name="Nataliia Chornii (UA)" userId="4e4b8b3d-5f31-49bb-9f80-8a25c04abfff" providerId="ADAL" clId="{EE97D3FE-9ACA-4467-98E5-532EC45D9D1C}" dt="2024-03-01T09:51:16.502" v="9229" actId="931"/>
          <ac:spMkLst>
            <pc:docMk/>
            <pc:sldMk cId="4266541344" sldId="927"/>
            <ac:spMk id="7" creationId="{299C233A-1408-25FB-1039-4F5D3A23FEC6}"/>
          </ac:spMkLst>
        </pc:spChg>
        <pc:spChg chg="mod ord">
          <ac:chgData name="Nataliia Chornii (UA)" userId="4e4b8b3d-5f31-49bb-9f80-8a25c04abfff" providerId="ADAL" clId="{EE97D3FE-9ACA-4467-98E5-532EC45D9D1C}" dt="2024-03-01T09:51:17.606" v="9234"/>
          <ac:spMkLst>
            <pc:docMk/>
            <pc:sldMk cId="4266541344" sldId="927"/>
            <ac:spMk id="20" creationId="{DA4789A9-B8AF-52BF-5DEF-333466FE31C0}"/>
          </ac:spMkLst>
        </pc:spChg>
        <pc:spChg chg="mod ord">
          <ac:chgData name="Nataliia Chornii (UA)" userId="4e4b8b3d-5f31-49bb-9f80-8a25c04abfff" providerId="ADAL" clId="{EE97D3FE-9ACA-4467-98E5-532EC45D9D1C}" dt="2024-03-01T09:51:17.606" v="9238"/>
          <ac:spMkLst>
            <pc:docMk/>
            <pc:sldMk cId="4266541344" sldId="927"/>
            <ac:spMk id="22" creationId="{DA09306E-3C26-7BF8-5FB5-F7E3D80F89C9}"/>
          </ac:spMkLst>
        </pc:spChg>
        <pc:spChg chg="mod ord">
          <ac:chgData name="Nataliia Chornii (UA)" userId="4e4b8b3d-5f31-49bb-9f80-8a25c04abfff" providerId="ADAL" clId="{EE97D3FE-9ACA-4467-98E5-532EC45D9D1C}" dt="2024-03-01T09:51:17.606" v="9240"/>
          <ac:spMkLst>
            <pc:docMk/>
            <pc:sldMk cId="4266541344" sldId="927"/>
            <ac:spMk id="23" creationId="{B97F3C75-3AEC-3E9F-4D71-CA8C30F9835E}"/>
          </ac:spMkLst>
        </pc:spChg>
        <pc:spChg chg="mod ord">
          <ac:chgData name="Nataliia Chornii (UA)" userId="4e4b8b3d-5f31-49bb-9f80-8a25c04abfff" providerId="ADAL" clId="{EE97D3FE-9ACA-4467-98E5-532EC45D9D1C}" dt="2024-03-01T09:51:17.622" v="9242"/>
          <ac:spMkLst>
            <pc:docMk/>
            <pc:sldMk cId="4266541344" sldId="927"/>
            <ac:spMk id="24" creationId="{E15793DA-AFC4-2E3B-FDAA-EF33B0365B71}"/>
          </ac:spMkLst>
        </pc:spChg>
        <pc:spChg chg="mod ord">
          <ac:chgData name="Nataliia Chornii (UA)" userId="4e4b8b3d-5f31-49bb-9f80-8a25c04abfff" providerId="ADAL" clId="{EE97D3FE-9ACA-4467-98E5-532EC45D9D1C}" dt="2024-03-01T09:51:17.623" v="9244"/>
          <ac:spMkLst>
            <pc:docMk/>
            <pc:sldMk cId="4266541344" sldId="927"/>
            <ac:spMk id="25" creationId="{BFEDB8CC-ED47-80DF-F3C0-E0FEEBA29F85}"/>
          </ac:spMkLst>
        </pc:spChg>
        <pc:spChg chg="mod ord">
          <ac:chgData name="Nataliia Chornii (UA)" userId="4e4b8b3d-5f31-49bb-9f80-8a25c04abfff" providerId="ADAL" clId="{EE97D3FE-9ACA-4467-98E5-532EC45D9D1C}" dt="2024-03-01T09:51:17.623" v="9246"/>
          <ac:spMkLst>
            <pc:docMk/>
            <pc:sldMk cId="4266541344" sldId="927"/>
            <ac:spMk id="26" creationId="{05E5DEE3-D3C2-1E81-B086-939B3E36E0E1}"/>
          </ac:spMkLst>
        </pc:spChg>
        <pc:graphicFrameChg chg="mod">
          <ac:chgData name="Nataliia Chornii (UA)" userId="4e4b8b3d-5f31-49bb-9f80-8a25c04abfff" providerId="ADAL" clId="{EE97D3FE-9ACA-4467-98E5-532EC45D9D1C}" dt="2024-03-01T09:51:17.623" v="9250"/>
          <ac:graphicFrameMkLst>
            <pc:docMk/>
            <pc:sldMk cId="4266541344" sldId="927"/>
            <ac:graphicFrameMk id="16" creationId="{8B5F8EBF-52CC-2EDB-41E8-3667D4E9C17E}"/>
          </ac:graphicFrameMkLst>
        </pc:graphicFrameChg>
        <pc:picChg chg="del">
          <ac:chgData name="Nataliia Chornii (UA)" userId="4e4b8b3d-5f31-49bb-9f80-8a25c04abfff" providerId="ADAL" clId="{EE97D3FE-9ACA-4467-98E5-532EC45D9D1C}" dt="2024-03-01T09:51:08.728" v="9228" actId="478"/>
          <ac:picMkLst>
            <pc:docMk/>
            <pc:sldMk cId="4266541344" sldId="927"/>
            <ac:picMk id="6" creationId="{DDDC1DA9-F0F8-4EDF-4943-D6FC81AF432D}"/>
          </ac:picMkLst>
        </pc:picChg>
        <pc:picChg chg="add mod ord">
          <ac:chgData name="Nataliia Chornii (UA)" userId="4e4b8b3d-5f31-49bb-9f80-8a25c04abfff" providerId="ADAL" clId="{EE97D3FE-9ACA-4467-98E5-532EC45D9D1C}" dt="2024-03-01T09:51:17.606" v="9232"/>
          <ac:picMkLst>
            <pc:docMk/>
            <pc:sldMk cId="4266541344" sldId="927"/>
            <ac:picMk id="9" creationId="{A46ED85B-107A-74E8-BADB-2F92835F9215}"/>
          </ac:picMkLst>
        </pc:picChg>
      </pc:sldChg>
      <pc:sldChg chg="addSp delSp modSp add mod">
        <pc:chgData name="Nataliia Chornii (UA)" userId="4e4b8b3d-5f31-49bb-9f80-8a25c04abfff" providerId="ADAL" clId="{EE97D3FE-9ACA-4467-98E5-532EC45D9D1C}" dt="2024-03-01T14:34:07.745" v="15150"/>
        <pc:sldMkLst>
          <pc:docMk/>
          <pc:sldMk cId="2463822678" sldId="928"/>
        </pc:sldMkLst>
        <pc:spChg chg="mod ord">
          <ac:chgData name="Nataliia Chornii (UA)" userId="4e4b8b3d-5f31-49bb-9f80-8a25c04abfff" providerId="ADAL" clId="{EE97D3FE-9ACA-4467-98E5-532EC45D9D1C}" dt="2024-03-01T14:34:07.729" v="15134"/>
          <ac:spMkLst>
            <pc:docMk/>
            <pc:sldMk cId="2463822678" sldId="928"/>
            <ac:spMk id="2" creationId="{00000000-0000-0000-0000-000000000000}"/>
          </ac:spMkLst>
        </pc:spChg>
        <pc:spChg chg="add del mod modVis">
          <ac:chgData name="Nataliia Chornii (UA)" userId="4e4b8b3d-5f31-49bb-9f80-8a25c04abfff" providerId="ADAL" clId="{EE97D3FE-9ACA-4467-98E5-532EC45D9D1C}" dt="2024-03-01T10:38:58.794" v="10338"/>
          <ac:spMkLst>
            <pc:docMk/>
            <pc:sldMk cId="2463822678" sldId="928"/>
            <ac:spMk id="3" creationId="{F5D100C9-36CA-1A11-E37D-01F708B83121}"/>
          </ac:spMkLst>
        </pc:spChg>
        <pc:spChg chg="add del mod">
          <ac:chgData name="Nataliia Chornii (UA)" userId="4e4b8b3d-5f31-49bb-9f80-8a25c04abfff" providerId="ADAL" clId="{EE97D3FE-9ACA-4467-98E5-532EC45D9D1C}" dt="2024-03-01T14:33:49.962" v="15071" actId="931"/>
          <ac:spMkLst>
            <pc:docMk/>
            <pc:sldMk cId="2463822678" sldId="928"/>
            <ac:spMk id="5" creationId="{6648707C-80CD-780E-D197-F56BE431FFF5}"/>
          </ac:spMkLst>
        </pc:spChg>
        <pc:spChg chg="add del mod modVis">
          <ac:chgData name="Nataliia Chornii (UA)" userId="4e4b8b3d-5f31-49bb-9f80-8a25c04abfff" providerId="ADAL" clId="{EE97D3FE-9ACA-4467-98E5-532EC45D9D1C}" dt="2024-03-01T10:39:06.256" v="10367"/>
          <ac:spMkLst>
            <pc:docMk/>
            <pc:sldMk cId="2463822678" sldId="928"/>
            <ac:spMk id="6" creationId="{15428645-5E4A-A568-CA86-B312C4FE3AA6}"/>
          </ac:spMkLst>
        </pc:spChg>
        <pc:spChg chg="add del mod">
          <ac:chgData name="Nataliia Chornii (UA)" userId="4e4b8b3d-5f31-49bb-9f80-8a25c04abfff" providerId="ADAL" clId="{EE97D3FE-9ACA-4467-98E5-532EC45D9D1C}" dt="2024-03-01T14:34:06.776" v="15108" actId="931"/>
          <ac:spMkLst>
            <pc:docMk/>
            <pc:sldMk cId="2463822678" sldId="928"/>
            <ac:spMk id="11" creationId="{B1D6313D-5B07-DAD3-BEDD-A36033137E23}"/>
          </ac:spMkLst>
        </pc:spChg>
        <pc:spChg chg="add del mod modVis">
          <ac:chgData name="Nataliia Chornii (UA)" userId="4e4b8b3d-5f31-49bb-9f80-8a25c04abfff" providerId="ADAL" clId="{EE97D3FE-9ACA-4467-98E5-532EC45D9D1C}" dt="2024-03-01T14:34:07.729" v="15148"/>
          <ac:spMkLst>
            <pc:docMk/>
            <pc:sldMk cId="2463822678" sldId="928"/>
            <ac:spMk id="14" creationId="{2F9083C5-9DBC-ACF9-B9E8-1D98548B4265}"/>
          </ac:spMkLst>
        </pc:spChg>
        <pc:spChg chg="mod ord">
          <ac:chgData name="Nataliia Chornii (UA)" userId="4e4b8b3d-5f31-49bb-9f80-8a25c04abfff" providerId="ADAL" clId="{EE97D3FE-9ACA-4467-98E5-532EC45D9D1C}" dt="2024-03-01T14:34:07.729" v="15132"/>
          <ac:spMkLst>
            <pc:docMk/>
            <pc:sldMk cId="2463822678" sldId="928"/>
            <ac:spMk id="20" creationId="{DA4789A9-B8AF-52BF-5DEF-333466FE31C0}"/>
          </ac:spMkLst>
        </pc:spChg>
        <pc:spChg chg="mod ord">
          <ac:chgData name="Nataliia Chornii (UA)" userId="4e4b8b3d-5f31-49bb-9f80-8a25c04abfff" providerId="ADAL" clId="{EE97D3FE-9ACA-4467-98E5-532EC45D9D1C}" dt="2024-03-01T14:34:07.729" v="15136"/>
          <ac:spMkLst>
            <pc:docMk/>
            <pc:sldMk cId="2463822678" sldId="928"/>
            <ac:spMk id="22" creationId="{DA09306E-3C26-7BF8-5FB5-F7E3D80F89C9}"/>
          </ac:spMkLst>
        </pc:spChg>
        <pc:spChg chg="mod ord">
          <ac:chgData name="Nataliia Chornii (UA)" userId="4e4b8b3d-5f31-49bb-9f80-8a25c04abfff" providerId="ADAL" clId="{EE97D3FE-9ACA-4467-98E5-532EC45D9D1C}" dt="2024-03-01T14:34:07.729" v="15138"/>
          <ac:spMkLst>
            <pc:docMk/>
            <pc:sldMk cId="2463822678" sldId="928"/>
            <ac:spMk id="23" creationId="{B97F3C75-3AEC-3E9F-4D71-CA8C30F9835E}"/>
          </ac:spMkLst>
        </pc:spChg>
        <pc:spChg chg="mod ord">
          <ac:chgData name="Nataliia Chornii (UA)" userId="4e4b8b3d-5f31-49bb-9f80-8a25c04abfff" providerId="ADAL" clId="{EE97D3FE-9ACA-4467-98E5-532EC45D9D1C}" dt="2024-03-01T14:34:07.729" v="15140"/>
          <ac:spMkLst>
            <pc:docMk/>
            <pc:sldMk cId="2463822678" sldId="928"/>
            <ac:spMk id="24" creationId="{E15793DA-AFC4-2E3B-FDAA-EF33B0365B71}"/>
          </ac:spMkLst>
        </pc:spChg>
        <pc:spChg chg="mod ord">
          <ac:chgData name="Nataliia Chornii (UA)" userId="4e4b8b3d-5f31-49bb-9f80-8a25c04abfff" providerId="ADAL" clId="{EE97D3FE-9ACA-4467-98E5-532EC45D9D1C}" dt="2024-03-01T14:34:07.729" v="15142"/>
          <ac:spMkLst>
            <pc:docMk/>
            <pc:sldMk cId="2463822678" sldId="928"/>
            <ac:spMk id="25" creationId="{BFEDB8CC-ED47-80DF-F3C0-E0FEEBA29F85}"/>
          </ac:spMkLst>
        </pc:spChg>
        <pc:spChg chg="mod ord">
          <ac:chgData name="Nataliia Chornii (UA)" userId="4e4b8b3d-5f31-49bb-9f80-8a25c04abfff" providerId="ADAL" clId="{EE97D3FE-9ACA-4467-98E5-532EC45D9D1C}" dt="2024-03-01T14:34:07.729" v="15144"/>
          <ac:spMkLst>
            <pc:docMk/>
            <pc:sldMk cId="2463822678" sldId="928"/>
            <ac:spMk id="26" creationId="{05E5DEE3-D3C2-1E81-B086-939B3E36E0E1}"/>
          </ac:spMkLst>
        </pc:spChg>
        <pc:graphicFrameChg chg="mod">
          <ac:chgData name="Nataliia Chornii (UA)" userId="4e4b8b3d-5f31-49bb-9f80-8a25c04abfff" providerId="ADAL" clId="{EE97D3FE-9ACA-4467-98E5-532EC45D9D1C}" dt="2024-03-01T14:34:07.745" v="15150"/>
          <ac:graphicFrameMkLst>
            <pc:docMk/>
            <pc:sldMk cId="2463822678" sldId="928"/>
            <ac:graphicFrameMk id="16" creationId="{8B5F8EBF-52CC-2EDB-41E8-3667D4E9C17E}"/>
          </ac:graphicFrameMkLst>
        </pc:graphicFrameChg>
        <pc:picChg chg="del">
          <ac:chgData name="Nataliia Chornii (UA)" userId="4e4b8b3d-5f31-49bb-9f80-8a25c04abfff" providerId="ADAL" clId="{EE97D3FE-9ACA-4467-98E5-532EC45D9D1C}" dt="2024-03-01T10:39:01.915" v="10342" actId="478"/>
          <ac:picMkLst>
            <pc:docMk/>
            <pc:sldMk cId="2463822678" sldId="928"/>
            <ac:picMk id="8" creationId="{C12A4605-BDCD-3C9E-973D-5EC378636C7E}"/>
          </ac:picMkLst>
        </pc:picChg>
        <pc:picChg chg="add del mod ord">
          <ac:chgData name="Nataliia Chornii (UA)" userId="4e4b8b3d-5f31-49bb-9f80-8a25c04abfff" providerId="ADAL" clId="{EE97D3FE-9ACA-4467-98E5-532EC45D9D1C}" dt="2024-03-01T14:33:56.717" v="15107" actId="478"/>
          <ac:picMkLst>
            <pc:docMk/>
            <pc:sldMk cId="2463822678" sldId="928"/>
            <ac:picMk id="9" creationId="{E4A932EE-B756-A12C-2C2D-99EE0602E5E1}"/>
          </ac:picMkLst>
        </pc:picChg>
        <pc:picChg chg="add mod ord">
          <ac:chgData name="Nataliia Chornii (UA)" userId="4e4b8b3d-5f31-49bb-9f80-8a25c04abfff" providerId="ADAL" clId="{EE97D3FE-9ACA-4467-98E5-532EC45D9D1C}" dt="2024-03-01T14:34:07.729" v="15130"/>
          <ac:picMkLst>
            <pc:docMk/>
            <pc:sldMk cId="2463822678" sldId="928"/>
            <ac:picMk id="13" creationId="{E7EEA787-A341-92D1-60ED-BDC23F0EF401}"/>
          </ac:picMkLst>
        </pc:picChg>
      </pc:sldChg>
      <pc:sldChg chg="modSp add del mod">
        <pc:chgData name="Nataliia Chornii (UA)" userId="4e4b8b3d-5f31-49bb-9f80-8a25c04abfff" providerId="ADAL" clId="{EE97D3FE-9ACA-4467-98E5-532EC45D9D1C}" dt="2024-03-01T10:20:33.915" v="9671" actId="47"/>
        <pc:sldMkLst>
          <pc:docMk/>
          <pc:sldMk cId="3646958141" sldId="928"/>
        </pc:sldMkLst>
        <pc:spChg chg="mod">
          <ac:chgData name="Nataliia Chornii (UA)" userId="4e4b8b3d-5f31-49bb-9f80-8a25c04abfff" providerId="ADAL" clId="{EE97D3FE-9ACA-4467-98E5-532EC45D9D1C}" dt="2024-03-01T10:20:12.131" v="9667" actId="1076"/>
          <ac:spMkLst>
            <pc:docMk/>
            <pc:sldMk cId="3646958141" sldId="928"/>
            <ac:spMk id="9" creationId="{A2B233A5-ED06-3246-BD46-B7B39150B709}"/>
          </ac:spMkLst>
        </pc:spChg>
        <pc:spChg chg="mod">
          <ac:chgData name="Nataliia Chornii (UA)" userId="4e4b8b3d-5f31-49bb-9f80-8a25c04abfff" providerId="ADAL" clId="{EE97D3FE-9ACA-4467-98E5-532EC45D9D1C}" dt="2024-03-01T10:20:16.548" v="9668" actId="1076"/>
          <ac:spMkLst>
            <pc:docMk/>
            <pc:sldMk cId="3646958141" sldId="928"/>
            <ac:spMk id="10" creationId="{C3DFDFF4-18D2-A047-B0B2-4C063F2C571A}"/>
          </ac:spMkLst>
        </pc:spChg>
        <pc:spChg chg="mod">
          <ac:chgData name="Nataliia Chornii (UA)" userId="4e4b8b3d-5f31-49bb-9f80-8a25c04abfff" providerId="ADAL" clId="{EE97D3FE-9ACA-4467-98E5-532EC45D9D1C}" dt="2024-03-01T10:20:12.131" v="9667" actId="1076"/>
          <ac:spMkLst>
            <pc:docMk/>
            <pc:sldMk cId="3646958141" sldId="928"/>
            <ac:spMk id="11" creationId="{ABB70BD2-60C1-064D-95BB-38DE736A1572}"/>
          </ac:spMkLst>
        </pc:spChg>
        <pc:spChg chg="mod">
          <ac:chgData name="Nataliia Chornii (UA)" userId="4e4b8b3d-5f31-49bb-9f80-8a25c04abfff" providerId="ADAL" clId="{EE97D3FE-9ACA-4467-98E5-532EC45D9D1C}" dt="2024-03-01T10:20:22.385" v="9669" actId="1076"/>
          <ac:spMkLst>
            <pc:docMk/>
            <pc:sldMk cId="3646958141" sldId="928"/>
            <ac:spMk id="12" creationId="{90E04B7C-9E41-4641-A5D6-FF34530482E0}"/>
          </ac:spMkLst>
        </pc:spChg>
        <pc:spChg chg="mod">
          <ac:chgData name="Nataliia Chornii (UA)" userId="4e4b8b3d-5f31-49bb-9f80-8a25c04abfff" providerId="ADAL" clId="{EE97D3FE-9ACA-4467-98E5-532EC45D9D1C}" dt="2024-03-01T10:20:22.385" v="9669" actId="1076"/>
          <ac:spMkLst>
            <pc:docMk/>
            <pc:sldMk cId="3646958141" sldId="928"/>
            <ac:spMk id="13" creationId="{FFA0AA22-B08B-7F4A-B365-587EEE2D842D}"/>
          </ac:spMkLst>
        </pc:spChg>
        <pc:spChg chg="mod">
          <ac:chgData name="Nataliia Chornii (UA)" userId="4e4b8b3d-5f31-49bb-9f80-8a25c04abfff" providerId="ADAL" clId="{EE97D3FE-9ACA-4467-98E5-532EC45D9D1C}" dt="2024-03-01T10:20:22.385" v="9669" actId="1076"/>
          <ac:spMkLst>
            <pc:docMk/>
            <pc:sldMk cId="3646958141" sldId="928"/>
            <ac:spMk id="15" creationId="{817192BF-33DA-6E42-944F-7B2F09E52C43}"/>
          </ac:spMkLst>
        </pc:spChg>
        <pc:spChg chg="mod">
          <ac:chgData name="Nataliia Chornii (UA)" userId="4e4b8b3d-5f31-49bb-9f80-8a25c04abfff" providerId="ADAL" clId="{EE97D3FE-9ACA-4467-98E5-532EC45D9D1C}" dt="2024-03-01T10:20:16.548" v="9668" actId="1076"/>
          <ac:spMkLst>
            <pc:docMk/>
            <pc:sldMk cId="3646958141" sldId="928"/>
            <ac:spMk id="16" creationId="{2AA0056B-1B3F-9647-9399-DD6B5207FA3B}"/>
          </ac:spMkLst>
        </pc:spChg>
        <pc:spChg chg="mod">
          <ac:chgData name="Nataliia Chornii (UA)" userId="4e4b8b3d-5f31-49bb-9f80-8a25c04abfff" providerId="ADAL" clId="{EE97D3FE-9ACA-4467-98E5-532EC45D9D1C}" dt="2024-03-01T10:20:16.548" v="9668" actId="1076"/>
          <ac:spMkLst>
            <pc:docMk/>
            <pc:sldMk cId="3646958141" sldId="928"/>
            <ac:spMk id="17" creationId="{C1683A97-5B75-9940-AD67-614A9DFD6627}"/>
          </ac:spMkLst>
        </pc:spChg>
        <pc:spChg chg="mod">
          <ac:chgData name="Nataliia Chornii (UA)" userId="4e4b8b3d-5f31-49bb-9f80-8a25c04abfff" providerId="ADAL" clId="{EE97D3FE-9ACA-4467-98E5-532EC45D9D1C}" dt="2024-03-01T10:20:16.548" v="9668" actId="1076"/>
          <ac:spMkLst>
            <pc:docMk/>
            <pc:sldMk cId="3646958141" sldId="928"/>
            <ac:spMk id="18" creationId="{E4C5F8F0-E4BD-274A-8190-28583D21E512}"/>
          </ac:spMkLst>
        </pc:spChg>
        <pc:spChg chg="mod">
          <ac:chgData name="Nataliia Chornii (UA)" userId="4e4b8b3d-5f31-49bb-9f80-8a25c04abfff" providerId="ADAL" clId="{EE97D3FE-9ACA-4467-98E5-532EC45D9D1C}" dt="2024-03-01T10:20:12.131" v="9667" actId="1076"/>
          <ac:spMkLst>
            <pc:docMk/>
            <pc:sldMk cId="3646958141" sldId="928"/>
            <ac:spMk id="23" creationId="{1DFA226E-CAF3-2D42-AC96-11A51BD07541}"/>
          </ac:spMkLst>
        </pc:spChg>
        <pc:spChg chg="mod">
          <ac:chgData name="Nataliia Chornii (UA)" userId="4e4b8b3d-5f31-49bb-9f80-8a25c04abfff" providerId="ADAL" clId="{EE97D3FE-9ACA-4467-98E5-532EC45D9D1C}" dt="2024-03-01T10:20:12.131" v="9667" actId="1076"/>
          <ac:spMkLst>
            <pc:docMk/>
            <pc:sldMk cId="3646958141" sldId="928"/>
            <ac:spMk id="24" creationId="{10B15265-346F-0349-AF94-74C872CA65DD}"/>
          </ac:spMkLst>
        </pc:spChg>
        <pc:spChg chg="mod">
          <ac:chgData name="Nataliia Chornii (UA)" userId="4e4b8b3d-5f31-49bb-9f80-8a25c04abfff" providerId="ADAL" clId="{EE97D3FE-9ACA-4467-98E5-532EC45D9D1C}" dt="2024-03-01T10:20:12.131" v="9667" actId="1076"/>
          <ac:spMkLst>
            <pc:docMk/>
            <pc:sldMk cId="3646958141" sldId="928"/>
            <ac:spMk id="25" creationId="{73F30B4C-A440-674A-9472-8F1EB39DA9F2}"/>
          </ac:spMkLst>
        </pc:spChg>
        <pc:spChg chg="mod">
          <ac:chgData name="Nataliia Chornii (UA)" userId="4e4b8b3d-5f31-49bb-9f80-8a25c04abfff" providerId="ADAL" clId="{EE97D3FE-9ACA-4467-98E5-532EC45D9D1C}" dt="2024-03-01T10:20:12.131" v="9667" actId="1076"/>
          <ac:spMkLst>
            <pc:docMk/>
            <pc:sldMk cId="3646958141" sldId="928"/>
            <ac:spMk id="26" creationId="{8B070493-BB90-AA4F-AE2F-427F4E058BD7}"/>
          </ac:spMkLst>
        </pc:spChg>
        <pc:spChg chg="mod">
          <ac:chgData name="Nataliia Chornii (UA)" userId="4e4b8b3d-5f31-49bb-9f80-8a25c04abfff" providerId="ADAL" clId="{EE97D3FE-9ACA-4467-98E5-532EC45D9D1C}" dt="2024-03-01T10:20:16.548" v="9668" actId="1076"/>
          <ac:spMkLst>
            <pc:docMk/>
            <pc:sldMk cId="3646958141" sldId="928"/>
            <ac:spMk id="80" creationId="{33F3258F-AFEA-7716-88A9-DEF866DBB873}"/>
          </ac:spMkLst>
        </pc:spChg>
        <pc:spChg chg="mod">
          <ac:chgData name="Nataliia Chornii (UA)" userId="4e4b8b3d-5f31-49bb-9f80-8a25c04abfff" providerId="ADAL" clId="{EE97D3FE-9ACA-4467-98E5-532EC45D9D1C}" dt="2024-03-01T10:20:16.548" v="9668" actId="1076"/>
          <ac:spMkLst>
            <pc:docMk/>
            <pc:sldMk cId="3646958141" sldId="928"/>
            <ac:spMk id="81" creationId="{03A635FF-A78F-8735-A808-281BDB5E3F81}"/>
          </ac:spMkLst>
        </pc:spChg>
        <pc:cxnChg chg="mod">
          <ac:chgData name="Nataliia Chornii (UA)" userId="4e4b8b3d-5f31-49bb-9f80-8a25c04abfff" providerId="ADAL" clId="{EE97D3FE-9ACA-4467-98E5-532EC45D9D1C}" dt="2024-03-01T10:20:16.548" v="9668" actId="1076"/>
          <ac:cxnSpMkLst>
            <pc:docMk/>
            <pc:sldMk cId="3646958141" sldId="928"/>
            <ac:cxnSpMk id="37" creationId="{7C7236BE-4ADF-8153-6B39-AEF796CC913C}"/>
          </ac:cxnSpMkLst>
        </pc:cxnChg>
        <pc:cxnChg chg="mod">
          <ac:chgData name="Nataliia Chornii (UA)" userId="4e4b8b3d-5f31-49bb-9f80-8a25c04abfff" providerId="ADAL" clId="{EE97D3FE-9ACA-4467-98E5-532EC45D9D1C}" dt="2024-03-01T10:20:12.131" v="9667" actId="1076"/>
          <ac:cxnSpMkLst>
            <pc:docMk/>
            <pc:sldMk cId="3646958141" sldId="928"/>
            <ac:cxnSpMk id="43" creationId="{72A0F912-B6F6-C429-1D73-5F944261C21E}"/>
          </ac:cxnSpMkLst>
        </pc:cxnChg>
        <pc:cxnChg chg="mod">
          <ac:chgData name="Nataliia Chornii (UA)" userId="4e4b8b3d-5f31-49bb-9f80-8a25c04abfff" providerId="ADAL" clId="{EE97D3FE-9ACA-4467-98E5-532EC45D9D1C}" dt="2024-03-01T10:20:12.131" v="9667" actId="1076"/>
          <ac:cxnSpMkLst>
            <pc:docMk/>
            <pc:sldMk cId="3646958141" sldId="928"/>
            <ac:cxnSpMk id="45" creationId="{98FC76CB-92CA-79EB-0FCC-0279B07E4868}"/>
          </ac:cxnSpMkLst>
        </pc:cxnChg>
        <pc:cxnChg chg="mod">
          <ac:chgData name="Nataliia Chornii (UA)" userId="4e4b8b3d-5f31-49bb-9f80-8a25c04abfff" providerId="ADAL" clId="{EE97D3FE-9ACA-4467-98E5-532EC45D9D1C}" dt="2024-03-01T10:20:12.131" v="9667" actId="1076"/>
          <ac:cxnSpMkLst>
            <pc:docMk/>
            <pc:sldMk cId="3646958141" sldId="928"/>
            <ac:cxnSpMk id="47" creationId="{8B8F284E-EAB2-AD04-A11A-3A260CFADB81}"/>
          </ac:cxnSpMkLst>
        </pc:cxnChg>
        <pc:cxnChg chg="mod">
          <ac:chgData name="Nataliia Chornii (UA)" userId="4e4b8b3d-5f31-49bb-9f80-8a25c04abfff" providerId="ADAL" clId="{EE97D3FE-9ACA-4467-98E5-532EC45D9D1C}" dt="2024-03-01T10:20:12.131" v="9667" actId="1076"/>
          <ac:cxnSpMkLst>
            <pc:docMk/>
            <pc:sldMk cId="3646958141" sldId="928"/>
            <ac:cxnSpMk id="49" creationId="{21BD98F9-4C54-5F05-8131-645F83133AD1}"/>
          </ac:cxnSpMkLst>
        </pc:cxnChg>
        <pc:cxnChg chg="mod">
          <ac:chgData name="Nataliia Chornii (UA)" userId="4e4b8b3d-5f31-49bb-9f80-8a25c04abfff" providerId="ADAL" clId="{EE97D3FE-9ACA-4467-98E5-532EC45D9D1C}" dt="2024-03-01T10:20:16.548" v="9668" actId="1076"/>
          <ac:cxnSpMkLst>
            <pc:docMk/>
            <pc:sldMk cId="3646958141" sldId="928"/>
            <ac:cxnSpMk id="51" creationId="{A247581D-B16A-3BCD-B844-5699CF8A122C}"/>
          </ac:cxnSpMkLst>
        </pc:cxnChg>
        <pc:cxnChg chg="mod">
          <ac:chgData name="Nataliia Chornii (UA)" userId="4e4b8b3d-5f31-49bb-9f80-8a25c04abfff" providerId="ADAL" clId="{EE97D3FE-9ACA-4467-98E5-532EC45D9D1C}" dt="2024-03-01T10:20:16.548" v="9668" actId="1076"/>
          <ac:cxnSpMkLst>
            <pc:docMk/>
            <pc:sldMk cId="3646958141" sldId="928"/>
            <ac:cxnSpMk id="53" creationId="{AC15A7FB-62D3-912B-C6CE-5B0703B74AC4}"/>
          </ac:cxnSpMkLst>
        </pc:cxnChg>
        <pc:cxnChg chg="mod">
          <ac:chgData name="Nataliia Chornii (UA)" userId="4e4b8b3d-5f31-49bb-9f80-8a25c04abfff" providerId="ADAL" clId="{EE97D3FE-9ACA-4467-98E5-532EC45D9D1C}" dt="2024-03-01T10:20:22.385" v="9669" actId="1076"/>
          <ac:cxnSpMkLst>
            <pc:docMk/>
            <pc:sldMk cId="3646958141" sldId="928"/>
            <ac:cxnSpMk id="55" creationId="{3F9B2E66-F81E-035C-3417-93CBB049A98A}"/>
          </ac:cxnSpMkLst>
        </pc:cxnChg>
        <pc:cxnChg chg="mod">
          <ac:chgData name="Nataliia Chornii (UA)" userId="4e4b8b3d-5f31-49bb-9f80-8a25c04abfff" providerId="ADAL" clId="{EE97D3FE-9ACA-4467-98E5-532EC45D9D1C}" dt="2024-03-01T10:20:22.385" v="9669" actId="1076"/>
          <ac:cxnSpMkLst>
            <pc:docMk/>
            <pc:sldMk cId="3646958141" sldId="928"/>
            <ac:cxnSpMk id="57" creationId="{F235514F-D8B3-0248-2D25-0B8582D92491}"/>
          </ac:cxnSpMkLst>
        </pc:cxnChg>
        <pc:cxnChg chg="mod">
          <ac:chgData name="Nataliia Chornii (UA)" userId="4e4b8b3d-5f31-49bb-9f80-8a25c04abfff" providerId="ADAL" clId="{EE97D3FE-9ACA-4467-98E5-532EC45D9D1C}" dt="2024-03-01T10:20:22.385" v="9669" actId="1076"/>
          <ac:cxnSpMkLst>
            <pc:docMk/>
            <pc:sldMk cId="3646958141" sldId="928"/>
            <ac:cxnSpMk id="59" creationId="{20A81309-2578-4335-8652-0E400C879DBE}"/>
          </ac:cxnSpMkLst>
        </pc:cxnChg>
        <pc:cxnChg chg="mod">
          <ac:chgData name="Nataliia Chornii (UA)" userId="4e4b8b3d-5f31-49bb-9f80-8a25c04abfff" providerId="ADAL" clId="{EE97D3FE-9ACA-4467-98E5-532EC45D9D1C}" dt="2024-03-01T10:20:26.705" v="9670" actId="14100"/>
          <ac:cxnSpMkLst>
            <pc:docMk/>
            <pc:sldMk cId="3646958141" sldId="928"/>
            <ac:cxnSpMk id="61" creationId="{FCB0AFCF-B4F3-24DA-9277-A13964EAFAC5}"/>
          </ac:cxnSpMkLst>
        </pc:cxnChg>
        <pc:cxnChg chg="mod">
          <ac:chgData name="Nataliia Chornii (UA)" userId="4e4b8b3d-5f31-49bb-9f80-8a25c04abfff" providerId="ADAL" clId="{EE97D3FE-9ACA-4467-98E5-532EC45D9D1C}" dt="2024-03-01T10:20:16.548" v="9668" actId="1076"/>
          <ac:cxnSpMkLst>
            <pc:docMk/>
            <pc:sldMk cId="3646958141" sldId="928"/>
            <ac:cxnSpMk id="62" creationId="{B56D4A98-332F-9244-0753-E78F9E7502E4}"/>
          </ac:cxnSpMkLst>
        </pc:cxnChg>
      </pc:sldChg>
      <pc:sldChg chg="addSp delSp modSp add del mod modShow">
        <pc:chgData name="Nataliia Chornii (UA)" userId="4e4b8b3d-5f31-49bb-9f80-8a25c04abfff" providerId="ADAL" clId="{EE97D3FE-9ACA-4467-98E5-532EC45D9D1C}" dt="2024-03-01T15:06:39.256" v="16181" actId="47"/>
        <pc:sldMkLst>
          <pc:docMk/>
          <pc:sldMk cId="2616931998" sldId="929"/>
        </pc:sldMkLst>
        <pc:spChg chg="add del mod modVis">
          <ac:chgData name="Nataliia Chornii (UA)" userId="4e4b8b3d-5f31-49bb-9f80-8a25c04abfff" providerId="ADAL" clId="{EE97D3FE-9ACA-4467-98E5-532EC45D9D1C}" dt="2024-03-01T10:59:36.338" v="11010"/>
          <ac:spMkLst>
            <pc:docMk/>
            <pc:sldMk cId="2616931998" sldId="929"/>
            <ac:spMk id="2" creationId="{745B983E-68C2-F7E2-1DF2-9DF66DD0F9C8}"/>
          </ac:spMkLst>
        </pc:spChg>
        <pc:spChg chg="mod ord">
          <ac:chgData name="Nataliia Chornii (UA)" userId="4e4b8b3d-5f31-49bb-9f80-8a25c04abfff" providerId="ADAL" clId="{EE97D3FE-9ACA-4467-98E5-532EC45D9D1C}" dt="2024-03-01T12:59:47.215" v="12235"/>
          <ac:spMkLst>
            <pc:docMk/>
            <pc:sldMk cId="2616931998" sldId="929"/>
            <ac:spMk id="3" creationId="{F4CCF02E-F3C4-C376-8F56-61BD85A2E74B}"/>
          </ac:spMkLst>
        </pc:spChg>
        <pc:spChg chg="mod ord">
          <ac:chgData name="Nataliia Chornii (UA)" userId="4e4b8b3d-5f31-49bb-9f80-8a25c04abfff" providerId="ADAL" clId="{EE97D3FE-9ACA-4467-98E5-532EC45D9D1C}" dt="2024-03-01T12:59:47.215" v="12237"/>
          <ac:spMkLst>
            <pc:docMk/>
            <pc:sldMk cId="2616931998" sldId="929"/>
            <ac:spMk id="4" creationId="{872966CD-924A-B939-E655-A6BAF817DCBF}"/>
          </ac:spMkLst>
        </pc:spChg>
        <pc:spChg chg="del">
          <ac:chgData name="Nataliia Chornii (UA)" userId="4e4b8b3d-5f31-49bb-9f80-8a25c04abfff" providerId="ADAL" clId="{EE97D3FE-9ACA-4467-98E5-532EC45D9D1C}" dt="2024-03-01T11:03:22.284" v="11124" actId="478"/>
          <ac:spMkLst>
            <pc:docMk/>
            <pc:sldMk cId="2616931998" sldId="929"/>
            <ac:spMk id="8" creationId="{2292A5BD-BBCF-E009-4522-732CB9873538}"/>
          </ac:spMkLst>
        </pc:spChg>
        <pc:spChg chg="mod ord">
          <ac:chgData name="Nataliia Chornii (UA)" userId="4e4b8b3d-5f31-49bb-9f80-8a25c04abfff" providerId="ADAL" clId="{EE97D3FE-9ACA-4467-98E5-532EC45D9D1C}" dt="2024-03-01T12:59:47.225" v="12251"/>
          <ac:spMkLst>
            <pc:docMk/>
            <pc:sldMk cId="2616931998" sldId="929"/>
            <ac:spMk id="10" creationId="{6F55AA3F-6103-110B-C367-10711AC49356}"/>
          </ac:spMkLst>
        </pc:spChg>
        <pc:spChg chg="mod ord">
          <ac:chgData name="Nataliia Chornii (UA)" userId="4e4b8b3d-5f31-49bb-9f80-8a25c04abfff" providerId="ADAL" clId="{EE97D3FE-9ACA-4467-98E5-532EC45D9D1C}" dt="2024-03-01T12:59:47.215" v="12239"/>
          <ac:spMkLst>
            <pc:docMk/>
            <pc:sldMk cId="2616931998" sldId="929"/>
            <ac:spMk id="21" creationId="{78DC1799-6B68-492D-BBE0-D7BECB3D58E6}"/>
          </ac:spMkLst>
        </pc:spChg>
        <pc:spChg chg="mod ord">
          <ac:chgData name="Nataliia Chornii (UA)" userId="4e4b8b3d-5f31-49bb-9f80-8a25c04abfff" providerId="ADAL" clId="{EE97D3FE-9ACA-4467-98E5-532EC45D9D1C}" dt="2024-03-01T13:00:35.572" v="12339" actId="12789"/>
          <ac:spMkLst>
            <pc:docMk/>
            <pc:sldMk cId="2616931998" sldId="929"/>
            <ac:spMk id="22" creationId="{8A383B1B-1F96-C467-6BC7-1ACF6506A40E}"/>
          </ac:spMkLst>
        </pc:spChg>
        <pc:spChg chg="del mod">
          <ac:chgData name="Nataliia Chornii (UA)" userId="4e4b8b3d-5f31-49bb-9f80-8a25c04abfff" providerId="ADAL" clId="{EE97D3FE-9ACA-4467-98E5-532EC45D9D1C}" dt="2024-03-01T11:00:17.481" v="11037" actId="478"/>
          <ac:spMkLst>
            <pc:docMk/>
            <pc:sldMk cId="2616931998" sldId="929"/>
            <ac:spMk id="24" creationId="{348FF9D4-2615-1990-FB78-3260C32CF406}"/>
          </ac:spMkLst>
        </pc:spChg>
        <pc:spChg chg="mod ord">
          <ac:chgData name="Nataliia Chornii (UA)" userId="4e4b8b3d-5f31-49bb-9f80-8a25c04abfff" providerId="ADAL" clId="{EE97D3FE-9ACA-4467-98E5-532EC45D9D1C}" dt="2024-03-01T12:59:47.215" v="12233"/>
          <ac:spMkLst>
            <pc:docMk/>
            <pc:sldMk cId="2616931998" sldId="929"/>
            <ac:spMk id="25" creationId="{2B261BF4-92C6-462D-AA95-793AE54DD688}"/>
          </ac:spMkLst>
        </pc:spChg>
        <pc:spChg chg="mod ord">
          <ac:chgData name="Nataliia Chornii (UA)" userId="4e4b8b3d-5f31-49bb-9f80-8a25c04abfff" providerId="ADAL" clId="{EE97D3FE-9ACA-4467-98E5-532EC45D9D1C}" dt="2024-03-01T12:59:47.225" v="12243"/>
          <ac:spMkLst>
            <pc:docMk/>
            <pc:sldMk cId="2616931998" sldId="929"/>
            <ac:spMk id="26" creationId="{5EC1F9AE-82A4-85FE-592B-EF659F76F7EC}"/>
          </ac:spMkLst>
        </pc:spChg>
        <pc:spChg chg="mod ord">
          <ac:chgData name="Nataliia Chornii (UA)" userId="4e4b8b3d-5f31-49bb-9f80-8a25c04abfff" providerId="ADAL" clId="{EE97D3FE-9ACA-4467-98E5-532EC45D9D1C}" dt="2024-03-01T12:59:47.225" v="12245"/>
          <ac:spMkLst>
            <pc:docMk/>
            <pc:sldMk cId="2616931998" sldId="929"/>
            <ac:spMk id="27" creationId="{72D802D4-B169-1594-D931-40179675E33A}"/>
          </ac:spMkLst>
        </pc:spChg>
        <pc:spChg chg="mod ord topLvl">
          <ac:chgData name="Nataliia Chornii (UA)" userId="4e4b8b3d-5f31-49bb-9f80-8a25c04abfff" providerId="ADAL" clId="{EE97D3FE-9ACA-4467-98E5-532EC45D9D1C}" dt="2024-03-01T12:59:47.225" v="12247"/>
          <ac:spMkLst>
            <pc:docMk/>
            <pc:sldMk cId="2616931998" sldId="929"/>
            <ac:spMk id="29" creationId="{3915AD89-6428-4A75-0915-328643F1703C}"/>
          </ac:spMkLst>
        </pc:spChg>
        <pc:spChg chg="mod ord topLvl">
          <ac:chgData name="Nataliia Chornii (UA)" userId="4e4b8b3d-5f31-49bb-9f80-8a25c04abfff" providerId="ADAL" clId="{EE97D3FE-9ACA-4467-98E5-532EC45D9D1C}" dt="2024-03-01T12:59:47.225" v="12249"/>
          <ac:spMkLst>
            <pc:docMk/>
            <pc:sldMk cId="2616931998" sldId="929"/>
            <ac:spMk id="30" creationId="{373AB206-F1F0-CC72-8C15-85605D9AF2AC}"/>
          </ac:spMkLst>
        </pc:spChg>
        <pc:spChg chg="add mod ord">
          <ac:chgData name="Nataliia Chornii (UA)" userId="4e4b8b3d-5f31-49bb-9f80-8a25c04abfff" providerId="ADAL" clId="{EE97D3FE-9ACA-4467-98E5-532EC45D9D1C}" dt="2024-03-01T12:59:47.241" v="12301"/>
          <ac:spMkLst>
            <pc:docMk/>
            <pc:sldMk cId="2616931998" sldId="929"/>
            <ac:spMk id="32" creationId="{FB63C400-82C1-C700-1D2B-17C849F124C0}"/>
          </ac:spMkLst>
        </pc:spChg>
        <pc:spChg chg="add mod ord">
          <ac:chgData name="Nataliia Chornii (UA)" userId="4e4b8b3d-5f31-49bb-9f80-8a25c04abfff" providerId="ADAL" clId="{EE97D3FE-9ACA-4467-98E5-532EC45D9D1C}" dt="2024-03-01T12:59:47.241" v="12303"/>
          <ac:spMkLst>
            <pc:docMk/>
            <pc:sldMk cId="2616931998" sldId="929"/>
            <ac:spMk id="33" creationId="{A4189C25-64A4-3289-336F-F9EC1B83ADCE}"/>
          </ac:spMkLst>
        </pc:spChg>
        <pc:spChg chg="add mod ord">
          <ac:chgData name="Nataliia Chornii (UA)" userId="4e4b8b3d-5f31-49bb-9f80-8a25c04abfff" providerId="ADAL" clId="{EE97D3FE-9ACA-4467-98E5-532EC45D9D1C}" dt="2024-03-01T12:59:47.241" v="12305"/>
          <ac:spMkLst>
            <pc:docMk/>
            <pc:sldMk cId="2616931998" sldId="929"/>
            <ac:spMk id="34" creationId="{395ADB54-EB2F-6A1C-D561-976CB34F7D25}"/>
          </ac:spMkLst>
        </pc:spChg>
        <pc:spChg chg="add mod ord">
          <ac:chgData name="Nataliia Chornii (UA)" userId="4e4b8b3d-5f31-49bb-9f80-8a25c04abfff" providerId="ADAL" clId="{EE97D3FE-9ACA-4467-98E5-532EC45D9D1C}" dt="2024-03-01T12:59:47.241" v="12307"/>
          <ac:spMkLst>
            <pc:docMk/>
            <pc:sldMk cId="2616931998" sldId="929"/>
            <ac:spMk id="35" creationId="{95F6B912-06AF-61A2-E8DC-BC5B3BB82471}"/>
          </ac:spMkLst>
        </pc:spChg>
        <pc:spChg chg="add mod ord">
          <ac:chgData name="Nataliia Chornii (UA)" userId="4e4b8b3d-5f31-49bb-9f80-8a25c04abfff" providerId="ADAL" clId="{EE97D3FE-9ACA-4467-98E5-532EC45D9D1C}" dt="2024-03-01T12:59:47.241" v="12309"/>
          <ac:spMkLst>
            <pc:docMk/>
            <pc:sldMk cId="2616931998" sldId="929"/>
            <ac:spMk id="36" creationId="{DFE7B78B-3579-AD72-FBC9-3EE2DBBE8C07}"/>
          </ac:spMkLst>
        </pc:spChg>
        <pc:spChg chg="add mod ord">
          <ac:chgData name="Nataliia Chornii (UA)" userId="4e4b8b3d-5f31-49bb-9f80-8a25c04abfff" providerId="ADAL" clId="{EE97D3FE-9ACA-4467-98E5-532EC45D9D1C}" dt="2024-03-01T12:59:47.241" v="12311"/>
          <ac:spMkLst>
            <pc:docMk/>
            <pc:sldMk cId="2616931998" sldId="929"/>
            <ac:spMk id="37" creationId="{739E7498-B313-0181-2BDB-105B1600AE16}"/>
          </ac:spMkLst>
        </pc:spChg>
        <pc:spChg chg="del mod">
          <ac:chgData name="Nataliia Chornii (UA)" userId="4e4b8b3d-5f31-49bb-9f80-8a25c04abfff" providerId="ADAL" clId="{EE97D3FE-9ACA-4467-98E5-532EC45D9D1C}" dt="2024-03-01T12:59:32.037" v="12201" actId="478"/>
          <ac:spMkLst>
            <pc:docMk/>
            <pc:sldMk cId="2616931998" sldId="929"/>
            <ac:spMk id="38" creationId="{272900AC-10C3-F441-FC58-31445D62009C}"/>
          </ac:spMkLst>
        </pc:spChg>
        <pc:spChg chg="add mod ord">
          <ac:chgData name="Nataliia Chornii (UA)" userId="4e4b8b3d-5f31-49bb-9f80-8a25c04abfff" providerId="ADAL" clId="{EE97D3FE-9ACA-4467-98E5-532EC45D9D1C}" dt="2024-03-01T12:59:47.241" v="12313"/>
          <ac:spMkLst>
            <pc:docMk/>
            <pc:sldMk cId="2616931998" sldId="929"/>
            <ac:spMk id="39" creationId="{C91C3C2E-BE8A-495D-5334-7C8FE4266B2C}"/>
          </ac:spMkLst>
        </pc:spChg>
        <pc:spChg chg="add mod ord">
          <ac:chgData name="Nataliia Chornii (UA)" userId="4e4b8b3d-5f31-49bb-9f80-8a25c04abfff" providerId="ADAL" clId="{EE97D3FE-9ACA-4467-98E5-532EC45D9D1C}" dt="2024-03-01T12:59:47.241" v="12315"/>
          <ac:spMkLst>
            <pc:docMk/>
            <pc:sldMk cId="2616931998" sldId="929"/>
            <ac:spMk id="40" creationId="{30043BD5-616D-7B17-4B98-50FB1B38DF1D}"/>
          </ac:spMkLst>
        </pc:spChg>
        <pc:spChg chg="mod ord">
          <ac:chgData name="Nataliia Chornii (UA)" userId="4e4b8b3d-5f31-49bb-9f80-8a25c04abfff" providerId="ADAL" clId="{EE97D3FE-9ACA-4467-98E5-532EC45D9D1C}" dt="2024-03-01T12:59:47.215" v="12231"/>
          <ac:spMkLst>
            <pc:docMk/>
            <pc:sldMk cId="2616931998" sldId="929"/>
            <ac:spMk id="42" creationId="{50830596-224D-A11D-D251-21B0CA3EB02E}"/>
          </ac:spMkLst>
        </pc:spChg>
        <pc:spChg chg="mod ord topLvl">
          <ac:chgData name="Nataliia Chornii (UA)" userId="4e4b8b3d-5f31-49bb-9f80-8a25c04abfff" providerId="ADAL" clId="{EE97D3FE-9ACA-4467-98E5-532EC45D9D1C}" dt="2024-03-01T12:59:47.225" v="12253"/>
          <ac:spMkLst>
            <pc:docMk/>
            <pc:sldMk cId="2616931998" sldId="929"/>
            <ac:spMk id="44" creationId="{37325A5C-F07F-2313-782A-18E3E98D15F0}"/>
          </ac:spMkLst>
        </pc:spChg>
        <pc:spChg chg="mod ord topLvl">
          <ac:chgData name="Nataliia Chornii (UA)" userId="4e4b8b3d-5f31-49bb-9f80-8a25c04abfff" providerId="ADAL" clId="{EE97D3FE-9ACA-4467-98E5-532EC45D9D1C}" dt="2024-03-01T12:59:47.225" v="12255"/>
          <ac:spMkLst>
            <pc:docMk/>
            <pc:sldMk cId="2616931998" sldId="929"/>
            <ac:spMk id="45" creationId="{5A4A472A-422C-56F4-A0F5-AE422E82D144}"/>
          </ac:spMkLst>
        </pc:spChg>
        <pc:spChg chg="add mod ord">
          <ac:chgData name="Nataliia Chornii (UA)" userId="4e4b8b3d-5f31-49bb-9f80-8a25c04abfff" providerId="ADAL" clId="{EE97D3FE-9ACA-4467-98E5-532EC45D9D1C}" dt="2024-03-01T12:59:47.241" v="12317"/>
          <ac:spMkLst>
            <pc:docMk/>
            <pc:sldMk cId="2616931998" sldId="929"/>
            <ac:spMk id="46" creationId="{09BF84D6-F468-7005-FAB5-AA0B6AE5CFB4}"/>
          </ac:spMkLst>
        </pc:spChg>
        <pc:spChg chg="mod ord">
          <ac:chgData name="Nataliia Chornii (UA)" userId="4e4b8b3d-5f31-49bb-9f80-8a25c04abfff" providerId="ADAL" clId="{EE97D3FE-9ACA-4467-98E5-532EC45D9D1C}" dt="2024-03-01T12:59:47.225" v="12257"/>
          <ac:spMkLst>
            <pc:docMk/>
            <pc:sldMk cId="2616931998" sldId="929"/>
            <ac:spMk id="47" creationId="{53CB8D3C-9648-B17B-BD59-60EED0CCD133}"/>
          </ac:spMkLst>
        </pc:spChg>
        <pc:spChg chg="del">
          <ac:chgData name="Nataliia Chornii (UA)" userId="4e4b8b3d-5f31-49bb-9f80-8a25c04abfff" providerId="ADAL" clId="{EE97D3FE-9ACA-4467-98E5-532EC45D9D1C}" dt="2024-03-01T10:59:29.947" v="10974" actId="478"/>
          <ac:spMkLst>
            <pc:docMk/>
            <pc:sldMk cId="2616931998" sldId="929"/>
            <ac:spMk id="48" creationId="{D9C7DEB2-1AFB-BF37-B503-BDA29810C585}"/>
          </ac:spMkLst>
        </pc:spChg>
        <pc:spChg chg="add mod ord">
          <ac:chgData name="Nataliia Chornii (UA)" userId="4e4b8b3d-5f31-49bb-9f80-8a25c04abfff" providerId="ADAL" clId="{EE97D3FE-9ACA-4467-98E5-532EC45D9D1C}" dt="2024-03-01T12:59:47.241" v="12319"/>
          <ac:spMkLst>
            <pc:docMk/>
            <pc:sldMk cId="2616931998" sldId="929"/>
            <ac:spMk id="49" creationId="{DED3BED4-139F-CB4F-0A7B-7B90211550F4}"/>
          </ac:spMkLst>
        </pc:spChg>
        <pc:spChg chg="add mod ord">
          <ac:chgData name="Nataliia Chornii (UA)" userId="4e4b8b3d-5f31-49bb-9f80-8a25c04abfff" providerId="ADAL" clId="{EE97D3FE-9ACA-4467-98E5-532EC45D9D1C}" dt="2024-03-01T13:00:35.572" v="12339" actId="12789"/>
          <ac:spMkLst>
            <pc:docMk/>
            <pc:sldMk cId="2616931998" sldId="929"/>
            <ac:spMk id="50" creationId="{8164624F-DC6E-41FF-C23B-0BD85A5DE744}"/>
          </ac:spMkLst>
        </pc:spChg>
        <pc:spChg chg="add mod ord">
          <ac:chgData name="Nataliia Chornii (UA)" userId="4e4b8b3d-5f31-49bb-9f80-8a25c04abfff" providerId="ADAL" clId="{EE97D3FE-9ACA-4467-98E5-532EC45D9D1C}" dt="2024-03-01T13:00:35.572" v="12339" actId="12789"/>
          <ac:spMkLst>
            <pc:docMk/>
            <pc:sldMk cId="2616931998" sldId="929"/>
            <ac:spMk id="51" creationId="{72AB78F5-D8BC-68FC-1143-72A7023BF9E7}"/>
          </ac:spMkLst>
        </pc:spChg>
        <pc:spChg chg="add del mod modVis">
          <ac:chgData name="Nataliia Chornii (UA)" userId="4e4b8b3d-5f31-49bb-9f80-8a25c04abfff" providerId="ADAL" clId="{EE97D3FE-9ACA-4467-98E5-532EC45D9D1C}" dt="2024-03-01T12:59:47.257" v="12325"/>
          <ac:spMkLst>
            <pc:docMk/>
            <pc:sldMk cId="2616931998" sldId="929"/>
            <ac:spMk id="52" creationId="{F134BCA2-776F-5883-562F-A1DF40839258}"/>
          </ac:spMkLst>
        </pc:spChg>
        <pc:spChg chg="mod ord">
          <ac:chgData name="Nataliia Chornii (UA)" userId="4e4b8b3d-5f31-49bb-9f80-8a25c04abfff" providerId="ADAL" clId="{EE97D3FE-9ACA-4467-98E5-532EC45D9D1C}" dt="2024-03-01T12:59:47.225" v="12259"/>
          <ac:spMkLst>
            <pc:docMk/>
            <pc:sldMk cId="2616931998" sldId="929"/>
            <ac:spMk id="61" creationId="{2A14CA01-2350-21C6-16E6-E9CEAF43B441}"/>
          </ac:spMkLst>
        </pc:spChg>
        <pc:spChg chg="del">
          <ac:chgData name="Nataliia Chornii (UA)" userId="4e4b8b3d-5f31-49bb-9f80-8a25c04abfff" providerId="ADAL" clId="{EE97D3FE-9ACA-4467-98E5-532EC45D9D1C}" dt="2024-03-01T10:59:29.947" v="10974" actId="478"/>
          <ac:spMkLst>
            <pc:docMk/>
            <pc:sldMk cId="2616931998" sldId="929"/>
            <ac:spMk id="62" creationId="{0977B53C-EEDF-ECC6-4AAC-EB21D6466344}"/>
          </ac:spMkLst>
        </pc:spChg>
        <pc:spChg chg="mod ord">
          <ac:chgData name="Nataliia Chornii (UA)" userId="4e4b8b3d-5f31-49bb-9f80-8a25c04abfff" providerId="ADAL" clId="{EE97D3FE-9ACA-4467-98E5-532EC45D9D1C}" dt="2024-03-01T12:59:47.225" v="12261"/>
          <ac:spMkLst>
            <pc:docMk/>
            <pc:sldMk cId="2616931998" sldId="929"/>
            <ac:spMk id="64" creationId="{19794A8F-A922-1A21-17E6-1B4B21C8F596}"/>
          </ac:spMkLst>
        </pc:spChg>
        <pc:spChg chg="del">
          <ac:chgData name="Nataliia Chornii (UA)" userId="4e4b8b3d-5f31-49bb-9f80-8a25c04abfff" providerId="ADAL" clId="{EE97D3FE-9ACA-4467-98E5-532EC45D9D1C}" dt="2024-03-01T10:59:49.292" v="11032" actId="478"/>
          <ac:spMkLst>
            <pc:docMk/>
            <pc:sldMk cId="2616931998" sldId="929"/>
            <ac:spMk id="65" creationId="{E637C43D-EB29-9E46-4805-26DDE31069D1}"/>
          </ac:spMkLst>
        </pc:spChg>
        <pc:spChg chg="mod ord">
          <ac:chgData name="Nataliia Chornii (UA)" userId="4e4b8b3d-5f31-49bb-9f80-8a25c04abfff" providerId="ADAL" clId="{EE97D3FE-9ACA-4467-98E5-532EC45D9D1C}" dt="2024-03-01T12:59:47.225" v="12263"/>
          <ac:spMkLst>
            <pc:docMk/>
            <pc:sldMk cId="2616931998" sldId="929"/>
            <ac:spMk id="67" creationId="{173D6274-53F8-0DD4-4E9A-1018104D2DCB}"/>
          </ac:spMkLst>
        </pc:spChg>
        <pc:spChg chg="del">
          <ac:chgData name="Nataliia Chornii (UA)" userId="4e4b8b3d-5f31-49bb-9f80-8a25c04abfff" providerId="ADAL" clId="{EE97D3FE-9ACA-4467-98E5-532EC45D9D1C}" dt="2024-03-01T10:59:49.292" v="11032" actId="478"/>
          <ac:spMkLst>
            <pc:docMk/>
            <pc:sldMk cId="2616931998" sldId="929"/>
            <ac:spMk id="68" creationId="{EA6E472F-8C91-1B3F-E19C-F4E7FEBD8822}"/>
          </ac:spMkLst>
        </pc:spChg>
        <pc:spChg chg="mod ord">
          <ac:chgData name="Nataliia Chornii (UA)" userId="4e4b8b3d-5f31-49bb-9f80-8a25c04abfff" providerId="ADAL" clId="{EE97D3FE-9ACA-4467-98E5-532EC45D9D1C}" dt="2024-03-01T12:59:47.225" v="12265"/>
          <ac:spMkLst>
            <pc:docMk/>
            <pc:sldMk cId="2616931998" sldId="929"/>
            <ac:spMk id="70" creationId="{8E071A3F-2B5A-7CD2-907D-0A46168AC360}"/>
          </ac:spMkLst>
        </pc:spChg>
        <pc:spChg chg="del">
          <ac:chgData name="Nataliia Chornii (UA)" userId="4e4b8b3d-5f31-49bb-9f80-8a25c04abfff" providerId="ADAL" clId="{EE97D3FE-9ACA-4467-98E5-532EC45D9D1C}" dt="2024-03-01T10:59:49.292" v="11032" actId="478"/>
          <ac:spMkLst>
            <pc:docMk/>
            <pc:sldMk cId="2616931998" sldId="929"/>
            <ac:spMk id="71" creationId="{4E9A4B16-5B86-15F3-0EC5-EC8CABFD7433}"/>
          </ac:spMkLst>
        </pc:spChg>
        <pc:spChg chg="mod ord">
          <ac:chgData name="Nataliia Chornii (UA)" userId="4e4b8b3d-5f31-49bb-9f80-8a25c04abfff" providerId="ADAL" clId="{EE97D3FE-9ACA-4467-98E5-532EC45D9D1C}" dt="2024-03-01T12:59:47.225" v="12267"/>
          <ac:spMkLst>
            <pc:docMk/>
            <pc:sldMk cId="2616931998" sldId="929"/>
            <ac:spMk id="73" creationId="{F861E25B-F987-831A-A602-44A1BC3C9C06}"/>
          </ac:spMkLst>
        </pc:spChg>
        <pc:spChg chg="del">
          <ac:chgData name="Nataliia Chornii (UA)" userId="4e4b8b3d-5f31-49bb-9f80-8a25c04abfff" providerId="ADAL" clId="{EE97D3FE-9ACA-4467-98E5-532EC45D9D1C}" dt="2024-03-01T10:59:49.292" v="11032" actId="478"/>
          <ac:spMkLst>
            <pc:docMk/>
            <pc:sldMk cId="2616931998" sldId="929"/>
            <ac:spMk id="74" creationId="{237C8191-4F1C-824D-519C-F908FF1C2C8A}"/>
          </ac:spMkLst>
        </pc:spChg>
        <pc:spChg chg="mod ord">
          <ac:chgData name="Nataliia Chornii (UA)" userId="4e4b8b3d-5f31-49bb-9f80-8a25c04abfff" providerId="ADAL" clId="{EE97D3FE-9ACA-4467-98E5-532EC45D9D1C}" dt="2024-03-01T12:59:47.225" v="12269"/>
          <ac:spMkLst>
            <pc:docMk/>
            <pc:sldMk cId="2616931998" sldId="929"/>
            <ac:spMk id="76" creationId="{48C1CD32-80B1-493D-9426-7B73B4755484}"/>
          </ac:spMkLst>
        </pc:spChg>
        <pc:spChg chg="del">
          <ac:chgData name="Nataliia Chornii (UA)" userId="4e4b8b3d-5f31-49bb-9f80-8a25c04abfff" providerId="ADAL" clId="{EE97D3FE-9ACA-4467-98E5-532EC45D9D1C}" dt="2024-03-01T10:59:49.292" v="11032" actId="478"/>
          <ac:spMkLst>
            <pc:docMk/>
            <pc:sldMk cId="2616931998" sldId="929"/>
            <ac:spMk id="77" creationId="{457656DF-9381-E741-ED31-A72942D19F30}"/>
          </ac:spMkLst>
        </pc:spChg>
        <pc:spChg chg="mod ord">
          <ac:chgData name="Nataliia Chornii (UA)" userId="4e4b8b3d-5f31-49bb-9f80-8a25c04abfff" providerId="ADAL" clId="{EE97D3FE-9ACA-4467-98E5-532EC45D9D1C}" dt="2024-03-01T12:59:47.225" v="12271"/>
          <ac:spMkLst>
            <pc:docMk/>
            <pc:sldMk cId="2616931998" sldId="929"/>
            <ac:spMk id="79" creationId="{84ACD26B-9585-F3C8-8179-0329BA741C8A}"/>
          </ac:spMkLst>
        </pc:spChg>
        <pc:spChg chg="del">
          <ac:chgData name="Nataliia Chornii (UA)" userId="4e4b8b3d-5f31-49bb-9f80-8a25c04abfff" providerId="ADAL" clId="{EE97D3FE-9ACA-4467-98E5-532EC45D9D1C}" dt="2024-03-01T10:59:49.292" v="11032" actId="478"/>
          <ac:spMkLst>
            <pc:docMk/>
            <pc:sldMk cId="2616931998" sldId="929"/>
            <ac:spMk id="80" creationId="{3EC4EC2B-AF59-0356-9A1D-C0C6D812DBE9}"/>
          </ac:spMkLst>
        </pc:spChg>
        <pc:spChg chg="del">
          <ac:chgData name="Nataliia Chornii (UA)" userId="4e4b8b3d-5f31-49bb-9f80-8a25c04abfff" providerId="ADAL" clId="{EE97D3FE-9ACA-4467-98E5-532EC45D9D1C}" dt="2024-03-01T11:01:58.616" v="11100" actId="478"/>
          <ac:spMkLst>
            <pc:docMk/>
            <pc:sldMk cId="2616931998" sldId="929"/>
            <ac:spMk id="99" creationId="{68245ED2-E555-5BDE-3F3A-DC7B7145C331}"/>
          </ac:spMkLst>
        </pc:spChg>
        <pc:spChg chg="mod ord">
          <ac:chgData name="Nataliia Chornii (UA)" userId="4e4b8b3d-5f31-49bb-9f80-8a25c04abfff" providerId="ADAL" clId="{EE97D3FE-9ACA-4467-98E5-532EC45D9D1C}" dt="2024-03-01T12:59:47.225" v="12273"/>
          <ac:spMkLst>
            <pc:docMk/>
            <pc:sldMk cId="2616931998" sldId="929"/>
            <ac:spMk id="100" creationId="{6196419E-02BA-D21D-1546-F1EC7C2A2D38}"/>
          </ac:spMkLst>
        </pc:spChg>
        <pc:spChg chg="mod ord">
          <ac:chgData name="Nataliia Chornii (UA)" userId="4e4b8b3d-5f31-49bb-9f80-8a25c04abfff" providerId="ADAL" clId="{EE97D3FE-9ACA-4467-98E5-532EC45D9D1C}" dt="2024-03-01T12:59:47.225" v="12275"/>
          <ac:spMkLst>
            <pc:docMk/>
            <pc:sldMk cId="2616931998" sldId="929"/>
            <ac:spMk id="101" creationId="{9ECA4B5E-E4A7-485E-4742-A7A24FB938CD}"/>
          </ac:spMkLst>
        </pc:spChg>
        <pc:spChg chg="mod ord">
          <ac:chgData name="Nataliia Chornii (UA)" userId="4e4b8b3d-5f31-49bb-9f80-8a25c04abfff" providerId="ADAL" clId="{EE97D3FE-9ACA-4467-98E5-532EC45D9D1C}" dt="2024-03-01T12:59:47.225" v="12277"/>
          <ac:spMkLst>
            <pc:docMk/>
            <pc:sldMk cId="2616931998" sldId="929"/>
            <ac:spMk id="102" creationId="{6C2839D0-72C0-7347-1A1F-A4C976165D3B}"/>
          </ac:spMkLst>
        </pc:spChg>
        <pc:spChg chg="mod ord">
          <ac:chgData name="Nataliia Chornii (UA)" userId="4e4b8b3d-5f31-49bb-9f80-8a25c04abfff" providerId="ADAL" clId="{EE97D3FE-9ACA-4467-98E5-532EC45D9D1C}" dt="2024-03-01T12:59:47.225" v="12279"/>
          <ac:spMkLst>
            <pc:docMk/>
            <pc:sldMk cId="2616931998" sldId="929"/>
            <ac:spMk id="103" creationId="{20162A1E-1272-A65F-9743-08A1C56CDD8F}"/>
          </ac:spMkLst>
        </pc:spChg>
        <pc:spChg chg="mod ord">
          <ac:chgData name="Nataliia Chornii (UA)" userId="4e4b8b3d-5f31-49bb-9f80-8a25c04abfff" providerId="ADAL" clId="{EE97D3FE-9ACA-4467-98E5-532EC45D9D1C}" dt="2024-03-01T12:59:47.225" v="12281"/>
          <ac:spMkLst>
            <pc:docMk/>
            <pc:sldMk cId="2616931998" sldId="929"/>
            <ac:spMk id="104" creationId="{C489AEBB-7FB2-EC1A-2DC3-18B08D331418}"/>
          </ac:spMkLst>
        </pc:spChg>
        <pc:spChg chg="mod ord">
          <ac:chgData name="Nataliia Chornii (UA)" userId="4e4b8b3d-5f31-49bb-9f80-8a25c04abfff" providerId="ADAL" clId="{EE97D3FE-9ACA-4467-98E5-532EC45D9D1C}" dt="2024-03-01T12:59:47.225" v="12283"/>
          <ac:spMkLst>
            <pc:docMk/>
            <pc:sldMk cId="2616931998" sldId="929"/>
            <ac:spMk id="107" creationId="{5E4C4BD5-129E-6AAF-672B-2CE5A9EA1809}"/>
          </ac:spMkLst>
        </pc:spChg>
        <pc:spChg chg="mod ord">
          <ac:chgData name="Nataliia Chornii (UA)" userId="4e4b8b3d-5f31-49bb-9f80-8a25c04abfff" providerId="ADAL" clId="{EE97D3FE-9ACA-4467-98E5-532EC45D9D1C}" dt="2024-03-01T12:59:47.225" v="12285"/>
          <ac:spMkLst>
            <pc:docMk/>
            <pc:sldMk cId="2616931998" sldId="929"/>
            <ac:spMk id="108" creationId="{374ED229-16EB-16FE-4EEB-6C75D32758A7}"/>
          </ac:spMkLst>
        </pc:spChg>
        <pc:grpChg chg="del">
          <ac:chgData name="Nataliia Chornii (UA)" userId="4e4b8b3d-5f31-49bb-9f80-8a25c04abfff" providerId="ADAL" clId="{EE97D3FE-9ACA-4467-98E5-532EC45D9D1C}" dt="2024-03-01T11:05:16.518" v="11132" actId="165"/>
          <ac:grpSpMkLst>
            <pc:docMk/>
            <pc:sldMk cId="2616931998" sldId="929"/>
            <ac:grpSpMk id="28" creationId="{DBEF3A72-62F9-B29D-8908-60C19CF93A03}"/>
          </ac:grpSpMkLst>
        </pc:grpChg>
        <pc:grpChg chg="del">
          <ac:chgData name="Nataliia Chornii (UA)" userId="4e4b8b3d-5f31-49bb-9f80-8a25c04abfff" providerId="ADAL" clId="{EE97D3FE-9ACA-4467-98E5-532EC45D9D1C}" dt="2024-03-01T11:05:23.885" v="11134" actId="165"/>
          <ac:grpSpMkLst>
            <pc:docMk/>
            <pc:sldMk cId="2616931998" sldId="929"/>
            <ac:grpSpMk id="43" creationId="{E9134216-27EA-A647-A616-B86FA8931C14}"/>
          </ac:grpSpMkLst>
        </pc:grpChg>
        <pc:graphicFrameChg chg="mod">
          <ac:chgData name="Nataliia Chornii (UA)" userId="4e4b8b3d-5f31-49bb-9f80-8a25c04abfff" providerId="ADAL" clId="{EE97D3FE-9ACA-4467-98E5-532EC45D9D1C}" dt="2024-03-01T12:59:47.257" v="12327"/>
          <ac:graphicFrameMkLst>
            <pc:docMk/>
            <pc:sldMk cId="2616931998" sldId="929"/>
            <ac:graphicFrameMk id="12" creationId="{F6E6AF23-7B86-113A-F559-513B41FEC1FE}"/>
          </ac:graphicFrameMkLst>
        </pc:graphicFrameChg>
        <pc:picChg chg="mod ord">
          <ac:chgData name="Nataliia Chornii (UA)" userId="4e4b8b3d-5f31-49bb-9f80-8a25c04abfff" providerId="ADAL" clId="{EE97D3FE-9ACA-4467-98E5-532EC45D9D1C}" dt="2024-03-01T12:59:47.215" v="12229"/>
          <ac:picMkLst>
            <pc:docMk/>
            <pc:sldMk cId="2616931998" sldId="929"/>
            <ac:picMk id="41" creationId="{7CAE88F2-0719-E8A4-5A3E-39E39CF155A6}"/>
          </ac:picMkLst>
        </pc:picChg>
        <pc:cxnChg chg="add mod ord">
          <ac:chgData name="Nataliia Chornii (UA)" userId="4e4b8b3d-5f31-49bb-9f80-8a25c04abfff" providerId="ADAL" clId="{EE97D3FE-9ACA-4467-98E5-532EC45D9D1C}" dt="2024-03-01T12:59:47.225" v="12287"/>
          <ac:cxnSpMkLst>
            <pc:docMk/>
            <pc:sldMk cId="2616931998" sldId="929"/>
            <ac:cxnSpMk id="6" creationId="{B3733624-6466-BD41-3C49-71F64E87C523}"/>
          </ac:cxnSpMkLst>
        </pc:cxnChg>
        <pc:cxnChg chg="add mod ord">
          <ac:chgData name="Nataliia Chornii (UA)" userId="4e4b8b3d-5f31-49bb-9f80-8a25c04abfff" providerId="ADAL" clId="{EE97D3FE-9ACA-4467-98E5-532EC45D9D1C}" dt="2024-03-01T12:59:47.225" v="12289"/>
          <ac:cxnSpMkLst>
            <pc:docMk/>
            <pc:sldMk cId="2616931998" sldId="929"/>
            <ac:cxnSpMk id="7" creationId="{5A2159BA-60F1-B7B5-DA22-2E5D2C4A8574}"/>
          </ac:cxnSpMkLst>
        </pc:cxnChg>
        <pc:cxnChg chg="add mod ord">
          <ac:chgData name="Nataliia Chornii (UA)" userId="4e4b8b3d-5f31-49bb-9f80-8a25c04abfff" providerId="ADAL" clId="{EE97D3FE-9ACA-4467-98E5-532EC45D9D1C}" dt="2024-03-01T12:59:47.225" v="12291"/>
          <ac:cxnSpMkLst>
            <pc:docMk/>
            <pc:sldMk cId="2616931998" sldId="929"/>
            <ac:cxnSpMk id="9" creationId="{CBCFB46D-F848-5D86-81ED-08C2DDBD6018}"/>
          </ac:cxnSpMkLst>
        </pc:cxnChg>
        <pc:cxnChg chg="add mod ord">
          <ac:chgData name="Nataliia Chornii (UA)" userId="4e4b8b3d-5f31-49bb-9f80-8a25c04abfff" providerId="ADAL" clId="{EE97D3FE-9ACA-4467-98E5-532EC45D9D1C}" dt="2024-03-01T12:59:47.225" v="12293"/>
          <ac:cxnSpMkLst>
            <pc:docMk/>
            <pc:sldMk cId="2616931998" sldId="929"/>
            <ac:cxnSpMk id="11" creationId="{A04A74A1-0026-74F8-2A50-1E9075544CF3}"/>
          </ac:cxnSpMkLst>
        </pc:cxnChg>
        <pc:cxnChg chg="add mod ord">
          <ac:chgData name="Nataliia Chornii (UA)" userId="4e4b8b3d-5f31-49bb-9f80-8a25c04abfff" providerId="ADAL" clId="{EE97D3FE-9ACA-4467-98E5-532EC45D9D1C}" dt="2024-03-01T12:59:47.241" v="12295"/>
          <ac:cxnSpMkLst>
            <pc:docMk/>
            <pc:sldMk cId="2616931998" sldId="929"/>
            <ac:cxnSpMk id="13" creationId="{CB152EF5-0E28-D564-BA70-371799026C17}"/>
          </ac:cxnSpMkLst>
        </pc:cxnChg>
        <pc:cxnChg chg="add mod ord">
          <ac:chgData name="Nataliia Chornii (UA)" userId="4e4b8b3d-5f31-49bb-9f80-8a25c04abfff" providerId="ADAL" clId="{EE97D3FE-9ACA-4467-98E5-532EC45D9D1C}" dt="2024-03-01T12:59:47.241" v="12297"/>
          <ac:cxnSpMkLst>
            <pc:docMk/>
            <pc:sldMk cId="2616931998" sldId="929"/>
            <ac:cxnSpMk id="14" creationId="{FEF121C9-BA2C-579A-87E4-3935103FF4BC}"/>
          </ac:cxnSpMkLst>
        </pc:cxnChg>
        <pc:cxnChg chg="add mod ord">
          <ac:chgData name="Nataliia Chornii (UA)" userId="4e4b8b3d-5f31-49bb-9f80-8a25c04abfff" providerId="ADAL" clId="{EE97D3FE-9ACA-4467-98E5-532EC45D9D1C}" dt="2024-03-01T12:59:47.241" v="12299"/>
          <ac:cxnSpMkLst>
            <pc:docMk/>
            <pc:sldMk cId="2616931998" sldId="929"/>
            <ac:cxnSpMk id="15" creationId="{3DE31210-26C3-2A63-15ED-FE32524A997D}"/>
          </ac:cxnSpMkLst>
        </pc:cxnChg>
        <pc:cxnChg chg="add mod">
          <ac:chgData name="Nataliia Chornii (UA)" userId="4e4b8b3d-5f31-49bb-9f80-8a25c04abfff" providerId="ADAL" clId="{EE97D3FE-9ACA-4467-98E5-532EC45D9D1C}" dt="2024-03-01T13:00:45.925" v="12340" actId="408"/>
          <ac:cxnSpMkLst>
            <pc:docMk/>
            <pc:sldMk cId="2616931998" sldId="929"/>
            <ac:cxnSpMk id="54" creationId="{425D3CDD-3230-B756-BF10-BB0DB723DBBE}"/>
          </ac:cxnSpMkLst>
        </pc:cxnChg>
        <pc:cxnChg chg="del">
          <ac:chgData name="Nataliia Chornii (UA)" userId="4e4b8b3d-5f31-49bb-9f80-8a25c04abfff" providerId="ADAL" clId="{EE97D3FE-9ACA-4467-98E5-532EC45D9D1C}" dt="2024-03-01T11:00:00.868" v="11033" actId="478"/>
          <ac:cxnSpMkLst>
            <pc:docMk/>
            <pc:sldMk cId="2616931998" sldId="929"/>
            <ac:cxnSpMk id="106" creationId="{FFD4031A-36A2-8179-5E2D-0A3C984BF25A}"/>
          </ac:cxnSpMkLst>
        </pc:cxnChg>
      </pc:sldChg>
      <pc:sldChg chg="addSp delSp modSp add del mod modShow">
        <pc:chgData name="Nataliia Chornii (UA)" userId="4e4b8b3d-5f31-49bb-9f80-8a25c04abfff" providerId="ADAL" clId="{EE97D3FE-9ACA-4467-98E5-532EC45D9D1C}" dt="2024-03-01T15:06:39.256" v="16181" actId="47"/>
        <pc:sldMkLst>
          <pc:docMk/>
          <pc:sldMk cId="3888153566" sldId="930"/>
        </pc:sldMkLst>
        <pc:spChg chg="add del mod modVis">
          <ac:chgData name="Nataliia Chornii (UA)" userId="4e4b8b3d-5f31-49bb-9f80-8a25c04abfff" providerId="ADAL" clId="{EE97D3FE-9ACA-4467-98E5-532EC45D9D1C}" dt="2024-03-01T12:44:06.020" v="11168"/>
          <ac:spMkLst>
            <pc:docMk/>
            <pc:sldMk cId="3888153566" sldId="930"/>
            <ac:spMk id="2" creationId="{4D0191AC-CB94-E198-F890-791F0C08677A}"/>
          </ac:spMkLst>
        </pc:spChg>
        <pc:spChg chg="mod ord">
          <ac:chgData name="Nataliia Chornii (UA)" userId="4e4b8b3d-5f31-49bb-9f80-8a25c04abfff" providerId="ADAL" clId="{EE97D3FE-9ACA-4467-98E5-532EC45D9D1C}" dt="2024-03-01T12:50:06.198" v="11629" actId="948"/>
          <ac:spMkLst>
            <pc:docMk/>
            <pc:sldMk cId="3888153566" sldId="930"/>
            <ac:spMk id="3" creationId="{F4CCF02E-F3C4-C376-8F56-61BD85A2E74B}"/>
          </ac:spMkLst>
        </pc:spChg>
        <pc:spChg chg="mod ord">
          <ac:chgData name="Nataliia Chornii (UA)" userId="4e4b8b3d-5f31-49bb-9f80-8a25c04abfff" providerId="ADAL" clId="{EE97D3FE-9ACA-4467-98E5-532EC45D9D1C}" dt="2024-03-01T12:48:14.056" v="11536"/>
          <ac:spMkLst>
            <pc:docMk/>
            <pc:sldMk cId="3888153566" sldId="930"/>
            <ac:spMk id="4" creationId="{872966CD-924A-B939-E655-A6BAF817DCBF}"/>
          </ac:spMkLst>
        </pc:spChg>
        <pc:spChg chg="add del mod ord topLvl">
          <ac:chgData name="Nataliia Chornii (UA)" userId="4e4b8b3d-5f31-49bb-9f80-8a25c04abfff" providerId="ADAL" clId="{EE97D3FE-9ACA-4467-98E5-532EC45D9D1C}" dt="2024-03-01T12:47:07.616" v="11395" actId="478"/>
          <ac:spMkLst>
            <pc:docMk/>
            <pc:sldMk cId="3888153566" sldId="930"/>
            <ac:spMk id="5" creationId="{D8F58FFE-2BDD-A155-DB37-C866E8C978C1}"/>
          </ac:spMkLst>
        </pc:spChg>
        <pc:spChg chg="mod ord">
          <ac:chgData name="Nataliia Chornii (UA)" userId="4e4b8b3d-5f31-49bb-9f80-8a25c04abfff" providerId="ADAL" clId="{EE97D3FE-9ACA-4467-98E5-532EC45D9D1C}" dt="2024-03-01T12:48:14.056" v="11536"/>
          <ac:spMkLst>
            <pc:docMk/>
            <pc:sldMk cId="3888153566" sldId="930"/>
            <ac:spMk id="10" creationId="{6F55AA3F-6103-110B-C367-10711AC49356}"/>
          </ac:spMkLst>
        </pc:spChg>
        <pc:spChg chg="add mod ord">
          <ac:chgData name="Nataliia Chornii (UA)" userId="4e4b8b3d-5f31-49bb-9f80-8a25c04abfff" providerId="ADAL" clId="{EE97D3FE-9ACA-4467-98E5-532EC45D9D1C}" dt="2024-03-01T12:50:50.361" v="11679" actId="1076"/>
          <ac:spMkLst>
            <pc:docMk/>
            <pc:sldMk cId="3888153566" sldId="930"/>
            <ac:spMk id="16" creationId="{F908943B-C266-904B-3454-FC2231E2F170}"/>
          </ac:spMkLst>
        </pc:spChg>
        <pc:spChg chg="add del mod">
          <ac:chgData name="Nataliia Chornii (UA)" userId="4e4b8b3d-5f31-49bb-9f80-8a25c04abfff" providerId="ADAL" clId="{EE97D3FE-9ACA-4467-98E5-532EC45D9D1C}" dt="2024-03-01T12:50:36.977" v="11674" actId="478"/>
          <ac:spMkLst>
            <pc:docMk/>
            <pc:sldMk cId="3888153566" sldId="930"/>
            <ac:spMk id="17" creationId="{726C1634-3CF4-83C0-8814-1E5F79C4BD07}"/>
          </ac:spMkLst>
        </pc:spChg>
        <pc:spChg chg="add mod">
          <ac:chgData name="Nataliia Chornii (UA)" userId="4e4b8b3d-5f31-49bb-9f80-8a25c04abfff" providerId="ADAL" clId="{EE97D3FE-9ACA-4467-98E5-532EC45D9D1C}" dt="2024-03-01T12:51:26.320" v="11689" actId="1037"/>
          <ac:spMkLst>
            <pc:docMk/>
            <pc:sldMk cId="3888153566" sldId="930"/>
            <ac:spMk id="18" creationId="{2852DDF1-0BDD-7DC5-15A3-5F5BF48E2C01}"/>
          </ac:spMkLst>
        </pc:spChg>
        <pc:spChg chg="add del mod modVis">
          <ac:chgData name="Nataliia Chornii (UA)" userId="4e4b8b3d-5f31-49bb-9f80-8a25c04abfff" providerId="ADAL" clId="{EE97D3FE-9ACA-4467-98E5-532EC45D9D1C}" dt="2024-03-01T12:50:04.118" v="11626"/>
          <ac:spMkLst>
            <pc:docMk/>
            <pc:sldMk cId="3888153566" sldId="930"/>
            <ac:spMk id="19" creationId="{CB5AD677-F624-DA29-517E-F880E4A90CC8}"/>
          </ac:spMkLst>
        </pc:spChg>
        <pc:spChg chg="add del mod modVis">
          <ac:chgData name="Nataliia Chornii (UA)" userId="4e4b8b3d-5f31-49bb-9f80-8a25c04abfff" providerId="ADAL" clId="{EE97D3FE-9ACA-4467-98E5-532EC45D9D1C}" dt="2024-03-01T12:50:06.240" v="11664"/>
          <ac:spMkLst>
            <pc:docMk/>
            <pc:sldMk cId="3888153566" sldId="930"/>
            <ac:spMk id="20" creationId="{A20F9336-E891-9338-A209-05A13A057270}"/>
          </ac:spMkLst>
        </pc:spChg>
        <pc:spChg chg="mod ord">
          <ac:chgData name="Nataliia Chornii (UA)" userId="4e4b8b3d-5f31-49bb-9f80-8a25c04abfff" providerId="ADAL" clId="{EE97D3FE-9ACA-4467-98E5-532EC45D9D1C}" dt="2024-03-01T12:48:14.056" v="11536"/>
          <ac:spMkLst>
            <pc:docMk/>
            <pc:sldMk cId="3888153566" sldId="930"/>
            <ac:spMk id="21" creationId="{78DC1799-6B68-492D-BBE0-D7BECB3D58E6}"/>
          </ac:spMkLst>
        </pc:spChg>
        <pc:spChg chg="mod ord">
          <ac:chgData name="Nataliia Chornii (UA)" userId="4e4b8b3d-5f31-49bb-9f80-8a25c04abfff" providerId="ADAL" clId="{EE97D3FE-9ACA-4467-98E5-532EC45D9D1C}" dt="2024-03-01T12:48:14.056" v="11536"/>
          <ac:spMkLst>
            <pc:docMk/>
            <pc:sldMk cId="3888153566" sldId="930"/>
            <ac:spMk id="22" creationId="{8A383B1B-1F96-C467-6BC7-1ACF6506A40E}"/>
          </ac:spMkLst>
        </pc:spChg>
        <pc:spChg chg="add mod">
          <ac:chgData name="Nataliia Chornii (UA)" userId="4e4b8b3d-5f31-49bb-9f80-8a25c04abfff" providerId="ADAL" clId="{EE97D3FE-9ACA-4467-98E5-532EC45D9D1C}" dt="2024-03-01T12:50:56.788" v="11681" actId="1076"/>
          <ac:spMkLst>
            <pc:docMk/>
            <pc:sldMk cId="3888153566" sldId="930"/>
            <ac:spMk id="23" creationId="{C8661E4A-380D-1530-2DEB-20ECF775B25F}"/>
          </ac:spMkLst>
        </pc:spChg>
        <pc:spChg chg="add mod">
          <ac:chgData name="Nataliia Chornii (UA)" userId="4e4b8b3d-5f31-49bb-9f80-8a25c04abfff" providerId="ADAL" clId="{EE97D3FE-9ACA-4467-98E5-532EC45D9D1C}" dt="2024-03-01T12:50:59.673" v="11682" actId="571"/>
          <ac:spMkLst>
            <pc:docMk/>
            <pc:sldMk cId="3888153566" sldId="930"/>
            <ac:spMk id="24" creationId="{7CB9FBD5-D7EF-ACAB-0CA3-234365A7FAAC}"/>
          </ac:spMkLst>
        </pc:spChg>
        <pc:spChg chg="mod ord">
          <ac:chgData name="Nataliia Chornii (UA)" userId="4e4b8b3d-5f31-49bb-9f80-8a25c04abfff" providerId="ADAL" clId="{EE97D3FE-9ACA-4467-98E5-532EC45D9D1C}" dt="2024-03-01T12:48:14.056" v="11536"/>
          <ac:spMkLst>
            <pc:docMk/>
            <pc:sldMk cId="3888153566" sldId="930"/>
            <ac:spMk id="25" creationId="{2B261BF4-92C6-462D-AA95-793AE54DD688}"/>
          </ac:spMkLst>
        </pc:spChg>
        <pc:spChg chg="mod ord">
          <ac:chgData name="Nataliia Chornii (UA)" userId="4e4b8b3d-5f31-49bb-9f80-8a25c04abfff" providerId="ADAL" clId="{EE97D3FE-9ACA-4467-98E5-532EC45D9D1C}" dt="2024-03-01T12:48:14.056" v="11536"/>
          <ac:spMkLst>
            <pc:docMk/>
            <pc:sldMk cId="3888153566" sldId="930"/>
            <ac:spMk id="26" creationId="{5EC1F9AE-82A4-85FE-592B-EF659F76F7EC}"/>
          </ac:spMkLst>
        </pc:spChg>
        <pc:spChg chg="mod ord">
          <ac:chgData name="Nataliia Chornii (UA)" userId="4e4b8b3d-5f31-49bb-9f80-8a25c04abfff" providerId="ADAL" clId="{EE97D3FE-9ACA-4467-98E5-532EC45D9D1C}" dt="2024-03-01T12:48:14.056" v="11536"/>
          <ac:spMkLst>
            <pc:docMk/>
            <pc:sldMk cId="3888153566" sldId="930"/>
            <ac:spMk id="27" creationId="{72D802D4-B169-1594-D931-40179675E33A}"/>
          </ac:spMkLst>
        </pc:spChg>
        <pc:spChg chg="add mod">
          <ac:chgData name="Nataliia Chornii (UA)" userId="4e4b8b3d-5f31-49bb-9f80-8a25c04abfff" providerId="ADAL" clId="{EE97D3FE-9ACA-4467-98E5-532EC45D9D1C}" dt="2024-03-01T12:51:02.808" v="11683" actId="571"/>
          <ac:spMkLst>
            <pc:docMk/>
            <pc:sldMk cId="3888153566" sldId="930"/>
            <ac:spMk id="28" creationId="{B73C6DD6-259D-72A7-73A8-61A654B3BC0D}"/>
          </ac:spMkLst>
        </pc:spChg>
        <pc:spChg chg="mod ord">
          <ac:chgData name="Nataliia Chornii (UA)" userId="4e4b8b3d-5f31-49bb-9f80-8a25c04abfff" providerId="ADAL" clId="{EE97D3FE-9ACA-4467-98E5-532EC45D9D1C}" dt="2024-03-01T12:48:14.056" v="11536"/>
          <ac:spMkLst>
            <pc:docMk/>
            <pc:sldMk cId="3888153566" sldId="930"/>
            <ac:spMk id="29" creationId="{3915AD89-6428-4A75-0915-328643F1703C}"/>
          </ac:spMkLst>
        </pc:spChg>
        <pc:spChg chg="mod ord">
          <ac:chgData name="Nataliia Chornii (UA)" userId="4e4b8b3d-5f31-49bb-9f80-8a25c04abfff" providerId="ADAL" clId="{EE97D3FE-9ACA-4467-98E5-532EC45D9D1C}" dt="2024-03-01T12:48:14.056" v="11536"/>
          <ac:spMkLst>
            <pc:docMk/>
            <pc:sldMk cId="3888153566" sldId="930"/>
            <ac:spMk id="30" creationId="{373AB206-F1F0-CC72-8C15-85605D9AF2AC}"/>
          </ac:spMkLst>
        </pc:spChg>
        <pc:spChg chg="add mod">
          <ac:chgData name="Nataliia Chornii (UA)" userId="4e4b8b3d-5f31-49bb-9f80-8a25c04abfff" providerId="ADAL" clId="{EE97D3FE-9ACA-4467-98E5-532EC45D9D1C}" dt="2024-03-01T12:51:05.997" v="11684" actId="571"/>
          <ac:spMkLst>
            <pc:docMk/>
            <pc:sldMk cId="3888153566" sldId="930"/>
            <ac:spMk id="31" creationId="{BC6E9824-A4F1-7DE4-34FC-F109678A272D}"/>
          </ac:spMkLst>
        </pc:spChg>
        <pc:spChg chg="del">
          <ac:chgData name="Nataliia Chornii (UA)" userId="4e4b8b3d-5f31-49bb-9f80-8a25c04abfff" providerId="ADAL" clId="{EE97D3FE-9ACA-4467-98E5-532EC45D9D1C}" dt="2024-03-01T12:44:02.919" v="11144" actId="478"/>
          <ac:spMkLst>
            <pc:docMk/>
            <pc:sldMk cId="3888153566" sldId="930"/>
            <ac:spMk id="32" creationId="{FB63C400-82C1-C700-1D2B-17C849F124C0}"/>
          </ac:spMkLst>
        </pc:spChg>
        <pc:spChg chg="del">
          <ac:chgData name="Nataliia Chornii (UA)" userId="4e4b8b3d-5f31-49bb-9f80-8a25c04abfff" providerId="ADAL" clId="{EE97D3FE-9ACA-4467-98E5-532EC45D9D1C}" dt="2024-03-01T12:44:02.919" v="11144" actId="478"/>
          <ac:spMkLst>
            <pc:docMk/>
            <pc:sldMk cId="3888153566" sldId="930"/>
            <ac:spMk id="33" creationId="{A4189C25-64A4-3289-336F-F9EC1B83ADCE}"/>
          </ac:spMkLst>
        </pc:spChg>
        <pc:spChg chg="del">
          <ac:chgData name="Nataliia Chornii (UA)" userId="4e4b8b3d-5f31-49bb-9f80-8a25c04abfff" providerId="ADAL" clId="{EE97D3FE-9ACA-4467-98E5-532EC45D9D1C}" dt="2024-03-01T12:44:02.919" v="11144" actId="478"/>
          <ac:spMkLst>
            <pc:docMk/>
            <pc:sldMk cId="3888153566" sldId="930"/>
            <ac:spMk id="34" creationId="{395ADB54-EB2F-6A1C-D561-976CB34F7D25}"/>
          </ac:spMkLst>
        </pc:spChg>
        <pc:spChg chg="del">
          <ac:chgData name="Nataliia Chornii (UA)" userId="4e4b8b3d-5f31-49bb-9f80-8a25c04abfff" providerId="ADAL" clId="{EE97D3FE-9ACA-4467-98E5-532EC45D9D1C}" dt="2024-03-01T12:44:02.919" v="11144" actId="478"/>
          <ac:spMkLst>
            <pc:docMk/>
            <pc:sldMk cId="3888153566" sldId="930"/>
            <ac:spMk id="35" creationId="{95F6B912-06AF-61A2-E8DC-BC5B3BB82471}"/>
          </ac:spMkLst>
        </pc:spChg>
        <pc:spChg chg="del">
          <ac:chgData name="Nataliia Chornii (UA)" userId="4e4b8b3d-5f31-49bb-9f80-8a25c04abfff" providerId="ADAL" clId="{EE97D3FE-9ACA-4467-98E5-532EC45D9D1C}" dt="2024-03-01T12:44:02.919" v="11144" actId="478"/>
          <ac:spMkLst>
            <pc:docMk/>
            <pc:sldMk cId="3888153566" sldId="930"/>
            <ac:spMk id="36" creationId="{DFE7B78B-3579-AD72-FBC9-3EE2DBBE8C07}"/>
          </ac:spMkLst>
        </pc:spChg>
        <pc:spChg chg="del">
          <ac:chgData name="Nataliia Chornii (UA)" userId="4e4b8b3d-5f31-49bb-9f80-8a25c04abfff" providerId="ADAL" clId="{EE97D3FE-9ACA-4467-98E5-532EC45D9D1C}" dt="2024-03-01T12:44:02.919" v="11144" actId="478"/>
          <ac:spMkLst>
            <pc:docMk/>
            <pc:sldMk cId="3888153566" sldId="930"/>
            <ac:spMk id="37" creationId="{739E7498-B313-0181-2BDB-105B1600AE16}"/>
          </ac:spMkLst>
        </pc:spChg>
        <pc:spChg chg="mod ord">
          <ac:chgData name="Nataliia Chornii (UA)" userId="4e4b8b3d-5f31-49bb-9f80-8a25c04abfff" providerId="ADAL" clId="{EE97D3FE-9ACA-4467-98E5-532EC45D9D1C}" dt="2024-03-01T12:48:14.056" v="11536"/>
          <ac:spMkLst>
            <pc:docMk/>
            <pc:sldMk cId="3888153566" sldId="930"/>
            <ac:spMk id="38" creationId="{272900AC-10C3-F441-FC58-31445D62009C}"/>
          </ac:spMkLst>
        </pc:spChg>
        <pc:spChg chg="del">
          <ac:chgData name="Nataliia Chornii (UA)" userId="4e4b8b3d-5f31-49bb-9f80-8a25c04abfff" providerId="ADAL" clId="{EE97D3FE-9ACA-4467-98E5-532EC45D9D1C}" dt="2024-03-01T12:44:02.919" v="11144" actId="478"/>
          <ac:spMkLst>
            <pc:docMk/>
            <pc:sldMk cId="3888153566" sldId="930"/>
            <ac:spMk id="39" creationId="{C91C3C2E-BE8A-495D-5334-7C8FE4266B2C}"/>
          </ac:spMkLst>
        </pc:spChg>
        <pc:spChg chg="del">
          <ac:chgData name="Nataliia Chornii (UA)" userId="4e4b8b3d-5f31-49bb-9f80-8a25c04abfff" providerId="ADAL" clId="{EE97D3FE-9ACA-4467-98E5-532EC45D9D1C}" dt="2024-03-01T12:44:02.919" v="11144" actId="478"/>
          <ac:spMkLst>
            <pc:docMk/>
            <pc:sldMk cId="3888153566" sldId="930"/>
            <ac:spMk id="40" creationId="{30043BD5-616D-7B17-4B98-50FB1B38DF1D}"/>
          </ac:spMkLst>
        </pc:spChg>
        <pc:spChg chg="mod ord">
          <ac:chgData name="Nataliia Chornii (UA)" userId="4e4b8b3d-5f31-49bb-9f80-8a25c04abfff" providerId="ADAL" clId="{EE97D3FE-9ACA-4467-98E5-532EC45D9D1C}" dt="2024-03-01T12:48:14.056" v="11536"/>
          <ac:spMkLst>
            <pc:docMk/>
            <pc:sldMk cId="3888153566" sldId="930"/>
            <ac:spMk id="42" creationId="{50830596-224D-A11D-D251-21B0CA3EB02E}"/>
          </ac:spMkLst>
        </pc:spChg>
        <pc:spChg chg="add mod">
          <ac:chgData name="Nataliia Chornii (UA)" userId="4e4b8b3d-5f31-49bb-9f80-8a25c04abfff" providerId="ADAL" clId="{EE97D3FE-9ACA-4467-98E5-532EC45D9D1C}" dt="2024-03-01T12:51:09.138" v="11685" actId="571"/>
          <ac:spMkLst>
            <pc:docMk/>
            <pc:sldMk cId="3888153566" sldId="930"/>
            <ac:spMk id="43" creationId="{2C097BF4-4EBC-7A01-1054-189AF6B5E6CA}"/>
          </ac:spMkLst>
        </pc:spChg>
        <pc:spChg chg="mod ord">
          <ac:chgData name="Nataliia Chornii (UA)" userId="4e4b8b3d-5f31-49bb-9f80-8a25c04abfff" providerId="ADAL" clId="{EE97D3FE-9ACA-4467-98E5-532EC45D9D1C}" dt="2024-03-01T12:48:14.056" v="11536"/>
          <ac:spMkLst>
            <pc:docMk/>
            <pc:sldMk cId="3888153566" sldId="930"/>
            <ac:spMk id="44" creationId="{37325A5C-F07F-2313-782A-18E3E98D15F0}"/>
          </ac:spMkLst>
        </pc:spChg>
        <pc:spChg chg="mod ord">
          <ac:chgData name="Nataliia Chornii (UA)" userId="4e4b8b3d-5f31-49bb-9f80-8a25c04abfff" providerId="ADAL" clId="{EE97D3FE-9ACA-4467-98E5-532EC45D9D1C}" dt="2024-03-01T12:48:14.056" v="11536"/>
          <ac:spMkLst>
            <pc:docMk/>
            <pc:sldMk cId="3888153566" sldId="930"/>
            <ac:spMk id="45" creationId="{5A4A472A-422C-56F4-A0F5-AE422E82D144}"/>
          </ac:spMkLst>
        </pc:spChg>
        <pc:spChg chg="mod ord">
          <ac:chgData name="Nataliia Chornii (UA)" userId="4e4b8b3d-5f31-49bb-9f80-8a25c04abfff" providerId="ADAL" clId="{EE97D3FE-9ACA-4467-98E5-532EC45D9D1C}" dt="2024-03-01T12:48:14.056" v="11536"/>
          <ac:spMkLst>
            <pc:docMk/>
            <pc:sldMk cId="3888153566" sldId="930"/>
            <ac:spMk id="46" creationId="{09BF84D6-F468-7005-FAB5-AA0B6AE5CFB4}"/>
          </ac:spMkLst>
        </pc:spChg>
        <pc:spChg chg="mod ord topLvl">
          <ac:chgData name="Nataliia Chornii (UA)" userId="4e4b8b3d-5f31-49bb-9f80-8a25c04abfff" providerId="ADAL" clId="{EE97D3FE-9ACA-4467-98E5-532EC45D9D1C}" dt="2024-03-01T12:50:09.222" v="11669" actId="554"/>
          <ac:spMkLst>
            <pc:docMk/>
            <pc:sldMk cId="3888153566" sldId="930"/>
            <ac:spMk id="47" creationId="{53CB8D3C-9648-B17B-BD59-60EED0CCD133}"/>
          </ac:spMkLst>
        </pc:spChg>
        <pc:spChg chg="add mod">
          <ac:chgData name="Nataliia Chornii (UA)" userId="4e4b8b3d-5f31-49bb-9f80-8a25c04abfff" providerId="ADAL" clId="{EE97D3FE-9ACA-4467-98E5-532EC45D9D1C}" dt="2024-03-01T12:51:13.719" v="11686" actId="571"/>
          <ac:spMkLst>
            <pc:docMk/>
            <pc:sldMk cId="3888153566" sldId="930"/>
            <ac:spMk id="48" creationId="{9E9036DA-4B46-0D5A-1D92-8FCB1111AFF9}"/>
          </ac:spMkLst>
        </pc:spChg>
        <pc:spChg chg="mod ord">
          <ac:chgData name="Nataliia Chornii (UA)" userId="4e4b8b3d-5f31-49bb-9f80-8a25c04abfff" providerId="ADAL" clId="{EE97D3FE-9ACA-4467-98E5-532EC45D9D1C}" dt="2024-03-01T12:48:14.056" v="11536"/>
          <ac:spMkLst>
            <pc:docMk/>
            <pc:sldMk cId="3888153566" sldId="930"/>
            <ac:spMk id="49" creationId="{DED3BED4-139F-CB4F-0A7B-7B90211550F4}"/>
          </ac:spMkLst>
        </pc:spChg>
        <pc:spChg chg="add mod">
          <ac:chgData name="Nataliia Chornii (UA)" userId="4e4b8b3d-5f31-49bb-9f80-8a25c04abfff" providerId="ADAL" clId="{EE97D3FE-9ACA-4467-98E5-532EC45D9D1C}" dt="2024-03-01T12:52:09.011" v="11702" actId="207"/>
          <ac:spMkLst>
            <pc:docMk/>
            <pc:sldMk cId="3888153566" sldId="930"/>
            <ac:spMk id="50" creationId="{61121769-21A2-D009-3D52-F0E0C6592564}"/>
          </ac:spMkLst>
        </pc:spChg>
        <pc:spChg chg="add mod">
          <ac:chgData name="Nataliia Chornii (UA)" userId="4e4b8b3d-5f31-49bb-9f80-8a25c04abfff" providerId="ADAL" clId="{EE97D3FE-9ACA-4467-98E5-532EC45D9D1C}" dt="2024-03-01T12:51:48.655" v="11698" actId="465"/>
          <ac:spMkLst>
            <pc:docMk/>
            <pc:sldMk cId="3888153566" sldId="930"/>
            <ac:spMk id="51" creationId="{3997DF34-76F2-6AE1-A0C4-827982A6B07F}"/>
          </ac:spMkLst>
        </pc:spChg>
        <pc:spChg chg="add mod">
          <ac:chgData name="Nataliia Chornii (UA)" userId="4e4b8b3d-5f31-49bb-9f80-8a25c04abfff" providerId="ADAL" clId="{EE97D3FE-9ACA-4467-98E5-532EC45D9D1C}" dt="2024-03-01T12:52:09.011" v="11702" actId="207"/>
          <ac:spMkLst>
            <pc:docMk/>
            <pc:sldMk cId="3888153566" sldId="930"/>
            <ac:spMk id="52" creationId="{46DDC8D3-270D-6902-464D-024C2818DB76}"/>
          </ac:spMkLst>
        </pc:spChg>
        <pc:spChg chg="add mod">
          <ac:chgData name="Nataliia Chornii (UA)" userId="4e4b8b3d-5f31-49bb-9f80-8a25c04abfff" providerId="ADAL" clId="{EE97D3FE-9ACA-4467-98E5-532EC45D9D1C}" dt="2024-03-01T12:51:48.655" v="11698" actId="465"/>
          <ac:spMkLst>
            <pc:docMk/>
            <pc:sldMk cId="3888153566" sldId="930"/>
            <ac:spMk id="53" creationId="{8C783681-E821-3CF5-13F3-E6CFD02BD8C7}"/>
          </ac:spMkLst>
        </pc:spChg>
        <pc:spChg chg="add mod">
          <ac:chgData name="Nataliia Chornii (UA)" userId="4e4b8b3d-5f31-49bb-9f80-8a25c04abfff" providerId="ADAL" clId="{EE97D3FE-9ACA-4467-98E5-532EC45D9D1C}" dt="2024-03-01T12:52:09.011" v="11702" actId="207"/>
          <ac:spMkLst>
            <pc:docMk/>
            <pc:sldMk cId="3888153566" sldId="930"/>
            <ac:spMk id="54" creationId="{07D1BC64-6A12-CC92-BB16-BD158E162656}"/>
          </ac:spMkLst>
        </pc:spChg>
        <pc:spChg chg="add mod">
          <ac:chgData name="Nataliia Chornii (UA)" userId="4e4b8b3d-5f31-49bb-9f80-8a25c04abfff" providerId="ADAL" clId="{EE97D3FE-9ACA-4467-98E5-532EC45D9D1C}" dt="2024-03-01T12:51:48.655" v="11698" actId="465"/>
          <ac:spMkLst>
            <pc:docMk/>
            <pc:sldMk cId="3888153566" sldId="930"/>
            <ac:spMk id="55" creationId="{8C097EE3-F6C4-6234-3083-E71D5EA8DD39}"/>
          </ac:spMkLst>
        </pc:spChg>
        <pc:spChg chg="add mod">
          <ac:chgData name="Nataliia Chornii (UA)" userId="4e4b8b3d-5f31-49bb-9f80-8a25c04abfff" providerId="ADAL" clId="{EE97D3FE-9ACA-4467-98E5-532EC45D9D1C}" dt="2024-03-01T12:52:09.011" v="11702" actId="207"/>
          <ac:spMkLst>
            <pc:docMk/>
            <pc:sldMk cId="3888153566" sldId="930"/>
            <ac:spMk id="56" creationId="{ECBD8D0F-9B63-C8A0-20CA-AFF76EDDBA2A}"/>
          </ac:spMkLst>
        </pc:spChg>
        <pc:spChg chg="mod ord">
          <ac:chgData name="Nataliia Chornii (UA)" userId="4e4b8b3d-5f31-49bb-9f80-8a25c04abfff" providerId="ADAL" clId="{EE97D3FE-9ACA-4467-98E5-532EC45D9D1C}" dt="2024-03-01T12:51:59.190" v="11700" actId="207"/>
          <ac:spMkLst>
            <pc:docMk/>
            <pc:sldMk cId="3888153566" sldId="930"/>
            <ac:spMk id="61" creationId="{2A14CA01-2350-21C6-16E6-E9CEAF43B441}"/>
          </ac:spMkLst>
        </pc:spChg>
        <pc:spChg chg="mod ord">
          <ac:chgData name="Nataliia Chornii (UA)" userId="4e4b8b3d-5f31-49bb-9f80-8a25c04abfff" providerId="ADAL" clId="{EE97D3FE-9ACA-4467-98E5-532EC45D9D1C}" dt="2024-03-01T12:52:04.100" v="11701" actId="207"/>
          <ac:spMkLst>
            <pc:docMk/>
            <pc:sldMk cId="3888153566" sldId="930"/>
            <ac:spMk id="64" creationId="{19794A8F-A922-1A21-17E6-1B4B21C8F596}"/>
          </ac:spMkLst>
        </pc:spChg>
        <pc:spChg chg="mod ord">
          <ac:chgData name="Nataliia Chornii (UA)" userId="4e4b8b3d-5f31-49bb-9f80-8a25c04abfff" providerId="ADAL" clId="{EE97D3FE-9ACA-4467-98E5-532EC45D9D1C}" dt="2024-03-01T12:51:59.190" v="11700" actId="207"/>
          <ac:spMkLst>
            <pc:docMk/>
            <pc:sldMk cId="3888153566" sldId="930"/>
            <ac:spMk id="67" creationId="{173D6274-53F8-0DD4-4E9A-1018104D2DCB}"/>
          </ac:spMkLst>
        </pc:spChg>
        <pc:spChg chg="mod ord">
          <ac:chgData name="Nataliia Chornii (UA)" userId="4e4b8b3d-5f31-49bb-9f80-8a25c04abfff" providerId="ADAL" clId="{EE97D3FE-9ACA-4467-98E5-532EC45D9D1C}" dt="2024-03-01T12:48:14.056" v="11536"/>
          <ac:spMkLst>
            <pc:docMk/>
            <pc:sldMk cId="3888153566" sldId="930"/>
            <ac:spMk id="70" creationId="{8E071A3F-2B5A-7CD2-907D-0A46168AC360}"/>
          </ac:spMkLst>
        </pc:spChg>
        <pc:spChg chg="mod ord">
          <ac:chgData name="Nataliia Chornii (UA)" userId="4e4b8b3d-5f31-49bb-9f80-8a25c04abfff" providerId="ADAL" clId="{EE97D3FE-9ACA-4467-98E5-532EC45D9D1C}" dt="2024-03-01T12:49:08.980" v="11550" actId="207"/>
          <ac:spMkLst>
            <pc:docMk/>
            <pc:sldMk cId="3888153566" sldId="930"/>
            <ac:spMk id="73" creationId="{F861E25B-F987-831A-A602-44A1BC3C9C06}"/>
          </ac:spMkLst>
        </pc:spChg>
        <pc:spChg chg="mod ord">
          <ac:chgData name="Nataliia Chornii (UA)" userId="4e4b8b3d-5f31-49bb-9f80-8a25c04abfff" providerId="ADAL" clId="{EE97D3FE-9ACA-4467-98E5-532EC45D9D1C}" dt="2024-03-01T12:52:04.100" v="11701" actId="207"/>
          <ac:spMkLst>
            <pc:docMk/>
            <pc:sldMk cId="3888153566" sldId="930"/>
            <ac:spMk id="76" creationId="{48C1CD32-80B1-493D-9426-7B73B4755484}"/>
          </ac:spMkLst>
        </pc:spChg>
        <pc:spChg chg="mod ord">
          <ac:chgData name="Nataliia Chornii (UA)" userId="4e4b8b3d-5f31-49bb-9f80-8a25c04abfff" providerId="ADAL" clId="{EE97D3FE-9ACA-4467-98E5-532EC45D9D1C}" dt="2024-03-01T12:51:59.190" v="11700" actId="207"/>
          <ac:spMkLst>
            <pc:docMk/>
            <pc:sldMk cId="3888153566" sldId="930"/>
            <ac:spMk id="79" creationId="{84ACD26B-9585-F3C8-8179-0329BA741C8A}"/>
          </ac:spMkLst>
        </pc:spChg>
        <pc:spChg chg="mod ord">
          <ac:chgData name="Nataliia Chornii (UA)" userId="4e4b8b3d-5f31-49bb-9f80-8a25c04abfff" providerId="ADAL" clId="{EE97D3FE-9ACA-4467-98E5-532EC45D9D1C}" dt="2024-03-01T12:48:14.056" v="11536"/>
          <ac:spMkLst>
            <pc:docMk/>
            <pc:sldMk cId="3888153566" sldId="930"/>
            <ac:spMk id="100" creationId="{6196419E-02BA-D21D-1546-F1EC7C2A2D38}"/>
          </ac:spMkLst>
        </pc:spChg>
        <pc:spChg chg="mod ord">
          <ac:chgData name="Nataliia Chornii (UA)" userId="4e4b8b3d-5f31-49bb-9f80-8a25c04abfff" providerId="ADAL" clId="{EE97D3FE-9ACA-4467-98E5-532EC45D9D1C}" dt="2024-03-01T12:48:14.056" v="11536"/>
          <ac:spMkLst>
            <pc:docMk/>
            <pc:sldMk cId="3888153566" sldId="930"/>
            <ac:spMk id="101" creationId="{9ECA4B5E-E4A7-485E-4742-A7A24FB938CD}"/>
          </ac:spMkLst>
        </pc:spChg>
        <pc:spChg chg="mod ord">
          <ac:chgData name="Nataliia Chornii (UA)" userId="4e4b8b3d-5f31-49bb-9f80-8a25c04abfff" providerId="ADAL" clId="{EE97D3FE-9ACA-4467-98E5-532EC45D9D1C}" dt="2024-03-01T12:48:14.056" v="11536"/>
          <ac:spMkLst>
            <pc:docMk/>
            <pc:sldMk cId="3888153566" sldId="930"/>
            <ac:spMk id="102" creationId="{6C2839D0-72C0-7347-1A1F-A4C976165D3B}"/>
          </ac:spMkLst>
        </pc:spChg>
        <pc:spChg chg="mod ord">
          <ac:chgData name="Nataliia Chornii (UA)" userId="4e4b8b3d-5f31-49bb-9f80-8a25c04abfff" providerId="ADAL" clId="{EE97D3FE-9ACA-4467-98E5-532EC45D9D1C}" dt="2024-03-01T12:48:14.056" v="11536"/>
          <ac:spMkLst>
            <pc:docMk/>
            <pc:sldMk cId="3888153566" sldId="930"/>
            <ac:spMk id="103" creationId="{20162A1E-1272-A65F-9743-08A1C56CDD8F}"/>
          </ac:spMkLst>
        </pc:spChg>
        <pc:spChg chg="mod ord">
          <ac:chgData name="Nataliia Chornii (UA)" userId="4e4b8b3d-5f31-49bb-9f80-8a25c04abfff" providerId="ADAL" clId="{EE97D3FE-9ACA-4467-98E5-532EC45D9D1C}" dt="2024-03-01T12:48:14.056" v="11536"/>
          <ac:spMkLst>
            <pc:docMk/>
            <pc:sldMk cId="3888153566" sldId="930"/>
            <ac:spMk id="104" creationId="{C489AEBB-7FB2-EC1A-2DC3-18B08D331418}"/>
          </ac:spMkLst>
        </pc:spChg>
        <pc:spChg chg="mod ord">
          <ac:chgData name="Nataliia Chornii (UA)" userId="4e4b8b3d-5f31-49bb-9f80-8a25c04abfff" providerId="ADAL" clId="{EE97D3FE-9ACA-4467-98E5-532EC45D9D1C}" dt="2024-03-01T12:48:14.056" v="11536"/>
          <ac:spMkLst>
            <pc:docMk/>
            <pc:sldMk cId="3888153566" sldId="930"/>
            <ac:spMk id="107" creationId="{5E4C4BD5-129E-6AAF-672B-2CE5A9EA1809}"/>
          </ac:spMkLst>
        </pc:spChg>
        <pc:spChg chg="mod ord">
          <ac:chgData name="Nataliia Chornii (UA)" userId="4e4b8b3d-5f31-49bb-9f80-8a25c04abfff" providerId="ADAL" clId="{EE97D3FE-9ACA-4467-98E5-532EC45D9D1C}" dt="2024-03-01T12:48:14.056" v="11536"/>
          <ac:spMkLst>
            <pc:docMk/>
            <pc:sldMk cId="3888153566" sldId="930"/>
            <ac:spMk id="108" creationId="{374ED229-16EB-16FE-4EEB-6C75D32758A7}"/>
          </ac:spMkLst>
        </pc:spChg>
        <pc:grpChg chg="add del mod">
          <ac:chgData name="Nataliia Chornii (UA)" userId="4e4b8b3d-5f31-49bb-9f80-8a25c04abfff" providerId="ADAL" clId="{EE97D3FE-9ACA-4467-98E5-532EC45D9D1C}" dt="2024-03-01T12:46:23.187" v="11216" actId="165"/>
          <ac:grpSpMkLst>
            <pc:docMk/>
            <pc:sldMk cId="3888153566" sldId="930"/>
            <ac:grpSpMk id="8" creationId="{B5ACC0DB-2997-B4F6-C396-4E485721259C}"/>
          </ac:grpSpMkLst>
        </pc:grpChg>
        <pc:graphicFrameChg chg="mod">
          <ac:chgData name="Nataliia Chornii (UA)" userId="4e4b8b3d-5f31-49bb-9f80-8a25c04abfff" providerId="ADAL" clId="{EE97D3FE-9ACA-4467-98E5-532EC45D9D1C}" dt="2024-03-01T12:50:06.240" v="11666"/>
          <ac:graphicFrameMkLst>
            <pc:docMk/>
            <pc:sldMk cId="3888153566" sldId="930"/>
            <ac:graphicFrameMk id="12" creationId="{F6E6AF23-7B86-113A-F559-513B41FEC1FE}"/>
          </ac:graphicFrameMkLst>
        </pc:graphicFrameChg>
        <pc:picChg chg="mod ord">
          <ac:chgData name="Nataliia Chornii (UA)" userId="4e4b8b3d-5f31-49bb-9f80-8a25c04abfff" providerId="ADAL" clId="{EE97D3FE-9ACA-4467-98E5-532EC45D9D1C}" dt="2024-03-01T12:48:14.056" v="11536"/>
          <ac:picMkLst>
            <pc:docMk/>
            <pc:sldMk cId="3888153566" sldId="930"/>
            <ac:picMk id="41" creationId="{7CAE88F2-0719-E8A4-5A3E-39E39CF155A6}"/>
          </ac:picMkLst>
        </pc:picChg>
        <pc:cxnChg chg="mod ord">
          <ac:chgData name="Nataliia Chornii (UA)" userId="4e4b8b3d-5f31-49bb-9f80-8a25c04abfff" providerId="ADAL" clId="{EE97D3FE-9ACA-4467-98E5-532EC45D9D1C}" dt="2024-03-01T12:48:14.056" v="11536"/>
          <ac:cxnSpMkLst>
            <pc:docMk/>
            <pc:sldMk cId="3888153566" sldId="930"/>
            <ac:cxnSpMk id="6" creationId="{B3733624-6466-BD41-3C49-71F64E87C523}"/>
          </ac:cxnSpMkLst>
        </pc:cxnChg>
        <pc:cxnChg chg="mod ord">
          <ac:chgData name="Nataliia Chornii (UA)" userId="4e4b8b3d-5f31-49bb-9f80-8a25c04abfff" providerId="ADAL" clId="{EE97D3FE-9ACA-4467-98E5-532EC45D9D1C}" dt="2024-03-01T12:48:14.056" v="11536"/>
          <ac:cxnSpMkLst>
            <pc:docMk/>
            <pc:sldMk cId="3888153566" sldId="930"/>
            <ac:cxnSpMk id="7" creationId="{5A2159BA-60F1-B7B5-DA22-2E5D2C4A8574}"/>
          </ac:cxnSpMkLst>
        </pc:cxnChg>
        <pc:cxnChg chg="mod ord">
          <ac:chgData name="Nataliia Chornii (UA)" userId="4e4b8b3d-5f31-49bb-9f80-8a25c04abfff" providerId="ADAL" clId="{EE97D3FE-9ACA-4467-98E5-532EC45D9D1C}" dt="2024-03-01T12:48:14.056" v="11536"/>
          <ac:cxnSpMkLst>
            <pc:docMk/>
            <pc:sldMk cId="3888153566" sldId="930"/>
            <ac:cxnSpMk id="9" creationId="{CBCFB46D-F848-5D86-81ED-08C2DDBD6018}"/>
          </ac:cxnSpMkLst>
        </pc:cxnChg>
        <pc:cxnChg chg="mod ord">
          <ac:chgData name="Nataliia Chornii (UA)" userId="4e4b8b3d-5f31-49bb-9f80-8a25c04abfff" providerId="ADAL" clId="{EE97D3FE-9ACA-4467-98E5-532EC45D9D1C}" dt="2024-03-01T12:48:14.056" v="11536"/>
          <ac:cxnSpMkLst>
            <pc:docMk/>
            <pc:sldMk cId="3888153566" sldId="930"/>
            <ac:cxnSpMk id="11" creationId="{A04A74A1-0026-74F8-2A50-1E9075544CF3}"/>
          </ac:cxnSpMkLst>
        </pc:cxnChg>
        <pc:cxnChg chg="mod ord">
          <ac:chgData name="Nataliia Chornii (UA)" userId="4e4b8b3d-5f31-49bb-9f80-8a25c04abfff" providerId="ADAL" clId="{EE97D3FE-9ACA-4467-98E5-532EC45D9D1C}" dt="2024-03-01T12:48:14.056" v="11536"/>
          <ac:cxnSpMkLst>
            <pc:docMk/>
            <pc:sldMk cId="3888153566" sldId="930"/>
            <ac:cxnSpMk id="13" creationId="{CB152EF5-0E28-D564-BA70-371799026C17}"/>
          </ac:cxnSpMkLst>
        </pc:cxnChg>
        <pc:cxnChg chg="mod ord">
          <ac:chgData name="Nataliia Chornii (UA)" userId="4e4b8b3d-5f31-49bb-9f80-8a25c04abfff" providerId="ADAL" clId="{EE97D3FE-9ACA-4467-98E5-532EC45D9D1C}" dt="2024-03-01T12:48:14.056" v="11536"/>
          <ac:cxnSpMkLst>
            <pc:docMk/>
            <pc:sldMk cId="3888153566" sldId="930"/>
            <ac:cxnSpMk id="14" creationId="{FEF121C9-BA2C-579A-87E4-3935103FF4BC}"/>
          </ac:cxnSpMkLst>
        </pc:cxnChg>
        <pc:cxnChg chg="mod ord">
          <ac:chgData name="Nataliia Chornii (UA)" userId="4e4b8b3d-5f31-49bb-9f80-8a25c04abfff" providerId="ADAL" clId="{EE97D3FE-9ACA-4467-98E5-532EC45D9D1C}" dt="2024-03-01T12:48:14.056" v="11536"/>
          <ac:cxnSpMkLst>
            <pc:docMk/>
            <pc:sldMk cId="3888153566" sldId="930"/>
            <ac:cxnSpMk id="15" creationId="{3DE31210-26C3-2A63-15ED-FE32524A997D}"/>
          </ac:cxnSpMkLst>
        </pc:cxnChg>
      </pc:sldChg>
      <pc:sldChg chg="addSp delSp modSp mod modShow">
        <pc:chgData name="Nataliia Chornii (UA)" userId="4e4b8b3d-5f31-49bb-9f80-8a25c04abfff" providerId="ADAL" clId="{EE97D3FE-9ACA-4467-98E5-532EC45D9D1C}" dt="2024-03-11T14:28:52.619" v="24176" actId="14100"/>
        <pc:sldMkLst>
          <pc:docMk/>
          <pc:sldMk cId="3431578971" sldId="931"/>
        </pc:sldMkLst>
        <pc:spChg chg="mod ord">
          <ac:chgData name="Nataliia Chornii (UA)" userId="4e4b8b3d-5f31-49bb-9f80-8a25c04abfff" providerId="ADAL" clId="{EE97D3FE-9ACA-4467-98E5-532EC45D9D1C}" dt="2024-03-01T14:51:53.848" v="15824" actId="1076"/>
          <ac:spMkLst>
            <pc:docMk/>
            <pc:sldMk cId="3431578971" sldId="931"/>
            <ac:spMk id="2" creationId="{6CA1ECBA-9098-2617-476E-BB53C42ACEE3}"/>
          </ac:spMkLst>
        </pc:spChg>
        <pc:spChg chg="mod ord">
          <ac:chgData name="Nataliia Chornii (UA)" userId="4e4b8b3d-5f31-49bb-9f80-8a25c04abfff" providerId="ADAL" clId="{EE97D3FE-9ACA-4467-98E5-532EC45D9D1C}" dt="2024-03-11T14:28:39.719" v="24140" actId="948"/>
          <ac:spMkLst>
            <pc:docMk/>
            <pc:sldMk cId="3431578971" sldId="931"/>
            <ac:spMk id="3" creationId="{F4CCF02E-F3C4-C376-8F56-61BD85A2E74B}"/>
          </ac:spMkLst>
        </pc:spChg>
        <pc:spChg chg="mod ord">
          <ac:chgData name="Nataliia Chornii (UA)" userId="4e4b8b3d-5f31-49bb-9f80-8a25c04abfff" providerId="ADAL" clId="{EE97D3FE-9ACA-4467-98E5-532EC45D9D1C}" dt="2024-03-01T14:14:10.613" v="14094"/>
          <ac:spMkLst>
            <pc:docMk/>
            <pc:sldMk cId="3431578971" sldId="931"/>
            <ac:spMk id="4" creationId="{872966CD-924A-B939-E655-A6BAF817DCBF}"/>
          </ac:spMkLst>
        </pc:spChg>
        <pc:spChg chg="add mod">
          <ac:chgData name="Nataliia Chornii (UA)" userId="4e4b8b3d-5f31-49bb-9f80-8a25c04abfff" providerId="ADAL" clId="{EE97D3FE-9ACA-4467-98E5-532EC45D9D1C}" dt="2024-03-04T08:45:22.679" v="17514" actId="553"/>
          <ac:spMkLst>
            <pc:docMk/>
            <pc:sldMk cId="3431578971" sldId="931"/>
            <ac:spMk id="5" creationId="{24043397-1676-6167-2BCF-94B9BF536C60}"/>
          </ac:spMkLst>
        </pc:spChg>
        <pc:spChg chg="add del mod modVis">
          <ac:chgData name="Nataliia Chornii (UA)" userId="4e4b8b3d-5f31-49bb-9f80-8a25c04abfff" providerId="ADAL" clId="{EE97D3FE-9ACA-4467-98E5-532EC45D9D1C}" dt="2024-03-04T08:45:15.935" v="17500"/>
          <ac:spMkLst>
            <pc:docMk/>
            <pc:sldMk cId="3431578971" sldId="931"/>
            <ac:spMk id="8" creationId="{0263EF45-10C7-16EC-E88A-1362F99D2328}"/>
          </ac:spMkLst>
        </pc:spChg>
        <pc:spChg chg="add mod">
          <ac:chgData name="Nataliia Chornii (UA)" userId="4e4b8b3d-5f31-49bb-9f80-8a25c04abfff" providerId="ADAL" clId="{EE97D3FE-9ACA-4467-98E5-532EC45D9D1C}" dt="2024-03-11T14:25:43.872" v="24080"/>
          <ac:spMkLst>
            <pc:docMk/>
            <pc:sldMk cId="3431578971" sldId="931"/>
            <ac:spMk id="8" creationId="{3E1B33AD-40C6-3992-E0C2-7519E160295A}"/>
          </ac:spMkLst>
        </pc:spChg>
        <pc:spChg chg="del mod ord">
          <ac:chgData name="Nataliia Chornii (UA)" userId="4e4b8b3d-5f31-49bb-9f80-8a25c04abfff" providerId="ADAL" clId="{EE97D3FE-9ACA-4467-98E5-532EC45D9D1C}" dt="2024-03-01T15:19:12.291" v="16983" actId="478"/>
          <ac:spMkLst>
            <pc:docMk/>
            <pc:sldMk cId="3431578971" sldId="931"/>
            <ac:spMk id="10" creationId="{6F55AA3F-6103-110B-C367-10711AC49356}"/>
          </ac:spMkLst>
        </pc:spChg>
        <pc:spChg chg="mod">
          <ac:chgData name="Nataliia Chornii (UA)" userId="4e4b8b3d-5f31-49bb-9f80-8a25c04abfff" providerId="ADAL" clId="{EE97D3FE-9ACA-4467-98E5-532EC45D9D1C}" dt="2024-03-11T14:25:43.872" v="24080"/>
          <ac:spMkLst>
            <pc:docMk/>
            <pc:sldMk cId="3431578971" sldId="931"/>
            <ac:spMk id="16" creationId="{6E96110A-895D-143A-EB76-4DB46538EA41}"/>
          </ac:spMkLst>
        </pc:spChg>
        <pc:spChg chg="mod ord">
          <ac:chgData name="Nataliia Chornii (UA)" userId="4e4b8b3d-5f31-49bb-9f80-8a25c04abfff" providerId="ADAL" clId="{EE97D3FE-9ACA-4467-98E5-532EC45D9D1C}" dt="2024-03-01T14:51:59.229" v="15826" actId="465"/>
          <ac:spMkLst>
            <pc:docMk/>
            <pc:sldMk cId="3431578971" sldId="931"/>
            <ac:spMk id="17" creationId="{1B3B2816-7084-FA8B-9573-B5304273EF81}"/>
          </ac:spMkLst>
        </pc:spChg>
        <pc:spChg chg="add del mod modVis">
          <ac:chgData name="Nataliia Chornii (UA)" userId="4e4b8b3d-5f31-49bb-9f80-8a25c04abfff" providerId="ADAL" clId="{EE97D3FE-9ACA-4467-98E5-532EC45D9D1C}" dt="2024-03-01T14:10:02.296" v="13885"/>
          <ac:spMkLst>
            <pc:docMk/>
            <pc:sldMk cId="3431578971" sldId="931"/>
            <ac:spMk id="18" creationId="{FAE4DD5A-FF3C-FEA2-5765-9357D0E00539}"/>
          </ac:spMkLst>
        </pc:spChg>
        <pc:spChg chg="mod">
          <ac:chgData name="Nataliia Chornii (UA)" userId="4e4b8b3d-5f31-49bb-9f80-8a25c04abfff" providerId="ADAL" clId="{EE97D3FE-9ACA-4467-98E5-532EC45D9D1C}" dt="2024-03-11T14:25:43.872" v="24080"/>
          <ac:spMkLst>
            <pc:docMk/>
            <pc:sldMk cId="3431578971" sldId="931"/>
            <ac:spMk id="18" creationId="{FD14261E-CBDA-FA05-1BAA-CF7B902A24CD}"/>
          </ac:spMkLst>
        </pc:spChg>
        <pc:spChg chg="mod">
          <ac:chgData name="Nataliia Chornii (UA)" userId="4e4b8b3d-5f31-49bb-9f80-8a25c04abfff" providerId="ADAL" clId="{EE97D3FE-9ACA-4467-98E5-532EC45D9D1C}" dt="2024-03-11T14:25:43.872" v="24080"/>
          <ac:spMkLst>
            <pc:docMk/>
            <pc:sldMk cId="3431578971" sldId="931"/>
            <ac:spMk id="19" creationId="{D9DC4DBD-8CE5-CBB7-CC9F-9CC6FC5C8D09}"/>
          </ac:spMkLst>
        </pc:spChg>
        <pc:spChg chg="mod ord">
          <ac:chgData name="Nataliia Chornii (UA)" userId="4e4b8b3d-5f31-49bb-9f80-8a25c04abfff" providerId="ADAL" clId="{EE97D3FE-9ACA-4467-98E5-532EC45D9D1C}" dt="2024-03-01T14:51:26.431" v="15816" actId="555"/>
          <ac:spMkLst>
            <pc:docMk/>
            <pc:sldMk cId="3431578971" sldId="931"/>
            <ac:spMk id="21" creationId="{78DC1799-6B68-492D-BBE0-D7BECB3D58E6}"/>
          </ac:spMkLst>
        </pc:spChg>
        <pc:spChg chg="mod">
          <ac:chgData name="Nataliia Chornii (UA)" userId="4e4b8b3d-5f31-49bb-9f80-8a25c04abfff" providerId="ADAL" clId="{EE97D3FE-9ACA-4467-98E5-532EC45D9D1C}" dt="2024-03-11T14:25:43.872" v="24080"/>
          <ac:spMkLst>
            <pc:docMk/>
            <pc:sldMk cId="3431578971" sldId="931"/>
            <ac:spMk id="22" creationId="{7CE1B8D0-9D45-1E35-5DA0-AAF347446E12}"/>
          </ac:spMkLst>
        </pc:spChg>
        <pc:spChg chg="del mod ord">
          <ac:chgData name="Nataliia Chornii (UA)" userId="4e4b8b3d-5f31-49bb-9f80-8a25c04abfff" providerId="ADAL" clId="{EE97D3FE-9ACA-4467-98E5-532EC45D9D1C}" dt="2024-03-01T14:14:37.765" v="14189" actId="478"/>
          <ac:spMkLst>
            <pc:docMk/>
            <pc:sldMk cId="3431578971" sldId="931"/>
            <ac:spMk id="22" creationId="{8A383B1B-1F96-C467-6BC7-1ACF6506A40E}"/>
          </ac:spMkLst>
        </pc:spChg>
        <pc:spChg chg="add mod ord">
          <ac:chgData name="Nataliia Chornii (UA)" userId="4e4b8b3d-5f31-49bb-9f80-8a25c04abfff" providerId="ADAL" clId="{EE97D3FE-9ACA-4467-98E5-532EC45D9D1C}" dt="2024-03-01T14:51:34.269" v="15819" actId="12789"/>
          <ac:spMkLst>
            <pc:docMk/>
            <pc:sldMk cId="3431578971" sldId="931"/>
            <ac:spMk id="23" creationId="{AF01EC8D-5F48-32D6-594A-E45D62E76E38}"/>
          </ac:spMkLst>
        </pc:spChg>
        <pc:spChg chg="add del mod">
          <ac:chgData name="Nataliia Chornii (UA)" userId="4e4b8b3d-5f31-49bb-9f80-8a25c04abfff" providerId="ADAL" clId="{EE97D3FE-9ACA-4467-98E5-532EC45D9D1C}" dt="2024-03-01T14:12:52.618" v="13962" actId="478"/>
          <ac:spMkLst>
            <pc:docMk/>
            <pc:sldMk cId="3431578971" sldId="931"/>
            <ac:spMk id="24" creationId="{23FE492F-CC43-7842-9E5C-F1272278010F}"/>
          </ac:spMkLst>
        </pc:spChg>
        <pc:spChg chg="mod">
          <ac:chgData name="Nataliia Chornii (UA)" userId="4e4b8b3d-5f31-49bb-9f80-8a25c04abfff" providerId="ADAL" clId="{EE97D3FE-9ACA-4467-98E5-532EC45D9D1C}" dt="2024-03-11T14:25:43.872" v="24080"/>
          <ac:spMkLst>
            <pc:docMk/>
            <pc:sldMk cId="3431578971" sldId="931"/>
            <ac:spMk id="24" creationId="{DADAC315-E73E-4258-E5CD-F4E424D8C890}"/>
          </ac:spMkLst>
        </pc:spChg>
        <pc:spChg chg="mod ord">
          <ac:chgData name="Nataliia Chornii (UA)" userId="4e4b8b3d-5f31-49bb-9f80-8a25c04abfff" providerId="ADAL" clId="{EE97D3FE-9ACA-4467-98E5-532EC45D9D1C}" dt="2024-03-01T14:51:08.576" v="15809" actId="555"/>
          <ac:spMkLst>
            <pc:docMk/>
            <pc:sldMk cId="3431578971" sldId="931"/>
            <ac:spMk id="25" creationId="{2B261BF4-92C6-462D-AA95-793AE54DD688}"/>
          </ac:spMkLst>
        </pc:spChg>
        <pc:spChg chg="add del mod ord">
          <ac:chgData name="Nataliia Chornii (UA)" userId="4e4b8b3d-5f31-49bb-9f80-8a25c04abfff" providerId="ADAL" clId="{EE97D3FE-9ACA-4467-98E5-532EC45D9D1C}" dt="2024-03-01T14:49:56.252" v="15782" actId="478"/>
          <ac:spMkLst>
            <pc:docMk/>
            <pc:sldMk cId="3431578971" sldId="931"/>
            <ac:spMk id="26" creationId="{5EC1F9AE-82A4-85FE-592B-EF659F76F7EC}"/>
          </ac:spMkLst>
        </pc:spChg>
        <pc:spChg chg="add del mod ord">
          <ac:chgData name="Nataliia Chornii (UA)" userId="4e4b8b3d-5f31-49bb-9f80-8a25c04abfff" providerId="ADAL" clId="{EE97D3FE-9ACA-4467-98E5-532EC45D9D1C}" dt="2024-03-01T14:49:56.252" v="15782" actId="478"/>
          <ac:spMkLst>
            <pc:docMk/>
            <pc:sldMk cId="3431578971" sldId="931"/>
            <ac:spMk id="27" creationId="{72D802D4-B169-1594-D931-40179675E33A}"/>
          </ac:spMkLst>
        </pc:spChg>
        <pc:spChg chg="mod">
          <ac:chgData name="Nataliia Chornii (UA)" userId="4e4b8b3d-5f31-49bb-9f80-8a25c04abfff" providerId="ADAL" clId="{EE97D3FE-9ACA-4467-98E5-532EC45D9D1C}" dt="2024-03-11T14:25:43.872" v="24080"/>
          <ac:spMkLst>
            <pc:docMk/>
            <pc:sldMk cId="3431578971" sldId="931"/>
            <ac:spMk id="28" creationId="{684D453C-C5B2-B4F0-6ECA-227B80AAF470}"/>
          </ac:spMkLst>
        </pc:spChg>
        <pc:spChg chg="add del mod">
          <ac:chgData name="Nataliia Chornii (UA)" userId="4e4b8b3d-5f31-49bb-9f80-8a25c04abfff" providerId="ADAL" clId="{EE97D3FE-9ACA-4467-98E5-532EC45D9D1C}" dt="2024-03-01T14:12:52.618" v="13962" actId="478"/>
          <ac:spMkLst>
            <pc:docMk/>
            <pc:sldMk cId="3431578971" sldId="931"/>
            <ac:spMk id="28" creationId="{A747948C-5416-7903-93A6-D1E30B6ECF16}"/>
          </ac:spMkLst>
        </pc:spChg>
        <pc:spChg chg="add del mod ord">
          <ac:chgData name="Nataliia Chornii (UA)" userId="4e4b8b3d-5f31-49bb-9f80-8a25c04abfff" providerId="ADAL" clId="{EE97D3FE-9ACA-4467-98E5-532EC45D9D1C}" dt="2024-03-01T14:49:56.252" v="15782" actId="478"/>
          <ac:spMkLst>
            <pc:docMk/>
            <pc:sldMk cId="3431578971" sldId="931"/>
            <ac:spMk id="29" creationId="{3915AD89-6428-4A75-0915-328643F1703C}"/>
          </ac:spMkLst>
        </pc:spChg>
        <pc:spChg chg="add del mod ord">
          <ac:chgData name="Nataliia Chornii (UA)" userId="4e4b8b3d-5f31-49bb-9f80-8a25c04abfff" providerId="ADAL" clId="{EE97D3FE-9ACA-4467-98E5-532EC45D9D1C}" dt="2024-03-01T14:49:56.252" v="15782" actId="478"/>
          <ac:spMkLst>
            <pc:docMk/>
            <pc:sldMk cId="3431578971" sldId="931"/>
            <ac:spMk id="30" creationId="{373AB206-F1F0-CC72-8C15-85605D9AF2AC}"/>
          </ac:spMkLst>
        </pc:spChg>
        <pc:spChg chg="add del mod modVis">
          <ac:chgData name="Nataliia Chornii (UA)" userId="4e4b8b3d-5f31-49bb-9f80-8a25c04abfff" providerId="ADAL" clId="{EE97D3FE-9ACA-4467-98E5-532EC45D9D1C}" dt="2024-03-11T14:28:39.816" v="24168"/>
          <ac:spMkLst>
            <pc:docMk/>
            <pc:sldMk cId="3431578971" sldId="931"/>
            <ac:spMk id="31" creationId="{1645E71A-B3EF-F22C-91C5-8CFE37089110}"/>
          </ac:spMkLst>
        </pc:spChg>
        <pc:spChg chg="add del mod">
          <ac:chgData name="Nataliia Chornii (UA)" userId="4e4b8b3d-5f31-49bb-9f80-8a25c04abfff" providerId="ADAL" clId="{EE97D3FE-9ACA-4467-98E5-532EC45D9D1C}" dt="2024-03-01T14:12:49.984" v="13961" actId="478"/>
          <ac:spMkLst>
            <pc:docMk/>
            <pc:sldMk cId="3431578971" sldId="931"/>
            <ac:spMk id="31" creationId="{CB1739FF-706E-7058-C6FC-1F1AD9962774}"/>
          </ac:spMkLst>
        </pc:spChg>
        <pc:spChg chg="add del mod">
          <ac:chgData name="Nataliia Chornii (UA)" userId="4e4b8b3d-5f31-49bb-9f80-8a25c04abfff" providerId="ADAL" clId="{EE97D3FE-9ACA-4467-98E5-532EC45D9D1C}" dt="2024-03-01T14:12:49.984" v="13961" actId="478"/>
          <ac:spMkLst>
            <pc:docMk/>
            <pc:sldMk cId="3431578971" sldId="931"/>
            <ac:spMk id="32" creationId="{3ABB0220-F9F6-C7A5-0BD7-71C51C8E57C9}"/>
          </ac:spMkLst>
        </pc:spChg>
        <pc:spChg chg="add del mod">
          <ac:chgData name="Nataliia Chornii (UA)" userId="4e4b8b3d-5f31-49bb-9f80-8a25c04abfff" providerId="ADAL" clId="{EE97D3FE-9ACA-4467-98E5-532EC45D9D1C}" dt="2024-03-01T14:12:49.984" v="13961" actId="478"/>
          <ac:spMkLst>
            <pc:docMk/>
            <pc:sldMk cId="3431578971" sldId="931"/>
            <ac:spMk id="33" creationId="{45D979CE-556A-D3FA-ADEB-FEFCD93A4795}"/>
          </ac:spMkLst>
        </pc:spChg>
        <pc:spChg chg="add del mod">
          <ac:chgData name="Nataliia Chornii (UA)" userId="4e4b8b3d-5f31-49bb-9f80-8a25c04abfff" providerId="ADAL" clId="{EE97D3FE-9ACA-4467-98E5-532EC45D9D1C}" dt="2024-03-01T14:12:46.912" v="13960" actId="478"/>
          <ac:spMkLst>
            <pc:docMk/>
            <pc:sldMk cId="3431578971" sldId="931"/>
            <ac:spMk id="34" creationId="{28C301E2-C906-A489-8548-8AE11DBF2C0E}"/>
          </ac:spMkLst>
        </pc:spChg>
        <pc:spChg chg="add del mod">
          <ac:chgData name="Nataliia Chornii (UA)" userId="4e4b8b3d-5f31-49bb-9f80-8a25c04abfff" providerId="ADAL" clId="{EE97D3FE-9ACA-4467-98E5-532EC45D9D1C}" dt="2024-03-01T14:12:46.912" v="13960" actId="478"/>
          <ac:spMkLst>
            <pc:docMk/>
            <pc:sldMk cId="3431578971" sldId="931"/>
            <ac:spMk id="35" creationId="{5EC288BF-C3AA-3C51-63B5-C4A7A2445C8C}"/>
          </ac:spMkLst>
        </pc:spChg>
        <pc:spChg chg="add mod ord">
          <ac:chgData name="Nataliia Chornii (UA)" userId="4e4b8b3d-5f31-49bb-9f80-8a25c04abfff" providerId="ADAL" clId="{EE97D3FE-9ACA-4467-98E5-532EC45D9D1C}" dt="2024-03-01T14:51:59.229" v="15826" actId="465"/>
          <ac:spMkLst>
            <pc:docMk/>
            <pc:sldMk cId="3431578971" sldId="931"/>
            <ac:spMk id="36" creationId="{B685A229-84EC-B93B-3F43-6BFE2BE1F4CA}"/>
          </ac:spMkLst>
        </pc:spChg>
        <pc:spChg chg="add mod ord">
          <ac:chgData name="Nataliia Chornii (UA)" userId="4e4b8b3d-5f31-49bb-9f80-8a25c04abfff" providerId="ADAL" clId="{EE97D3FE-9ACA-4467-98E5-532EC45D9D1C}" dt="2024-03-01T14:51:59.229" v="15826" actId="465"/>
          <ac:spMkLst>
            <pc:docMk/>
            <pc:sldMk cId="3431578971" sldId="931"/>
            <ac:spMk id="37" creationId="{9D96FB8A-4DBF-49F0-A6C2-FDA1251682FE}"/>
          </ac:spMkLst>
        </pc:spChg>
        <pc:spChg chg="del mod ord">
          <ac:chgData name="Nataliia Chornii (UA)" userId="4e4b8b3d-5f31-49bb-9f80-8a25c04abfff" providerId="ADAL" clId="{EE97D3FE-9ACA-4467-98E5-532EC45D9D1C}" dt="2024-03-01T14:14:37.765" v="14189" actId="478"/>
          <ac:spMkLst>
            <pc:docMk/>
            <pc:sldMk cId="3431578971" sldId="931"/>
            <ac:spMk id="38" creationId="{272900AC-10C3-F441-FC58-31445D62009C}"/>
          </ac:spMkLst>
        </pc:spChg>
        <pc:spChg chg="add mod ord">
          <ac:chgData name="Nataliia Chornii (UA)" userId="4e4b8b3d-5f31-49bb-9f80-8a25c04abfff" providerId="ADAL" clId="{EE97D3FE-9ACA-4467-98E5-532EC45D9D1C}" dt="2024-03-01T14:51:59.229" v="15826" actId="465"/>
          <ac:spMkLst>
            <pc:docMk/>
            <pc:sldMk cId="3431578971" sldId="931"/>
            <ac:spMk id="39" creationId="{E8BDE45B-79CA-CD3A-5214-E24D77B8609C}"/>
          </ac:spMkLst>
        </pc:spChg>
        <pc:spChg chg="add mod ord">
          <ac:chgData name="Nataliia Chornii (UA)" userId="4e4b8b3d-5f31-49bb-9f80-8a25c04abfff" providerId="ADAL" clId="{EE97D3FE-9ACA-4467-98E5-532EC45D9D1C}" dt="2024-03-01T14:51:59.229" v="15826" actId="465"/>
          <ac:spMkLst>
            <pc:docMk/>
            <pc:sldMk cId="3431578971" sldId="931"/>
            <ac:spMk id="40" creationId="{D996275D-295E-F1D0-D67A-44A0A69B4C01}"/>
          </ac:spMkLst>
        </pc:spChg>
        <pc:spChg chg="mod ord">
          <ac:chgData name="Nataliia Chornii (UA)" userId="4e4b8b3d-5f31-49bb-9f80-8a25c04abfff" providerId="ADAL" clId="{EE97D3FE-9ACA-4467-98E5-532EC45D9D1C}" dt="2024-03-01T14:36:00.658" v="15228" actId="1076"/>
          <ac:spMkLst>
            <pc:docMk/>
            <pc:sldMk cId="3431578971" sldId="931"/>
            <ac:spMk id="42" creationId="{50830596-224D-A11D-D251-21B0CA3EB02E}"/>
          </ac:spMkLst>
        </pc:spChg>
        <pc:spChg chg="add mod ord">
          <ac:chgData name="Nataliia Chornii (UA)" userId="4e4b8b3d-5f31-49bb-9f80-8a25c04abfff" providerId="ADAL" clId="{EE97D3FE-9ACA-4467-98E5-532EC45D9D1C}" dt="2024-03-01T14:51:47.779" v="15823" actId="1076"/>
          <ac:spMkLst>
            <pc:docMk/>
            <pc:sldMk cId="3431578971" sldId="931"/>
            <ac:spMk id="43" creationId="{45949670-5BCB-C59B-3D24-28AC2A6F87F3}"/>
          </ac:spMkLst>
        </pc:spChg>
        <pc:spChg chg="add del mod ord">
          <ac:chgData name="Nataliia Chornii (UA)" userId="4e4b8b3d-5f31-49bb-9f80-8a25c04abfff" providerId="ADAL" clId="{EE97D3FE-9ACA-4467-98E5-532EC45D9D1C}" dt="2024-03-01T14:49:56.252" v="15782" actId="478"/>
          <ac:spMkLst>
            <pc:docMk/>
            <pc:sldMk cId="3431578971" sldId="931"/>
            <ac:spMk id="44" creationId="{37325A5C-F07F-2313-782A-18E3E98D15F0}"/>
          </ac:spMkLst>
        </pc:spChg>
        <pc:spChg chg="add del mod ord">
          <ac:chgData name="Nataliia Chornii (UA)" userId="4e4b8b3d-5f31-49bb-9f80-8a25c04abfff" providerId="ADAL" clId="{EE97D3FE-9ACA-4467-98E5-532EC45D9D1C}" dt="2024-03-01T14:49:56.252" v="15782" actId="478"/>
          <ac:spMkLst>
            <pc:docMk/>
            <pc:sldMk cId="3431578971" sldId="931"/>
            <ac:spMk id="45" creationId="{5A4A472A-422C-56F4-A0F5-AE422E82D144}"/>
          </ac:spMkLst>
        </pc:spChg>
        <pc:spChg chg="add del mod ord">
          <ac:chgData name="Nataliia Chornii (UA)" userId="4e4b8b3d-5f31-49bb-9f80-8a25c04abfff" providerId="ADAL" clId="{EE97D3FE-9ACA-4467-98E5-532EC45D9D1C}" dt="2024-03-01T14:49:56.252" v="15782" actId="478"/>
          <ac:spMkLst>
            <pc:docMk/>
            <pc:sldMk cId="3431578971" sldId="931"/>
            <ac:spMk id="46" creationId="{09BF84D6-F468-7005-FAB5-AA0B6AE5CFB4}"/>
          </ac:spMkLst>
        </pc:spChg>
        <pc:spChg chg="mod ord">
          <ac:chgData name="Nataliia Chornii (UA)" userId="4e4b8b3d-5f31-49bb-9f80-8a25c04abfff" providerId="ADAL" clId="{EE97D3FE-9ACA-4467-98E5-532EC45D9D1C}" dt="2024-03-01T14:51:34.269" v="15819" actId="12789"/>
          <ac:spMkLst>
            <pc:docMk/>
            <pc:sldMk cId="3431578971" sldId="931"/>
            <ac:spMk id="47" creationId="{53CB8D3C-9648-B17B-BD59-60EED0CCD133}"/>
          </ac:spMkLst>
        </pc:spChg>
        <pc:spChg chg="add mod ord">
          <ac:chgData name="Nataliia Chornii (UA)" userId="4e4b8b3d-5f31-49bb-9f80-8a25c04abfff" providerId="ADAL" clId="{EE97D3FE-9ACA-4467-98E5-532EC45D9D1C}" dt="2024-03-01T14:14:10.645" v="14178"/>
          <ac:spMkLst>
            <pc:docMk/>
            <pc:sldMk cId="3431578971" sldId="931"/>
            <ac:spMk id="48" creationId="{9DA2A02A-BBDF-DCC7-18AC-878856D7A5B2}"/>
          </ac:spMkLst>
        </pc:spChg>
        <pc:spChg chg="add del mod ord">
          <ac:chgData name="Nataliia Chornii (UA)" userId="4e4b8b3d-5f31-49bb-9f80-8a25c04abfff" providerId="ADAL" clId="{EE97D3FE-9ACA-4467-98E5-532EC45D9D1C}" dt="2024-03-01T14:49:56.252" v="15782" actId="478"/>
          <ac:spMkLst>
            <pc:docMk/>
            <pc:sldMk cId="3431578971" sldId="931"/>
            <ac:spMk id="49" creationId="{DED3BED4-139F-CB4F-0A7B-7B90211550F4}"/>
          </ac:spMkLst>
        </pc:spChg>
        <pc:spChg chg="add mod">
          <ac:chgData name="Nataliia Chornii (UA)" userId="4e4b8b3d-5f31-49bb-9f80-8a25c04abfff" providerId="ADAL" clId="{EE97D3FE-9ACA-4467-98E5-532EC45D9D1C}" dt="2024-03-01T14:49:20.913" v="15777" actId="12789"/>
          <ac:spMkLst>
            <pc:docMk/>
            <pc:sldMk cId="3431578971" sldId="931"/>
            <ac:spMk id="50" creationId="{0130363F-7CE7-F3D0-4AB5-F295FAC2DCBC}"/>
          </ac:spMkLst>
        </pc:spChg>
        <pc:spChg chg="add mod">
          <ac:chgData name="Nataliia Chornii (UA)" userId="4e4b8b3d-5f31-49bb-9f80-8a25c04abfff" providerId="ADAL" clId="{EE97D3FE-9ACA-4467-98E5-532EC45D9D1C}" dt="2024-03-01T14:49:20.913" v="15777" actId="12789"/>
          <ac:spMkLst>
            <pc:docMk/>
            <pc:sldMk cId="3431578971" sldId="931"/>
            <ac:spMk id="51" creationId="{AFEB1935-0849-FFDB-14A2-768E555E2F79}"/>
          </ac:spMkLst>
        </pc:spChg>
        <pc:spChg chg="add del mod">
          <ac:chgData name="Nataliia Chornii (UA)" userId="4e4b8b3d-5f31-49bb-9f80-8a25c04abfff" providerId="ADAL" clId="{EE97D3FE-9ACA-4467-98E5-532EC45D9D1C}" dt="2024-03-04T08:45:24.181" v="17515" actId="478"/>
          <ac:spMkLst>
            <pc:docMk/>
            <pc:sldMk cId="3431578971" sldId="931"/>
            <ac:spMk id="52" creationId="{C28EBB85-E5E0-FA58-8077-AD15508F23C6}"/>
          </ac:spMkLst>
        </pc:spChg>
        <pc:spChg chg="add del mod">
          <ac:chgData name="Nataliia Chornii (UA)" userId="4e4b8b3d-5f31-49bb-9f80-8a25c04abfff" providerId="ADAL" clId="{EE97D3FE-9ACA-4467-98E5-532EC45D9D1C}" dt="2024-03-01T14:49:22.112" v="15778" actId="478"/>
          <ac:spMkLst>
            <pc:docMk/>
            <pc:sldMk cId="3431578971" sldId="931"/>
            <ac:spMk id="54" creationId="{434902A7-8723-F7F5-C884-FDD1A60EE3D6}"/>
          </ac:spMkLst>
        </pc:spChg>
        <pc:spChg chg="add mod">
          <ac:chgData name="Nataliia Chornii (UA)" userId="4e4b8b3d-5f31-49bb-9f80-8a25c04abfff" providerId="ADAL" clId="{EE97D3FE-9ACA-4467-98E5-532EC45D9D1C}" dt="2024-03-11T14:28:52.619" v="24176" actId="14100"/>
          <ac:spMkLst>
            <pc:docMk/>
            <pc:sldMk cId="3431578971" sldId="931"/>
            <ac:spMk id="57" creationId="{E0007A68-F3EF-5218-37FA-972FF8C8BB56}"/>
          </ac:spMkLst>
        </pc:spChg>
        <pc:spChg chg="mod ord">
          <ac:chgData name="Nataliia Chornii (UA)" userId="4e4b8b3d-5f31-49bb-9f80-8a25c04abfff" providerId="ADAL" clId="{EE97D3FE-9ACA-4467-98E5-532EC45D9D1C}" dt="2024-03-01T14:51:12.900" v="15810" actId="465"/>
          <ac:spMkLst>
            <pc:docMk/>
            <pc:sldMk cId="3431578971" sldId="931"/>
            <ac:spMk id="61" creationId="{2A14CA01-2350-21C6-16E6-E9CEAF43B441}"/>
          </ac:spMkLst>
        </pc:spChg>
        <pc:spChg chg="mod ord">
          <ac:chgData name="Nataliia Chornii (UA)" userId="4e4b8b3d-5f31-49bb-9f80-8a25c04abfff" providerId="ADAL" clId="{EE97D3FE-9ACA-4467-98E5-532EC45D9D1C}" dt="2024-03-01T14:51:12.900" v="15810" actId="465"/>
          <ac:spMkLst>
            <pc:docMk/>
            <pc:sldMk cId="3431578971" sldId="931"/>
            <ac:spMk id="64" creationId="{19794A8F-A922-1A21-17E6-1B4B21C8F596}"/>
          </ac:spMkLst>
        </pc:spChg>
        <pc:spChg chg="mod ord">
          <ac:chgData name="Nataliia Chornii (UA)" userId="4e4b8b3d-5f31-49bb-9f80-8a25c04abfff" providerId="ADAL" clId="{EE97D3FE-9ACA-4467-98E5-532EC45D9D1C}" dt="2024-03-01T14:51:12.900" v="15810" actId="465"/>
          <ac:spMkLst>
            <pc:docMk/>
            <pc:sldMk cId="3431578971" sldId="931"/>
            <ac:spMk id="67" creationId="{173D6274-53F8-0DD4-4E9A-1018104D2DCB}"/>
          </ac:spMkLst>
        </pc:spChg>
        <pc:spChg chg="mod ord">
          <ac:chgData name="Nataliia Chornii (UA)" userId="4e4b8b3d-5f31-49bb-9f80-8a25c04abfff" providerId="ADAL" clId="{EE97D3FE-9ACA-4467-98E5-532EC45D9D1C}" dt="2024-03-01T14:51:12.900" v="15810" actId="465"/>
          <ac:spMkLst>
            <pc:docMk/>
            <pc:sldMk cId="3431578971" sldId="931"/>
            <ac:spMk id="70" creationId="{8E071A3F-2B5A-7CD2-907D-0A46168AC360}"/>
          </ac:spMkLst>
        </pc:spChg>
        <pc:spChg chg="mod ord">
          <ac:chgData name="Nataliia Chornii (UA)" userId="4e4b8b3d-5f31-49bb-9f80-8a25c04abfff" providerId="ADAL" clId="{EE97D3FE-9ACA-4467-98E5-532EC45D9D1C}" dt="2024-03-01T14:51:12.900" v="15810" actId="465"/>
          <ac:spMkLst>
            <pc:docMk/>
            <pc:sldMk cId="3431578971" sldId="931"/>
            <ac:spMk id="73" creationId="{F861E25B-F987-831A-A602-44A1BC3C9C06}"/>
          </ac:spMkLst>
        </pc:spChg>
        <pc:spChg chg="mod ord">
          <ac:chgData name="Nataliia Chornii (UA)" userId="4e4b8b3d-5f31-49bb-9f80-8a25c04abfff" providerId="ADAL" clId="{EE97D3FE-9ACA-4467-98E5-532EC45D9D1C}" dt="2024-03-01T14:51:12.900" v="15810" actId="465"/>
          <ac:spMkLst>
            <pc:docMk/>
            <pc:sldMk cId="3431578971" sldId="931"/>
            <ac:spMk id="76" creationId="{48C1CD32-80B1-493D-9426-7B73B4755484}"/>
          </ac:spMkLst>
        </pc:spChg>
        <pc:spChg chg="mod ord">
          <ac:chgData name="Nataliia Chornii (UA)" userId="4e4b8b3d-5f31-49bb-9f80-8a25c04abfff" providerId="ADAL" clId="{EE97D3FE-9ACA-4467-98E5-532EC45D9D1C}" dt="2024-03-01T14:51:08.576" v="15809" actId="555"/>
          <ac:spMkLst>
            <pc:docMk/>
            <pc:sldMk cId="3431578971" sldId="931"/>
            <ac:spMk id="79" creationId="{84ACD26B-9585-F3C8-8179-0329BA741C8A}"/>
          </ac:spMkLst>
        </pc:spChg>
        <pc:spChg chg="mod ord">
          <ac:chgData name="Nataliia Chornii (UA)" userId="4e4b8b3d-5f31-49bb-9f80-8a25c04abfff" providerId="ADAL" clId="{EE97D3FE-9ACA-4467-98E5-532EC45D9D1C}" dt="2024-03-01T14:51:31.182" v="15817" actId="465"/>
          <ac:spMkLst>
            <pc:docMk/>
            <pc:sldMk cId="3431578971" sldId="931"/>
            <ac:spMk id="100" creationId="{6196419E-02BA-D21D-1546-F1EC7C2A2D38}"/>
          </ac:spMkLst>
        </pc:spChg>
        <pc:spChg chg="mod ord">
          <ac:chgData name="Nataliia Chornii (UA)" userId="4e4b8b3d-5f31-49bb-9f80-8a25c04abfff" providerId="ADAL" clId="{EE97D3FE-9ACA-4467-98E5-532EC45D9D1C}" dt="2024-03-01T14:51:31.182" v="15817" actId="465"/>
          <ac:spMkLst>
            <pc:docMk/>
            <pc:sldMk cId="3431578971" sldId="931"/>
            <ac:spMk id="101" creationId="{9ECA4B5E-E4A7-485E-4742-A7A24FB938CD}"/>
          </ac:spMkLst>
        </pc:spChg>
        <pc:spChg chg="mod ord">
          <ac:chgData name="Nataliia Chornii (UA)" userId="4e4b8b3d-5f31-49bb-9f80-8a25c04abfff" providerId="ADAL" clId="{EE97D3FE-9ACA-4467-98E5-532EC45D9D1C}" dt="2024-03-01T14:51:31.182" v="15817" actId="465"/>
          <ac:spMkLst>
            <pc:docMk/>
            <pc:sldMk cId="3431578971" sldId="931"/>
            <ac:spMk id="102" creationId="{6C2839D0-72C0-7347-1A1F-A4C976165D3B}"/>
          </ac:spMkLst>
        </pc:spChg>
        <pc:spChg chg="mod ord">
          <ac:chgData name="Nataliia Chornii (UA)" userId="4e4b8b3d-5f31-49bb-9f80-8a25c04abfff" providerId="ADAL" clId="{EE97D3FE-9ACA-4467-98E5-532EC45D9D1C}" dt="2024-03-01T14:51:31.182" v="15817" actId="465"/>
          <ac:spMkLst>
            <pc:docMk/>
            <pc:sldMk cId="3431578971" sldId="931"/>
            <ac:spMk id="103" creationId="{20162A1E-1272-A65F-9743-08A1C56CDD8F}"/>
          </ac:spMkLst>
        </pc:spChg>
        <pc:spChg chg="mod ord">
          <ac:chgData name="Nataliia Chornii (UA)" userId="4e4b8b3d-5f31-49bb-9f80-8a25c04abfff" providerId="ADAL" clId="{EE97D3FE-9ACA-4467-98E5-532EC45D9D1C}" dt="2024-03-01T14:51:22.201" v="15813" actId="14100"/>
          <ac:spMkLst>
            <pc:docMk/>
            <pc:sldMk cId="3431578971" sldId="931"/>
            <ac:spMk id="104" creationId="{C489AEBB-7FB2-EC1A-2DC3-18B08D331418}"/>
          </ac:spMkLst>
        </pc:spChg>
        <pc:spChg chg="mod ord">
          <ac:chgData name="Nataliia Chornii (UA)" userId="4e4b8b3d-5f31-49bb-9f80-8a25c04abfff" providerId="ADAL" clId="{EE97D3FE-9ACA-4467-98E5-532EC45D9D1C}" dt="2024-03-01T14:51:31.182" v="15817" actId="465"/>
          <ac:spMkLst>
            <pc:docMk/>
            <pc:sldMk cId="3431578971" sldId="931"/>
            <ac:spMk id="107" creationId="{5E4C4BD5-129E-6AAF-672B-2CE5A9EA1809}"/>
          </ac:spMkLst>
        </pc:spChg>
        <pc:spChg chg="mod ord">
          <ac:chgData name="Nataliia Chornii (UA)" userId="4e4b8b3d-5f31-49bb-9f80-8a25c04abfff" providerId="ADAL" clId="{EE97D3FE-9ACA-4467-98E5-532EC45D9D1C}" dt="2024-03-01T14:51:31.182" v="15817" actId="465"/>
          <ac:spMkLst>
            <pc:docMk/>
            <pc:sldMk cId="3431578971" sldId="931"/>
            <ac:spMk id="108" creationId="{374ED229-16EB-16FE-4EEB-6C75D32758A7}"/>
          </ac:spMkLst>
        </pc:spChg>
        <pc:grpChg chg="add mod">
          <ac:chgData name="Nataliia Chornii (UA)" userId="4e4b8b3d-5f31-49bb-9f80-8a25c04abfff" providerId="ADAL" clId="{EE97D3FE-9ACA-4467-98E5-532EC45D9D1C}" dt="2024-03-11T14:25:43.872" v="24080"/>
          <ac:grpSpMkLst>
            <pc:docMk/>
            <pc:sldMk cId="3431578971" sldId="931"/>
            <ac:grpSpMk id="10" creationId="{829B9916-9D35-631D-748F-F9A64E3DB324}"/>
          </ac:grpSpMkLst>
        </pc:grpChg>
        <pc:graphicFrameChg chg="mod">
          <ac:chgData name="Nataliia Chornii (UA)" userId="4e4b8b3d-5f31-49bb-9f80-8a25c04abfff" providerId="ADAL" clId="{EE97D3FE-9ACA-4467-98E5-532EC45D9D1C}" dt="2024-03-11T14:28:39.824" v="24170"/>
          <ac:graphicFrameMkLst>
            <pc:docMk/>
            <pc:sldMk cId="3431578971" sldId="931"/>
            <ac:graphicFrameMk id="12" creationId="{F6E6AF23-7B86-113A-F559-513B41FEC1FE}"/>
          </ac:graphicFrameMkLst>
        </pc:graphicFrameChg>
        <pc:picChg chg="mod ord">
          <ac:chgData name="Nataliia Chornii (UA)" userId="4e4b8b3d-5f31-49bb-9f80-8a25c04abfff" providerId="ADAL" clId="{EE97D3FE-9ACA-4467-98E5-532EC45D9D1C}" dt="2024-03-01T14:14:10.613" v="14086"/>
          <ac:picMkLst>
            <pc:docMk/>
            <pc:sldMk cId="3431578971" sldId="931"/>
            <ac:picMk id="41" creationId="{7CAE88F2-0719-E8A4-5A3E-39E39CF155A6}"/>
          </ac:picMkLst>
        </pc:picChg>
        <pc:cxnChg chg="mod ord">
          <ac:chgData name="Nataliia Chornii (UA)" userId="4e4b8b3d-5f31-49bb-9f80-8a25c04abfff" providerId="ADAL" clId="{EE97D3FE-9ACA-4467-98E5-532EC45D9D1C}" dt="2024-03-01T14:51:31.182" v="15817" actId="465"/>
          <ac:cxnSpMkLst>
            <pc:docMk/>
            <pc:sldMk cId="3431578971" sldId="931"/>
            <ac:cxnSpMk id="6" creationId="{B3733624-6466-BD41-3C49-71F64E87C523}"/>
          </ac:cxnSpMkLst>
        </pc:cxnChg>
        <pc:cxnChg chg="mod ord">
          <ac:chgData name="Nataliia Chornii (UA)" userId="4e4b8b3d-5f31-49bb-9f80-8a25c04abfff" providerId="ADAL" clId="{EE97D3FE-9ACA-4467-98E5-532EC45D9D1C}" dt="2024-03-01T14:51:31.182" v="15817" actId="465"/>
          <ac:cxnSpMkLst>
            <pc:docMk/>
            <pc:sldMk cId="3431578971" sldId="931"/>
            <ac:cxnSpMk id="7" creationId="{5A2159BA-60F1-B7B5-DA22-2E5D2C4A8574}"/>
          </ac:cxnSpMkLst>
        </pc:cxnChg>
        <pc:cxnChg chg="mod ord">
          <ac:chgData name="Nataliia Chornii (UA)" userId="4e4b8b3d-5f31-49bb-9f80-8a25c04abfff" providerId="ADAL" clId="{EE97D3FE-9ACA-4467-98E5-532EC45D9D1C}" dt="2024-03-01T14:51:31.182" v="15817" actId="465"/>
          <ac:cxnSpMkLst>
            <pc:docMk/>
            <pc:sldMk cId="3431578971" sldId="931"/>
            <ac:cxnSpMk id="9" creationId="{CBCFB46D-F848-5D86-81ED-08C2DDBD6018}"/>
          </ac:cxnSpMkLst>
        </pc:cxnChg>
        <pc:cxnChg chg="mod ord">
          <ac:chgData name="Nataliia Chornii (UA)" userId="4e4b8b3d-5f31-49bb-9f80-8a25c04abfff" providerId="ADAL" clId="{EE97D3FE-9ACA-4467-98E5-532EC45D9D1C}" dt="2024-03-01T14:51:31.182" v="15817" actId="465"/>
          <ac:cxnSpMkLst>
            <pc:docMk/>
            <pc:sldMk cId="3431578971" sldId="931"/>
            <ac:cxnSpMk id="11" creationId="{A04A74A1-0026-74F8-2A50-1E9075544CF3}"/>
          </ac:cxnSpMkLst>
        </pc:cxnChg>
        <pc:cxnChg chg="mod ord">
          <ac:chgData name="Nataliia Chornii (UA)" userId="4e4b8b3d-5f31-49bb-9f80-8a25c04abfff" providerId="ADAL" clId="{EE97D3FE-9ACA-4467-98E5-532EC45D9D1C}" dt="2024-03-01T14:51:31.182" v="15817" actId="465"/>
          <ac:cxnSpMkLst>
            <pc:docMk/>
            <pc:sldMk cId="3431578971" sldId="931"/>
            <ac:cxnSpMk id="13" creationId="{CB152EF5-0E28-D564-BA70-371799026C17}"/>
          </ac:cxnSpMkLst>
        </pc:cxnChg>
        <pc:cxnChg chg="mod ord">
          <ac:chgData name="Nataliia Chornii (UA)" userId="4e4b8b3d-5f31-49bb-9f80-8a25c04abfff" providerId="ADAL" clId="{EE97D3FE-9ACA-4467-98E5-532EC45D9D1C}" dt="2024-03-01T14:51:31.182" v="15817" actId="465"/>
          <ac:cxnSpMkLst>
            <pc:docMk/>
            <pc:sldMk cId="3431578971" sldId="931"/>
            <ac:cxnSpMk id="14" creationId="{FEF121C9-BA2C-579A-87E4-3935103FF4BC}"/>
          </ac:cxnSpMkLst>
        </pc:cxnChg>
        <pc:cxnChg chg="mod ord">
          <ac:chgData name="Nataliia Chornii (UA)" userId="4e4b8b3d-5f31-49bb-9f80-8a25c04abfff" providerId="ADAL" clId="{EE97D3FE-9ACA-4467-98E5-532EC45D9D1C}" dt="2024-03-01T14:51:31.182" v="15817" actId="465"/>
          <ac:cxnSpMkLst>
            <pc:docMk/>
            <pc:sldMk cId="3431578971" sldId="931"/>
            <ac:cxnSpMk id="15" creationId="{3DE31210-26C3-2A63-15ED-FE32524A997D}"/>
          </ac:cxnSpMkLst>
        </pc:cxnChg>
        <pc:cxnChg chg="add mod ord">
          <ac:chgData name="Nataliia Chornii (UA)" userId="4e4b8b3d-5f31-49bb-9f80-8a25c04abfff" providerId="ADAL" clId="{EE97D3FE-9ACA-4467-98E5-532EC45D9D1C}" dt="2024-03-01T14:51:43.714" v="15821" actId="14100"/>
          <ac:cxnSpMkLst>
            <pc:docMk/>
            <pc:sldMk cId="3431578971" sldId="931"/>
            <ac:cxnSpMk id="20" creationId="{2864A4FB-5A6B-6282-1ED3-79348932303D}"/>
          </ac:cxnSpMkLst>
        </pc:cxnChg>
        <pc:cxnChg chg="add mod">
          <ac:chgData name="Nataliia Chornii (UA)" userId="4e4b8b3d-5f31-49bb-9f80-8a25c04abfff" providerId="ADAL" clId="{EE97D3FE-9ACA-4467-98E5-532EC45D9D1C}" dt="2024-03-01T14:49:20.913" v="15777" actId="12789"/>
          <ac:cxnSpMkLst>
            <pc:docMk/>
            <pc:sldMk cId="3431578971" sldId="931"/>
            <ac:cxnSpMk id="53" creationId="{F358E754-064A-5B8C-B2FC-4E612BA07893}"/>
          </ac:cxnSpMkLst>
        </pc:cxnChg>
      </pc:sldChg>
      <pc:sldChg chg="addSp delSp modSp add del mod modShow">
        <pc:chgData name="Nataliia Chornii (UA)" userId="4e4b8b3d-5f31-49bb-9f80-8a25c04abfff" providerId="ADAL" clId="{EE97D3FE-9ACA-4467-98E5-532EC45D9D1C}" dt="2024-03-01T15:06:39.256" v="16181" actId="47"/>
        <pc:sldMkLst>
          <pc:docMk/>
          <pc:sldMk cId="756169269" sldId="932"/>
        </pc:sldMkLst>
        <pc:spChg chg="add del mod">
          <ac:chgData name="Nataliia Chornii (UA)" userId="4e4b8b3d-5f31-49bb-9f80-8a25c04abfff" providerId="ADAL" clId="{EE97D3FE-9ACA-4467-98E5-532EC45D9D1C}" dt="2024-03-01T12:53:35.776" v="11712" actId="478"/>
          <ac:spMkLst>
            <pc:docMk/>
            <pc:sldMk cId="756169269" sldId="932"/>
            <ac:spMk id="2" creationId="{C0DB1C25-AB12-40F9-37F8-71757651EB48}"/>
          </ac:spMkLst>
        </pc:spChg>
        <pc:spChg chg="mod ord">
          <ac:chgData name="Nataliia Chornii (UA)" userId="4e4b8b3d-5f31-49bb-9f80-8a25c04abfff" providerId="ADAL" clId="{EE97D3FE-9ACA-4467-98E5-532EC45D9D1C}" dt="2024-03-01T12:55:11.641" v="12013"/>
          <ac:spMkLst>
            <pc:docMk/>
            <pc:sldMk cId="756169269" sldId="932"/>
            <ac:spMk id="3" creationId="{F4CCF02E-F3C4-C376-8F56-61BD85A2E74B}"/>
          </ac:spMkLst>
        </pc:spChg>
        <pc:spChg chg="mod ord">
          <ac:chgData name="Nataliia Chornii (UA)" userId="4e4b8b3d-5f31-49bb-9f80-8a25c04abfff" providerId="ADAL" clId="{EE97D3FE-9ACA-4467-98E5-532EC45D9D1C}" dt="2024-03-01T12:55:11.641" v="12015"/>
          <ac:spMkLst>
            <pc:docMk/>
            <pc:sldMk cId="756169269" sldId="932"/>
            <ac:spMk id="4" creationId="{872966CD-924A-B939-E655-A6BAF817DCBF}"/>
          </ac:spMkLst>
        </pc:spChg>
        <pc:spChg chg="add del mod">
          <ac:chgData name="Nataliia Chornii (UA)" userId="4e4b8b3d-5f31-49bb-9f80-8a25c04abfff" providerId="ADAL" clId="{EE97D3FE-9ACA-4467-98E5-532EC45D9D1C}" dt="2024-03-01T12:53:35.193" v="11711" actId="478"/>
          <ac:spMkLst>
            <pc:docMk/>
            <pc:sldMk cId="756169269" sldId="932"/>
            <ac:spMk id="5" creationId="{535C0361-3230-3BD9-D9D2-F3B003C8C718}"/>
          </ac:spMkLst>
        </pc:spChg>
        <pc:spChg chg="add del mod modVis">
          <ac:chgData name="Nataliia Chornii (UA)" userId="4e4b8b3d-5f31-49bb-9f80-8a25c04abfff" providerId="ADAL" clId="{EE97D3FE-9ACA-4467-98E5-532EC45D9D1C}" dt="2024-03-01T12:53:41.753" v="11847"/>
          <ac:spMkLst>
            <pc:docMk/>
            <pc:sldMk cId="756169269" sldId="932"/>
            <ac:spMk id="8" creationId="{1FDA9B35-A551-99DF-4CEA-6A6027A004ED}"/>
          </ac:spMkLst>
        </pc:spChg>
        <pc:spChg chg="mod ord">
          <ac:chgData name="Nataliia Chornii (UA)" userId="4e4b8b3d-5f31-49bb-9f80-8a25c04abfff" providerId="ADAL" clId="{EE97D3FE-9ACA-4467-98E5-532EC45D9D1C}" dt="2024-03-01T12:55:11.641" v="12029"/>
          <ac:spMkLst>
            <pc:docMk/>
            <pc:sldMk cId="756169269" sldId="932"/>
            <ac:spMk id="10" creationId="{6F55AA3F-6103-110B-C367-10711AC49356}"/>
          </ac:spMkLst>
        </pc:spChg>
        <pc:spChg chg="del mod ord">
          <ac:chgData name="Nataliia Chornii (UA)" userId="4e4b8b3d-5f31-49bb-9f80-8a25c04abfff" providerId="ADAL" clId="{EE97D3FE-9ACA-4467-98E5-532EC45D9D1C}" dt="2024-03-01T12:54:27.229" v="11865" actId="478"/>
          <ac:spMkLst>
            <pc:docMk/>
            <pc:sldMk cId="756169269" sldId="932"/>
            <ac:spMk id="16" creationId="{F908943B-C266-904B-3454-FC2231E2F170}"/>
          </ac:spMkLst>
        </pc:spChg>
        <pc:spChg chg="add del mod">
          <ac:chgData name="Nataliia Chornii (UA)" userId="4e4b8b3d-5f31-49bb-9f80-8a25c04abfff" providerId="ADAL" clId="{EE97D3FE-9ACA-4467-98E5-532EC45D9D1C}" dt="2024-03-01T12:54:26.599" v="11864" actId="478"/>
          <ac:spMkLst>
            <pc:docMk/>
            <pc:sldMk cId="756169269" sldId="932"/>
            <ac:spMk id="17" creationId="{6AB4F623-051E-A6B3-F4CB-6F6056E3015F}"/>
          </ac:spMkLst>
        </pc:spChg>
        <pc:spChg chg="add del mod ord">
          <ac:chgData name="Nataliia Chornii (UA)" userId="4e4b8b3d-5f31-49bb-9f80-8a25c04abfff" providerId="ADAL" clId="{EE97D3FE-9ACA-4467-98E5-532EC45D9D1C}" dt="2024-03-01T12:53:48.968" v="11852" actId="478"/>
          <ac:spMkLst>
            <pc:docMk/>
            <pc:sldMk cId="756169269" sldId="932"/>
            <ac:spMk id="18" creationId="{2852DDF1-0BDD-7DC5-15A3-5F5BF48E2C01}"/>
          </ac:spMkLst>
        </pc:spChg>
        <pc:spChg chg="add mod ord topLvl">
          <ac:chgData name="Nataliia Chornii (UA)" userId="4e4b8b3d-5f31-49bb-9f80-8a25c04abfff" providerId="ADAL" clId="{EE97D3FE-9ACA-4467-98E5-532EC45D9D1C}" dt="2024-03-01T12:57:28.945" v="12158" actId="164"/>
          <ac:spMkLst>
            <pc:docMk/>
            <pc:sldMk cId="756169269" sldId="932"/>
            <ac:spMk id="19" creationId="{9FD71E02-DFBB-C67F-AF26-527D6AB34C46}"/>
          </ac:spMkLst>
        </pc:spChg>
        <pc:spChg chg="add mod ord topLvl">
          <ac:chgData name="Nataliia Chornii (UA)" userId="4e4b8b3d-5f31-49bb-9f80-8a25c04abfff" providerId="ADAL" clId="{EE97D3FE-9ACA-4467-98E5-532EC45D9D1C}" dt="2024-03-01T12:57:28.945" v="12158" actId="164"/>
          <ac:spMkLst>
            <pc:docMk/>
            <pc:sldMk cId="756169269" sldId="932"/>
            <ac:spMk id="20" creationId="{24349C0E-7CEF-17BF-4030-5A0677AF1694}"/>
          </ac:spMkLst>
        </pc:spChg>
        <pc:spChg chg="mod ord">
          <ac:chgData name="Nataliia Chornii (UA)" userId="4e4b8b3d-5f31-49bb-9f80-8a25c04abfff" providerId="ADAL" clId="{EE97D3FE-9ACA-4467-98E5-532EC45D9D1C}" dt="2024-03-01T12:57:35.481" v="12162" actId="12789"/>
          <ac:spMkLst>
            <pc:docMk/>
            <pc:sldMk cId="756169269" sldId="932"/>
            <ac:spMk id="21" creationId="{78DC1799-6B68-492D-BBE0-D7BECB3D58E6}"/>
          </ac:spMkLst>
        </pc:spChg>
        <pc:spChg chg="mod ord">
          <ac:chgData name="Nataliia Chornii (UA)" userId="4e4b8b3d-5f31-49bb-9f80-8a25c04abfff" providerId="ADAL" clId="{EE97D3FE-9ACA-4467-98E5-532EC45D9D1C}" dt="2024-03-01T12:55:11.641" v="12019"/>
          <ac:spMkLst>
            <pc:docMk/>
            <pc:sldMk cId="756169269" sldId="932"/>
            <ac:spMk id="22" creationId="{8A383B1B-1F96-C467-6BC7-1ACF6506A40E}"/>
          </ac:spMkLst>
        </pc:spChg>
        <pc:spChg chg="del mod ord">
          <ac:chgData name="Nataliia Chornii (UA)" userId="4e4b8b3d-5f31-49bb-9f80-8a25c04abfff" providerId="ADAL" clId="{EE97D3FE-9ACA-4467-98E5-532EC45D9D1C}" dt="2024-03-01T12:55:27.163" v="12113" actId="478"/>
          <ac:spMkLst>
            <pc:docMk/>
            <pc:sldMk cId="756169269" sldId="932"/>
            <ac:spMk id="23" creationId="{C8661E4A-380D-1530-2DEB-20ECF775B25F}"/>
          </ac:spMkLst>
        </pc:spChg>
        <pc:spChg chg="del mod ord">
          <ac:chgData name="Nataliia Chornii (UA)" userId="4e4b8b3d-5f31-49bb-9f80-8a25c04abfff" providerId="ADAL" clId="{EE97D3FE-9ACA-4467-98E5-532EC45D9D1C}" dt="2024-03-01T12:55:27.163" v="12113" actId="478"/>
          <ac:spMkLst>
            <pc:docMk/>
            <pc:sldMk cId="756169269" sldId="932"/>
            <ac:spMk id="24" creationId="{7CB9FBD5-D7EF-ACAB-0CA3-234365A7FAAC}"/>
          </ac:spMkLst>
        </pc:spChg>
        <pc:spChg chg="mod ord">
          <ac:chgData name="Nataliia Chornii (UA)" userId="4e4b8b3d-5f31-49bb-9f80-8a25c04abfff" providerId="ADAL" clId="{EE97D3FE-9ACA-4467-98E5-532EC45D9D1C}" dt="2024-03-01T12:55:11.626" v="12011"/>
          <ac:spMkLst>
            <pc:docMk/>
            <pc:sldMk cId="756169269" sldId="932"/>
            <ac:spMk id="25" creationId="{2B261BF4-92C6-462D-AA95-793AE54DD688}"/>
          </ac:spMkLst>
        </pc:spChg>
        <pc:spChg chg="mod ord">
          <ac:chgData name="Nataliia Chornii (UA)" userId="4e4b8b3d-5f31-49bb-9f80-8a25c04abfff" providerId="ADAL" clId="{EE97D3FE-9ACA-4467-98E5-532EC45D9D1C}" dt="2024-03-01T12:55:11.641" v="12021"/>
          <ac:spMkLst>
            <pc:docMk/>
            <pc:sldMk cId="756169269" sldId="932"/>
            <ac:spMk id="26" creationId="{5EC1F9AE-82A4-85FE-592B-EF659F76F7EC}"/>
          </ac:spMkLst>
        </pc:spChg>
        <pc:spChg chg="mod ord">
          <ac:chgData name="Nataliia Chornii (UA)" userId="4e4b8b3d-5f31-49bb-9f80-8a25c04abfff" providerId="ADAL" clId="{EE97D3FE-9ACA-4467-98E5-532EC45D9D1C}" dt="2024-03-01T12:55:11.641" v="12023"/>
          <ac:spMkLst>
            <pc:docMk/>
            <pc:sldMk cId="756169269" sldId="932"/>
            <ac:spMk id="27" creationId="{72D802D4-B169-1594-D931-40179675E33A}"/>
          </ac:spMkLst>
        </pc:spChg>
        <pc:spChg chg="del mod ord">
          <ac:chgData name="Nataliia Chornii (UA)" userId="4e4b8b3d-5f31-49bb-9f80-8a25c04abfff" providerId="ADAL" clId="{EE97D3FE-9ACA-4467-98E5-532EC45D9D1C}" dt="2024-03-01T12:55:27.163" v="12113" actId="478"/>
          <ac:spMkLst>
            <pc:docMk/>
            <pc:sldMk cId="756169269" sldId="932"/>
            <ac:spMk id="28" creationId="{B73C6DD6-259D-72A7-73A8-61A654B3BC0D}"/>
          </ac:spMkLst>
        </pc:spChg>
        <pc:spChg chg="mod ord">
          <ac:chgData name="Nataliia Chornii (UA)" userId="4e4b8b3d-5f31-49bb-9f80-8a25c04abfff" providerId="ADAL" clId="{EE97D3FE-9ACA-4467-98E5-532EC45D9D1C}" dt="2024-03-01T12:55:11.641" v="12025"/>
          <ac:spMkLst>
            <pc:docMk/>
            <pc:sldMk cId="756169269" sldId="932"/>
            <ac:spMk id="29" creationId="{3915AD89-6428-4A75-0915-328643F1703C}"/>
          </ac:spMkLst>
        </pc:spChg>
        <pc:spChg chg="mod ord">
          <ac:chgData name="Nataliia Chornii (UA)" userId="4e4b8b3d-5f31-49bb-9f80-8a25c04abfff" providerId="ADAL" clId="{EE97D3FE-9ACA-4467-98E5-532EC45D9D1C}" dt="2024-03-01T12:55:11.641" v="12027"/>
          <ac:spMkLst>
            <pc:docMk/>
            <pc:sldMk cId="756169269" sldId="932"/>
            <ac:spMk id="30" creationId="{373AB206-F1F0-CC72-8C15-85605D9AF2AC}"/>
          </ac:spMkLst>
        </pc:spChg>
        <pc:spChg chg="del mod ord">
          <ac:chgData name="Nataliia Chornii (UA)" userId="4e4b8b3d-5f31-49bb-9f80-8a25c04abfff" providerId="ADAL" clId="{EE97D3FE-9ACA-4467-98E5-532EC45D9D1C}" dt="2024-03-01T12:55:27.163" v="12113" actId="478"/>
          <ac:spMkLst>
            <pc:docMk/>
            <pc:sldMk cId="756169269" sldId="932"/>
            <ac:spMk id="31" creationId="{BC6E9824-A4F1-7DE4-34FC-F109678A272D}"/>
          </ac:spMkLst>
        </pc:spChg>
        <pc:spChg chg="add mod topLvl">
          <ac:chgData name="Nataliia Chornii (UA)" userId="4e4b8b3d-5f31-49bb-9f80-8a25c04abfff" providerId="ADAL" clId="{EE97D3FE-9ACA-4467-98E5-532EC45D9D1C}" dt="2024-03-01T12:57:28.945" v="12158" actId="164"/>
          <ac:spMkLst>
            <pc:docMk/>
            <pc:sldMk cId="756169269" sldId="932"/>
            <ac:spMk id="32" creationId="{50C1E185-7778-70A9-7FB3-9251C0D6518D}"/>
          </ac:spMkLst>
        </pc:spChg>
        <pc:spChg chg="add del mod">
          <ac:chgData name="Nataliia Chornii (UA)" userId="4e4b8b3d-5f31-49bb-9f80-8a25c04abfff" providerId="ADAL" clId="{EE97D3FE-9ACA-4467-98E5-532EC45D9D1C}" dt="2024-03-01T12:56:39.544" v="12135" actId="478"/>
          <ac:spMkLst>
            <pc:docMk/>
            <pc:sldMk cId="756169269" sldId="932"/>
            <ac:spMk id="33" creationId="{1D7AD329-92F7-10CC-D7CF-D1DACDA18352}"/>
          </ac:spMkLst>
        </pc:spChg>
        <pc:spChg chg="del mod topLvl">
          <ac:chgData name="Nataliia Chornii (UA)" userId="4e4b8b3d-5f31-49bb-9f80-8a25c04abfff" providerId="ADAL" clId="{EE97D3FE-9ACA-4467-98E5-532EC45D9D1C}" dt="2024-03-01T12:57:09.714" v="12153" actId="478"/>
          <ac:spMkLst>
            <pc:docMk/>
            <pc:sldMk cId="756169269" sldId="932"/>
            <ac:spMk id="36" creationId="{65E690A3-479C-0C8E-225E-5A4E8E562120}"/>
          </ac:spMkLst>
        </pc:spChg>
        <pc:spChg chg="del mod topLvl">
          <ac:chgData name="Nataliia Chornii (UA)" userId="4e4b8b3d-5f31-49bb-9f80-8a25c04abfff" providerId="ADAL" clId="{EE97D3FE-9ACA-4467-98E5-532EC45D9D1C}" dt="2024-03-01T12:57:09.714" v="12153" actId="478"/>
          <ac:spMkLst>
            <pc:docMk/>
            <pc:sldMk cId="756169269" sldId="932"/>
            <ac:spMk id="37" creationId="{3D0CA9B7-60BA-315B-2C5C-C3082654641F}"/>
          </ac:spMkLst>
        </pc:spChg>
        <pc:spChg chg="mod ord">
          <ac:chgData name="Nataliia Chornii (UA)" userId="4e4b8b3d-5f31-49bb-9f80-8a25c04abfff" providerId="ADAL" clId="{EE97D3FE-9ACA-4467-98E5-532EC45D9D1C}" dt="2024-03-01T12:55:11.641" v="12031"/>
          <ac:spMkLst>
            <pc:docMk/>
            <pc:sldMk cId="756169269" sldId="932"/>
            <ac:spMk id="38" creationId="{272900AC-10C3-F441-FC58-31445D62009C}"/>
          </ac:spMkLst>
        </pc:spChg>
        <pc:spChg chg="del mod topLvl">
          <ac:chgData name="Nataliia Chornii (UA)" userId="4e4b8b3d-5f31-49bb-9f80-8a25c04abfff" providerId="ADAL" clId="{EE97D3FE-9ACA-4467-98E5-532EC45D9D1C}" dt="2024-03-01T12:57:09.714" v="12153" actId="478"/>
          <ac:spMkLst>
            <pc:docMk/>
            <pc:sldMk cId="756169269" sldId="932"/>
            <ac:spMk id="39" creationId="{3BF62311-09D8-A4B1-0D33-C87EF7ADDC87}"/>
          </ac:spMkLst>
        </pc:spChg>
        <pc:spChg chg="mod ord">
          <ac:chgData name="Nataliia Chornii (UA)" userId="4e4b8b3d-5f31-49bb-9f80-8a25c04abfff" providerId="ADAL" clId="{EE97D3FE-9ACA-4467-98E5-532EC45D9D1C}" dt="2024-03-01T12:55:11.626" v="12009"/>
          <ac:spMkLst>
            <pc:docMk/>
            <pc:sldMk cId="756169269" sldId="932"/>
            <ac:spMk id="42" creationId="{50830596-224D-A11D-D251-21B0CA3EB02E}"/>
          </ac:spMkLst>
        </pc:spChg>
        <pc:spChg chg="del mod ord">
          <ac:chgData name="Nataliia Chornii (UA)" userId="4e4b8b3d-5f31-49bb-9f80-8a25c04abfff" providerId="ADAL" clId="{EE97D3FE-9ACA-4467-98E5-532EC45D9D1C}" dt="2024-03-01T12:55:27.163" v="12113" actId="478"/>
          <ac:spMkLst>
            <pc:docMk/>
            <pc:sldMk cId="756169269" sldId="932"/>
            <ac:spMk id="43" creationId="{2C097BF4-4EBC-7A01-1054-189AF6B5E6CA}"/>
          </ac:spMkLst>
        </pc:spChg>
        <pc:spChg chg="mod ord">
          <ac:chgData name="Nataliia Chornii (UA)" userId="4e4b8b3d-5f31-49bb-9f80-8a25c04abfff" providerId="ADAL" clId="{EE97D3FE-9ACA-4467-98E5-532EC45D9D1C}" dt="2024-03-01T12:55:11.641" v="12033"/>
          <ac:spMkLst>
            <pc:docMk/>
            <pc:sldMk cId="756169269" sldId="932"/>
            <ac:spMk id="44" creationId="{37325A5C-F07F-2313-782A-18E3E98D15F0}"/>
          </ac:spMkLst>
        </pc:spChg>
        <pc:spChg chg="mod ord">
          <ac:chgData name="Nataliia Chornii (UA)" userId="4e4b8b3d-5f31-49bb-9f80-8a25c04abfff" providerId="ADAL" clId="{EE97D3FE-9ACA-4467-98E5-532EC45D9D1C}" dt="2024-03-01T12:55:11.641" v="12035"/>
          <ac:spMkLst>
            <pc:docMk/>
            <pc:sldMk cId="756169269" sldId="932"/>
            <ac:spMk id="45" creationId="{5A4A472A-422C-56F4-A0F5-AE422E82D144}"/>
          </ac:spMkLst>
        </pc:spChg>
        <pc:spChg chg="mod ord">
          <ac:chgData name="Nataliia Chornii (UA)" userId="4e4b8b3d-5f31-49bb-9f80-8a25c04abfff" providerId="ADAL" clId="{EE97D3FE-9ACA-4467-98E5-532EC45D9D1C}" dt="2024-03-01T12:55:11.658" v="12079"/>
          <ac:spMkLst>
            <pc:docMk/>
            <pc:sldMk cId="756169269" sldId="932"/>
            <ac:spMk id="46" creationId="{09BF84D6-F468-7005-FAB5-AA0B6AE5CFB4}"/>
          </ac:spMkLst>
        </pc:spChg>
        <pc:spChg chg="del mod ord">
          <ac:chgData name="Nataliia Chornii (UA)" userId="4e4b8b3d-5f31-49bb-9f80-8a25c04abfff" providerId="ADAL" clId="{EE97D3FE-9ACA-4467-98E5-532EC45D9D1C}" dt="2024-03-01T12:55:36.991" v="12116" actId="478"/>
          <ac:spMkLst>
            <pc:docMk/>
            <pc:sldMk cId="756169269" sldId="932"/>
            <ac:spMk id="47" creationId="{53CB8D3C-9648-B17B-BD59-60EED0CCD133}"/>
          </ac:spMkLst>
        </pc:spChg>
        <pc:spChg chg="del mod ord">
          <ac:chgData name="Nataliia Chornii (UA)" userId="4e4b8b3d-5f31-49bb-9f80-8a25c04abfff" providerId="ADAL" clId="{EE97D3FE-9ACA-4467-98E5-532EC45D9D1C}" dt="2024-03-01T12:55:27.163" v="12113" actId="478"/>
          <ac:spMkLst>
            <pc:docMk/>
            <pc:sldMk cId="756169269" sldId="932"/>
            <ac:spMk id="48" creationId="{9E9036DA-4B46-0D5A-1D92-8FCB1111AFF9}"/>
          </ac:spMkLst>
        </pc:spChg>
        <pc:spChg chg="mod ord">
          <ac:chgData name="Nataliia Chornii (UA)" userId="4e4b8b3d-5f31-49bb-9f80-8a25c04abfff" providerId="ADAL" clId="{EE97D3FE-9ACA-4467-98E5-532EC45D9D1C}" dt="2024-03-01T12:55:11.658" v="12081"/>
          <ac:spMkLst>
            <pc:docMk/>
            <pc:sldMk cId="756169269" sldId="932"/>
            <ac:spMk id="49" creationId="{DED3BED4-139F-CB4F-0A7B-7B90211550F4}"/>
          </ac:spMkLst>
        </pc:spChg>
        <pc:spChg chg="del mod ord">
          <ac:chgData name="Nataliia Chornii (UA)" userId="4e4b8b3d-5f31-49bb-9f80-8a25c04abfff" providerId="ADAL" clId="{EE97D3FE-9ACA-4467-98E5-532EC45D9D1C}" dt="2024-03-01T12:56:39.544" v="12135" actId="478"/>
          <ac:spMkLst>
            <pc:docMk/>
            <pc:sldMk cId="756169269" sldId="932"/>
            <ac:spMk id="50" creationId="{61121769-21A2-D009-3D52-F0E0C6592564}"/>
          </ac:spMkLst>
        </pc:spChg>
        <pc:spChg chg="del mod ord">
          <ac:chgData name="Nataliia Chornii (UA)" userId="4e4b8b3d-5f31-49bb-9f80-8a25c04abfff" providerId="ADAL" clId="{EE97D3FE-9ACA-4467-98E5-532EC45D9D1C}" dt="2024-03-01T12:56:39.544" v="12135" actId="478"/>
          <ac:spMkLst>
            <pc:docMk/>
            <pc:sldMk cId="756169269" sldId="932"/>
            <ac:spMk id="51" creationId="{3997DF34-76F2-6AE1-A0C4-827982A6B07F}"/>
          </ac:spMkLst>
        </pc:spChg>
        <pc:spChg chg="del mod ord">
          <ac:chgData name="Nataliia Chornii (UA)" userId="4e4b8b3d-5f31-49bb-9f80-8a25c04abfff" providerId="ADAL" clId="{EE97D3FE-9ACA-4467-98E5-532EC45D9D1C}" dt="2024-03-01T12:56:39.544" v="12135" actId="478"/>
          <ac:spMkLst>
            <pc:docMk/>
            <pc:sldMk cId="756169269" sldId="932"/>
            <ac:spMk id="52" creationId="{46DDC8D3-270D-6902-464D-024C2818DB76}"/>
          </ac:spMkLst>
        </pc:spChg>
        <pc:spChg chg="del mod ord">
          <ac:chgData name="Nataliia Chornii (UA)" userId="4e4b8b3d-5f31-49bb-9f80-8a25c04abfff" providerId="ADAL" clId="{EE97D3FE-9ACA-4467-98E5-532EC45D9D1C}" dt="2024-03-01T12:56:39.544" v="12135" actId="478"/>
          <ac:spMkLst>
            <pc:docMk/>
            <pc:sldMk cId="756169269" sldId="932"/>
            <ac:spMk id="53" creationId="{8C783681-E821-3CF5-13F3-E6CFD02BD8C7}"/>
          </ac:spMkLst>
        </pc:spChg>
        <pc:spChg chg="del mod ord">
          <ac:chgData name="Nataliia Chornii (UA)" userId="4e4b8b3d-5f31-49bb-9f80-8a25c04abfff" providerId="ADAL" clId="{EE97D3FE-9ACA-4467-98E5-532EC45D9D1C}" dt="2024-03-01T12:56:39.544" v="12135" actId="478"/>
          <ac:spMkLst>
            <pc:docMk/>
            <pc:sldMk cId="756169269" sldId="932"/>
            <ac:spMk id="54" creationId="{07D1BC64-6A12-CC92-BB16-BD158E162656}"/>
          </ac:spMkLst>
        </pc:spChg>
        <pc:spChg chg="del mod ord">
          <ac:chgData name="Nataliia Chornii (UA)" userId="4e4b8b3d-5f31-49bb-9f80-8a25c04abfff" providerId="ADAL" clId="{EE97D3FE-9ACA-4467-98E5-532EC45D9D1C}" dt="2024-03-01T12:56:39.544" v="12135" actId="478"/>
          <ac:spMkLst>
            <pc:docMk/>
            <pc:sldMk cId="756169269" sldId="932"/>
            <ac:spMk id="55" creationId="{8C097EE3-F6C4-6234-3083-E71D5EA8DD39}"/>
          </ac:spMkLst>
        </pc:spChg>
        <pc:spChg chg="del mod ord">
          <ac:chgData name="Nataliia Chornii (UA)" userId="4e4b8b3d-5f31-49bb-9f80-8a25c04abfff" providerId="ADAL" clId="{EE97D3FE-9ACA-4467-98E5-532EC45D9D1C}" dt="2024-03-01T12:56:39.544" v="12135" actId="478"/>
          <ac:spMkLst>
            <pc:docMk/>
            <pc:sldMk cId="756169269" sldId="932"/>
            <ac:spMk id="56" creationId="{ECBD8D0F-9B63-C8A0-20CA-AFF76EDDBA2A}"/>
          </ac:spMkLst>
        </pc:spChg>
        <pc:spChg chg="del mod topLvl">
          <ac:chgData name="Nataliia Chornii (UA)" userId="4e4b8b3d-5f31-49bb-9f80-8a25c04abfff" providerId="ADAL" clId="{EE97D3FE-9ACA-4467-98E5-532EC45D9D1C}" dt="2024-03-01T12:57:09.714" v="12153" actId="478"/>
          <ac:spMkLst>
            <pc:docMk/>
            <pc:sldMk cId="756169269" sldId="932"/>
            <ac:spMk id="57" creationId="{E7965F90-85F1-E3D9-B92C-479CA6BD7627}"/>
          </ac:spMkLst>
        </pc:spChg>
        <pc:spChg chg="del mod topLvl">
          <ac:chgData name="Nataliia Chornii (UA)" userId="4e4b8b3d-5f31-49bb-9f80-8a25c04abfff" providerId="ADAL" clId="{EE97D3FE-9ACA-4467-98E5-532EC45D9D1C}" dt="2024-03-01T12:57:09.714" v="12153" actId="478"/>
          <ac:spMkLst>
            <pc:docMk/>
            <pc:sldMk cId="756169269" sldId="932"/>
            <ac:spMk id="58" creationId="{B87183DA-BDE5-6F08-87BF-26633DEF8830}"/>
          </ac:spMkLst>
        </pc:spChg>
        <pc:spChg chg="del mod topLvl">
          <ac:chgData name="Nataliia Chornii (UA)" userId="4e4b8b3d-5f31-49bb-9f80-8a25c04abfff" providerId="ADAL" clId="{EE97D3FE-9ACA-4467-98E5-532EC45D9D1C}" dt="2024-03-01T12:57:09.714" v="12153" actId="478"/>
          <ac:spMkLst>
            <pc:docMk/>
            <pc:sldMk cId="756169269" sldId="932"/>
            <ac:spMk id="59" creationId="{90AA4F55-249A-0F90-4F8E-B4C4DB4BA2A8}"/>
          </ac:spMkLst>
        </pc:spChg>
        <pc:spChg chg="del mod ord">
          <ac:chgData name="Nataliia Chornii (UA)" userId="4e4b8b3d-5f31-49bb-9f80-8a25c04abfff" providerId="ADAL" clId="{EE97D3FE-9ACA-4467-98E5-532EC45D9D1C}" dt="2024-03-01T12:56:39.544" v="12135" actId="478"/>
          <ac:spMkLst>
            <pc:docMk/>
            <pc:sldMk cId="756169269" sldId="932"/>
            <ac:spMk id="61" creationId="{2A14CA01-2350-21C6-16E6-E9CEAF43B441}"/>
          </ac:spMkLst>
        </pc:spChg>
        <pc:spChg chg="del mod topLvl">
          <ac:chgData name="Nataliia Chornii (UA)" userId="4e4b8b3d-5f31-49bb-9f80-8a25c04abfff" providerId="ADAL" clId="{EE97D3FE-9ACA-4467-98E5-532EC45D9D1C}" dt="2024-03-01T12:57:09.714" v="12153" actId="478"/>
          <ac:spMkLst>
            <pc:docMk/>
            <pc:sldMk cId="756169269" sldId="932"/>
            <ac:spMk id="62" creationId="{ED1EF6AF-7E3F-30D2-5E54-D6F0B9D5B882}"/>
          </ac:spMkLst>
        </pc:spChg>
        <pc:spChg chg="del mod topLvl">
          <ac:chgData name="Nataliia Chornii (UA)" userId="4e4b8b3d-5f31-49bb-9f80-8a25c04abfff" providerId="ADAL" clId="{EE97D3FE-9ACA-4467-98E5-532EC45D9D1C}" dt="2024-03-01T12:57:09.714" v="12153" actId="478"/>
          <ac:spMkLst>
            <pc:docMk/>
            <pc:sldMk cId="756169269" sldId="932"/>
            <ac:spMk id="63" creationId="{085C475D-927F-A4C6-3D8B-DE2A5A5515D1}"/>
          </ac:spMkLst>
        </pc:spChg>
        <pc:spChg chg="del mod ord">
          <ac:chgData name="Nataliia Chornii (UA)" userId="4e4b8b3d-5f31-49bb-9f80-8a25c04abfff" providerId="ADAL" clId="{EE97D3FE-9ACA-4467-98E5-532EC45D9D1C}" dt="2024-03-01T12:56:39.544" v="12135" actId="478"/>
          <ac:spMkLst>
            <pc:docMk/>
            <pc:sldMk cId="756169269" sldId="932"/>
            <ac:spMk id="64" creationId="{19794A8F-A922-1A21-17E6-1B4B21C8F596}"/>
          </ac:spMkLst>
        </pc:spChg>
        <pc:spChg chg="del mod topLvl">
          <ac:chgData name="Nataliia Chornii (UA)" userId="4e4b8b3d-5f31-49bb-9f80-8a25c04abfff" providerId="ADAL" clId="{EE97D3FE-9ACA-4467-98E5-532EC45D9D1C}" dt="2024-03-01T12:57:09.714" v="12153" actId="478"/>
          <ac:spMkLst>
            <pc:docMk/>
            <pc:sldMk cId="756169269" sldId="932"/>
            <ac:spMk id="65" creationId="{3BE8B5D6-982C-2B79-B87E-A16FE5B6F13B}"/>
          </ac:spMkLst>
        </pc:spChg>
        <pc:spChg chg="del mod ord">
          <ac:chgData name="Nataliia Chornii (UA)" userId="4e4b8b3d-5f31-49bb-9f80-8a25c04abfff" providerId="ADAL" clId="{EE97D3FE-9ACA-4467-98E5-532EC45D9D1C}" dt="2024-03-01T12:56:39.544" v="12135" actId="478"/>
          <ac:spMkLst>
            <pc:docMk/>
            <pc:sldMk cId="756169269" sldId="932"/>
            <ac:spMk id="67" creationId="{173D6274-53F8-0DD4-4E9A-1018104D2DCB}"/>
          </ac:spMkLst>
        </pc:spChg>
        <pc:spChg chg="del mod topLvl">
          <ac:chgData name="Nataliia Chornii (UA)" userId="4e4b8b3d-5f31-49bb-9f80-8a25c04abfff" providerId="ADAL" clId="{EE97D3FE-9ACA-4467-98E5-532EC45D9D1C}" dt="2024-03-01T12:57:09.714" v="12153" actId="478"/>
          <ac:spMkLst>
            <pc:docMk/>
            <pc:sldMk cId="756169269" sldId="932"/>
            <ac:spMk id="68" creationId="{ECB4F442-32E0-5E78-41EF-AAC0CD11EC18}"/>
          </ac:spMkLst>
        </pc:spChg>
        <pc:spChg chg="del mod topLvl">
          <ac:chgData name="Nataliia Chornii (UA)" userId="4e4b8b3d-5f31-49bb-9f80-8a25c04abfff" providerId="ADAL" clId="{EE97D3FE-9ACA-4467-98E5-532EC45D9D1C}" dt="2024-03-01T12:57:09.714" v="12153" actId="478"/>
          <ac:spMkLst>
            <pc:docMk/>
            <pc:sldMk cId="756169269" sldId="932"/>
            <ac:spMk id="69" creationId="{C52CFA14-FBF0-E2F7-9D0B-FBFEA20A05D0}"/>
          </ac:spMkLst>
        </pc:spChg>
        <pc:spChg chg="del mod ord">
          <ac:chgData name="Nataliia Chornii (UA)" userId="4e4b8b3d-5f31-49bb-9f80-8a25c04abfff" providerId="ADAL" clId="{EE97D3FE-9ACA-4467-98E5-532EC45D9D1C}" dt="2024-03-01T12:56:39.544" v="12135" actId="478"/>
          <ac:spMkLst>
            <pc:docMk/>
            <pc:sldMk cId="756169269" sldId="932"/>
            <ac:spMk id="70" creationId="{8E071A3F-2B5A-7CD2-907D-0A46168AC360}"/>
          </ac:spMkLst>
        </pc:spChg>
        <pc:spChg chg="del mod topLvl">
          <ac:chgData name="Nataliia Chornii (UA)" userId="4e4b8b3d-5f31-49bb-9f80-8a25c04abfff" providerId="ADAL" clId="{EE97D3FE-9ACA-4467-98E5-532EC45D9D1C}" dt="2024-03-01T12:57:09.714" v="12153" actId="478"/>
          <ac:spMkLst>
            <pc:docMk/>
            <pc:sldMk cId="756169269" sldId="932"/>
            <ac:spMk id="71" creationId="{1A91AB2C-927F-228F-F767-8463F504EBF5}"/>
          </ac:spMkLst>
        </pc:spChg>
        <pc:spChg chg="del mod ord">
          <ac:chgData name="Nataliia Chornii (UA)" userId="4e4b8b3d-5f31-49bb-9f80-8a25c04abfff" providerId="ADAL" clId="{EE97D3FE-9ACA-4467-98E5-532EC45D9D1C}" dt="2024-03-01T12:56:39.544" v="12135" actId="478"/>
          <ac:spMkLst>
            <pc:docMk/>
            <pc:sldMk cId="756169269" sldId="932"/>
            <ac:spMk id="73" creationId="{F861E25B-F987-831A-A602-44A1BC3C9C06}"/>
          </ac:spMkLst>
        </pc:spChg>
        <pc:spChg chg="del mod topLvl">
          <ac:chgData name="Nataliia Chornii (UA)" userId="4e4b8b3d-5f31-49bb-9f80-8a25c04abfff" providerId="ADAL" clId="{EE97D3FE-9ACA-4467-98E5-532EC45D9D1C}" dt="2024-03-01T12:57:09.714" v="12153" actId="478"/>
          <ac:spMkLst>
            <pc:docMk/>
            <pc:sldMk cId="756169269" sldId="932"/>
            <ac:spMk id="74" creationId="{3FBDBFB9-F675-5E36-626B-FDCE64AA2D85}"/>
          </ac:spMkLst>
        </pc:spChg>
        <pc:spChg chg="del mod topLvl">
          <ac:chgData name="Nataliia Chornii (UA)" userId="4e4b8b3d-5f31-49bb-9f80-8a25c04abfff" providerId="ADAL" clId="{EE97D3FE-9ACA-4467-98E5-532EC45D9D1C}" dt="2024-03-01T12:57:09.714" v="12153" actId="478"/>
          <ac:spMkLst>
            <pc:docMk/>
            <pc:sldMk cId="756169269" sldId="932"/>
            <ac:spMk id="75" creationId="{B87F2F65-5BC3-A253-0B5A-38523BC3BD39}"/>
          </ac:spMkLst>
        </pc:spChg>
        <pc:spChg chg="del mod ord">
          <ac:chgData name="Nataliia Chornii (UA)" userId="4e4b8b3d-5f31-49bb-9f80-8a25c04abfff" providerId="ADAL" clId="{EE97D3FE-9ACA-4467-98E5-532EC45D9D1C}" dt="2024-03-01T12:56:39.544" v="12135" actId="478"/>
          <ac:spMkLst>
            <pc:docMk/>
            <pc:sldMk cId="756169269" sldId="932"/>
            <ac:spMk id="76" creationId="{48C1CD32-80B1-493D-9426-7B73B4755484}"/>
          </ac:spMkLst>
        </pc:spChg>
        <pc:spChg chg="del mod topLvl">
          <ac:chgData name="Nataliia Chornii (UA)" userId="4e4b8b3d-5f31-49bb-9f80-8a25c04abfff" providerId="ADAL" clId="{EE97D3FE-9ACA-4467-98E5-532EC45D9D1C}" dt="2024-03-01T12:57:09.714" v="12153" actId="478"/>
          <ac:spMkLst>
            <pc:docMk/>
            <pc:sldMk cId="756169269" sldId="932"/>
            <ac:spMk id="77" creationId="{FCEEF53F-CCF3-2512-67A5-79F8EA7C733D}"/>
          </ac:spMkLst>
        </pc:spChg>
        <pc:spChg chg="del mod ord">
          <ac:chgData name="Nataliia Chornii (UA)" userId="4e4b8b3d-5f31-49bb-9f80-8a25c04abfff" providerId="ADAL" clId="{EE97D3FE-9ACA-4467-98E5-532EC45D9D1C}" dt="2024-03-01T12:56:39.544" v="12135" actId="478"/>
          <ac:spMkLst>
            <pc:docMk/>
            <pc:sldMk cId="756169269" sldId="932"/>
            <ac:spMk id="79" creationId="{84ACD26B-9585-F3C8-8179-0329BA741C8A}"/>
          </ac:spMkLst>
        </pc:spChg>
        <pc:spChg chg="del mod topLvl">
          <ac:chgData name="Nataliia Chornii (UA)" userId="4e4b8b3d-5f31-49bb-9f80-8a25c04abfff" providerId="ADAL" clId="{EE97D3FE-9ACA-4467-98E5-532EC45D9D1C}" dt="2024-03-01T12:57:09.714" v="12153" actId="478"/>
          <ac:spMkLst>
            <pc:docMk/>
            <pc:sldMk cId="756169269" sldId="932"/>
            <ac:spMk id="80" creationId="{19E6235B-1E58-75BA-45CF-7A24F98C9E75}"/>
          </ac:spMkLst>
        </pc:spChg>
        <pc:spChg chg="del mod topLvl">
          <ac:chgData name="Nataliia Chornii (UA)" userId="4e4b8b3d-5f31-49bb-9f80-8a25c04abfff" providerId="ADAL" clId="{EE97D3FE-9ACA-4467-98E5-532EC45D9D1C}" dt="2024-03-01T12:57:09.714" v="12153" actId="478"/>
          <ac:spMkLst>
            <pc:docMk/>
            <pc:sldMk cId="756169269" sldId="932"/>
            <ac:spMk id="81" creationId="{BC8922F7-4384-29B6-DC05-974C093B997E}"/>
          </ac:spMkLst>
        </pc:spChg>
        <pc:spChg chg="del mod topLvl">
          <ac:chgData name="Nataliia Chornii (UA)" userId="4e4b8b3d-5f31-49bb-9f80-8a25c04abfff" providerId="ADAL" clId="{EE97D3FE-9ACA-4467-98E5-532EC45D9D1C}" dt="2024-03-01T12:57:09.714" v="12153" actId="478"/>
          <ac:spMkLst>
            <pc:docMk/>
            <pc:sldMk cId="756169269" sldId="932"/>
            <ac:spMk id="82" creationId="{3612B78D-CAAE-0AE2-B6D8-8D346E82AE99}"/>
          </ac:spMkLst>
        </pc:spChg>
        <pc:spChg chg="mod">
          <ac:chgData name="Nataliia Chornii (UA)" userId="4e4b8b3d-5f31-49bb-9f80-8a25c04abfff" providerId="ADAL" clId="{EE97D3FE-9ACA-4467-98E5-532EC45D9D1C}" dt="2024-03-01T12:57:30.170" v="12159" actId="571"/>
          <ac:spMkLst>
            <pc:docMk/>
            <pc:sldMk cId="756169269" sldId="932"/>
            <ac:spMk id="85" creationId="{717D78AD-F55E-B7B7-2746-E12BB929B4CC}"/>
          </ac:spMkLst>
        </pc:spChg>
        <pc:spChg chg="mod">
          <ac:chgData name="Nataliia Chornii (UA)" userId="4e4b8b3d-5f31-49bb-9f80-8a25c04abfff" providerId="ADAL" clId="{EE97D3FE-9ACA-4467-98E5-532EC45D9D1C}" dt="2024-03-01T12:57:49.583" v="12169" actId="20577"/>
          <ac:spMkLst>
            <pc:docMk/>
            <pc:sldMk cId="756169269" sldId="932"/>
            <ac:spMk id="86" creationId="{4F213C7A-6FFE-D70B-571D-8E4B9871D8FB}"/>
          </ac:spMkLst>
        </pc:spChg>
        <pc:spChg chg="mod">
          <ac:chgData name="Nataliia Chornii (UA)" userId="4e4b8b3d-5f31-49bb-9f80-8a25c04abfff" providerId="ADAL" clId="{EE97D3FE-9ACA-4467-98E5-532EC45D9D1C}" dt="2024-03-01T12:57:30.170" v="12159" actId="571"/>
          <ac:spMkLst>
            <pc:docMk/>
            <pc:sldMk cId="756169269" sldId="932"/>
            <ac:spMk id="87" creationId="{8251AEAD-1AF7-4B7A-6895-CEB9840640F8}"/>
          </ac:spMkLst>
        </pc:spChg>
        <pc:spChg chg="mod">
          <ac:chgData name="Nataliia Chornii (UA)" userId="4e4b8b3d-5f31-49bb-9f80-8a25c04abfff" providerId="ADAL" clId="{EE97D3FE-9ACA-4467-98E5-532EC45D9D1C}" dt="2024-03-01T12:57:38.572" v="12163" actId="571"/>
          <ac:spMkLst>
            <pc:docMk/>
            <pc:sldMk cId="756169269" sldId="932"/>
            <ac:spMk id="89" creationId="{76528934-6900-9099-0187-9C7AD33D45FC}"/>
          </ac:spMkLst>
        </pc:spChg>
        <pc:spChg chg="mod">
          <ac:chgData name="Nataliia Chornii (UA)" userId="4e4b8b3d-5f31-49bb-9f80-8a25c04abfff" providerId="ADAL" clId="{EE97D3FE-9ACA-4467-98E5-532EC45D9D1C}" dt="2024-03-01T12:57:51.113" v="12170" actId="20577"/>
          <ac:spMkLst>
            <pc:docMk/>
            <pc:sldMk cId="756169269" sldId="932"/>
            <ac:spMk id="90" creationId="{0FD67CAE-FD24-51D1-1246-195CD43185D3}"/>
          </ac:spMkLst>
        </pc:spChg>
        <pc:spChg chg="mod">
          <ac:chgData name="Nataliia Chornii (UA)" userId="4e4b8b3d-5f31-49bb-9f80-8a25c04abfff" providerId="ADAL" clId="{EE97D3FE-9ACA-4467-98E5-532EC45D9D1C}" dt="2024-03-01T12:57:38.572" v="12163" actId="571"/>
          <ac:spMkLst>
            <pc:docMk/>
            <pc:sldMk cId="756169269" sldId="932"/>
            <ac:spMk id="91" creationId="{67203097-35C4-2253-DB9F-994F95A999AA}"/>
          </ac:spMkLst>
        </pc:spChg>
        <pc:spChg chg="mod">
          <ac:chgData name="Nataliia Chornii (UA)" userId="4e4b8b3d-5f31-49bb-9f80-8a25c04abfff" providerId="ADAL" clId="{EE97D3FE-9ACA-4467-98E5-532EC45D9D1C}" dt="2024-03-01T12:57:38.572" v="12163" actId="571"/>
          <ac:spMkLst>
            <pc:docMk/>
            <pc:sldMk cId="756169269" sldId="932"/>
            <ac:spMk id="93" creationId="{21142F6F-D4C1-3D4E-76E6-6369F2ADCD5B}"/>
          </ac:spMkLst>
        </pc:spChg>
        <pc:spChg chg="mod">
          <ac:chgData name="Nataliia Chornii (UA)" userId="4e4b8b3d-5f31-49bb-9f80-8a25c04abfff" providerId="ADAL" clId="{EE97D3FE-9ACA-4467-98E5-532EC45D9D1C}" dt="2024-03-01T12:57:52.532" v="12171" actId="20577"/>
          <ac:spMkLst>
            <pc:docMk/>
            <pc:sldMk cId="756169269" sldId="932"/>
            <ac:spMk id="94" creationId="{4151BA7F-8399-7393-09F8-60964A423D2D}"/>
          </ac:spMkLst>
        </pc:spChg>
        <pc:spChg chg="mod">
          <ac:chgData name="Nataliia Chornii (UA)" userId="4e4b8b3d-5f31-49bb-9f80-8a25c04abfff" providerId="ADAL" clId="{EE97D3FE-9ACA-4467-98E5-532EC45D9D1C}" dt="2024-03-01T12:57:38.572" v="12163" actId="571"/>
          <ac:spMkLst>
            <pc:docMk/>
            <pc:sldMk cId="756169269" sldId="932"/>
            <ac:spMk id="95" creationId="{FE272AEB-599E-7EE1-98BD-09072DC46D71}"/>
          </ac:spMkLst>
        </pc:spChg>
        <pc:spChg chg="mod">
          <ac:chgData name="Nataliia Chornii (UA)" userId="4e4b8b3d-5f31-49bb-9f80-8a25c04abfff" providerId="ADAL" clId="{EE97D3FE-9ACA-4467-98E5-532EC45D9D1C}" dt="2024-03-01T12:57:40.812" v="12164" actId="571"/>
          <ac:spMkLst>
            <pc:docMk/>
            <pc:sldMk cId="756169269" sldId="932"/>
            <ac:spMk id="97" creationId="{B99D50FB-93D2-0ADD-0881-C60078D02F0F}"/>
          </ac:spMkLst>
        </pc:spChg>
        <pc:spChg chg="mod">
          <ac:chgData name="Nataliia Chornii (UA)" userId="4e4b8b3d-5f31-49bb-9f80-8a25c04abfff" providerId="ADAL" clId="{EE97D3FE-9ACA-4467-98E5-532EC45D9D1C}" dt="2024-03-01T12:57:57.939" v="12174" actId="20577"/>
          <ac:spMkLst>
            <pc:docMk/>
            <pc:sldMk cId="756169269" sldId="932"/>
            <ac:spMk id="98" creationId="{82E106BA-F93B-625E-6515-B9795815FE20}"/>
          </ac:spMkLst>
        </pc:spChg>
        <pc:spChg chg="mod">
          <ac:chgData name="Nataliia Chornii (UA)" userId="4e4b8b3d-5f31-49bb-9f80-8a25c04abfff" providerId="ADAL" clId="{EE97D3FE-9ACA-4467-98E5-532EC45D9D1C}" dt="2024-03-01T12:57:40.812" v="12164" actId="571"/>
          <ac:spMkLst>
            <pc:docMk/>
            <pc:sldMk cId="756169269" sldId="932"/>
            <ac:spMk id="99" creationId="{FC1CAE7C-CB13-EA44-E72F-087ED846AE0C}"/>
          </ac:spMkLst>
        </pc:spChg>
        <pc:spChg chg="mod ord">
          <ac:chgData name="Nataliia Chornii (UA)" userId="4e4b8b3d-5f31-49bb-9f80-8a25c04abfff" providerId="ADAL" clId="{EE97D3FE-9ACA-4467-98E5-532EC45D9D1C}" dt="2024-03-01T12:55:11.658" v="12051"/>
          <ac:spMkLst>
            <pc:docMk/>
            <pc:sldMk cId="756169269" sldId="932"/>
            <ac:spMk id="100" creationId="{6196419E-02BA-D21D-1546-F1EC7C2A2D38}"/>
          </ac:spMkLst>
        </pc:spChg>
        <pc:spChg chg="mod ord">
          <ac:chgData name="Nataliia Chornii (UA)" userId="4e4b8b3d-5f31-49bb-9f80-8a25c04abfff" providerId="ADAL" clId="{EE97D3FE-9ACA-4467-98E5-532EC45D9D1C}" dt="2024-03-01T12:55:11.658" v="12053"/>
          <ac:spMkLst>
            <pc:docMk/>
            <pc:sldMk cId="756169269" sldId="932"/>
            <ac:spMk id="101" creationId="{9ECA4B5E-E4A7-485E-4742-A7A24FB938CD}"/>
          </ac:spMkLst>
        </pc:spChg>
        <pc:spChg chg="mod ord">
          <ac:chgData name="Nataliia Chornii (UA)" userId="4e4b8b3d-5f31-49bb-9f80-8a25c04abfff" providerId="ADAL" clId="{EE97D3FE-9ACA-4467-98E5-532EC45D9D1C}" dt="2024-03-01T12:55:11.658" v="12055"/>
          <ac:spMkLst>
            <pc:docMk/>
            <pc:sldMk cId="756169269" sldId="932"/>
            <ac:spMk id="102" creationId="{6C2839D0-72C0-7347-1A1F-A4C976165D3B}"/>
          </ac:spMkLst>
        </pc:spChg>
        <pc:spChg chg="mod ord">
          <ac:chgData name="Nataliia Chornii (UA)" userId="4e4b8b3d-5f31-49bb-9f80-8a25c04abfff" providerId="ADAL" clId="{EE97D3FE-9ACA-4467-98E5-532EC45D9D1C}" dt="2024-03-01T12:55:11.658" v="12057"/>
          <ac:spMkLst>
            <pc:docMk/>
            <pc:sldMk cId="756169269" sldId="932"/>
            <ac:spMk id="103" creationId="{20162A1E-1272-A65F-9743-08A1C56CDD8F}"/>
          </ac:spMkLst>
        </pc:spChg>
        <pc:spChg chg="mod ord">
          <ac:chgData name="Nataliia Chornii (UA)" userId="4e4b8b3d-5f31-49bb-9f80-8a25c04abfff" providerId="ADAL" clId="{EE97D3FE-9ACA-4467-98E5-532EC45D9D1C}" dt="2024-03-01T12:57:45.329" v="12167" actId="12789"/>
          <ac:spMkLst>
            <pc:docMk/>
            <pc:sldMk cId="756169269" sldId="932"/>
            <ac:spMk id="104" creationId="{C489AEBB-7FB2-EC1A-2DC3-18B08D331418}"/>
          </ac:spMkLst>
        </pc:spChg>
        <pc:spChg chg="mod">
          <ac:chgData name="Nataliia Chornii (UA)" userId="4e4b8b3d-5f31-49bb-9f80-8a25c04abfff" providerId="ADAL" clId="{EE97D3FE-9ACA-4467-98E5-532EC45D9D1C}" dt="2024-03-01T12:57:40.812" v="12164" actId="571"/>
          <ac:spMkLst>
            <pc:docMk/>
            <pc:sldMk cId="756169269" sldId="932"/>
            <ac:spMk id="106" creationId="{F6743ABD-AF1D-D89C-E4F7-C9242059E53F}"/>
          </ac:spMkLst>
        </pc:spChg>
        <pc:spChg chg="mod ord">
          <ac:chgData name="Nataliia Chornii (UA)" userId="4e4b8b3d-5f31-49bb-9f80-8a25c04abfff" providerId="ADAL" clId="{EE97D3FE-9ACA-4467-98E5-532EC45D9D1C}" dt="2024-03-01T12:55:11.658" v="12061"/>
          <ac:spMkLst>
            <pc:docMk/>
            <pc:sldMk cId="756169269" sldId="932"/>
            <ac:spMk id="107" creationId="{5E4C4BD5-129E-6AAF-672B-2CE5A9EA1809}"/>
          </ac:spMkLst>
        </pc:spChg>
        <pc:spChg chg="mod ord">
          <ac:chgData name="Nataliia Chornii (UA)" userId="4e4b8b3d-5f31-49bb-9f80-8a25c04abfff" providerId="ADAL" clId="{EE97D3FE-9ACA-4467-98E5-532EC45D9D1C}" dt="2024-03-01T12:55:11.658" v="12063"/>
          <ac:spMkLst>
            <pc:docMk/>
            <pc:sldMk cId="756169269" sldId="932"/>
            <ac:spMk id="108" creationId="{374ED229-16EB-16FE-4EEB-6C75D32758A7}"/>
          </ac:spMkLst>
        </pc:spChg>
        <pc:spChg chg="mod">
          <ac:chgData name="Nataliia Chornii (UA)" userId="4e4b8b3d-5f31-49bb-9f80-8a25c04abfff" providerId="ADAL" clId="{EE97D3FE-9ACA-4467-98E5-532EC45D9D1C}" dt="2024-03-01T12:57:59.317" v="12175" actId="20577"/>
          <ac:spMkLst>
            <pc:docMk/>
            <pc:sldMk cId="756169269" sldId="932"/>
            <ac:spMk id="109" creationId="{8618507D-B370-92B0-DFA5-11C7BB5A3E00}"/>
          </ac:spMkLst>
        </pc:spChg>
        <pc:spChg chg="mod">
          <ac:chgData name="Nataliia Chornii (UA)" userId="4e4b8b3d-5f31-49bb-9f80-8a25c04abfff" providerId="ADAL" clId="{EE97D3FE-9ACA-4467-98E5-532EC45D9D1C}" dt="2024-03-01T12:57:40.812" v="12164" actId="571"/>
          <ac:spMkLst>
            <pc:docMk/>
            <pc:sldMk cId="756169269" sldId="932"/>
            <ac:spMk id="110" creationId="{2323B017-98F9-6540-15C0-79EF52B01007}"/>
          </ac:spMkLst>
        </pc:spChg>
        <pc:spChg chg="mod">
          <ac:chgData name="Nataliia Chornii (UA)" userId="4e4b8b3d-5f31-49bb-9f80-8a25c04abfff" providerId="ADAL" clId="{EE97D3FE-9ACA-4467-98E5-532EC45D9D1C}" dt="2024-03-01T12:57:42.564" v="12165" actId="571"/>
          <ac:spMkLst>
            <pc:docMk/>
            <pc:sldMk cId="756169269" sldId="932"/>
            <ac:spMk id="112" creationId="{3538F43A-DD72-9919-3950-1552631A16D0}"/>
          </ac:spMkLst>
        </pc:spChg>
        <pc:spChg chg="mod">
          <ac:chgData name="Nataliia Chornii (UA)" userId="4e4b8b3d-5f31-49bb-9f80-8a25c04abfff" providerId="ADAL" clId="{EE97D3FE-9ACA-4467-98E5-532EC45D9D1C}" dt="2024-03-01T12:58:00.752" v="12176" actId="20577"/>
          <ac:spMkLst>
            <pc:docMk/>
            <pc:sldMk cId="756169269" sldId="932"/>
            <ac:spMk id="113" creationId="{04389565-5935-1B99-DBAC-91B21A88DB9A}"/>
          </ac:spMkLst>
        </pc:spChg>
        <pc:spChg chg="mod">
          <ac:chgData name="Nataliia Chornii (UA)" userId="4e4b8b3d-5f31-49bb-9f80-8a25c04abfff" providerId="ADAL" clId="{EE97D3FE-9ACA-4467-98E5-532EC45D9D1C}" dt="2024-03-01T12:57:42.564" v="12165" actId="571"/>
          <ac:spMkLst>
            <pc:docMk/>
            <pc:sldMk cId="756169269" sldId="932"/>
            <ac:spMk id="114" creationId="{CE5114AA-EA4D-40C1-5402-507ADF060FEE}"/>
          </ac:spMkLst>
        </pc:spChg>
        <pc:spChg chg="mod">
          <ac:chgData name="Nataliia Chornii (UA)" userId="4e4b8b3d-5f31-49bb-9f80-8a25c04abfff" providerId="ADAL" clId="{EE97D3FE-9ACA-4467-98E5-532EC45D9D1C}" dt="2024-03-01T12:57:42.564" v="12165" actId="571"/>
          <ac:spMkLst>
            <pc:docMk/>
            <pc:sldMk cId="756169269" sldId="932"/>
            <ac:spMk id="116" creationId="{490900A0-B247-CC20-89D7-DC80DCD50EBD}"/>
          </ac:spMkLst>
        </pc:spChg>
        <pc:spChg chg="mod">
          <ac:chgData name="Nataliia Chornii (UA)" userId="4e4b8b3d-5f31-49bb-9f80-8a25c04abfff" providerId="ADAL" clId="{EE97D3FE-9ACA-4467-98E5-532EC45D9D1C}" dt="2024-03-01T12:58:02.233" v="12177" actId="20577"/>
          <ac:spMkLst>
            <pc:docMk/>
            <pc:sldMk cId="756169269" sldId="932"/>
            <ac:spMk id="117" creationId="{95A6B124-43D5-7C76-A69A-538693353293}"/>
          </ac:spMkLst>
        </pc:spChg>
        <pc:spChg chg="mod">
          <ac:chgData name="Nataliia Chornii (UA)" userId="4e4b8b3d-5f31-49bb-9f80-8a25c04abfff" providerId="ADAL" clId="{EE97D3FE-9ACA-4467-98E5-532EC45D9D1C}" dt="2024-03-01T12:57:42.564" v="12165" actId="571"/>
          <ac:spMkLst>
            <pc:docMk/>
            <pc:sldMk cId="756169269" sldId="932"/>
            <ac:spMk id="118" creationId="{888BE5E4-4954-A663-CFEC-7ADF2660DE7B}"/>
          </ac:spMkLst>
        </pc:spChg>
        <pc:grpChg chg="add del mod">
          <ac:chgData name="Nataliia Chornii (UA)" userId="4e4b8b3d-5f31-49bb-9f80-8a25c04abfff" providerId="ADAL" clId="{EE97D3FE-9ACA-4467-98E5-532EC45D9D1C}" dt="2024-03-01T12:56:55.516" v="12146" actId="165"/>
          <ac:grpSpMkLst>
            <pc:docMk/>
            <pc:sldMk cId="756169269" sldId="932"/>
            <ac:grpSpMk id="34" creationId="{77D446E3-0A83-6A01-622B-772369E5B195}"/>
          </ac:grpSpMkLst>
        </pc:grpChg>
        <pc:grpChg chg="add del mod">
          <ac:chgData name="Nataliia Chornii (UA)" userId="4e4b8b3d-5f31-49bb-9f80-8a25c04abfff" providerId="ADAL" clId="{EE97D3FE-9ACA-4467-98E5-532EC45D9D1C}" dt="2024-03-01T12:56:55.516" v="12146" actId="165"/>
          <ac:grpSpMkLst>
            <pc:docMk/>
            <pc:sldMk cId="756169269" sldId="932"/>
            <ac:grpSpMk id="35" creationId="{C8B7E22E-776B-9332-922D-B99A664465BA}"/>
          </ac:grpSpMkLst>
        </pc:grpChg>
        <pc:grpChg chg="add del mod">
          <ac:chgData name="Nataliia Chornii (UA)" userId="4e4b8b3d-5f31-49bb-9f80-8a25c04abfff" providerId="ADAL" clId="{EE97D3FE-9ACA-4467-98E5-532EC45D9D1C}" dt="2024-03-01T12:56:55.516" v="12146" actId="165"/>
          <ac:grpSpMkLst>
            <pc:docMk/>
            <pc:sldMk cId="756169269" sldId="932"/>
            <ac:grpSpMk id="40" creationId="{B1F120C8-F9A7-6FDE-7845-2AC6BDBDC370}"/>
          </ac:grpSpMkLst>
        </pc:grpChg>
        <pc:grpChg chg="add del mod">
          <ac:chgData name="Nataliia Chornii (UA)" userId="4e4b8b3d-5f31-49bb-9f80-8a25c04abfff" providerId="ADAL" clId="{EE97D3FE-9ACA-4467-98E5-532EC45D9D1C}" dt="2024-03-01T12:56:55.516" v="12146" actId="165"/>
          <ac:grpSpMkLst>
            <pc:docMk/>
            <pc:sldMk cId="756169269" sldId="932"/>
            <ac:grpSpMk id="60" creationId="{579A7468-C58C-E3C2-9B11-84987DD7C902}"/>
          </ac:grpSpMkLst>
        </pc:grpChg>
        <pc:grpChg chg="add del mod">
          <ac:chgData name="Nataliia Chornii (UA)" userId="4e4b8b3d-5f31-49bb-9f80-8a25c04abfff" providerId="ADAL" clId="{EE97D3FE-9ACA-4467-98E5-532EC45D9D1C}" dt="2024-03-01T12:56:55.516" v="12146" actId="165"/>
          <ac:grpSpMkLst>
            <pc:docMk/>
            <pc:sldMk cId="756169269" sldId="932"/>
            <ac:grpSpMk id="66" creationId="{F2C88076-42B3-DE49-4150-2BEA6833E1B9}"/>
          </ac:grpSpMkLst>
        </pc:grpChg>
        <pc:grpChg chg="add del mod">
          <ac:chgData name="Nataliia Chornii (UA)" userId="4e4b8b3d-5f31-49bb-9f80-8a25c04abfff" providerId="ADAL" clId="{EE97D3FE-9ACA-4467-98E5-532EC45D9D1C}" dt="2024-03-01T12:56:55.516" v="12146" actId="165"/>
          <ac:grpSpMkLst>
            <pc:docMk/>
            <pc:sldMk cId="756169269" sldId="932"/>
            <ac:grpSpMk id="72" creationId="{1B1BF55E-9B79-FBD8-2C90-290E8E48CEAA}"/>
          </ac:grpSpMkLst>
        </pc:grpChg>
        <pc:grpChg chg="add del mod">
          <ac:chgData name="Nataliia Chornii (UA)" userId="4e4b8b3d-5f31-49bb-9f80-8a25c04abfff" providerId="ADAL" clId="{EE97D3FE-9ACA-4467-98E5-532EC45D9D1C}" dt="2024-03-01T12:56:55.516" v="12146" actId="165"/>
          <ac:grpSpMkLst>
            <pc:docMk/>
            <pc:sldMk cId="756169269" sldId="932"/>
            <ac:grpSpMk id="78" creationId="{C9BDF12A-7D11-EED2-715B-4879395798CE}"/>
          </ac:grpSpMkLst>
        </pc:grpChg>
        <pc:grpChg chg="add mod">
          <ac:chgData name="Nataliia Chornii (UA)" userId="4e4b8b3d-5f31-49bb-9f80-8a25c04abfff" providerId="ADAL" clId="{EE97D3FE-9ACA-4467-98E5-532EC45D9D1C}" dt="2024-03-01T12:57:35.481" v="12162" actId="12789"/>
          <ac:grpSpMkLst>
            <pc:docMk/>
            <pc:sldMk cId="756169269" sldId="932"/>
            <ac:grpSpMk id="83" creationId="{74C3784D-BFEC-E5B2-A3C8-18ED5E1CA647}"/>
          </ac:grpSpMkLst>
        </pc:grpChg>
        <pc:grpChg chg="add mod">
          <ac:chgData name="Nataliia Chornii (UA)" userId="4e4b8b3d-5f31-49bb-9f80-8a25c04abfff" providerId="ADAL" clId="{EE97D3FE-9ACA-4467-98E5-532EC45D9D1C}" dt="2024-03-01T12:57:47.792" v="12168" actId="465"/>
          <ac:grpSpMkLst>
            <pc:docMk/>
            <pc:sldMk cId="756169269" sldId="932"/>
            <ac:grpSpMk id="84" creationId="{8B0EC434-86CE-0635-F7CD-CADC1A5A9B8A}"/>
          </ac:grpSpMkLst>
        </pc:grpChg>
        <pc:grpChg chg="add mod">
          <ac:chgData name="Nataliia Chornii (UA)" userId="4e4b8b3d-5f31-49bb-9f80-8a25c04abfff" providerId="ADAL" clId="{EE97D3FE-9ACA-4467-98E5-532EC45D9D1C}" dt="2024-03-01T12:57:47.792" v="12168" actId="465"/>
          <ac:grpSpMkLst>
            <pc:docMk/>
            <pc:sldMk cId="756169269" sldId="932"/>
            <ac:grpSpMk id="88" creationId="{24C12F3D-5D6B-AE2F-28C8-97FBFEBF0062}"/>
          </ac:grpSpMkLst>
        </pc:grpChg>
        <pc:grpChg chg="add mod">
          <ac:chgData name="Nataliia Chornii (UA)" userId="4e4b8b3d-5f31-49bb-9f80-8a25c04abfff" providerId="ADAL" clId="{EE97D3FE-9ACA-4467-98E5-532EC45D9D1C}" dt="2024-03-01T12:57:47.792" v="12168" actId="465"/>
          <ac:grpSpMkLst>
            <pc:docMk/>
            <pc:sldMk cId="756169269" sldId="932"/>
            <ac:grpSpMk id="92" creationId="{915C3F04-31C6-0CA5-39FB-D0069230D754}"/>
          </ac:grpSpMkLst>
        </pc:grpChg>
        <pc:grpChg chg="add mod">
          <ac:chgData name="Nataliia Chornii (UA)" userId="4e4b8b3d-5f31-49bb-9f80-8a25c04abfff" providerId="ADAL" clId="{EE97D3FE-9ACA-4467-98E5-532EC45D9D1C}" dt="2024-03-01T12:57:47.792" v="12168" actId="465"/>
          <ac:grpSpMkLst>
            <pc:docMk/>
            <pc:sldMk cId="756169269" sldId="932"/>
            <ac:grpSpMk id="96" creationId="{02E27594-1F9B-3682-A208-BECD5242CAA8}"/>
          </ac:grpSpMkLst>
        </pc:grpChg>
        <pc:grpChg chg="add mod">
          <ac:chgData name="Nataliia Chornii (UA)" userId="4e4b8b3d-5f31-49bb-9f80-8a25c04abfff" providerId="ADAL" clId="{EE97D3FE-9ACA-4467-98E5-532EC45D9D1C}" dt="2024-03-01T12:57:47.792" v="12168" actId="465"/>
          <ac:grpSpMkLst>
            <pc:docMk/>
            <pc:sldMk cId="756169269" sldId="932"/>
            <ac:grpSpMk id="105" creationId="{2D858799-1750-4589-C0C9-D965267AC2F5}"/>
          </ac:grpSpMkLst>
        </pc:grpChg>
        <pc:grpChg chg="add mod">
          <ac:chgData name="Nataliia Chornii (UA)" userId="4e4b8b3d-5f31-49bb-9f80-8a25c04abfff" providerId="ADAL" clId="{EE97D3FE-9ACA-4467-98E5-532EC45D9D1C}" dt="2024-03-01T12:57:47.792" v="12168" actId="465"/>
          <ac:grpSpMkLst>
            <pc:docMk/>
            <pc:sldMk cId="756169269" sldId="932"/>
            <ac:grpSpMk id="111" creationId="{101A94D4-F6F5-D05B-F3A4-834A5341FDA0}"/>
          </ac:grpSpMkLst>
        </pc:grpChg>
        <pc:grpChg chg="add mod">
          <ac:chgData name="Nataliia Chornii (UA)" userId="4e4b8b3d-5f31-49bb-9f80-8a25c04abfff" providerId="ADAL" clId="{EE97D3FE-9ACA-4467-98E5-532EC45D9D1C}" dt="2024-03-01T12:57:45.329" v="12167" actId="12789"/>
          <ac:grpSpMkLst>
            <pc:docMk/>
            <pc:sldMk cId="756169269" sldId="932"/>
            <ac:grpSpMk id="115" creationId="{5F5879ED-944D-5463-B38D-C67CDC5204EF}"/>
          </ac:grpSpMkLst>
        </pc:grpChg>
        <pc:graphicFrameChg chg="mod">
          <ac:chgData name="Nataliia Chornii (UA)" userId="4e4b8b3d-5f31-49bb-9f80-8a25c04abfff" providerId="ADAL" clId="{EE97D3FE-9ACA-4467-98E5-532EC45D9D1C}" dt="2024-03-01T12:55:11.673" v="12111"/>
          <ac:graphicFrameMkLst>
            <pc:docMk/>
            <pc:sldMk cId="756169269" sldId="932"/>
            <ac:graphicFrameMk id="12" creationId="{F6E6AF23-7B86-113A-F559-513B41FEC1FE}"/>
          </ac:graphicFrameMkLst>
        </pc:graphicFrameChg>
        <pc:picChg chg="mod ord">
          <ac:chgData name="Nataliia Chornii (UA)" userId="4e4b8b3d-5f31-49bb-9f80-8a25c04abfff" providerId="ADAL" clId="{EE97D3FE-9ACA-4467-98E5-532EC45D9D1C}" dt="2024-03-01T12:55:11.626" v="12007"/>
          <ac:picMkLst>
            <pc:docMk/>
            <pc:sldMk cId="756169269" sldId="932"/>
            <ac:picMk id="41" creationId="{7CAE88F2-0719-E8A4-5A3E-39E39CF155A6}"/>
          </ac:picMkLst>
        </pc:picChg>
        <pc:cxnChg chg="mod ord">
          <ac:chgData name="Nataliia Chornii (UA)" userId="4e4b8b3d-5f31-49bb-9f80-8a25c04abfff" providerId="ADAL" clId="{EE97D3FE-9ACA-4467-98E5-532EC45D9D1C}" dt="2024-03-01T12:55:11.658" v="12065"/>
          <ac:cxnSpMkLst>
            <pc:docMk/>
            <pc:sldMk cId="756169269" sldId="932"/>
            <ac:cxnSpMk id="6" creationId="{B3733624-6466-BD41-3C49-71F64E87C523}"/>
          </ac:cxnSpMkLst>
        </pc:cxnChg>
        <pc:cxnChg chg="mod ord">
          <ac:chgData name="Nataliia Chornii (UA)" userId="4e4b8b3d-5f31-49bb-9f80-8a25c04abfff" providerId="ADAL" clId="{EE97D3FE-9ACA-4467-98E5-532EC45D9D1C}" dt="2024-03-01T12:55:11.658" v="12067"/>
          <ac:cxnSpMkLst>
            <pc:docMk/>
            <pc:sldMk cId="756169269" sldId="932"/>
            <ac:cxnSpMk id="7" creationId="{5A2159BA-60F1-B7B5-DA22-2E5D2C4A8574}"/>
          </ac:cxnSpMkLst>
        </pc:cxnChg>
        <pc:cxnChg chg="mod ord">
          <ac:chgData name="Nataliia Chornii (UA)" userId="4e4b8b3d-5f31-49bb-9f80-8a25c04abfff" providerId="ADAL" clId="{EE97D3FE-9ACA-4467-98E5-532EC45D9D1C}" dt="2024-03-01T12:55:11.658" v="12069"/>
          <ac:cxnSpMkLst>
            <pc:docMk/>
            <pc:sldMk cId="756169269" sldId="932"/>
            <ac:cxnSpMk id="9" creationId="{CBCFB46D-F848-5D86-81ED-08C2DDBD6018}"/>
          </ac:cxnSpMkLst>
        </pc:cxnChg>
        <pc:cxnChg chg="mod ord">
          <ac:chgData name="Nataliia Chornii (UA)" userId="4e4b8b3d-5f31-49bb-9f80-8a25c04abfff" providerId="ADAL" clId="{EE97D3FE-9ACA-4467-98E5-532EC45D9D1C}" dt="2024-03-01T12:55:11.658" v="12071"/>
          <ac:cxnSpMkLst>
            <pc:docMk/>
            <pc:sldMk cId="756169269" sldId="932"/>
            <ac:cxnSpMk id="11" creationId="{A04A74A1-0026-74F8-2A50-1E9075544CF3}"/>
          </ac:cxnSpMkLst>
        </pc:cxnChg>
        <pc:cxnChg chg="mod ord">
          <ac:chgData name="Nataliia Chornii (UA)" userId="4e4b8b3d-5f31-49bb-9f80-8a25c04abfff" providerId="ADAL" clId="{EE97D3FE-9ACA-4467-98E5-532EC45D9D1C}" dt="2024-03-01T12:55:11.658" v="12073"/>
          <ac:cxnSpMkLst>
            <pc:docMk/>
            <pc:sldMk cId="756169269" sldId="932"/>
            <ac:cxnSpMk id="13" creationId="{CB152EF5-0E28-D564-BA70-371799026C17}"/>
          </ac:cxnSpMkLst>
        </pc:cxnChg>
        <pc:cxnChg chg="mod ord">
          <ac:chgData name="Nataliia Chornii (UA)" userId="4e4b8b3d-5f31-49bb-9f80-8a25c04abfff" providerId="ADAL" clId="{EE97D3FE-9ACA-4467-98E5-532EC45D9D1C}" dt="2024-03-01T12:55:11.658" v="12075"/>
          <ac:cxnSpMkLst>
            <pc:docMk/>
            <pc:sldMk cId="756169269" sldId="932"/>
            <ac:cxnSpMk id="14" creationId="{FEF121C9-BA2C-579A-87E4-3935103FF4BC}"/>
          </ac:cxnSpMkLst>
        </pc:cxnChg>
        <pc:cxnChg chg="mod ord">
          <ac:chgData name="Nataliia Chornii (UA)" userId="4e4b8b3d-5f31-49bb-9f80-8a25c04abfff" providerId="ADAL" clId="{EE97D3FE-9ACA-4467-98E5-532EC45D9D1C}" dt="2024-03-01T12:55:11.658" v="12077"/>
          <ac:cxnSpMkLst>
            <pc:docMk/>
            <pc:sldMk cId="756169269" sldId="932"/>
            <ac:cxnSpMk id="15" creationId="{3DE31210-26C3-2A63-15ED-FE32524A997D}"/>
          </ac:cxnSpMkLst>
        </pc:cxnChg>
      </pc:sldChg>
      <pc:sldChg chg="addSp delSp modSp mod">
        <pc:chgData name="Nataliia Chornii (UA)" userId="4e4b8b3d-5f31-49bb-9f80-8a25c04abfff" providerId="ADAL" clId="{EE97D3FE-9ACA-4467-98E5-532EC45D9D1C}" dt="2024-03-11T14:30:30.467" v="24261" actId="478"/>
        <pc:sldMkLst>
          <pc:docMk/>
          <pc:sldMk cId="2630099657" sldId="933"/>
        </pc:sldMkLst>
        <pc:spChg chg="add mod">
          <ac:chgData name="Nataliia Chornii (UA)" userId="4e4b8b3d-5f31-49bb-9f80-8a25c04abfff" providerId="ADAL" clId="{EE97D3FE-9ACA-4467-98E5-532EC45D9D1C}" dt="2024-03-11T14:26:15.800" v="24092"/>
          <ac:spMkLst>
            <pc:docMk/>
            <pc:sldMk cId="2630099657" sldId="933"/>
            <ac:spMk id="2" creationId="{68CC9B95-24B4-F548-79EA-0FC37F46459D}"/>
          </ac:spMkLst>
        </pc:spChg>
        <pc:spChg chg="add del mod ord">
          <ac:chgData name="Nataliia Chornii (UA)" userId="4e4b8b3d-5f31-49bb-9f80-8a25c04abfff" providerId="ADAL" clId="{EE97D3FE-9ACA-4467-98E5-532EC45D9D1C}" dt="2024-03-04T08:50:13.335" v="17842" actId="478"/>
          <ac:spMkLst>
            <pc:docMk/>
            <pc:sldMk cId="2630099657" sldId="933"/>
            <ac:spMk id="2" creationId="{F6B088C4-896F-0BB6-190E-567264B27E74}"/>
          </ac:spMkLst>
        </pc:spChg>
        <pc:spChg chg="mod ord">
          <ac:chgData name="Nataliia Chornii (UA)" userId="4e4b8b3d-5f31-49bb-9f80-8a25c04abfff" providerId="ADAL" clId="{EE97D3FE-9ACA-4467-98E5-532EC45D9D1C}" dt="2024-03-04T09:22:22.026" v="18757" actId="948"/>
          <ac:spMkLst>
            <pc:docMk/>
            <pc:sldMk cId="2630099657" sldId="933"/>
            <ac:spMk id="3" creationId="{F4CCF02E-F3C4-C376-8F56-61BD85A2E74B}"/>
          </ac:spMkLst>
        </pc:spChg>
        <pc:spChg chg="mod ord">
          <ac:chgData name="Nataliia Chornii (UA)" userId="4e4b8b3d-5f31-49bb-9f80-8a25c04abfff" providerId="ADAL" clId="{EE97D3FE-9ACA-4467-98E5-532EC45D9D1C}" dt="2024-03-04T08:49:09.967" v="17763"/>
          <ac:spMkLst>
            <pc:docMk/>
            <pc:sldMk cId="2630099657" sldId="933"/>
            <ac:spMk id="4" creationId="{872966CD-924A-B939-E655-A6BAF817DCBF}"/>
          </ac:spMkLst>
        </pc:spChg>
        <pc:spChg chg="add mod ord">
          <ac:chgData name="Nataliia Chornii (UA)" userId="4e4b8b3d-5f31-49bb-9f80-8a25c04abfff" providerId="ADAL" clId="{EE97D3FE-9ACA-4467-98E5-532EC45D9D1C}" dt="2024-03-04T08:49:09.967" v="17749"/>
          <ac:spMkLst>
            <pc:docMk/>
            <pc:sldMk cId="2630099657" sldId="933"/>
            <ac:spMk id="5" creationId="{A6348025-BDE2-3284-C987-59428C8223D8}"/>
          </ac:spMkLst>
        </pc:spChg>
        <pc:spChg chg="add mod ord">
          <ac:chgData name="Nataliia Chornii (UA)" userId="4e4b8b3d-5f31-49bb-9f80-8a25c04abfff" providerId="ADAL" clId="{EE97D3FE-9ACA-4467-98E5-532EC45D9D1C}" dt="2024-03-04T08:49:09.967" v="17751"/>
          <ac:spMkLst>
            <pc:docMk/>
            <pc:sldMk cId="2630099657" sldId="933"/>
            <ac:spMk id="6" creationId="{5627C378-61D8-9614-828E-3783B2D838FA}"/>
          </ac:spMkLst>
        </pc:spChg>
        <pc:spChg chg="add mod ord">
          <ac:chgData name="Nataliia Chornii (UA)" userId="4e4b8b3d-5f31-49bb-9f80-8a25c04abfff" providerId="ADAL" clId="{EE97D3FE-9ACA-4467-98E5-532EC45D9D1C}" dt="2024-03-04T08:49:23.663" v="17839" actId="552"/>
          <ac:spMkLst>
            <pc:docMk/>
            <pc:sldMk cId="2630099657" sldId="933"/>
            <ac:spMk id="7" creationId="{86696790-9AF2-90F5-9181-2D41BE60EB49}"/>
          </ac:spMkLst>
        </pc:spChg>
        <pc:spChg chg="add mod ord">
          <ac:chgData name="Nataliia Chornii (UA)" userId="4e4b8b3d-5f31-49bb-9f80-8a25c04abfff" providerId="ADAL" clId="{EE97D3FE-9ACA-4467-98E5-532EC45D9D1C}" dt="2024-03-04T08:49:09.974" v="17779"/>
          <ac:spMkLst>
            <pc:docMk/>
            <pc:sldMk cId="2630099657" sldId="933"/>
            <ac:spMk id="8" creationId="{6D829F90-6705-E69A-21A5-90476098A43C}"/>
          </ac:spMkLst>
        </pc:spChg>
        <pc:spChg chg="add mod ord">
          <ac:chgData name="Nataliia Chornii (UA)" userId="4e4b8b3d-5f31-49bb-9f80-8a25c04abfff" providerId="ADAL" clId="{EE97D3FE-9ACA-4467-98E5-532EC45D9D1C}" dt="2024-03-04T08:49:09.974" v="17781"/>
          <ac:spMkLst>
            <pc:docMk/>
            <pc:sldMk cId="2630099657" sldId="933"/>
            <ac:spMk id="10" creationId="{286A557C-8709-63A2-4121-A57CE2733DB1}"/>
          </ac:spMkLst>
        </pc:spChg>
        <pc:spChg chg="add mod ord">
          <ac:chgData name="Nataliia Chornii (UA)" userId="4e4b8b3d-5f31-49bb-9f80-8a25c04abfff" providerId="ADAL" clId="{EE97D3FE-9ACA-4467-98E5-532EC45D9D1C}" dt="2024-03-04T08:49:09.974" v="17783"/>
          <ac:spMkLst>
            <pc:docMk/>
            <pc:sldMk cId="2630099657" sldId="933"/>
            <ac:spMk id="11" creationId="{D2A8BC78-A9E1-D6DD-60C1-C2973B2EAC78}"/>
          </ac:spMkLst>
        </pc:spChg>
        <pc:spChg chg="add mod ord">
          <ac:chgData name="Nataliia Chornii (UA)" userId="4e4b8b3d-5f31-49bb-9f80-8a25c04abfff" providerId="ADAL" clId="{EE97D3FE-9ACA-4467-98E5-532EC45D9D1C}" dt="2024-03-04T08:49:21.103" v="17838" actId="552"/>
          <ac:spMkLst>
            <pc:docMk/>
            <pc:sldMk cId="2630099657" sldId="933"/>
            <ac:spMk id="12" creationId="{2FDDF60C-37C1-6CF7-C1D0-493FE821D2A6}"/>
          </ac:spMkLst>
        </pc:spChg>
        <pc:spChg chg="add mod ord">
          <ac:chgData name="Nataliia Chornii (UA)" userId="4e4b8b3d-5f31-49bb-9f80-8a25c04abfff" providerId="ADAL" clId="{EE97D3FE-9ACA-4467-98E5-532EC45D9D1C}" dt="2024-03-04T08:49:09.974" v="17787"/>
          <ac:spMkLst>
            <pc:docMk/>
            <pc:sldMk cId="2630099657" sldId="933"/>
            <ac:spMk id="13" creationId="{E8384D8D-0F30-F782-8C4C-3A886A9E470F}"/>
          </ac:spMkLst>
        </pc:spChg>
        <pc:spChg chg="add mod ord">
          <ac:chgData name="Nataliia Chornii (UA)" userId="4e4b8b3d-5f31-49bb-9f80-8a25c04abfff" providerId="ADAL" clId="{EE97D3FE-9ACA-4467-98E5-532EC45D9D1C}" dt="2024-03-04T08:49:09.974" v="17789"/>
          <ac:spMkLst>
            <pc:docMk/>
            <pc:sldMk cId="2630099657" sldId="933"/>
            <ac:spMk id="14" creationId="{F608F83C-ACC0-64A4-5EB7-0ED67D40858A}"/>
          </ac:spMkLst>
        </pc:spChg>
        <pc:spChg chg="add mod ord">
          <ac:chgData name="Nataliia Chornii (UA)" userId="4e4b8b3d-5f31-49bb-9f80-8a25c04abfff" providerId="ADAL" clId="{EE97D3FE-9ACA-4467-98E5-532EC45D9D1C}" dt="2024-03-04T08:49:09.974" v="17791"/>
          <ac:spMkLst>
            <pc:docMk/>
            <pc:sldMk cId="2630099657" sldId="933"/>
            <ac:spMk id="15" creationId="{41752F61-58C1-707D-9CA8-6885DB40EDE2}"/>
          </ac:spMkLst>
        </pc:spChg>
        <pc:spChg chg="mod ord">
          <ac:chgData name="Nataliia Chornii (UA)" userId="4e4b8b3d-5f31-49bb-9f80-8a25c04abfff" providerId="ADAL" clId="{EE97D3FE-9ACA-4467-98E5-532EC45D9D1C}" dt="2024-03-04T08:49:26.286" v="17840" actId="554"/>
          <ac:spMkLst>
            <pc:docMk/>
            <pc:sldMk cId="2630099657" sldId="933"/>
            <ac:spMk id="16" creationId="{30819613-CE74-49B6-0807-44FDBB81D466}"/>
          </ac:spMkLst>
        </pc:spChg>
        <pc:spChg chg="add mod ord">
          <ac:chgData name="Nataliia Chornii (UA)" userId="4e4b8b3d-5f31-49bb-9f80-8a25c04abfff" providerId="ADAL" clId="{EE97D3FE-9ACA-4467-98E5-532EC45D9D1C}" dt="2024-03-04T08:49:09.961" v="17745"/>
          <ac:spMkLst>
            <pc:docMk/>
            <pc:sldMk cId="2630099657" sldId="933"/>
            <ac:spMk id="17" creationId="{C358ECA5-580C-4D30-BF72-626041BBD184}"/>
          </ac:spMkLst>
        </pc:spChg>
        <pc:spChg chg="mod ord">
          <ac:chgData name="Nataliia Chornii (UA)" userId="4e4b8b3d-5f31-49bb-9f80-8a25c04abfff" providerId="ADAL" clId="{EE97D3FE-9ACA-4467-98E5-532EC45D9D1C}" dt="2024-03-04T08:49:26.286" v="17840" actId="554"/>
          <ac:spMkLst>
            <pc:docMk/>
            <pc:sldMk cId="2630099657" sldId="933"/>
            <ac:spMk id="18" creationId="{E1D4AC8F-0322-E8A8-E509-5AF71473A8F4}"/>
          </ac:spMkLst>
        </pc:spChg>
        <pc:spChg chg="add mod ord">
          <ac:chgData name="Nataliia Chornii (UA)" userId="4e4b8b3d-5f31-49bb-9f80-8a25c04abfff" providerId="ADAL" clId="{EE97D3FE-9ACA-4467-98E5-532EC45D9D1C}" dt="2024-03-04T08:49:09.961" v="17747"/>
          <ac:spMkLst>
            <pc:docMk/>
            <pc:sldMk cId="2630099657" sldId="933"/>
            <ac:spMk id="19" creationId="{C2CAF418-662D-647B-4968-27F9C89FEFAA}"/>
          </ac:spMkLst>
        </pc:spChg>
        <pc:spChg chg="mod ord">
          <ac:chgData name="Nataliia Chornii (UA)" userId="4e4b8b3d-5f31-49bb-9f80-8a25c04abfff" providerId="ADAL" clId="{EE97D3FE-9ACA-4467-98E5-532EC45D9D1C}" dt="2024-03-04T08:49:29.013" v="17841" actId="554"/>
          <ac:spMkLst>
            <pc:docMk/>
            <pc:sldMk cId="2630099657" sldId="933"/>
            <ac:spMk id="20" creationId="{BCB0856A-D775-E9B2-A22B-A661D9F8D43C}"/>
          </ac:spMkLst>
        </pc:spChg>
        <pc:spChg chg="add del mod modVis">
          <ac:chgData name="Nataliia Chornii (UA)" userId="4e4b8b3d-5f31-49bb-9f80-8a25c04abfff" providerId="ADAL" clId="{EE97D3FE-9ACA-4467-98E5-532EC45D9D1C}" dt="2024-03-04T08:48:40.748" v="17632"/>
          <ac:spMkLst>
            <pc:docMk/>
            <pc:sldMk cId="2630099657" sldId="933"/>
            <ac:spMk id="21" creationId="{17DA93DA-9023-01E2-7D74-DA732ECBC324}"/>
          </ac:spMkLst>
        </pc:spChg>
        <pc:spChg chg="mod ord">
          <ac:chgData name="Nataliia Chornii (UA)" userId="4e4b8b3d-5f31-49bb-9f80-8a25c04abfff" providerId="ADAL" clId="{EE97D3FE-9ACA-4467-98E5-532EC45D9D1C}" dt="2024-03-04T08:49:29.013" v="17841" actId="554"/>
          <ac:spMkLst>
            <pc:docMk/>
            <pc:sldMk cId="2630099657" sldId="933"/>
            <ac:spMk id="22" creationId="{044C1CE5-09D8-63ED-7E23-4A59A70CC41B}"/>
          </ac:spMkLst>
        </pc:spChg>
        <pc:spChg chg="del mod ord">
          <ac:chgData name="Nataliia Chornii (UA)" userId="4e4b8b3d-5f31-49bb-9f80-8a25c04abfff" providerId="ADAL" clId="{EE97D3FE-9ACA-4467-98E5-532EC45D9D1C}" dt="2024-03-11T14:30:30.467" v="24261" actId="478"/>
          <ac:spMkLst>
            <pc:docMk/>
            <pc:sldMk cId="2630099657" sldId="933"/>
            <ac:spMk id="23" creationId="{F0F92295-EBAE-39D7-7494-D9035179A285}"/>
          </ac:spMkLst>
        </pc:spChg>
        <pc:spChg chg="mod">
          <ac:chgData name="Nataliia Chornii (UA)" userId="4e4b8b3d-5f31-49bb-9f80-8a25c04abfff" providerId="ADAL" clId="{EE97D3FE-9ACA-4467-98E5-532EC45D9D1C}" dt="2024-03-11T14:26:15.800" v="24092"/>
          <ac:spMkLst>
            <pc:docMk/>
            <pc:sldMk cId="2630099657" sldId="933"/>
            <ac:spMk id="24" creationId="{2E147D5C-5563-E0DE-ACAD-A251161F384C}"/>
          </ac:spMkLst>
        </pc:spChg>
        <pc:spChg chg="del">
          <ac:chgData name="Nataliia Chornii (UA)" userId="4e4b8b3d-5f31-49bb-9f80-8a25c04abfff" providerId="ADAL" clId="{EE97D3FE-9ACA-4467-98E5-532EC45D9D1C}" dt="2024-03-04T08:48:26.843" v="17589" actId="478"/>
          <ac:spMkLst>
            <pc:docMk/>
            <pc:sldMk cId="2630099657" sldId="933"/>
            <ac:spMk id="24" creationId="{6291F660-4399-3100-7AA6-1A96F2BE2FA0}"/>
          </ac:spMkLst>
        </pc:spChg>
        <pc:spChg chg="mod">
          <ac:chgData name="Nataliia Chornii (UA)" userId="4e4b8b3d-5f31-49bb-9f80-8a25c04abfff" providerId="ADAL" clId="{EE97D3FE-9ACA-4467-98E5-532EC45D9D1C}" dt="2024-03-11T14:26:15.800" v="24092"/>
          <ac:spMkLst>
            <pc:docMk/>
            <pc:sldMk cId="2630099657" sldId="933"/>
            <ac:spMk id="25" creationId="{29409842-3A2A-C66E-FE63-0C320582C38C}"/>
          </ac:spMkLst>
        </pc:spChg>
        <pc:spChg chg="del">
          <ac:chgData name="Nataliia Chornii (UA)" userId="4e4b8b3d-5f31-49bb-9f80-8a25c04abfff" providerId="ADAL" clId="{EE97D3FE-9ACA-4467-98E5-532EC45D9D1C}" dt="2024-03-04T08:48:26.843" v="17589" actId="478"/>
          <ac:spMkLst>
            <pc:docMk/>
            <pc:sldMk cId="2630099657" sldId="933"/>
            <ac:spMk id="25" creationId="{5EF755D9-3B19-3121-7148-7B4F37248EA8}"/>
          </ac:spMkLst>
        </pc:spChg>
        <pc:spChg chg="del">
          <ac:chgData name="Nataliia Chornii (UA)" userId="4e4b8b3d-5f31-49bb-9f80-8a25c04abfff" providerId="ADAL" clId="{EE97D3FE-9ACA-4467-98E5-532EC45D9D1C}" dt="2024-03-04T08:48:24.122" v="17588" actId="478"/>
          <ac:spMkLst>
            <pc:docMk/>
            <pc:sldMk cId="2630099657" sldId="933"/>
            <ac:spMk id="26" creationId="{D3B06146-D695-C0D1-DE10-612BD2266EB5}"/>
          </ac:spMkLst>
        </pc:spChg>
        <pc:spChg chg="mod">
          <ac:chgData name="Nataliia Chornii (UA)" userId="4e4b8b3d-5f31-49bb-9f80-8a25c04abfff" providerId="ADAL" clId="{EE97D3FE-9ACA-4467-98E5-532EC45D9D1C}" dt="2024-03-11T14:26:15.800" v="24092"/>
          <ac:spMkLst>
            <pc:docMk/>
            <pc:sldMk cId="2630099657" sldId="933"/>
            <ac:spMk id="26" creationId="{F28C1CE8-6BF8-7AB3-5BB3-518039563BC2}"/>
          </ac:spMkLst>
        </pc:spChg>
        <pc:spChg chg="mod">
          <ac:chgData name="Nataliia Chornii (UA)" userId="4e4b8b3d-5f31-49bb-9f80-8a25c04abfff" providerId="ADAL" clId="{EE97D3FE-9ACA-4467-98E5-532EC45D9D1C}" dt="2024-03-11T14:26:15.800" v="24092"/>
          <ac:spMkLst>
            <pc:docMk/>
            <pc:sldMk cId="2630099657" sldId="933"/>
            <ac:spMk id="27" creationId="{022C7A03-0046-AE6A-2060-632AF896658A}"/>
          </ac:spMkLst>
        </pc:spChg>
        <pc:spChg chg="del">
          <ac:chgData name="Nataliia Chornii (UA)" userId="4e4b8b3d-5f31-49bb-9f80-8a25c04abfff" providerId="ADAL" clId="{EE97D3FE-9ACA-4467-98E5-532EC45D9D1C}" dt="2024-03-04T08:48:24.122" v="17588" actId="478"/>
          <ac:spMkLst>
            <pc:docMk/>
            <pc:sldMk cId="2630099657" sldId="933"/>
            <ac:spMk id="27" creationId="{C67C067A-BA44-E473-03E2-74C4CDD50A4F}"/>
          </ac:spMkLst>
        </pc:spChg>
        <pc:spChg chg="mod">
          <ac:chgData name="Nataliia Chornii (UA)" userId="4e4b8b3d-5f31-49bb-9f80-8a25c04abfff" providerId="ADAL" clId="{EE97D3FE-9ACA-4467-98E5-532EC45D9D1C}" dt="2024-03-11T14:26:15.800" v="24092"/>
          <ac:spMkLst>
            <pc:docMk/>
            <pc:sldMk cId="2630099657" sldId="933"/>
            <ac:spMk id="28" creationId="{A4EF203A-3BEE-47D7-9631-C5048C9FE709}"/>
          </ac:spMkLst>
        </pc:spChg>
        <pc:spChg chg="del">
          <ac:chgData name="Nataliia Chornii (UA)" userId="4e4b8b3d-5f31-49bb-9f80-8a25c04abfff" providerId="ADAL" clId="{EE97D3FE-9ACA-4467-98E5-532EC45D9D1C}" dt="2024-03-04T08:48:24.122" v="17588" actId="478"/>
          <ac:spMkLst>
            <pc:docMk/>
            <pc:sldMk cId="2630099657" sldId="933"/>
            <ac:spMk id="28" creationId="{E6632A91-C990-C64C-6F5B-FCB2451BD5A7}"/>
          </ac:spMkLst>
        </pc:spChg>
        <pc:spChg chg="del">
          <ac:chgData name="Nataliia Chornii (UA)" userId="4e4b8b3d-5f31-49bb-9f80-8a25c04abfff" providerId="ADAL" clId="{EE97D3FE-9ACA-4467-98E5-532EC45D9D1C}" dt="2024-03-04T08:48:24.122" v="17588" actId="478"/>
          <ac:spMkLst>
            <pc:docMk/>
            <pc:sldMk cId="2630099657" sldId="933"/>
            <ac:spMk id="29" creationId="{69C14E03-FCEC-D42E-5785-FE3FD67A2269}"/>
          </ac:spMkLst>
        </pc:spChg>
        <pc:spChg chg="mod">
          <ac:chgData name="Nataliia Chornii (UA)" userId="4e4b8b3d-5f31-49bb-9f80-8a25c04abfff" providerId="ADAL" clId="{EE97D3FE-9ACA-4467-98E5-532EC45D9D1C}" dt="2024-03-11T14:26:15.800" v="24092"/>
          <ac:spMkLst>
            <pc:docMk/>
            <pc:sldMk cId="2630099657" sldId="933"/>
            <ac:spMk id="29" creationId="{D723157E-4468-F334-6A05-0304A8C07125}"/>
          </ac:spMkLst>
        </pc:spChg>
        <pc:spChg chg="add mod">
          <ac:chgData name="Nataliia Chornii (UA)" userId="4e4b8b3d-5f31-49bb-9f80-8a25c04abfff" providerId="ADAL" clId="{EE97D3FE-9ACA-4467-98E5-532EC45D9D1C}" dt="2024-03-11T14:30:29.108" v="24260"/>
          <ac:spMkLst>
            <pc:docMk/>
            <pc:sldMk cId="2630099657" sldId="933"/>
            <ac:spMk id="30" creationId="{963E5610-254E-8B7B-EFFF-28FB0B3D34A3}"/>
          </ac:spMkLst>
        </pc:spChg>
        <pc:spChg chg="del">
          <ac:chgData name="Nataliia Chornii (UA)" userId="4e4b8b3d-5f31-49bb-9f80-8a25c04abfff" providerId="ADAL" clId="{EE97D3FE-9ACA-4467-98E5-532EC45D9D1C}" dt="2024-03-04T08:48:24.122" v="17588" actId="478"/>
          <ac:spMkLst>
            <pc:docMk/>
            <pc:sldMk cId="2630099657" sldId="933"/>
            <ac:spMk id="30" creationId="{AD97BBB0-7D2A-0CBE-6249-FB26EF157720}"/>
          </ac:spMkLst>
        </pc:spChg>
        <pc:spChg chg="del">
          <ac:chgData name="Nataliia Chornii (UA)" userId="4e4b8b3d-5f31-49bb-9f80-8a25c04abfff" providerId="ADAL" clId="{EE97D3FE-9ACA-4467-98E5-532EC45D9D1C}" dt="2024-03-04T08:48:24.122" v="17588" actId="478"/>
          <ac:spMkLst>
            <pc:docMk/>
            <pc:sldMk cId="2630099657" sldId="933"/>
            <ac:spMk id="31" creationId="{AE1F2CF7-12B2-2C61-02F4-8E90DCAB95C7}"/>
          </ac:spMkLst>
        </pc:spChg>
        <pc:spChg chg="del">
          <ac:chgData name="Nataliia Chornii (UA)" userId="4e4b8b3d-5f31-49bb-9f80-8a25c04abfff" providerId="ADAL" clId="{EE97D3FE-9ACA-4467-98E5-532EC45D9D1C}" dt="2024-03-04T08:48:24.122" v="17588" actId="478"/>
          <ac:spMkLst>
            <pc:docMk/>
            <pc:sldMk cId="2630099657" sldId="933"/>
            <ac:spMk id="32" creationId="{AA14433E-3F38-54C2-3C19-F70FDD5BB4F8}"/>
          </ac:spMkLst>
        </pc:spChg>
        <pc:spChg chg="del">
          <ac:chgData name="Nataliia Chornii (UA)" userId="4e4b8b3d-5f31-49bb-9f80-8a25c04abfff" providerId="ADAL" clId="{EE97D3FE-9ACA-4467-98E5-532EC45D9D1C}" dt="2024-03-04T08:48:24.122" v="17588" actId="478"/>
          <ac:spMkLst>
            <pc:docMk/>
            <pc:sldMk cId="2630099657" sldId="933"/>
            <ac:spMk id="33" creationId="{F92B9C6C-8C5B-AC82-5DDC-E8DB5ABA08D5}"/>
          </ac:spMkLst>
        </pc:spChg>
        <pc:spChg chg="del">
          <ac:chgData name="Nataliia Chornii (UA)" userId="4e4b8b3d-5f31-49bb-9f80-8a25c04abfff" providerId="ADAL" clId="{EE97D3FE-9ACA-4467-98E5-532EC45D9D1C}" dt="2024-03-04T08:48:36.578" v="17591" actId="478"/>
          <ac:spMkLst>
            <pc:docMk/>
            <pc:sldMk cId="2630099657" sldId="933"/>
            <ac:spMk id="34" creationId="{F1D573D1-C07D-A943-A741-380994F48A4F}"/>
          </ac:spMkLst>
        </pc:spChg>
        <pc:spChg chg="del">
          <ac:chgData name="Nataliia Chornii (UA)" userId="4e4b8b3d-5f31-49bb-9f80-8a25c04abfff" providerId="ADAL" clId="{EE97D3FE-9ACA-4467-98E5-532EC45D9D1C}" dt="2024-03-04T08:48:36.578" v="17591" actId="478"/>
          <ac:spMkLst>
            <pc:docMk/>
            <pc:sldMk cId="2630099657" sldId="933"/>
            <ac:spMk id="35" creationId="{4F177113-0781-5137-1CD7-3B2F5D62C022}"/>
          </ac:spMkLst>
        </pc:spChg>
        <pc:spChg chg="mod ord">
          <ac:chgData name="Nataliia Chornii (UA)" userId="4e4b8b3d-5f31-49bb-9f80-8a25c04abfff" providerId="ADAL" clId="{EE97D3FE-9ACA-4467-98E5-532EC45D9D1C}" dt="2024-03-04T09:21:29.893" v="18717" actId="404"/>
          <ac:spMkLst>
            <pc:docMk/>
            <pc:sldMk cId="2630099657" sldId="933"/>
            <ac:spMk id="36" creationId="{A8F39C25-781C-A7DA-387A-D92FCABEE1F5}"/>
          </ac:spMkLst>
        </pc:spChg>
        <pc:spChg chg="mod ord">
          <ac:chgData name="Nataliia Chornii (UA)" userId="4e4b8b3d-5f31-49bb-9f80-8a25c04abfff" providerId="ADAL" clId="{EE97D3FE-9ACA-4467-98E5-532EC45D9D1C}" dt="2024-03-04T09:21:33.150" v="18718" actId="404"/>
          <ac:spMkLst>
            <pc:docMk/>
            <pc:sldMk cId="2630099657" sldId="933"/>
            <ac:spMk id="37" creationId="{BD11DB78-D65B-9D3C-EED7-1721F1C9BCF6}"/>
          </ac:spMkLst>
        </pc:spChg>
        <pc:spChg chg="mod ord">
          <ac:chgData name="Nataliia Chornii (UA)" userId="4e4b8b3d-5f31-49bb-9f80-8a25c04abfff" providerId="ADAL" clId="{EE97D3FE-9ACA-4467-98E5-532EC45D9D1C}" dt="2024-03-04T08:49:09.967" v="17759"/>
          <ac:spMkLst>
            <pc:docMk/>
            <pc:sldMk cId="2630099657" sldId="933"/>
            <ac:spMk id="38" creationId="{7B1F3CCD-2DE1-C2A8-D340-EAF5B3993679}"/>
          </ac:spMkLst>
        </pc:spChg>
        <pc:spChg chg="mod ord">
          <ac:chgData name="Nataliia Chornii (UA)" userId="4e4b8b3d-5f31-49bb-9f80-8a25c04abfff" providerId="ADAL" clId="{EE97D3FE-9ACA-4467-98E5-532EC45D9D1C}" dt="2024-03-04T08:49:09.967" v="17755"/>
          <ac:spMkLst>
            <pc:docMk/>
            <pc:sldMk cId="2630099657" sldId="933"/>
            <ac:spMk id="39" creationId="{DCB78F50-A328-CF00-9A1A-F2F677D9CB38}"/>
          </ac:spMkLst>
        </pc:spChg>
        <pc:spChg chg="add del mod">
          <ac:chgData name="Nataliia Chornii (UA)" userId="4e4b8b3d-5f31-49bb-9f80-8a25c04abfff" providerId="ADAL" clId="{EE97D3FE-9ACA-4467-98E5-532EC45D9D1C}" dt="2024-03-04T09:22:38.139" v="18776" actId="478"/>
          <ac:spMkLst>
            <pc:docMk/>
            <pc:sldMk cId="2630099657" sldId="933"/>
            <ac:spMk id="40" creationId="{AF126E43-CD71-D92F-946E-F968DA861B07}"/>
          </ac:spMkLst>
        </pc:spChg>
        <pc:spChg chg="add del mod">
          <ac:chgData name="Nataliia Chornii (UA)" userId="4e4b8b3d-5f31-49bb-9f80-8a25c04abfff" providerId="ADAL" clId="{EE97D3FE-9ACA-4467-98E5-532EC45D9D1C}" dt="2024-03-04T09:22:28.726" v="18772" actId="478"/>
          <ac:spMkLst>
            <pc:docMk/>
            <pc:sldMk cId="2630099657" sldId="933"/>
            <ac:spMk id="41" creationId="{F01AE362-E6EA-A35D-6ADD-152B56AF5F6D}"/>
          </ac:spMkLst>
        </pc:spChg>
        <pc:spChg chg="mod">
          <ac:chgData name="Nataliia Chornii (UA)" userId="4e4b8b3d-5f31-49bb-9f80-8a25c04abfff" providerId="ADAL" clId="{EE97D3FE-9ACA-4467-98E5-532EC45D9D1C}" dt="2024-03-04T09:22:34.649" v="18775" actId="207"/>
          <ac:spMkLst>
            <pc:docMk/>
            <pc:sldMk cId="2630099657" sldId="933"/>
            <ac:spMk id="43" creationId="{DDCF7E12-93FA-263B-9031-ADE10BE80E06}"/>
          </ac:spMkLst>
        </pc:spChg>
        <pc:spChg chg="mod">
          <ac:chgData name="Nataliia Chornii (UA)" userId="4e4b8b3d-5f31-49bb-9f80-8a25c04abfff" providerId="ADAL" clId="{EE97D3FE-9ACA-4467-98E5-532EC45D9D1C}" dt="2024-03-04T09:22:34.649" v="18775" actId="207"/>
          <ac:spMkLst>
            <pc:docMk/>
            <pc:sldMk cId="2630099657" sldId="933"/>
            <ac:spMk id="44" creationId="{DC7C1083-EC91-872C-7493-DADB72E816DE}"/>
          </ac:spMkLst>
        </pc:spChg>
        <pc:spChg chg="mod">
          <ac:chgData name="Nataliia Chornii (UA)" userId="4e4b8b3d-5f31-49bb-9f80-8a25c04abfff" providerId="ADAL" clId="{EE97D3FE-9ACA-4467-98E5-532EC45D9D1C}" dt="2024-03-04T09:22:34.649" v="18775" actId="207"/>
          <ac:spMkLst>
            <pc:docMk/>
            <pc:sldMk cId="2630099657" sldId="933"/>
            <ac:spMk id="46" creationId="{CD2B455F-A780-2503-AC7D-743CC8FD7AD0}"/>
          </ac:spMkLst>
        </pc:spChg>
        <pc:spChg chg="mod">
          <ac:chgData name="Nataliia Chornii (UA)" userId="4e4b8b3d-5f31-49bb-9f80-8a25c04abfff" providerId="ADAL" clId="{EE97D3FE-9ACA-4467-98E5-532EC45D9D1C}" dt="2024-03-04T09:22:34.649" v="18775" actId="207"/>
          <ac:spMkLst>
            <pc:docMk/>
            <pc:sldMk cId="2630099657" sldId="933"/>
            <ac:spMk id="47" creationId="{3D790F82-3547-EF9A-7C8B-74D7CF2F700B}"/>
          </ac:spMkLst>
        </pc:spChg>
        <pc:spChg chg="mod">
          <ac:chgData name="Nataliia Chornii (UA)" userId="4e4b8b3d-5f31-49bb-9f80-8a25c04abfff" providerId="ADAL" clId="{EE97D3FE-9ACA-4467-98E5-532EC45D9D1C}" dt="2024-03-04T09:22:34.649" v="18775" actId="207"/>
          <ac:spMkLst>
            <pc:docMk/>
            <pc:sldMk cId="2630099657" sldId="933"/>
            <ac:spMk id="48" creationId="{D5B76281-7D96-4E19-A4FF-B4C20BF4729A}"/>
          </ac:spMkLst>
        </pc:spChg>
        <pc:spChg chg="mod">
          <ac:chgData name="Nataliia Chornii (UA)" userId="4e4b8b3d-5f31-49bb-9f80-8a25c04abfff" providerId="ADAL" clId="{EE97D3FE-9ACA-4467-98E5-532EC45D9D1C}" dt="2024-03-04T09:22:34.649" v="18775" actId="207"/>
          <ac:spMkLst>
            <pc:docMk/>
            <pc:sldMk cId="2630099657" sldId="933"/>
            <ac:spMk id="49" creationId="{24362322-A3F3-FF69-8DDF-1FEE575B8E04}"/>
          </ac:spMkLst>
        </pc:spChg>
        <pc:spChg chg="mod">
          <ac:chgData name="Nataliia Chornii (UA)" userId="4e4b8b3d-5f31-49bb-9f80-8a25c04abfff" providerId="ADAL" clId="{EE97D3FE-9ACA-4467-98E5-532EC45D9D1C}" dt="2024-03-04T09:22:34.649" v="18775" actId="207"/>
          <ac:spMkLst>
            <pc:docMk/>
            <pc:sldMk cId="2630099657" sldId="933"/>
            <ac:spMk id="50" creationId="{1BE8142D-74E9-D6AF-D449-1F0C63E9D113}"/>
          </ac:spMkLst>
        </pc:spChg>
        <pc:spChg chg="add del mod modVis">
          <ac:chgData name="Nataliia Chornii (UA)" userId="4e4b8b3d-5f31-49bb-9f80-8a25c04abfff" providerId="ADAL" clId="{EE97D3FE-9ACA-4467-98E5-532EC45D9D1C}" dt="2024-03-04T09:22:21.851" v="18754"/>
          <ac:spMkLst>
            <pc:docMk/>
            <pc:sldMk cId="2630099657" sldId="933"/>
            <ac:spMk id="51" creationId="{5B4A884B-9C73-BD7C-7154-08C7917C672D}"/>
          </ac:spMkLst>
        </pc:spChg>
        <pc:grpChg chg="add mod">
          <ac:chgData name="Nataliia Chornii (UA)" userId="4e4b8b3d-5f31-49bb-9f80-8a25c04abfff" providerId="ADAL" clId="{EE97D3FE-9ACA-4467-98E5-532EC45D9D1C}" dt="2024-03-11T14:26:15.800" v="24092"/>
          <ac:grpSpMkLst>
            <pc:docMk/>
            <pc:sldMk cId="2630099657" sldId="933"/>
            <ac:grpSpMk id="21" creationId="{E645861B-A73D-39F5-6B88-95506436C0F5}"/>
          </ac:grpSpMkLst>
        </pc:grpChg>
        <pc:grpChg chg="add mod">
          <ac:chgData name="Nataliia Chornii (UA)" userId="4e4b8b3d-5f31-49bb-9f80-8a25c04abfff" providerId="ADAL" clId="{EE97D3FE-9ACA-4467-98E5-532EC45D9D1C}" dt="2024-03-04T09:22:34.649" v="18775" actId="207"/>
          <ac:grpSpMkLst>
            <pc:docMk/>
            <pc:sldMk cId="2630099657" sldId="933"/>
            <ac:grpSpMk id="42" creationId="{9983B4C6-2A5E-EDE9-F2A8-E4730B664094}"/>
          </ac:grpSpMkLst>
        </pc:grpChg>
        <pc:grpChg chg="add mod">
          <ac:chgData name="Nataliia Chornii (UA)" userId="4e4b8b3d-5f31-49bb-9f80-8a25c04abfff" providerId="ADAL" clId="{EE97D3FE-9ACA-4467-98E5-532EC45D9D1C}" dt="2024-03-04T09:22:34.649" v="18775" actId="207"/>
          <ac:grpSpMkLst>
            <pc:docMk/>
            <pc:sldMk cId="2630099657" sldId="933"/>
            <ac:grpSpMk id="45" creationId="{46B9523D-B1A2-DFB9-CE6B-DBB65D7141F1}"/>
          </ac:grpSpMkLst>
        </pc:grpChg>
        <pc:graphicFrameChg chg="mod">
          <ac:chgData name="Nataliia Chornii (UA)" userId="4e4b8b3d-5f31-49bb-9f80-8a25c04abfff" providerId="ADAL" clId="{EE97D3FE-9ACA-4467-98E5-532EC45D9D1C}" dt="2024-03-04T09:22:22.041" v="18769"/>
          <ac:graphicFrameMkLst>
            <pc:docMk/>
            <pc:sldMk cId="2630099657" sldId="933"/>
            <ac:graphicFrameMk id="9" creationId="{D9E6BB6A-4571-FBF8-9A7D-06ADE4374D4D}"/>
          </ac:graphicFrameMkLst>
        </pc:graphicFrameChg>
      </pc:sldChg>
      <pc:sldChg chg="addSp delSp modSp mod">
        <pc:chgData name="Nataliia Chornii (UA)" userId="4e4b8b3d-5f31-49bb-9f80-8a25c04abfff" providerId="ADAL" clId="{EE97D3FE-9ACA-4467-98E5-532EC45D9D1C}" dt="2024-03-11T14:30:34.260" v="24263"/>
        <pc:sldMkLst>
          <pc:docMk/>
          <pc:sldMk cId="156182905" sldId="934"/>
        </pc:sldMkLst>
        <pc:spChg chg="add mod">
          <ac:chgData name="Nataliia Chornii (UA)" userId="4e4b8b3d-5f31-49bb-9f80-8a25c04abfff" providerId="ADAL" clId="{EE97D3FE-9ACA-4467-98E5-532EC45D9D1C}" dt="2024-03-11T14:26:17.708" v="24093"/>
          <ac:spMkLst>
            <pc:docMk/>
            <pc:sldMk cId="156182905" sldId="934"/>
            <ac:spMk id="2" creationId="{D1D6AC03-28D5-6F25-B774-213412140BFB}"/>
          </ac:spMkLst>
        </pc:spChg>
        <pc:spChg chg="add del mod ord">
          <ac:chgData name="Nataliia Chornii (UA)" userId="4e4b8b3d-5f31-49bb-9f80-8a25c04abfff" providerId="ADAL" clId="{EE97D3FE-9ACA-4467-98E5-532EC45D9D1C}" dt="2024-03-04T08:51:06.370" v="17971" actId="478"/>
          <ac:spMkLst>
            <pc:docMk/>
            <pc:sldMk cId="156182905" sldId="934"/>
            <ac:spMk id="2" creationId="{F6B088C4-896F-0BB6-190E-567264B27E74}"/>
          </ac:spMkLst>
        </pc:spChg>
        <pc:spChg chg="mod ord">
          <ac:chgData name="Nataliia Chornii (UA)" userId="4e4b8b3d-5f31-49bb-9f80-8a25c04abfff" providerId="ADAL" clId="{EE97D3FE-9ACA-4467-98E5-532EC45D9D1C}" dt="2024-03-04T09:24:00.254" v="18860" actId="948"/>
          <ac:spMkLst>
            <pc:docMk/>
            <pc:sldMk cId="156182905" sldId="934"/>
            <ac:spMk id="3" creationId="{F4CCF02E-F3C4-C376-8F56-61BD85A2E74B}"/>
          </ac:spMkLst>
        </pc:spChg>
        <pc:spChg chg="mod ord">
          <ac:chgData name="Nataliia Chornii (UA)" userId="4e4b8b3d-5f31-49bb-9f80-8a25c04abfff" providerId="ADAL" clId="{EE97D3FE-9ACA-4467-98E5-532EC45D9D1C}" dt="2024-03-04T08:50:31.022" v="17904"/>
          <ac:spMkLst>
            <pc:docMk/>
            <pc:sldMk cId="156182905" sldId="934"/>
            <ac:spMk id="4" creationId="{872966CD-924A-B939-E655-A6BAF817DCBF}"/>
          </ac:spMkLst>
        </pc:spChg>
        <pc:spChg chg="add mod ord">
          <ac:chgData name="Nataliia Chornii (UA)" userId="4e4b8b3d-5f31-49bb-9f80-8a25c04abfff" providerId="ADAL" clId="{EE97D3FE-9ACA-4467-98E5-532EC45D9D1C}" dt="2024-03-04T08:50:55.010" v="17967" actId="554"/>
          <ac:spMkLst>
            <pc:docMk/>
            <pc:sldMk cId="156182905" sldId="934"/>
            <ac:spMk id="5" creationId="{C5CAEA48-B979-EC6F-981E-261068A25315}"/>
          </ac:spMkLst>
        </pc:spChg>
        <pc:spChg chg="add mod ord">
          <ac:chgData name="Nataliia Chornii (UA)" userId="4e4b8b3d-5f31-49bb-9f80-8a25c04abfff" providerId="ADAL" clId="{EE97D3FE-9ACA-4467-98E5-532EC45D9D1C}" dt="2024-03-04T08:50:43.416" v="17944" actId="554"/>
          <ac:spMkLst>
            <pc:docMk/>
            <pc:sldMk cId="156182905" sldId="934"/>
            <ac:spMk id="6" creationId="{184C075A-DD9A-7A1D-015C-2F785FEDF36B}"/>
          </ac:spMkLst>
        </pc:spChg>
        <pc:spChg chg="add mod ord">
          <ac:chgData name="Nataliia Chornii (UA)" userId="4e4b8b3d-5f31-49bb-9f80-8a25c04abfff" providerId="ADAL" clId="{EE97D3FE-9ACA-4467-98E5-532EC45D9D1C}" dt="2024-03-04T08:50:31.006" v="17874"/>
          <ac:spMkLst>
            <pc:docMk/>
            <pc:sldMk cId="156182905" sldId="934"/>
            <ac:spMk id="7" creationId="{B480EC34-640F-A759-BC1B-46090E9E4985}"/>
          </ac:spMkLst>
        </pc:spChg>
        <pc:spChg chg="add mod ord">
          <ac:chgData name="Nataliia Chornii (UA)" userId="4e4b8b3d-5f31-49bb-9f80-8a25c04abfff" providerId="ADAL" clId="{EE97D3FE-9ACA-4467-98E5-532EC45D9D1C}" dt="2024-03-04T08:50:31.006" v="17876"/>
          <ac:spMkLst>
            <pc:docMk/>
            <pc:sldMk cId="156182905" sldId="934"/>
            <ac:spMk id="8" creationId="{AFB34B36-403F-ED4C-6EF1-55C1DBB36EA3}"/>
          </ac:spMkLst>
        </pc:spChg>
        <pc:spChg chg="add mod ord">
          <ac:chgData name="Nataliia Chornii (UA)" userId="4e4b8b3d-5f31-49bb-9f80-8a25c04abfff" providerId="ADAL" clId="{EE97D3FE-9ACA-4467-98E5-532EC45D9D1C}" dt="2024-03-04T08:51:03.661" v="17970" actId="552"/>
          <ac:spMkLst>
            <pc:docMk/>
            <pc:sldMk cId="156182905" sldId="934"/>
            <ac:spMk id="10" creationId="{05DE4226-7C1B-B38B-5004-5E77F23CE44D}"/>
          </ac:spMkLst>
        </pc:spChg>
        <pc:spChg chg="add mod ord">
          <ac:chgData name="Nataliia Chornii (UA)" userId="4e4b8b3d-5f31-49bb-9f80-8a25c04abfff" providerId="ADAL" clId="{EE97D3FE-9ACA-4467-98E5-532EC45D9D1C}" dt="2024-03-04T08:50:31.006" v="17880"/>
          <ac:spMkLst>
            <pc:docMk/>
            <pc:sldMk cId="156182905" sldId="934"/>
            <ac:spMk id="11" creationId="{47EBD6B7-CBD3-6D96-E822-C13AFE2A15AD}"/>
          </ac:spMkLst>
        </pc:spChg>
        <pc:spChg chg="add mod ord">
          <ac:chgData name="Nataliia Chornii (UA)" userId="4e4b8b3d-5f31-49bb-9f80-8a25c04abfff" providerId="ADAL" clId="{EE97D3FE-9ACA-4467-98E5-532EC45D9D1C}" dt="2024-03-04T08:50:31.006" v="17882"/>
          <ac:spMkLst>
            <pc:docMk/>
            <pc:sldMk cId="156182905" sldId="934"/>
            <ac:spMk id="12" creationId="{3ABDDA66-98A9-A8E6-63B6-B02C77AC084E}"/>
          </ac:spMkLst>
        </pc:spChg>
        <pc:spChg chg="add mod ord">
          <ac:chgData name="Nataliia Chornii (UA)" userId="4e4b8b3d-5f31-49bb-9f80-8a25c04abfff" providerId="ADAL" clId="{EE97D3FE-9ACA-4467-98E5-532EC45D9D1C}" dt="2024-03-04T08:50:31.022" v="17884"/>
          <ac:spMkLst>
            <pc:docMk/>
            <pc:sldMk cId="156182905" sldId="934"/>
            <ac:spMk id="13" creationId="{EE63BB20-3EF9-9EF1-9D68-A5E2FD06303C}"/>
          </ac:spMkLst>
        </pc:spChg>
        <pc:spChg chg="add mod ord">
          <ac:chgData name="Nataliia Chornii (UA)" userId="4e4b8b3d-5f31-49bb-9f80-8a25c04abfff" providerId="ADAL" clId="{EE97D3FE-9ACA-4467-98E5-532EC45D9D1C}" dt="2024-03-04T08:51:00.694" v="17969" actId="552"/>
          <ac:spMkLst>
            <pc:docMk/>
            <pc:sldMk cId="156182905" sldId="934"/>
            <ac:spMk id="14" creationId="{CD9216D1-EF98-9672-ACDE-4EEE135E44BB}"/>
          </ac:spMkLst>
        </pc:spChg>
        <pc:spChg chg="add mod ord">
          <ac:chgData name="Nataliia Chornii (UA)" userId="4e4b8b3d-5f31-49bb-9f80-8a25c04abfff" providerId="ADAL" clId="{EE97D3FE-9ACA-4467-98E5-532EC45D9D1C}" dt="2024-03-04T08:50:31.022" v="17888"/>
          <ac:spMkLst>
            <pc:docMk/>
            <pc:sldMk cId="156182905" sldId="934"/>
            <ac:spMk id="15" creationId="{A59FD308-3084-7A9B-3D8B-6B2666B11ED4}"/>
          </ac:spMkLst>
        </pc:spChg>
        <pc:spChg chg="mod ord">
          <ac:chgData name="Nataliia Chornii (UA)" userId="4e4b8b3d-5f31-49bb-9f80-8a25c04abfff" providerId="ADAL" clId="{EE97D3FE-9ACA-4467-98E5-532EC45D9D1C}" dt="2024-03-04T08:51:00.694" v="17969" actId="552"/>
          <ac:spMkLst>
            <pc:docMk/>
            <pc:sldMk cId="156182905" sldId="934"/>
            <ac:spMk id="16" creationId="{30819613-CE74-49B6-0807-44FDBB81D466}"/>
          </ac:spMkLst>
        </pc:spChg>
        <pc:spChg chg="add mod ord">
          <ac:chgData name="Nataliia Chornii (UA)" userId="4e4b8b3d-5f31-49bb-9f80-8a25c04abfff" providerId="ADAL" clId="{EE97D3FE-9ACA-4467-98E5-532EC45D9D1C}" dt="2024-03-04T08:50:31.022" v="17890"/>
          <ac:spMkLst>
            <pc:docMk/>
            <pc:sldMk cId="156182905" sldId="934"/>
            <ac:spMk id="17" creationId="{ED43572E-9BCA-81C8-D35A-43B7B450EB3B}"/>
          </ac:spMkLst>
        </pc:spChg>
        <pc:spChg chg="mod ord">
          <ac:chgData name="Nataliia Chornii (UA)" userId="4e4b8b3d-5f31-49bb-9f80-8a25c04abfff" providerId="ADAL" clId="{EE97D3FE-9ACA-4467-98E5-532EC45D9D1C}" dt="2024-03-04T08:51:03.661" v="17970" actId="552"/>
          <ac:spMkLst>
            <pc:docMk/>
            <pc:sldMk cId="156182905" sldId="934"/>
            <ac:spMk id="18" creationId="{E1D4AC8F-0322-E8A8-E509-5AF71473A8F4}"/>
          </ac:spMkLst>
        </pc:spChg>
        <pc:spChg chg="add mod ord">
          <ac:chgData name="Nataliia Chornii (UA)" userId="4e4b8b3d-5f31-49bb-9f80-8a25c04abfff" providerId="ADAL" clId="{EE97D3FE-9ACA-4467-98E5-532EC45D9D1C}" dt="2024-03-04T08:50:31.022" v="17892"/>
          <ac:spMkLst>
            <pc:docMk/>
            <pc:sldMk cId="156182905" sldId="934"/>
            <ac:spMk id="19" creationId="{0A93DE12-D9B5-3489-10B2-18CCAC67A954}"/>
          </ac:spMkLst>
        </pc:spChg>
        <pc:spChg chg="mod ord">
          <ac:chgData name="Nataliia Chornii (UA)" userId="4e4b8b3d-5f31-49bb-9f80-8a25c04abfff" providerId="ADAL" clId="{EE97D3FE-9ACA-4467-98E5-532EC45D9D1C}" dt="2024-03-04T08:51:00.694" v="17969" actId="552"/>
          <ac:spMkLst>
            <pc:docMk/>
            <pc:sldMk cId="156182905" sldId="934"/>
            <ac:spMk id="20" creationId="{BCB0856A-D775-E9B2-A22B-A661D9F8D43C}"/>
          </ac:spMkLst>
        </pc:spChg>
        <pc:spChg chg="add del mod modVis">
          <ac:chgData name="Nataliia Chornii (UA)" userId="4e4b8b3d-5f31-49bb-9f80-8a25c04abfff" providerId="ADAL" clId="{EE97D3FE-9ACA-4467-98E5-532EC45D9D1C}" dt="2024-03-04T08:50:31.038" v="17920"/>
          <ac:spMkLst>
            <pc:docMk/>
            <pc:sldMk cId="156182905" sldId="934"/>
            <ac:spMk id="21" creationId="{CA62F229-DFEB-C2D2-120D-EB91FE4D3CE3}"/>
          </ac:spMkLst>
        </pc:spChg>
        <pc:spChg chg="mod ord">
          <ac:chgData name="Nataliia Chornii (UA)" userId="4e4b8b3d-5f31-49bb-9f80-8a25c04abfff" providerId="ADAL" clId="{EE97D3FE-9ACA-4467-98E5-532EC45D9D1C}" dt="2024-03-04T08:51:03.661" v="17970" actId="552"/>
          <ac:spMkLst>
            <pc:docMk/>
            <pc:sldMk cId="156182905" sldId="934"/>
            <ac:spMk id="22" creationId="{044C1CE5-09D8-63ED-7E23-4A59A70CC41B}"/>
          </ac:spMkLst>
        </pc:spChg>
        <pc:spChg chg="del mod ord">
          <ac:chgData name="Nataliia Chornii (UA)" userId="4e4b8b3d-5f31-49bb-9f80-8a25c04abfff" providerId="ADAL" clId="{EE97D3FE-9ACA-4467-98E5-532EC45D9D1C}" dt="2024-03-11T14:30:34.018" v="24262" actId="478"/>
          <ac:spMkLst>
            <pc:docMk/>
            <pc:sldMk cId="156182905" sldId="934"/>
            <ac:spMk id="23" creationId="{F0F92295-EBAE-39D7-7494-D9035179A285}"/>
          </ac:spMkLst>
        </pc:spChg>
        <pc:spChg chg="mod">
          <ac:chgData name="Nataliia Chornii (UA)" userId="4e4b8b3d-5f31-49bb-9f80-8a25c04abfff" providerId="ADAL" clId="{EE97D3FE-9ACA-4467-98E5-532EC45D9D1C}" dt="2024-03-11T14:26:17.708" v="24093"/>
          <ac:spMkLst>
            <pc:docMk/>
            <pc:sldMk cId="156182905" sldId="934"/>
            <ac:spMk id="24" creationId="{4604E135-DEA6-EC5C-6304-3C18AA45E751}"/>
          </ac:spMkLst>
        </pc:spChg>
        <pc:spChg chg="del">
          <ac:chgData name="Nataliia Chornii (UA)" userId="4e4b8b3d-5f31-49bb-9f80-8a25c04abfff" providerId="ADAL" clId="{EE97D3FE-9ACA-4467-98E5-532EC45D9D1C}" dt="2024-03-04T08:50:27.463" v="17845" actId="478"/>
          <ac:spMkLst>
            <pc:docMk/>
            <pc:sldMk cId="156182905" sldId="934"/>
            <ac:spMk id="24" creationId="{6291F660-4399-3100-7AA6-1A96F2BE2FA0}"/>
          </ac:spMkLst>
        </pc:spChg>
        <pc:spChg chg="del">
          <ac:chgData name="Nataliia Chornii (UA)" userId="4e4b8b3d-5f31-49bb-9f80-8a25c04abfff" providerId="ADAL" clId="{EE97D3FE-9ACA-4467-98E5-532EC45D9D1C}" dt="2024-03-04T08:50:26.667" v="17844" actId="478"/>
          <ac:spMkLst>
            <pc:docMk/>
            <pc:sldMk cId="156182905" sldId="934"/>
            <ac:spMk id="25" creationId="{5EF755D9-3B19-3121-7148-7B4F37248EA8}"/>
          </ac:spMkLst>
        </pc:spChg>
        <pc:spChg chg="mod">
          <ac:chgData name="Nataliia Chornii (UA)" userId="4e4b8b3d-5f31-49bb-9f80-8a25c04abfff" providerId="ADAL" clId="{EE97D3FE-9ACA-4467-98E5-532EC45D9D1C}" dt="2024-03-11T14:26:17.708" v="24093"/>
          <ac:spMkLst>
            <pc:docMk/>
            <pc:sldMk cId="156182905" sldId="934"/>
            <ac:spMk id="25" creationId="{CC657AD1-FCFE-E588-0569-B199491DA3E3}"/>
          </ac:spMkLst>
        </pc:spChg>
        <pc:spChg chg="mod">
          <ac:chgData name="Nataliia Chornii (UA)" userId="4e4b8b3d-5f31-49bb-9f80-8a25c04abfff" providerId="ADAL" clId="{EE97D3FE-9ACA-4467-98E5-532EC45D9D1C}" dt="2024-03-11T14:26:17.708" v="24093"/>
          <ac:spMkLst>
            <pc:docMk/>
            <pc:sldMk cId="156182905" sldId="934"/>
            <ac:spMk id="26" creationId="{4247E762-6AB0-489D-EBA1-B56AAB78F1A3}"/>
          </ac:spMkLst>
        </pc:spChg>
        <pc:spChg chg="del">
          <ac:chgData name="Nataliia Chornii (UA)" userId="4e4b8b3d-5f31-49bb-9f80-8a25c04abfff" providerId="ADAL" clId="{EE97D3FE-9ACA-4467-98E5-532EC45D9D1C}" dt="2024-03-04T08:50:26.156" v="17843" actId="478"/>
          <ac:spMkLst>
            <pc:docMk/>
            <pc:sldMk cId="156182905" sldId="934"/>
            <ac:spMk id="26" creationId="{D3B06146-D695-C0D1-DE10-612BD2266EB5}"/>
          </ac:spMkLst>
        </pc:spChg>
        <pc:spChg chg="del">
          <ac:chgData name="Nataliia Chornii (UA)" userId="4e4b8b3d-5f31-49bb-9f80-8a25c04abfff" providerId="ADAL" clId="{EE97D3FE-9ACA-4467-98E5-532EC45D9D1C}" dt="2024-03-04T08:50:26.156" v="17843" actId="478"/>
          <ac:spMkLst>
            <pc:docMk/>
            <pc:sldMk cId="156182905" sldId="934"/>
            <ac:spMk id="27" creationId="{C67C067A-BA44-E473-03E2-74C4CDD50A4F}"/>
          </ac:spMkLst>
        </pc:spChg>
        <pc:spChg chg="mod">
          <ac:chgData name="Nataliia Chornii (UA)" userId="4e4b8b3d-5f31-49bb-9f80-8a25c04abfff" providerId="ADAL" clId="{EE97D3FE-9ACA-4467-98E5-532EC45D9D1C}" dt="2024-03-11T14:26:17.708" v="24093"/>
          <ac:spMkLst>
            <pc:docMk/>
            <pc:sldMk cId="156182905" sldId="934"/>
            <ac:spMk id="27" creationId="{CAA8727A-E523-D5C1-24AE-55641D4DA4B7}"/>
          </ac:spMkLst>
        </pc:spChg>
        <pc:spChg chg="mod">
          <ac:chgData name="Nataliia Chornii (UA)" userId="4e4b8b3d-5f31-49bb-9f80-8a25c04abfff" providerId="ADAL" clId="{EE97D3FE-9ACA-4467-98E5-532EC45D9D1C}" dt="2024-03-11T14:26:17.708" v="24093"/>
          <ac:spMkLst>
            <pc:docMk/>
            <pc:sldMk cId="156182905" sldId="934"/>
            <ac:spMk id="28" creationId="{36094FC4-E43E-3F81-9122-A9F6E872B38D}"/>
          </ac:spMkLst>
        </pc:spChg>
        <pc:spChg chg="del">
          <ac:chgData name="Nataliia Chornii (UA)" userId="4e4b8b3d-5f31-49bb-9f80-8a25c04abfff" providerId="ADAL" clId="{EE97D3FE-9ACA-4467-98E5-532EC45D9D1C}" dt="2024-03-04T08:50:26.156" v="17843" actId="478"/>
          <ac:spMkLst>
            <pc:docMk/>
            <pc:sldMk cId="156182905" sldId="934"/>
            <ac:spMk id="28" creationId="{E6632A91-C990-C64C-6F5B-FCB2451BD5A7}"/>
          </ac:spMkLst>
        </pc:spChg>
        <pc:spChg chg="del">
          <ac:chgData name="Nataliia Chornii (UA)" userId="4e4b8b3d-5f31-49bb-9f80-8a25c04abfff" providerId="ADAL" clId="{EE97D3FE-9ACA-4467-98E5-532EC45D9D1C}" dt="2024-03-04T08:50:26.156" v="17843" actId="478"/>
          <ac:spMkLst>
            <pc:docMk/>
            <pc:sldMk cId="156182905" sldId="934"/>
            <ac:spMk id="29" creationId="{69C14E03-FCEC-D42E-5785-FE3FD67A2269}"/>
          </ac:spMkLst>
        </pc:spChg>
        <pc:spChg chg="mod">
          <ac:chgData name="Nataliia Chornii (UA)" userId="4e4b8b3d-5f31-49bb-9f80-8a25c04abfff" providerId="ADAL" clId="{EE97D3FE-9ACA-4467-98E5-532EC45D9D1C}" dt="2024-03-11T14:26:17.708" v="24093"/>
          <ac:spMkLst>
            <pc:docMk/>
            <pc:sldMk cId="156182905" sldId="934"/>
            <ac:spMk id="29" creationId="{B4B9AF5C-4DD8-EA3B-9F7C-31C72FFC0601}"/>
          </ac:spMkLst>
        </pc:spChg>
        <pc:spChg chg="add mod">
          <ac:chgData name="Nataliia Chornii (UA)" userId="4e4b8b3d-5f31-49bb-9f80-8a25c04abfff" providerId="ADAL" clId="{EE97D3FE-9ACA-4467-98E5-532EC45D9D1C}" dt="2024-03-11T14:30:34.260" v="24263"/>
          <ac:spMkLst>
            <pc:docMk/>
            <pc:sldMk cId="156182905" sldId="934"/>
            <ac:spMk id="30" creationId="{8BB93EB4-5376-2754-BE65-B10509DCC21C}"/>
          </ac:spMkLst>
        </pc:spChg>
        <pc:spChg chg="del">
          <ac:chgData name="Nataliia Chornii (UA)" userId="4e4b8b3d-5f31-49bb-9f80-8a25c04abfff" providerId="ADAL" clId="{EE97D3FE-9ACA-4467-98E5-532EC45D9D1C}" dt="2024-03-04T08:50:26.156" v="17843" actId="478"/>
          <ac:spMkLst>
            <pc:docMk/>
            <pc:sldMk cId="156182905" sldId="934"/>
            <ac:spMk id="30" creationId="{AD97BBB0-7D2A-0CBE-6249-FB26EF157720}"/>
          </ac:spMkLst>
        </pc:spChg>
        <pc:spChg chg="del">
          <ac:chgData name="Nataliia Chornii (UA)" userId="4e4b8b3d-5f31-49bb-9f80-8a25c04abfff" providerId="ADAL" clId="{EE97D3FE-9ACA-4467-98E5-532EC45D9D1C}" dt="2024-03-04T08:50:26.156" v="17843" actId="478"/>
          <ac:spMkLst>
            <pc:docMk/>
            <pc:sldMk cId="156182905" sldId="934"/>
            <ac:spMk id="31" creationId="{AE1F2CF7-12B2-2C61-02F4-8E90DCAB95C7}"/>
          </ac:spMkLst>
        </pc:spChg>
        <pc:spChg chg="del">
          <ac:chgData name="Nataliia Chornii (UA)" userId="4e4b8b3d-5f31-49bb-9f80-8a25c04abfff" providerId="ADAL" clId="{EE97D3FE-9ACA-4467-98E5-532EC45D9D1C}" dt="2024-03-04T08:50:26.156" v="17843" actId="478"/>
          <ac:spMkLst>
            <pc:docMk/>
            <pc:sldMk cId="156182905" sldId="934"/>
            <ac:spMk id="32" creationId="{AA14433E-3F38-54C2-3C19-F70FDD5BB4F8}"/>
          </ac:spMkLst>
        </pc:spChg>
        <pc:spChg chg="del">
          <ac:chgData name="Nataliia Chornii (UA)" userId="4e4b8b3d-5f31-49bb-9f80-8a25c04abfff" providerId="ADAL" clId="{EE97D3FE-9ACA-4467-98E5-532EC45D9D1C}" dt="2024-03-04T08:50:26.156" v="17843" actId="478"/>
          <ac:spMkLst>
            <pc:docMk/>
            <pc:sldMk cId="156182905" sldId="934"/>
            <ac:spMk id="33" creationId="{F92B9C6C-8C5B-AC82-5DDC-E8DB5ABA08D5}"/>
          </ac:spMkLst>
        </pc:spChg>
        <pc:spChg chg="del">
          <ac:chgData name="Nataliia Chornii (UA)" userId="4e4b8b3d-5f31-49bb-9f80-8a25c04abfff" providerId="ADAL" clId="{EE97D3FE-9ACA-4467-98E5-532EC45D9D1C}" dt="2024-03-04T08:50:29.106" v="17847" actId="478"/>
          <ac:spMkLst>
            <pc:docMk/>
            <pc:sldMk cId="156182905" sldId="934"/>
            <ac:spMk id="34" creationId="{F1D573D1-C07D-A943-A741-380994F48A4F}"/>
          </ac:spMkLst>
        </pc:spChg>
        <pc:spChg chg="del">
          <ac:chgData name="Nataliia Chornii (UA)" userId="4e4b8b3d-5f31-49bb-9f80-8a25c04abfff" providerId="ADAL" clId="{EE97D3FE-9ACA-4467-98E5-532EC45D9D1C}" dt="2024-03-04T08:50:28.554" v="17846" actId="478"/>
          <ac:spMkLst>
            <pc:docMk/>
            <pc:sldMk cId="156182905" sldId="934"/>
            <ac:spMk id="35" creationId="{4F177113-0781-5137-1CD7-3B2F5D62C022}"/>
          </ac:spMkLst>
        </pc:spChg>
        <pc:spChg chg="mod ord">
          <ac:chgData name="Nataliia Chornii (UA)" userId="4e4b8b3d-5f31-49bb-9f80-8a25c04abfff" providerId="ADAL" clId="{EE97D3FE-9ACA-4467-98E5-532EC45D9D1C}" dt="2024-03-04T08:50:58.084" v="17968" actId="554"/>
          <ac:spMkLst>
            <pc:docMk/>
            <pc:sldMk cId="156182905" sldId="934"/>
            <ac:spMk id="36" creationId="{A8F39C25-781C-A7DA-387A-D92FCABEE1F5}"/>
          </ac:spMkLst>
        </pc:spChg>
        <pc:spChg chg="mod ord">
          <ac:chgData name="Nataliia Chornii (UA)" userId="4e4b8b3d-5f31-49bb-9f80-8a25c04abfff" providerId="ADAL" clId="{EE97D3FE-9ACA-4467-98E5-532EC45D9D1C}" dt="2024-03-04T08:50:55.010" v="17967" actId="554"/>
          <ac:spMkLst>
            <pc:docMk/>
            <pc:sldMk cId="156182905" sldId="934"/>
            <ac:spMk id="37" creationId="{BD11DB78-D65B-9D3C-EED7-1721F1C9BCF6}"/>
          </ac:spMkLst>
        </pc:spChg>
        <pc:spChg chg="mod ord">
          <ac:chgData name="Nataliia Chornii (UA)" userId="4e4b8b3d-5f31-49bb-9f80-8a25c04abfff" providerId="ADAL" clId="{EE97D3FE-9ACA-4467-98E5-532EC45D9D1C}" dt="2024-03-04T08:50:43.416" v="17944" actId="554"/>
          <ac:spMkLst>
            <pc:docMk/>
            <pc:sldMk cId="156182905" sldId="934"/>
            <ac:spMk id="38" creationId="{7B1F3CCD-2DE1-C2A8-D340-EAF5B3993679}"/>
          </ac:spMkLst>
        </pc:spChg>
        <pc:spChg chg="mod ord">
          <ac:chgData name="Nataliia Chornii (UA)" userId="4e4b8b3d-5f31-49bb-9f80-8a25c04abfff" providerId="ADAL" clId="{EE97D3FE-9ACA-4467-98E5-532EC45D9D1C}" dt="2024-03-04T08:50:55.010" v="17967" actId="554"/>
          <ac:spMkLst>
            <pc:docMk/>
            <pc:sldMk cId="156182905" sldId="934"/>
            <ac:spMk id="39" creationId="{DCB78F50-A328-CF00-9A1A-F2F677D9CB38}"/>
          </ac:spMkLst>
        </pc:spChg>
        <pc:spChg chg="mod">
          <ac:chgData name="Nataliia Chornii (UA)" userId="4e4b8b3d-5f31-49bb-9f80-8a25c04abfff" providerId="ADAL" clId="{EE97D3FE-9ACA-4467-98E5-532EC45D9D1C}" dt="2024-03-04T09:23:03.409" v="18821"/>
          <ac:spMkLst>
            <pc:docMk/>
            <pc:sldMk cId="156182905" sldId="934"/>
            <ac:spMk id="41" creationId="{DABD7A9D-D820-C081-A9D5-AC52DD5B6B51}"/>
          </ac:spMkLst>
        </pc:spChg>
        <pc:spChg chg="mod">
          <ac:chgData name="Nataliia Chornii (UA)" userId="4e4b8b3d-5f31-49bb-9f80-8a25c04abfff" providerId="ADAL" clId="{EE97D3FE-9ACA-4467-98E5-532EC45D9D1C}" dt="2024-03-04T09:23:03.409" v="18821"/>
          <ac:spMkLst>
            <pc:docMk/>
            <pc:sldMk cId="156182905" sldId="934"/>
            <ac:spMk id="42" creationId="{E7578FB7-1660-D103-11C4-5F70CD023C74}"/>
          </ac:spMkLst>
        </pc:spChg>
        <pc:spChg chg="mod">
          <ac:chgData name="Nataliia Chornii (UA)" userId="4e4b8b3d-5f31-49bb-9f80-8a25c04abfff" providerId="ADAL" clId="{EE97D3FE-9ACA-4467-98E5-532EC45D9D1C}" dt="2024-03-04T09:24:22.678" v="18880" actId="207"/>
          <ac:spMkLst>
            <pc:docMk/>
            <pc:sldMk cId="156182905" sldId="934"/>
            <ac:spMk id="44" creationId="{19F21680-195A-FFC7-6C8F-9E56D7524CFE}"/>
          </ac:spMkLst>
        </pc:spChg>
        <pc:spChg chg="mod">
          <ac:chgData name="Nataliia Chornii (UA)" userId="4e4b8b3d-5f31-49bb-9f80-8a25c04abfff" providerId="ADAL" clId="{EE97D3FE-9ACA-4467-98E5-532EC45D9D1C}" dt="2024-03-04T09:24:22.678" v="18880" actId="207"/>
          <ac:spMkLst>
            <pc:docMk/>
            <pc:sldMk cId="156182905" sldId="934"/>
            <ac:spMk id="45" creationId="{21B7A4F4-93B2-50EC-F8D6-818E05DDAFA9}"/>
          </ac:spMkLst>
        </pc:spChg>
        <pc:spChg chg="mod">
          <ac:chgData name="Nataliia Chornii (UA)" userId="4e4b8b3d-5f31-49bb-9f80-8a25c04abfff" providerId="ADAL" clId="{EE97D3FE-9ACA-4467-98E5-532EC45D9D1C}" dt="2024-03-04T09:24:22.678" v="18880" actId="207"/>
          <ac:spMkLst>
            <pc:docMk/>
            <pc:sldMk cId="156182905" sldId="934"/>
            <ac:spMk id="46" creationId="{95B1505D-D295-4AF2-75EF-6C6A982FF3F2}"/>
          </ac:spMkLst>
        </pc:spChg>
        <pc:spChg chg="mod">
          <ac:chgData name="Nataliia Chornii (UA)" userId="4e4b8b3d-5f31-49bb-9f80-8a25c04abfff" providerId="ADAL" clId="{EE97D3FE-9ACA-4467-98E5-532EC45D9D1C}" dt="2024-03-04T09:24:22.678" v="18880" actId="207"/>
          <ac:spMkLst>
            <pc:docMk/>
            <pc:sldMk cId="156182905" sldId="934"/>
            <ac:spMk id="47" creationId="{E1F62531-D1EC-DAA8-4234-6FBF5EDACC73}"/>
          </ac:spMkLst>
        </pc:spChg>
        <pc:spChg chg="mod">
          <ac:chgData name="Nataliia Chornii (UA)" userId="4e4b8b3d-5f31-49bb-9f80-8a25c04abfff" providerId="ADAL" clId="{EE97D3FE-9ACA-4467-98E5-532EC45D9D1C}" dt="2024-03-04T09:24:22.678" v="18880" actId="207"/>
          <ac:spMkLst>
            <pc:docMk/>
            <pc:sldMk cId="156182905" sldId="934"/>
            <ac:spMk id="48" creationId="{689DF171-8843-18F6-B7AB-9109D8CC55D7}"/>
          </ac:spMkLst>
        </pc:spChg>
        <pc:spChg chg="mod">
          <ac:chgData name="Nataliia Chornii (UA)" userId="4e4b8b3d-5f31-49bb-9f80-8a25c04abfff" providerId="ADAL" clId="{EE97D3FE-9ACA-4467-98E5-532EC45D9D1C}" dt="2024-03-04T09:24:22.678" v="18880" actId="207"/>
          <ac:spMkLst>
            <pc:docMk/>
            <pc:sldMk cId="156182905" sldId="934"/>
            <ac:spMk id="50" creationId="{882403BF-7120-276B-2F13-F5707C75AC33}"/>
          </ac:spMkLst>
        </pc:spChg>
        <pc:spChg chg="mod">
          <ac:chgData name="Nataliia Chornii (UA)" userId="4e4b8b3d-5f31-49bb-9f80-8a25c04abfff" providerId="ADAL" clId="{EE97D3FE-9ACA-4467-98E5-532EC45D9D1C}" dt="2024-03-04T09:24:22.678" v="18880" actId="207"/>
          <ac:spMkLst>
            <pc:docMk/>
            <pc:sldMk cId="156182905" sldId="934"/>
            <ac:spMk id="51" creationId="{DB9474BC-A3DA-259F-37B3-620DAC058BCF}"/>
          </ac:spMkLst>
        </pc:spChg>
        <pc:spChg chg="mod">
          <ac:chgData name="Nataliia Chornii (UA)" userId="4e4b8b3d-5f31-49bb-9f80-8a25c04abfff" providerId="ADAL" clId="{EE97D3FE-9ACA-4467-98E5-532EC45D9D1C}" dt="2024-03-04T09:24:22.678" v="18880" actId="207"/>
          <ac:spMkLst>
            <pc:docMk/>
            <pc:sldMk cId="156182905" sldId="934"/>
            <ac:spMk id="53" creationId="{A4947BD2-EC32-C8A0-6FA6-08FF86A2D127}"/>
          </ac:spMkLst>
        </pc:spChg>
        <pc:spChg chg="mod">
          <ac:chgData name="Nataliia Chornii (UA)" userId="4e4b8b3d-5f31-49bb-9f80-8a25c04abfff" providerId="ADAL" clId="{EE97D3FE-9ACA-4467-98E5-532EC45D9D1C}" dt="2024-03-04T09:24:22.678" v="18880" actId="207"/>
          <ac:spMkLst>
            <pc:docMk/>
            <pc:sldMk cId="156182905" sldId="934"/>
            <ac:spMk id="54" creationId="{7FC17974-286E-6EF3-A2F5-F2252864A004}"/>
          </ac:spMkLst>
        </pc:spChg>
        <pc:spChg chg="mod">
          <ac:chgData name="Nataliia Chornii (UA)" userId="4e4b8b3d-5f31-49bb-9f80-8a25c04abfff" providerId="ADAL" clId="{EE97D3FE-9ACA-4467-98E5-532EC45D9D1C}" dt="2024-03-04T09:24:22.678" v="18880" actId="207"/>
          <ac:spMkLst>
            <pc:docMk/>
            <pc:sldMk cId="156182905" sldId="934"/>
            <ac:spMk id="55" creationId="{6CC5BE16-A0F7-904D-47E4-53C9647CC8FD}"/>
          </ac:spMkLst>
        </pc:spChg>
        <pc:spChg chg="add del mod modVis">
          <ac:chgData name="Nataliia Chornii (UA)" userId="4e4b8b3d-5f31-49bb-9f80-8a25c04abfff" providerId="ADAL" clId="{EE97D3FE-9ACA-4467-98E5-532EC45D9D1C}" dt="2024-03-04T09:24:00.081" v="18857"/>
          <ac:spMkLst>
            <pc:docMk/>
            <pc:sldMk cId="156182905" sldId="934"/>
            <ac:spMk id="56" creationId="{FBF6F6BB-3A0C-3806-D351-36A6061277BA}"/>
          </ac:spMkLst>
        </pc:spChg>
        <pc:grpChg chg="add mod">
          <ac:chgData name="Nataliia Chornii (UA)" userId="4e4b8b3d-5f31-49bb-9f80-8a25c04abfff" providerId="ADAL" clId="{EE97D3FE-9ACA-4467-98E5-532EC45D9D1C}" dt="2024-03-11T14:26:17.708" v="24093"/>
          <ac:grpSpMkLst>
            <pc:docMk/>
            <pc:sldMk cId="156182905" sldId="934"/>
            <ac:grpSpMk id="21" creationId="{339DCDBE-C394-66D0-0228-6B91B0EE7864}"/>
          </ac:grpSpMkLst>
        </pc:grpChg>
        <pc:grpChg chg="add del mod">
          <ac:chgData name="Nataliia Chornii (UA)" userId="4e4b8b3d-5f31-49bb-9f80-8a25c04abfff" providerId="ADAL" clId="{EE97D3FE-9ACA-4467-98E5-532EC45D9D1C}" dt="2024-03-04T09:24:12.369" v="18877" actId="478"/>
          <ac:grpSpMkLst>
            <pc:docMk/>
            <pc:sldMk cId="156182905" sldId="934"/>
            <ac:grpSpMk id="40" creationId="{143EDD2A-3160-1DEE-5476-17AE8C9596CA}"/>
          </ac:grpSpMkLst>
        </pc:grpChg>
        <pc:grpChg chg="add del mod">
          <ac:chgData name="Nataliia Chornii (UA)" userId="4e4b8b3d-5f31-49bb-9f80-8a25c04abfff" providerId="ADAL" clId="{EE97D3FE-9ACA-4467-98E5-532EC45D9D1C}" dt="2024-03-04T09:24:25.114" v="18881" actId="478"/>
          <ac:grpSpMkLst>
            <pc:docMk/>
            <pc:sldMk cId="156182905" sldId="934"/>
            <ac:grpSpMk id="43" creationId="{B86A999D-1831-9C76-2072-580448F67F52}"/>
          </ac:grpSpMkLst>
        </pc:grpChg>
        <pc:grpChg chg="add mod">
          <ac:chgData name="Nataliia Chornii (UA)" userId="4e4b8b3d-5f31-49bb-9f80-8a25c04abfff" providerId="ADAL" clId="{EE97D3FE-9ACA-4467-98E5-532EC45D9D1C}" dt="2024-03-04T09:24:22.678" v="18880" actId="207"/>
          <ac:grpSpMkLst>
            <pc:docMk/>
            <pc:sldMk cId="156182905" sldId="934"/>
            <ac:grpSpMk id="49" creationId="{9D9605C7-C39E-9047-42DC-7227ED31A182}"/>
          </ac:grpSpMkLst>
        </pc:grpChg>
        <pc:grpChg chg="add mod">
          <ac:chgData name="Nataliia Chornii (UA)" userId="4e4b8b3d-5f31-49bb-9f80-8a25c04abfff" providerId="ADAL" clId="{EE97D3FE-9ACA-4467-98E5-532EC45D9D1C}" dt="2024-03-04T09:24:22.678" v="18880" actId="207"/>
          <ac:grpSpMkLst>
            <pc:docMk/>
            <pc:sldMk cId="156182905" sldId="934"/>
            <ac:grpSpMk id="52" creationId="{1E565628-D9DC-F695-17A2-02933C2B5EB6}"/>
          </ac:grpSpMkLst>
        </pc:grpChg>
        <pc:graphicFrameChg chg="mod">
          <ac:chgData name="Nataliia Chornii (UA)" userId="4e4b8b3d-5f31-49bb-9f80-8a25c04abfff" providerId="ADAL" clId="{EE97D3FE-9ACA-4467-98E5-532EC45D9D1C}" dt="2024-03-04T09:24:00.264" v="18872"/>
          <ac:graphicFrameMkLst>
            <pc:docMk/>
            <pc:sldMk cId="156182905" sldId="934"/>
            <ac:graphicFrameMk id="9" creationId="{D9E6BB6A-4571-FBF8-9A7D-06ADE4374D4D}"/>
          </ac:graphicFrameMkLst>
        </pc:graphicFrameChg>
      </pc:sldChg>
      <pc:sldChg chg="addSp delSp modSp mod modCm">
        <pc:chgData name="Nataliia Chornii (UA)" userId="4e4b8b3d-5f31-49bb-9f80-8a25c04abfff" providerId="ADAL" clId="{EE97D3FE-9ACA-4467-98E5-532EC45D9D1C}" dt="2024-03-11T14:30:37.379" v="24265"/>
        <pc:sldMkLst>
          <pc:docMk/>
          <pc:sldMk cId="2803239078" sldId="935"/>
        </pc:sldMkLst>
        <pc:spChg chg="add mod">
          <ac:chgData name="Nataliia Chornii (UA)" userId="4e4b8b3d-5f31-49bb-9f80-8a25c04abfff" providerId="ADAL" clId="{EE97D3FE-9ACA-4467-98E5-532EC45D9D1C}" dt="2024-03-11T14:26:20.669" v="24094"/>
          <ac:spMkLst>
            <pc:docMk/>
            <pc:sldMk cId="2803239078" sldId="935"/>
            <ac:spMk id="2" creationId="{CFDF6535-C156-7ADE-BFD5-5D34028DCE11}"/>
          </ac:spMkLst>
        </pc:spChg>
        <pc:spChg chg="del mod ord">
          <ac:chgData name="Nataliia Chornii (UA)" userId="4e4b8b3d-5f31-49bb-9f80-8a25c04abfff" providerId="ADAL" clId="{EE97D3FE-9ACA-4467-98E5-532EC45D9D1C}" dt="2024-03-04T08:51:52.263" v="18084" actId="478"/>
          <ac:spMkLst>
            <pc:docMk/>
            <pc:sldMk cId="2803239078" sldId="935"/>
            <ac:spMk id="2" creationId="{F6B088C4-896F-0BB6-190E-567264B27E74}"/>
          </ac:spMkLst>
        </pc:spChg>
        <pc:spChg chg="mod ord">
          <ac:chgData name="Nataliia Chornii (UA)" userId="4e4b8b3d-5f31-49bb-9f80-8a25c04abfff" providerId="ADAL" clId="{EE97D3FE-9ACA-4467-98E5-532EC45D9D1C}" dt="2024-03-04T10:47:32.007" v="20728" actId="948"/>
          <ac:spMkLst>
            <pc:docMk/>
            <pc:sldMk cId="2803239078" sldId="935"/>
            <ac:spMk id="3" creationId="{F4CCF02E-F3C4-C376-8F56-61BD85A2E74B}"/>
          </ac:spMkLst>
        </pc:spChg>
        <pc:spChg chg="mod ord">
          <ac:chgData name="Nataliia Chornii (UA)" userId="4e4b8b3d-5f31-49bb-9f80-8a25c04abfff" providerId="ADAL" clId="{EE97D3FE-9ACA-4467-98E5-532EC45D9D1C}" dt="2024-03-04T10:47:14.034" v="20691"/>
          <ac:spMkLst>
            <pc:docMk/>
            <pc:sldMk cId="2803239078" sldId="935"/>
            <ac:spMk id="4" creationId="{872966CD-924A-B939-E655-A6BAF817DCBF}"/>
          </ac:spMkLst>
        </pc:spChg>
        <pc:spChg chg="add mod ord">
          <ac:chgData name="Nataliia Chornii (UA)" userId="4e4b8b3d-5f31-49bb-9f80-8a25c04abfff" providerId="ADAL" clId="{EE97D3FE-9ACA-4467-98E5-532EC45D9D1C}" dt="2024-03-04T10:47:14.034" v="20699"/>
          <ac:spMkLst>
            <pc:docMk/>
            <pc:sldMk cId="2803239078" sldId="935"/>
            <ac:spMk id="5" creationId="{83943DC5-755B-83CF-2267-D47114310827}"/>
          </ac:spMkLst>
        </pc:spChg>
        <pc:spChg chg="add mod ord">
          <ac:chgData name="Nataliia Chornii (UA)" userId="4e4b8b3d-5f31-49bb-9f80-8a25c04abfff" providerId="ADAL" clId="{EE97D3FE-9ACA-4467-98E5-532EC45D9D1C}" dt="2024-03-04T10:47:14.034" v="20701"/>
          <ac:spMkLst>
            <pc:docMk/>
            <pc:sldMk cId="2803239078" sldId="935"/>
            <ac:spMk id="6" creationId="{055319BD-345C-14A4-0FFD-495D53480B46}"/>
          </ac:spMkLst>
        </pc:spChg>
        <pc:spChg chg="add mod ord">
          <ac:chgData name="Nataliia Chornii (UA)" userId="4e4b8b3d-5f31-49bb-9f80-8a25c04abfff" providerId="ADAL" clId="{EE97D3FE-9ACA-4467-98E5-532EC45D9D1C}" dt="2024-03-04T10:47:14.034" v="20703"/>
          <ac:spMkLst>
            <pc:docMk/>
            <pc:sldMk cId="2803239078" sldId="935"/>
            <ac:spMk id="7" creationId="{E4253512-3E4F-6500-EFE9-96171B9047A0}"/>
          </ac:spMkLst>
        </pc:spChg>
        <pc:spChg chg="add mod ord">
          <ac:chgData name="Nataliia Chornii (UA)" userId="4e4b8b3d-5f31-49bb-9f80-8a25c04abfff" providerId="ADAL" clId="{EE97D3FE-9ACA-4467-98E5-532EC45D9D1C}" dt="2024-03-04T10:47:14.034" v="20705"/>
          <ac:spMkLst>
            <pc:docMk/>
            <pc:sldMk cId="2803239078" sldId="935"/>
            <ac:spMk id="8" creationId="{2561F30E-3361-A8CE-EEA2-061CBACD6E9E}"/>
          </ac:spMkLst>
        </pc:spChg>
        <pc:spChg chg="add mod ord">
          <ac:chgData name="Nataliia Chornii (UA)" userId="4e4b8b3d-5f31-49bb-9f80-8a25c04abfff" providerId="ADAL" clId="{EE97D3FE-9ACA-4467-98E5-532EC45D9D1C}" dt="2024-03-04T10:47:14.049" v="20707"/>
          <ac:spMkLst>
            <pc:docMk/>
            <pc:sldMk cId="2803239078" sldId="935"/>
            <ac:spMk id="10" creationId="{1CC3353C-42FA-10BE-ABF0-005A75FDF7CA}"/>
          </ac:spMkLst>
        </pc:spChg>
        <pc:spChg chg="add mod ord">
          <ac:chgData name="Nataliia Chornii (UA)" userId="4e4b8b3d-5f31-49bb-9f80-8a25c04abfff" providerId="ADAL" clId="{EE97D3FE-9ACA-4467-98E5-532EC45D9D1C}" dt="2024-03-04T10:47:14.050" v="20709"/>
          <ac:spMkLst>
            <pc:docMk/>
            <pc:sldMk cId="2803239078" sldId="935"/>
            <ac:spMk id="11" creationId="{4892A7B9-5704-F3C9-DB3D-C181CB3B4019}"/>
          </ac:spMkLst>
        </pc:spChg>
        <pc:spChg chg="add mod ord">
          <ac:chgData name="Nataliia Chornii (UA)" userId="4e4b8b3d-5f31-49bb-9f80-8a25c04abfff" providerId="ADAL" clId="{EE97D3FE-9ACA-4467-98E5-532EC45D9D1C}" dt="2024-03-04T10:47:14.050" v="20711"/>
          <ac:spMkLst>
            <pc:docMk/>
            <pc:sldMk cId="2803239078" sldId="935"/>
            <ac:spMk id="12" creationId="{22D1CF2B-C5CF-CFF2-97D0-1610F7F5D9A7}"/>
          </ac:spMkLst>
        </pc:spChg>
        <pc:spChg chg="add mod ord">
          <ac:chgData name="Nataliia Chornii (UA)" userId="4e4b8b3d-5f31-49bb-9f80-8a25c04abfff" providerId="ADAL" clId="{EE97D3FE-9ACA-4467-98E5-532EC45D9D1C}" dt="2024-03-04T10:47:14.050" v="20713"/>
          <ac:spMkLst>
            <pc:docMk/>
            <pc:sldMk cId="2803239078" sldId="935"/>
            <ac:spMk id="13" creationId="{EE9C66FF-977E-2D46-F3DD-32321D3722EF}"/>
          </ac:spMkLst>
        </pc:spChg>
        <pc:spChg chg="add mod ord">
          <ac:chgData name="Nataliia Chornii (UA)" userId="4e4b8b3d-5f31-49bb-9f80-8a25c04abfff" providerId="ADAL" clId="{EE97D3FE-9ACA-4467-98E5-532EC45D9D1C}" dt="2024-03-04T10:47:14.034" v="20679"/>
          <ac:spMkLst>
            <pc:docMk/>
            <pc:sldMk cId="2803239078" sldId="935"/>
            <ac:spMk id="14" creationId="{3C13FF64-7107-E400-47C3-F95CE48F674D}"/>
          </ac:spMkLst>
        </pc:spChg>
        <pc:spChg chg="add mod ord">
          <ac:chgData name="Nataliia Chornii (UA)" userId="4e4b8b3d-5f31-49bb-9f80-8a25c04abfff" providerId="ADAL" clId="{EE97D3FE-9ACA-4467-98E5-532EC45D9D1C}" dt="2024-03-04T10:47:14.034" v="20681"/>
          <ac:spMkLst>
            <pc:docMk/>
            <pc:sldMk cId="2803239078" sldId="935"/>
            <ac:spMk id="15" creationId="{6FF324E6-AF46-409C-599B-E1C9ECC94CF9}"/>
          </ac:spMkLst>
        </pc:spChg>
        <pc:spChg chg="mod ord">
          <ac:chgData name="Nataliia Chornii (UA)" userId="4e4b8b3d-5f31-49bb-9f80-8a25c04abfff" providerId="ADAL" clId="{EE97D3FE-9ACA-4467-98E5-532EC45D9D1C}" dt="2024-03-04T10:47:14.034" v="20693"/>
          <ac:spMkLst>
            <pc:docMk/>
            <pc:sldMk cId="2803239078" sldId="935"/>
            <ac:spMk id="16" creationId="{30819613-CE74-49B6-0807-44FDBB81D466}"/>
          </ac:spMkLst>
        </pc:spChg>
        <pc:spChg chg="add mod ord">
          <ac:chgData name="Nataliia Chornii (UA)" userId="4e4b8b3d-5f31-49bb-9f80-8a25c04abfff" providerId="ADAL" clId="{EE97D3FE-9ACA-4467-98E5-532EC45D9D1C}" dt="2024-03-04T10:47:14.034" v="20683"/>
          <ac:spMkLst>
            <pc:docMk/>
            <pc:sldMk cId="2803239078" sldId="935"/>
            <ac:spMk id="17" creationId="{2D5601AF-A39D-8CD4-7B2A-0E35C1C67F64}"/>
          </ac:spMkLst>
        </pc:spChg>
        <pc:spChg chg="mod ord">
          <ac:chgData name="Nataliia Chornii (UA)" userId="4e4b8b3d-5f31-49bb-9f80-8a25c04abfff" providerId="ADAL" clId="{EE97D3FE-9ACA-4467-98E5-532EC45D9D1C}" dt="2024-03-04T10:47:14.034" v="20695"/>
          <ac:spMkLst>
            <pc:docMk/>
            <pc:sldMk cId="2803239078" sldId="935"/>
            <ac:spMk id="18" creationId="{E1D4AC8F-0322-E8A8-E509-5AF71473A8F4}"/>
          </ac:spMkLst>
        </pc:spChg>
        <pc:spChg chg="add del mod modVis">
          <ac:chgData name="Nataliia Chornii (UA)" userId="4e4b8b3d-5f31-49bb-9f80-8a25c04abfff" providerId="ADAL" clId="{EE97D3FE-9ACA-4467-98E5-532EC45D9D1C}" dt="2024-03-04T08:51:25.568" v="18037"/>
          <ac:spMkLst>
            <pc:docMk/>
            <pc:sldMk cId="2803239078" sldId="935"/>
            <ac:spMk id="19" creationId="{0B9AF777-15A1-E696-8672-CA2008D6AB44}"/>
          </ac:spMkLst>
        </pc:spChg>
        <pc:spChg chg="mod">
          <ac:chgData name="Nataliia Chornii (UA)" userId="4e4b8b3d-5f31-49bb-9f80-8a25c04abfff" providerId="ADAL" clId="{EE97D3FE-9ACA-4467-98E5-532EC45D9D1C}" dt="2024-03-04T09:22:59.788" v="18820" actId="207"/>
          <ac:spMkLst>
            <pc:docMk/>
            <pc:sldMk cId="2803239078" sldId="935"/>
            <ac:spMk id="21" creationId="{4E92F591-2159-3A2F-55D2-E780D989C687}"/>
          </ac:spMkLst>
        </pc:spChg>
        <pc:spChg chg="mod">
          <ac:chgData name="Nataliia Chornii (UA)" userId="4e4b8b3d-5f31-49bb-9f80-8a25c04abfff" providerId="ADAL" clId="{EE97D3FE-9ACA-4467-98E5-532EC45D9D1C}" dt="2024-03-04T09:22:59.788" v="18820" actId="207"/>
          <ac:spMkLst>
            <pc:docMk/>
            <pc:sldMk cId="2803239078" sldId="935"/>
            <ac:spMk id="22" creationId="{1748EE48-7E9C-A35E-C455-9FA5460BFED0}"/>
          </ac:spMkLst>
        </pc:spChg>
        <pc:spChg chg="del mod ord">
          <ac:chgData name="Nataliia Chornii (UA)" userId="4e4b8b3d-5f31-49bb-9f80-8a25c04abfff" providerId="ADAL" clId="{EE97D3FE-9ACA-4467-98E5-532EC45D9D1C}" dt="2024-03-11T14:30:36.860" v="24264" actId="478"/>
          <ac:spMkLst>
            <pc:docMk/>
            <pc:sldMk cId="2803239078" sldId="935"/>
            <ac:spMk id="23" creationId="{F0F92295-EBAE-39D7-7494-D9035179A285}"/>
          </ac:spMkLst>
        </pc:spChg>
        <pc:spChg chg="del">
          <ac:chgData name="Nataliia Chornii (UA)" userId="4e4b8b3d-5f31-49bb-9f80-8a25c04abfff" providerId="ADAL" clId="{EE97D3FE-9ACA-4467-98E5-532EC45D9D1C}" dt="2024-03-04T08:51:18.445" v="17974" actId="478"/>
          <ac:spMkLst>
            <pc:docMk/>
            <pc:sldMk cId="2803239078" sldId="935"/>
            <ac:spMk id="24" creationId="{6291F660-4399-3100-7AA6-1A96F2BE2FA0}"/>
          </ac:spMkLst>
        </pc:spChg>
        <pc:spChg chg="mod">
          <ac:chgData name="Nataliia Chornii (UA)" userId="4e4b8b3d-5f31-49bb-9f80-8a25c04abfff" providerId="ADAL" clId="{EE97D3FE-9ACA-4467-98E5-532EC45D9D1C}" dt="2024-03-11T14:26:20.669" v="24094"/>
          <ac:spMkLst>
            <pc:docMk/>
            <pc:sldMk cId="2803239078" sldId="935"/>
            <ac:spMk id="24" creationId="{C837367E-809C-5E37-6EA7-2C6E2749CE71}"/>
          </ac:spMkLst>
        </pc:spChg>
        <pc:spChg chg="mod">
          <ac:chgData name="Nataliia Chornii (UA)" userId="4e4b8b3d-5f31-49bb-9f80-8a25c04abfff" providerId="ADAL" clId="{EE97D3FE-9ACA-4467-98E5-532EC45D9D1C}" dt="2024-03-11T14:26:20.669" v="24094"/>
          <ac:spMkLst>
            <pc:docMk/>
            <pc:sldMk cId="2803239078" sldId="935"/>
            <ac:spMk id="25" creationId="{29142F77-D4A9-2442-6F69-57695649E138}"/>
          </ac:spMkLst>
        </pc:spChg>
        <pc:spChg chg="del">
          <ac:chgData name="Nataliia Chornii (UA)" userId="4e4b8b3d-5f31-49bb-9f80-8a25c04abfff" providerId="ADAL" clId="{EE97D3FE-9ACA-4467-98E5-532EC45D9D1C}" dt="2024-03-04T08:51:18.445" v="17974" actId="478"/>
          <ac:spMkLst>
            <pc:docMk/>
            <pc:sldMk cId="2803239078" sldId="935"/>
            <ac:spMk id="25" creationId="{5EF755D9-3B19-3121-7148-7B4F37248EA8}"/>
          </ac:spMkLst>
        </pc:spChg>
        <pc:spChg chg="mod">
          <ac:chgData name="Nataliia Chornii (UA)" userId="4e4b8b3d-5f31-49bb-9f80-8a25c04abfff" providerId="ADAL" clId="{EE97D3FE-9ACA-4467-98E5-532EC45D9D1C}" dt="2024-03-11T14:26:20.669" v="24094"/>
          <ac:spMkLst>
            <pc:docMk/>
            <pc:sldMk cId="2803239078" sldId="935"/>
            <ac:spMk id="26" creationId="{66A1FDAA-E9CA-5AF7-B0E8-7D2266E468F1}"/>
          </ac:spMkLst>
        </pc:spChg>
        <pc:spChg chg="del">
          <ac:chgData name="Nataliia Chornii (UA)" userId="4e4b8b3d-5f31-49bb-9f80-8a25c04abfff" providerId="ADAL" clId="{EE97D3FE-9ACA-4467-98E5-532EC45D9D1C}" dt="2024-03-04T08:51:15.001" v="17972" actId="478"/>
          <ac:spMkLst>
            <pc:docMk/>
            <pc:sldMk cId="2803239078" sldId="935"/>
            <ac:spMk id="26" creationId="{D3B06146-D695-C0D1-DE10-612BD2266EB5}"/>
          </ac:spMkLst>
        </pc:spChg>
        <pc:spChg chg="mod">
          <ac:chgData name="Nataliia Chornii (UA)" userId="4e4b8b3d-5f31-49bb-9f80-8a25c04abfff" providerId="ADAL" clId="{EE97D3FE-9ACA-4467-98E5-532EC45D9D1C}" dt="2024-03-11T14:26:20.669" v="24094"/>
          <ac:spMkLst>
            <pc:docMk/>
            <pc:sldMk cId="2803239078" sldId="935"/>
            <ac:spMk id="27" creationId="{87E27681-B449-1198-572C-E3F21DAF572A}"/>
          </ac:spMkLst>
        </pc:spChg>
        <pc:spChg chg="del">
          <ac:chgData name="Nataliia Chornii (UA)" userId="4e4b8b3d-5f31-49bb-9f80-8a25c04abfff" providerId="ADAL" clId="{EE97D3FE-9ACA-4467-98E5-532EC45D9D1C}" dt="2024-03-04T08:51:15.001" v="17972" actId="478"/>
          <ac:spMkLst>
            <pc:docMk/>
            <pc:sldMk cId="2803239078" sldId="935"/>
            <ac:spMk id="27" creationId="{C67C067A-BA44-E473-03E2-74C4CDD50A4F}"/>
          </ac:spMkLst>
        </pc:spChg>
        <pc:spChg chg="mod">
          <ac:chgData name="Nataliia Chornii (UA)" userId="4e4b8b3d-5f31-49bb-9f80-8a25c04abfff" providerId="ADAL" clId="{EE97D3FE-9ACA-4467-98E5-532EC45D9D1C}" dt="2024-03-11T14:26:20.669" v="24094"/>
          <ac:spMkLst>
            <pc:docMk/>
            <pc:sldMk cId="2803239078" sldId="935"/>
            <ac:spMk id="28" creationId="{28B724DB-6680-CE51-5242-0EE0186B895F}"/>
          </ac:spMkLst>
        </pc:spChg>
        <pc:spChg chg="del">
          <ac:chgData name="Nataliia Chornii (UA)" userId="4e4b8b3d-5f31-49bb-9f80-8a25c04abfff" providerId="ADAL" clId="{EE97D3FE-9ACA-4467-98E5-532EC45D9D1C}" dt="2024-03-04T08:51:15.001" v="17972" actId="478"/>
          <ac:spMkLst>
            <pc:docMk/>
            <pc:sldMk cId="2803239078" sldId="935"/>
            <ac:spMk id="28" creationId="{E6632A91-C990-C64C-6F5B-FCB2451BD5A7}"/>
          </ac:spMkLst>
        </pc:spChg>
        <pc:spChg chg="mod">
          <ac:chgData name="Nataliia Chornii (UA)" userId="4e4b8b3d-5f31-49bb-9f80-8a25c04abfff" providerId="ADAL" clId="{EE97D3FE-9ACA-4467-98E5-532EC45D9D1C}" dt="2024-03-11T14:26:20.669" v="24094"/>
          <ac:spMkLst>
            <pc:docMk/>
            <pc:sldMk cId="2803239078" sldId="935"/>
            <ac:spMk id="29" creationId="{5B2AF15D-AE94-5DCB-461F-FDB6A168F411}"/>
          </ac:spMkLst>
        </pc:spChg>
        <pc:spChg chg="del">
          <ac:chgData name="Nataliia Chornii (UA)" userId="4e4b8b3d-5f31-49bb-9f80-8a25c04abfff" providerId="ADAL" clId="{EE97D3FE-9ACA-4467-98E5-532EC45D9D1C}" dt="2024-03-04T08:51:15.001" v="17972" actId="478"/>
          <ac:spMkLst>
            <pc:docMk/>
            <pc:sldMk cId="2803239078" sldId="935"/>
            <ac:spMk id="29" creationId="{69C14E03-FCEC-D42E-5785-FE3FD67A2269}"/>
          </ac:spMkLst>
        </pc:spChg>
        <pc:spChg chg="del">
          <ac:chgData name="Nataliia Chornii (UA)" userId="4e4b8b3d-5f31-49bb-9f80-8a25c04abfff" providerId="ADAL" clId="{EE97D3FE-9ACA-4467-98E5-532EC45D9D1C}" dt="2024-03-04T08:51:15.001" v="17972" actId="478"/>
          <ac:spMkLst>
            <pc:docMk/>
            <pc:sldMk cId="2803239078" sldId="935"/>
            <ac:spMk id="30" creationId="{AD97BBB0-7D2A-0CBE-6249-FB26EF157720}"/>
          </ac:spMkLst>
        </pc:spChg>
        <pc:spChg chg="add mod">
          <ac:chgData name="Nataliia Chornii (UA)" userId="4e4b8b3d-5f31-49bb-9f80-8a25c04abfff" providerId="ADAL" clId="{EE97D3FE-9ACA-4467-98E5-532EC45D9D1C}" dt="2024-03-11T14:30:37.379" v="24265"/>
          <ac:spMkLst>
            <pc:docMk/>
            <pc:sldMk cId="2803239078" sldId="935"/>
            <ac:spMk id="30" creationId="{E80D5E30-E7FF-0A93-7A54-BD57D8324802}"/>
          </ac:spMkLst>
        </pc:spChg>
        <pc:spChg chg="del">
          <ac:chgData name="Nataliia Chornii (UA)" userId="4e4b8b3d-5f31-49bb-9f80-8a25c04abfff" providerId="ADAL" clId="{EE97D3FE-9ACA-4467-98E5-532EC45D9D1C}" dt="2024-03-04T08:51:15.001" v="17972" actId="478"/>
          <ac:spMkLst>
            <pc:docMk/>
            <pc:sldMk cId="2803239078" sldId="935"/>
            <ac:spMk id="31" creationId="{AE1F2CF7-12B2-2C61-02F4-8E90DCAB95C7}"/>
          </ac:spMkLst>
        </pc:spChg>
        <pc:spChg chg="del">
          <ac:chgData name="Nataliia Chornii (UA)" userId="4e4b8b3d-5f31-49bb-9f80-8a25c04abfff" providerId="ADAL" clId="{EE97D3FE-9ACA-4467-98E5-532EC45D9D1C}" dt="2024-03-04T08:51:15.001" v="17972" actId="478"/>
          <ac:spMkLst>
            <pc:docMk/>
            <pc:sldMk cId="2803239078" sldId="935"/>
            <ac:spMk id="32" creationId="{AA14433E-3F38-54C2-3C19-F70FDD5BB4F8}"/>
          </ac:spMkLst>
        </pc:spChg>
        <pc:spChg chg="del">
          <ac:chgData name="Nataliia Chornii (UA)" userId="4e4b8b3d-5f31-49bb-9f80-8a25c04abfff" providerId="ADAL" clId="{EE97D3FE-9ACA-4467-98E5-532EC45D9D1C}" dt="2024-03-04T08:51:15.001" v="17972" actId="478"/>
          <ac:spMkLst>
            <pc:docMk/>
            <pc:sldMk cId="2803239078" sldId="935"/>
            <ac:spMk id="33" creationId="{F92B9C6C-8C5B-AC82-5DDC-E8DB5ABA08D5}"/>
          </ac:spMkLst>
        </pc:spChg>
        <pc:spChg chg="del mod">
          <ac:chgData name="Nataliia Chornii (UA)" userId="4e4b8b3d-5f31-49bb-9f80-8a25c04abfff" providerId="ADAL" clId="{EE97D3FE-9ACA-4467-98E5-532EC45D9D1C}" dt="2024-03-04T08:51:18.445" v="17974" actId="478"/>
          <ac:spMkLst>
            <pc:docMk/>
            <pc:sldMk cId="2803239078" sldId="935"/>
            <ac:spMk id="35" creationId="{4F177113-0781-5137-1CD7-3B2F5D62C022}"/>
          </ac:spMkLst>
        </pc:spChg>
        <pc:spChg chg="mod ord">
          <ac:chgData name="Nataliia Chornii (UA)" userId="4e4b8b3d-5f31-49bb-9f80-8a25c04abfff" providerId="ADAL" clId="{EE97D3FE-9ACA-4467-98E5-532EC45D9D1C}" dt="2024-03-04T10:47:23.910" v="20725" actId="555"/>
          <ac:spMkLst>
            <pc:docMk/>
            <pc:sldMk cId="2803239078" sldId="935"/>
            <ac:spMk id="36" creationId="{A8F39C25-781C-A7DA-387A-D92FCABEE1F5}"/>
          </ac:spMkLst>
        </pc:spChg>
        <pc:spChg chg="mod">
          <ac:chgData name="Nataliia Chornii (UA)" userId="4e4b8b3d-5f31-49bb-9f80-8a25c04abfff" providerId="ADAL" clId="{EE97D3FE-9ACA-4467-98E5-532EC45D9D1C}" dt="2024-03-04T09:22:46.916" v="18777"/>
          <ac:spMkLst>
            <pc:docMk/>
            <pc:sldMk cId="2803239078" sldId="935"/>
            <ac:spMk id="37" creationId="{94FA2A6C-84E0-507D-27A9-A5132F84ED26}"/>
          </ac:spMkLst>
        </pc:spChg>
        <pc:spChg chg="mod ord">
          <ac:chgData name="Nataliia Chornii (UA)" userId="4e4b8b3d-5f31-49bb-9f80-8a25c04abfff" providerId="ADAL" clId="{EE97D3FE-9ACA-4467-98E5-532EC45D9D1C}" dt="2024-03-04T10:47:14.034" v="20687"/>
          <ac:spMkLst>
            <pc:docMk/>
            <pc:sldMk cId="2803239078" sldId="935"/>
            <ac:spMk id="38" creationId="{7B1F3CCD-2DE1-C2A8-D340-EAF5B3993679}"/>
          </ac:spMkLst>
        </pc:spChg>
        <pc:spChg chg="mod">
          <ac:chgData name="Nataliia Chornii (UA)" userId="4e4b8b3d-5f31-49bb-9f80-8a25c04abfff" providerId="ADAL" clId="{EE97D3FE-9ACA-4467-98E5-532EC45D9D1C}" dt="2024-03-04T09:22:46.916" v="18777"/>
          <ac:spMkLst>
            <pc:docMk/>
            <pc:sldMk cId="2803239078" sldId="935"/>
            <ac:spMk id="39" creationId="{4097B809-F21D-E78D-D60C-FFE0A2E0BD04}"/>
          </ac:spMkLst>
        </pc:spChg>
        <pc:spChg chg="mod">
          <ac:chgData name="Nataliia Chornii (UA)" userId="4e4b8b3d-5f31-49bb-9f80-8a25c04abfff" providerId="ADAL" clId="{EE97D3FE-9ACA-4467-98E5-532EC45D9D1C}" dt="2024-03-04T09:22:46.916" v="18777"/>
          <ac:spMkLst>
            <pc:docMk/>
            <pc:sldMk cId="2803239078" sldId="935"/>
            <ac:spMk id="40" creationId="{CB39CC28-E3EC-CFAA-8A1A-5078CD2CCF86}"/>
          </ac:spMkLst>
        </pc:spChg>
        <pc:spChg chg="mod">
          <ac:chgData name="Nataliia Chornii (UA)" userId="4e4b8b3d-5f31-49bb-9f80-8a25c04abfff" providerId="ADAL" clId="{EE97D3FE-9ACA-4467-98E5-532EC45D9D1C}" dt="2024-03-04T09:22:46.916" v="18777"/>
          <ac:spMkLst>
            <pc:docMk/>
            <pc:sldMk cId="2803239078" sldId="935"/>
            <ac:spMk id="41" creationId="{851A3C4E-6276-E6B1-BED9-6DBEC9501EFB}"/>
          </ac:spMkLst>
        </pc:spChg>
        <pc:spChg chg="mod">
          <ac:chgData name="Nataliia Chornii (UA)" userId="4e4b8b3d-5f31-49bb-9f80-8a25c04abfff" providerId="ADAL" clId="{EE97D3FE-9ACA-4467-98E5-532EC45D9D1C}" dt="2024-03-04T09:22:46.916" v="18777"/>
          <ac:spMkLst>
            <pc:docMk/>
            <pc:sldMk cId="2803239078" sldId="935"/>
            <ac:spMk id="42" creationId="{FCDC3FCF-BD48-D0C5-D17A-C61BA8DBAB35}"/>
          </ac:spMkLst>
        </pc:spChg>
        <pc:spChg chg="add del mod modVis">
          <ac:chgData name="Nataliia Chornii (UA)" userId="4e4b8b3d-5f31-49bb-9f80-8a25c04abfff" providerId="ADAL" clId="{EE97D3FE-9ACA-4467-98E5-532EC45D9D1C}" dt="2024-03-04T09:22:50.203" v="18805"/>
          <ac:spMkLst>
            <pc:docMk/>
            <pc:sldMk cId="2803239078" sldId="935"/>
            <ac:spMk id="43" creationId="{BC187B89-A25E-76A7-C816-BC00B47402D5}"/>
          </ac:spMkLst>
        </pc:spChg>
        <pc:spChg chg="add del mod modVis">
          <ac:chgData name="Nataliia Chornii (UA)" userId="4e4b8b3d-5f31-49bb-9f80-8a25c04abfff" providerId="ADAL" clId="{EE97D3FE-9ACA-4467-98E5-532EC45D9D1C}" dt="2024-03-04T10:47:14.050" v="20719"/>
          <ac:spMkLst>
            <pc:docMk/>
            <pc:sldMk cId="2803239078" sldId="935"/>
            <ac:spMk id="46" creationId="{1A1BE818-9673-5B8E-9799-EBC5950C4ED9}"/>
          </ac:spMkLst>
        </pc:spChg>
        <pc:spChg chg="add mod">
          <ac:chgData name="Nataliia Chornii (UA)" userId="4e4b8b3d-5f31-49bb-9f80-8a25c04abfff" providerId="ADAL" clId="{EE97D3FE-9ACA-4467-98E5-532EC45D9D1C}" dt="2024-03-04T10:47:41.128" v="20742" actId="555"/>
          <ac:spMkLst>
            <pc:docMk/>
            <pc:sldMk cId="2803239078" sldId="935"/>
            <ac:spMk id="47" creationId="{52EFA549-659C-B799-9809-BDFAA940A669}"/>
          </ac:spMkLst>
        </pc:spChg>
        <pc:grpChg chg="add mod">
          <ac:chgData name="Nataliia Chornii (UA)" userId="4e4b8b3d-5f31-49bb-9f80-8a25c04abfff" providerId="ADAL" clId="{EE97D3FE-9ACA-4467-98E5-532EC45D9D1C}" dt="2024-03-11T14:26:20.669" v="24094"/>
          <ac:grpSpMkLst>
            <pc:docMk/>
            <pc:sldMk cId="2803239078" sldId="935"/>
            <ac:grpSpMk id="19" creationId="{43AAED9D-0E77-8125-D204-8BFB0EC176D1}"/>
          </ac:grpSpMkLst>
        </pc:grpChg>
        <pc:grpChg chg="add mod ord">
          <ac:chgData name="Nataliia Chornii (UA)" userId="4e4b8b3d-5f31-49bb-9f80-8a25c04abfff" providerId="ADAL" clId="{EE97D3FE-9ACA-4467-98E5-532EC45D9D1C}" dt="2024-03-04T10:47:27.525" v="20726" actId="1076"/>
          <ac:grpSpMkLst>
            <pc:docMk/>
            <pc:sldMk cId="2803239078" sldId="935"/>
            <ac:grpSpMk id="20" creationId="{EBC5E9B0-7CA9-6B3F-FE3E-C10FD733E24C}"/>
          </ac:grpSpMkLst>
        </pc:grpChg>
        <pc:grpChg chg="add del mod">
          <ac:chgData name="Nataliia Chornii (UA)" userId="4e4b8b3d-5f31-49bb-9f80-8a25c04abfff" providerId="ADAL" clId="{EE97D3FE-9ACA-4467-98E5-532EC45D9D1C}" dt="2024-03-04T09:22:57.727" v="18819" actId="478"/>
          <ac:grpSpMkLst>
            <pc:docMk/>
            <pc:sldMk cId="2803239078" sldId="935"/>
            <ac:grpSpMk id="34" creationId="{4B9B3AD4-D305-CDB1-7551-E9028E788976}"/>
          </ac:grpSpMkLst>
        </pc:grpChg>
        <pc:graphicFrameChg chg="mod">
          <ac:chgData name="Nataliia Chornii (UA)" userId="4e4b8b3d-5f31-49bb-9f80-8a25c04abfff" providerId="ADAL" clId="{EE97D3FE-9ACA-4467-98E5-532EC45D9D1C}" dt="2024-03-04T10:47:32.022" v="20738"/>
          <ac:graphicFrameMkLst>
            <pc:docMk/>
            <pc:sldMk cId="2803239078" sldId="935"/>
            <ac:graphicFrameMk id="9" creationId="{D9E6BB6A-4571-FBF8-9A7D-06ADE4374D4D}"/>
          </ac:graphicFrameMkLst>
        </pc:graphicFrameChg>
        <pc:picChg chg="add mod ord modCrop">
          <ac:chgData name="Nataliia Chornii (UA)" userId="4e4b8b3d-5f31-49bb-9f80-8a25c04abfff" providerId="ADAL" clId="{EE97D3FE-9ACA-4467-98E5-532EC45D9D1C}" dt="2024-03-04T10:47:41.128" v="20742" actId="555"/>
          <ac:picMkLst>
            <pc:docMk/>
            <pc:sldMk cId="2803239078" sldId="935"/>
            <ac:picMk id="45" creationId="{5D0DB068-C11E-6713-BDC0-2DC5047C66E1}"/>
          </ac:picMkLst>
        </pc:pic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2:54.266" v="22441"/>
              <pc2:cmMkLst xmlns:pc2="http://schemas.microsoft.com/office/powerpoint/2019/9/main/command">
                <pc:docMk/>
                <pc:sldMk cId="2803239078" sldId="935"/>
                <pc2:cmMk id="{F7C00153-39D8-4846-8D47-915BF0FEF30D}"/>
              </pc2:cmMkLst>
            </pc226:cmChg>
          </p:ext>
        </pc:extLst>
      </pc:sldChg>
      <pc:sldChg chg="addSp delSp modSp mod modCm">
        <pc:chgData name="Nataliia Chornii (UA)" userId="4e4b8b3d-5f31-49bb-9f80-8a25c04abfff" providerId="ADAL" clId="{EE97D3FE-9ACA-4467-98E5-532EC45D9D1C}" dt="2024-03-11T14:31:04.585" v="24278" actId="478"/>
        <pc:sldMkLst>
          <pc:docMk/>
          <pc:sldMk cId="1939332489" sldId="936"/>
        </pc:sldMkLst>
        <pc:spChg chg="del">
          <ac:chgData name="Nataliia Chornii (UA)" userId="4e4b8b3d-5f31-49bb-9f80-8a25c04abfff" providerId="ADAL" clId="{EE97D3FE-9ACA-4467-98E5-532EC45D9D1C}" dt="2024-03-04T09:36:08.941" v="18911" actId="478"/>
          <ac:spMkLst>
            <pc:docMk/>
            <pc:sldMk cId="1939332489" sldId="936"/>
            <ac:spMk id="2" creationId="{7ED4D46D-04AD-7DC4-4216-971E04043EA7}"/>
          </ac:spMkLst>
        </pc:spChg>
        <pc:spChg chg="mod ord">
          <ac:chgData name="Nataliia Chornii (UA)" userId="4e4b8b3d-5f31-49bb-9f80-8a25c04abfff" providerId="ADAL" clId="{EE97D3FE-9ACA-4467-98E5-532EC45D9D1C}" dt="2024-03-11T14:18:08.513" v="23920" actId="553"/>
          <ac:spMkLst>
            <pc:docMk/>
            <pc:sldMk cId="1939332489" sldId="936"/>
            <ac:spMk id="2" creationId="{ECED2237-CB7F-C2CD-11A3-62DC16CCA5B1}"/>
          </ac:spMkLst>
        </pc:spChg>
        <pc:spChg chg="mod ord">
          <ac:chgData name="Nataliia Chornii (UA)" userId="4e4b8b3d-5f31-49bb-9f80-8a25c04abfff" providerId="ADAL" clId="{EE97D3FE-9ACA-4467-98E5-532EC45D9D1C}" dt="2024-03-11T14:17:06.248" v="23859"/>
          <ac:spMkLst>
            <pc:docMk/>
            <pc:sldMk cId="1939332489" sldId="936"/>
            <ac:spMk id="3" creationId="{F4CCF02E-F3C4-C376-8F56-61BD85A2E74B}"/>
          </ac:spMkLst>
        </pc:spChg>
        <pc:spChg chg="mod ord">
          <ac:chgData name="Nataliia Chornii (UA)" userId="4e4b8b3d-5f31-49bb-9f80-8a25c04abfff" providerId="ADAL" clId="{EE97D3FE-9ACA-4467-98E5-532EC45D9D1C}" dt="2024-03-11T14:17:06.248" v="23861"/>
          <ac:spMkLst>
            <pc:docMk/>
            <pc:sldMk cId="1939332489" sldId="936"/>
            <ac:spMk id="4" creationId="{872966CD-924A-B939-E655-A6BAF817DCBF}"/>
          </ac:spMkLst>
        </pc:spChg>
        <pc:spChg chg="add mod ord">
          <ac:chgData name="Nataliia Chornii (UA)" userId="4e4b8b3d-5f31-49bb-9f80-8a25c04abfff" providerId="ADAL" clId="{EE97D3FE-9ACA-4467-98E5-532EC45D9D1C}" dt="2024-03-11T14:17:06.248" v="23865"/>
          <ac:spMkLst>
            <pc:docMk/>
            <pc:sldMk cId="1939332489" sldId="936"/>
            <ac:spMk id="5" creationId="{9427ECFD-F450-0D4F-FE55-5438A378FF6F}"/>
          </ac:spMkLst>
        </pc:spChg>
        <pc:spChg chg="add mod ord">
          <ac:chgData name="Nataliia Chornii (UA)" userId="4e4b8b3d-5f31-49bb-9f80-8a25c04abfff" providerId="ADAL" clId="{EE97D3FE-9ACA-4467-98E5-532EC45D9D1C}" dt="2024-03-11T14:17:06.248" v="23867"/>
          <ac:spMkLst>
            <pc:docMk/>
            <pc:sldMk cId="1939332489" sldId="936"/>
            <ac:spMk id="6" creationId="{C9252866-F919-675A-0ECF-498D296D0E74}"/>
          </ac:spMkLst>
        </pc:spChg>
        <pc:spChg chg="add mod ord">
          <ac:chgData name="Nataliia Chornii (UA)" userId="4e4b8b3d-5f31-49bb-9f80-8a25c04abfff" providerId="ADAL" clId="{EE97D3FE-9ACA-4467-98E5-532EC45D9D1C}" dt="2024-03-11T14:17:06.248" v="23869"/>
          <ac:spMkLst>
            <pc:docMk/>
            <pc:sldMk cId="1939332489" sldId="936"/>
            <ac:spMk id="7" creationId="{B42208E6-62B1-575C-BF52-C7B71E7ADF8C}"/>
          </ac:spMkLst>
        </pc:spChg>
        <pc:spChg chg="add mod ord">
          <ac:chgData name="Nataliia Chornii (UA)" userId="4e4b8b3d-5f31-49bb-9f80-8a25c04abfff" providerId="ADAL" clId="{EE97D3FE-9ACA-4467-98E5-532EC45D9D1C}" dt="2024-03-11T14:17:06.248" v="23871"/>
          <ac:spMkLst>
            <pc:docMk/>
            <pc:sldMk cId="1939332489" sldId="936"/>
            <ac:spMk id="9" creationId="{B3659C17-0F53-5112-4924-BFD603C1E0B3}"/>
          </ac:spMkLst>
        </pc:spChg>
        <pc:spChg chg="add mod ord">
          <ac:chgData name="Nataliia Chornii (UA)" userId="4e4b8b3d-5f31-49bb-9f80-8a25c04abfff" providerId="ADAL" clId="{EE97D3FE-9ACA-4467-98E5-532EC45D9D1C}" dt="2024-03-11T14:17:06.248" v="23873"/>
          <ac:spMkLst>
            <pc:docMk/>
            <pc:sldMk cId="1939332489" sldId="936"/>
            <ac:spMk id="10" creationId="{B880C522-54F9-B49A-2C13-8E07817D8D19}"/>
          </ac:spMkLst>
        </pc:spChg>
        <pc:spChg chg="mod ord">
          <ac:chgData name="Nataliia Chornii (UA)" userId="4e4b8b3d-5f31-49bb-9f80-8a25c04abfff" providerId="ADAL" clId="{EE97D3FE-9ACA-4467-98E5-532EC45D9D1C}" dt="2024-03-11T14:17:18.714" v="23895" actId="14100"/>
          <ac:spMkLst>
            <pc:docMk/>
            <pc:sldMk cId="1939332489" sldId="936"/>
            <ac:spMk id="11" creationId="{ECEF24F5-E26D-2531-E4A1-337E326AC9CB}"/>
          </ac:spMkLst>
        </pc:spChg>
        <pc:spChg chg="add mod ord">
          <ac:chgData name="Nataliia Chornii (UA)" userId="4e4b8b3d-5f31-49bb-9f80-8a25c04abfff" providerId="ADAL" clId="{EE97D3FE-9ACA-4467-98E5-532EC45D9D1C}" dt="2024-03-11T14:17:06.248" v="23875"/>
          <ac:spMkLst>
            <pc:docMk/>
            <pc:sldMk cId="1939332489" sldId="936"/>
            <ac:spMk id="12" creationId="{BA1DA764-F4D1-44E8-65B7-07D74958045B}"/>
          </ac:spMkLst>
        </pc:spChg>
        <pc:spChg chg="mod ord">
          <ac:chgData name="Nataliia Chornii (UA)" userId="4e4b8b3d-5f31-49bb-9f80-8a25c04abfff" providerId="ADAL" clId="{EE97D3FE-9ACA-4467-98E5-532EC45D9D1C}" dt="2024-03-11T14:17:06.248" v="23853"/>
          <ac:spMkLst>
            <pc:docMk/>
            <pc:sldMk cId="1939332489" sldId="936"/>
            <ac:spMk id="14" creationId="{A8A8DD37-9B73-46FB-C75B-2CEFA6483C22}"/>
          </ac:spMkLst>
        </pc:spChg>
        <pc:spChg chg="mod ord">
          <ac:chgData name="Nataliia Chornii (UA)" userId="4e4b8b3d-5f31-49bb-9f80-8a25c04abfff" providerId="ADAL" clId="{EE97D3FE-9ACA-4467-98E5-532EC45D9D1C}" dt="2024-03-11T14:17:30.433" v="23898" actId="1076"/>
          <ac:spMkLst>
            <pc:docMk/>
            <pc:sldMk cId="1939332489" sldId="936"/>
            <ac:spMk id="15" creationId="{D9C7FB84-E19B-43A1-0AEE-2A2D83D46DBD}"/>
          </ac:spMkLst>
        </pc:spChg>
        <pc:spChg chg="del">
          <ac:chgData name="Nataliia Chornii (UA)" userId="4e4b8b3d-5f31-49bb-9f80-8a25c04abfff" providerId="ADAL" clId="{EE97D3FE-9ACA-4467-98E5-532EC45D9D1C}" dt="2024-03-04T09:36:08.262" v="18910" actId="478"/>
          <ac:spMkLst>
            <pc:docMk/>
            <pc:sldMk cId="1939332489" sldId="936"/>
            <ac:spMk id="15" creationId="{E629ACA0-19AA-6B2C-F2D4-5BA2027E48BA}"/>
          </ac:spMkLst>
        </pc:spChg>
        <pc:spChg chg="mod ord">
          <ac:chgData name="Nataliia Chornii (UA)" userId="4e4b8b3d-5f31-49bb-9f80-8a25c04abfff" providerId="ADAL" clId="{EE97D3FE-9ACA-4467-98E5-532EC45D9D1C}" dt="2024-03-11T14:17:18.714" v="23895" actId="14100"/>
          <ac:spMkLst>
            <pc:docMk/>
            <pc:sldMk cId="1939332489" sldId="936"/>
            <ac:spMk id="16" creationId="{25A25F16-3DF9-5BEF-8F70-42FAB50A6BCE}"/>
          </ac:spMkLst>
        </pc:spChg>
        <pc:spChg chg="add mod ord">
          <ac:chgData name="Nataliia Chornii (UA)" userId="4e4b8b3d-5f31-49bb-9f80-8a25c04abfff" providerId="ADAL" clId="{EE97D3FE-9ACA-4467-98E5-532EC45D9D1C}" dt="2024-03-11T14:17:06.248" v="23877"/>
          <ac:spMkLst>
            <pc:docMk/>
            <pc:sldMk cId="1939332489" sldId="936"/>
            <ac:spMk id="17" creationId="{73F5F897-1FF0-65CF-232B-0D159F08FF7E}"/>
          </ac:spMkLst>
        </pc:spChg>
        <pc:spChg chg="del">
          <ac:chgData name="Nataliia Chornii (UA)" userId="4e4b8b3d-5f31-49bb-9f80-8a25c04abfff" providerId="ADAL" clId="{EE97D3FE-9ACA-4467-98E5-532EC45D9D1C}" dt="2024-03-04T09:36:01.891" v="18907" actId="478"/>
          <ac:spMkLst>
            <pc:docMk/>
            <pc:sldMk cId="1939332489" sldId="936"/>
            <ac:spMk id="18" creationId="{1F2102AE-9429-7797-684E-D82C1BB638FD}"/>
          </ac:spMkLst>
        </pc:spChg>
        <pc:spChg chg="add del mod modVis">
          <ac:chgData name="Nataliia Chornii (UA)" userId="4e4b8b3d-5f31-49bb-9f80-8a25c04abfff" providerId="ADAL" clId="{EE97D3FE-9ACA-4467-98E5-532EC45D9D1C}" dt="2024-03-11T14:17:02.365" v="23803"/>
          <ac:spMkLst>
            <pc:docMk/>
            <pc:sldMk cId="1939332489" sldId="936"/>
            <ac:spMk id="18" creationId="{FC5A2A07-C0BA-7F81-2531-576B528ADE58}"/>
          </ac:spMkLst>
        </pc:spChg>
        <pc:spChg chg="del">
          <ac:chgData name="Nataliia Chornii (UA)" userId="4e4b8b3d-5f31-49bb-9f80-8a25c04abfff" providerId="ADAL" clId="{EE97D3FE-9ACA-4467-98E5-532EC45D9D1C}" dt="2024-03-04T09:36:01.891" v="18907" actId="478"/>
          <ac:spMkLst>
            <pc:docMk/>
            <pc:sldMk cId="1939332489" sldId="936"/>
            <ac:spMk id="19" creationId="{292CC956-AEE0-AD72-18CB-38A87FB03753}"/>
          </ac:spMkLst>
        </pc:spChg>
        <pc:spChg chg="mod ord">
          <ac:chgData name="Nataliia Chornii (UA)" userId="4e4b8b3d-5f31-49bb-9f80-8a25c04abfff" providerId="ADAL" clId="{EE97D3FE-9ACA-4467-98E5-532EC45D9D1C}" dt="2024-03-11T14:17:06.248" v="23855"/>
          <ac:spMkLst>
            <pc:docMk/>
            <pc:sldMk cId="1939332489" sldId="936"/>
            <ac:spMk id="19" creationId="{44282A17-2D47-C3D0-8E97-8DAEAA96CA33}"/>
          </ac:spMkLst>
        </pc:spChg>
        <pc:spChg chg="del mod ord">
          <ac:chgData name="Nataliia Chornii (UA)" userId="4e4b8b3d-5f31-49bb-9f80-8a25c04abfff" providerId="ADAL" clId="{EE97D3FE-9ACA-4467-98E5-532EC45D9D1C}" dt="2024-03-11T14:17:08.972" v="23892" actId="478"/>
          <ac:spMkLst>
            <pc:docMk/>
            <pc:sldMk cId="1939332489" sldId="936"/>
            <ac:spMk id="20" creationId="{386F5C3C-46A1-7C80-6266-6DEA8D8647DB}"/>
          </ac:spMkLst>
        </pc:spChg>
        <pc:spChg chg="del">
          <ac:chgData name="Nataliia Chornii (UA)" userId="4e4b8b3d-5f31-49bb-9f80-8a25c04abfff" providerId="ADAL" clId="{EE97D3FE-9ACA-4467-98E5-532EC45D9D1C}" dt="2024-03-04T09:36:01.891" v="18907" actId="478"/>
          <ac:spMkLst>
            <pc:docMk/>
            <pc:sldMk cId="1939332489" sldId="936"/>
            <ac:spMk id="20" creationId="{394F65FC-FCF7-6F6A-B818-8E1FDE619DCD}"/>
          </ac:spMkLst>
        </pc:spChg>
        <pc:spChg chg="del">
          <ac:chgData name="Nataliia Chornii (UA)" userId="4e4b8b3d-5f31-49bb-9f80-8a25c04abfff" providerId="ADAL" clId="{EE97D3FE-9ACA-4467-98E5-532EC45D9D1C}" dt="2024-03-04T09:36:01.891" v="18907" actId="478"/>
          <ac:spMkLst>
            <pc:docMk/>
            <pc:sldMk cId="1939332489" sldId="936"/>
            <ac:spMk id="21" creationId="{865D7ED0-1C9C-D1FA-AF2E-E5D9CC5887D1}"/>
          </ac:spMkLst>
        </pc:spChg>
        <pc:spChg chg="add mod">
          <ac:chgData name="Nataliia Chornii (UA)" userId="4e4b8b3d-5f31-49bb-9f80-8a25c04abfff" providerId="ADAL" clId="{EE97D3FE-9ACA-4467-98E5-532EC45D9D1C}" dt="2024-03-11T14:18:08.513" v="23920" actId="553"/>
          <ac:spMkLst>
            <pc:docMk/>
            <pc:sldMk cId="1939332489" sldId="936"/>
            <ac:spMk id="21" creationId="{A7220F4B-E27D-B63B-44C5-19883EAD61EF}"/>
          </ac:spMkLst>
        </pc:spChg>
        <pc:spChg chg="del">
          <ac:chgData name="Nataliia Chornii (UA)" userId="4e4b8b3d-5f31-49bb-9f80-8a25c04abfff" providerId="ADAL" clId="{EE97D3FE-9ACA-4467-98E5-532EC45D9D1C}" dt="2024-03-04T09:36:01.891" v="18907" actId="478"/>
          <ac:spMkLst>
            <pc:docMk/>
            <pc:sldMk cId="1939332489" sldId="936"/>
            <ac:spMk id="22" creationId="{B3614BE9-57F3-2AD6-B8F2-CABFBDCE09AB}"/>
          </ac:spMkLst>
        </pc:spChg>
        <pc:spChg chg="add mod">
          <ac:chgData name="Nataliia Chornii (UA)" userId="4e4b8b3d-5f31-49bb-9f80-8a25c04abfff" providerId="ADAL" clId="{EE97D3FE-9ACA-4467-98E5-532EC45D9D1C}" dt="2024-03-11T14:26:27.981" v="24097"/>
          <ac:spMkLst>
            <pc:docMk/>
            <pc:sldMk cId="1939332489" sldId="936"/>
            <ac:spMk id="22" creationId="{DA3782D5-EFBB-96B7-5592-6EB524123095}"/>
          </ac:spMkLst>
        </pc:spChg>
        <pc:spChg chg="del">
          <ac:chgData name="Nataliia Chornii (UA)" userId="4e4b8b3d-5f31-49bb-9f80-8a25c04abfff" providerId="ADAL" clId="{EE97D3FE-9ACA-4467-98E5-532EC45D9D1C}" dt="2024-03-04T09:36:01.891" v="18907" actId="478"/>
          <ac:spMkLst>
            <pc:docMk/>
            <pc:sldMk cId="1939332489" sldId="936"/>
            <ac:spMk id="23" creationId="{8209EE50-23EC-BA9E-795A-C776616CF2D5}"/>
          </ac:spMkLst>
        </pc:spChg>
        <pc:spChg chg="add mod ord">
          <ac:chgData name="Nataliia Chornii (UA)" userId="4e4b8b3d-5f31-49bb-9f80-8a25c04abfff" providerId="ADAL" clId="{EE97D3FE-9ACA-4467-98E5-532EC45D9D1C}" dt="2024-03-11T14:17:06.248" v="23879"/>
          <ac:spMkLst>
            <pc:docMk/>
            <pc:sldMk cId="1939332489" sldId="936"/>
            <ac:spMk id="24" creationId="{65333E76-2176-D9F5-55D0-91CD51913465}"/>
          </ac:spMkLst>
        </pc:spChg>
        <pc:spChg chg="add del mod ord">
          <ac:chgData name="Nataliia Chornii (UA)" userId="4e4b8b3d-5f31-49bb-9f80-8a25c04abfff" providerId="ADAL" clId="{EE97D3FE-9ACA-4467-98E5-532EC45D9D1C}" dt="2024-03-11T14:31:04.585" v="24278" actId="478"/>
          <ac:spMkLst>
            <pc:docMk/>
            <pc:sldMk cId="1939332489" sldId="936"/>
            <ac:spMk id="25" creationId="{7478E72D-95A1-DCA1-81E3-72BAAC6C1193}"/>
          </ac:spMkLst>
        </pc:spChg>
        <pc:spChg chg="mod">
          <ac:chgData name="Nataliia Chornii (UA)" userId="4e4b8b3d-5f31-49bb-9f80-8a25c04abfff" providerId="ADAL" clId="{EE97D3FE-9ACA-4467-98E5-532EC45D9D1C}" dt="2024-03-11T14:26:27.981" v="24097"/>
          <ac:spMkLst>
            <pc:docMk/>
            <pc:sldMk cId="1939332489" sldId="936"/>
            <ac:spMk id="26" creationId="{6556D6F8-B193-E5C7-4AA2-C107C5A3351B}"/>
          </ac:spMkLst>
        </pc:spChg>
        <pc:spChg chg="add del mod modVis">
          <ac:chgData name="Nataliia Chornii (UA)" userId="4e4b8b3d-5f31-49bb-9f80-8a25c04abfff" providerId="ADAL" clId="{EE97D3FE-9ACA-4467-98E5-532EC45D9D1C}" dt="2024-03-04T09:37:07.091" v="18978"/>
          <ac:spMkLst>
            <pc:docMk/>
            <pc:sldMk cId="1939332489" sldId="936"/>
            <ac:spMk id="26" creationId="{E085348F-8D87-750D-4987-B545E6F9FE87}"/>
          </ac:spMkLst>
        </pc:spChg>
        <pc:spChg chg="mod">
          <ac:chgData name="Nataliia Chornii (UA)" userId="4e4b8b3d-5f31-49bb-9f80-8a25c04abfff" providerId="ADAL" clId="{EE97D3FE-9ACA-4467-98E5-532EC45D9D1C}" dt="2024-03-11T14:26:27.981" v="24097"/>
          <ac:spMkLst>
            <pc:docMk/>
            <pc:sldMk cId="1939332489" sldId="936"/>
            <ac:spMk id="27" creationId="{9498552F-2E28-9541-1051-6C3EC7DB0DE9}"/>
          </ac:spMkLst>
        </pc:spChg>
        <pc:spChg chg="add del mod modVis">
          <ac:chgData name="Nataliia Chornii (UA)" userId="4e4b8b3d-5f31-49bb-9f80-8a25c04abfff" providerId="ADAL" clId="{EE97D3FE-9ACA-4467-98E5-532EC45D9D1C}" dt="2024-03-04T09:37:09.268" v="19008"/>
          <ac:spMkLst>
            <pc:docMk/>
            <pc:sldMk cId="1939332489" sldId="936"/>
            <ac:spMk id="27" creationId="{A6346779-1509-683C-21D2-B788CD5C5A70}"/>
          </ac:spMkLst>
        </pc:spChg>
        <pc:spChg chg="mod">
          <ac:chgData name="Nataliia Chornii (UA)" userId="4e4b8b3d-5f31-49bb-9f80-8a25c04abfff" providerId="ADAL" clId="{EE97D3FE-9ACA-4467-98E5-532EC45D9D1C}" dt="2024-03-11T14:26:27.981" v="24097"/>
          <ac:spMkLst>
            <pc:docMk/>
            <pc:sldMk cId="1939332489" sldId="936"/>
            <ac:spMk id="28" creationId="{C56A5597-2EB3-3933-476E-B1B9EF2A75B9}"/>
          </ac:spMkLst>
        </pc:spChg>
        <pc:spChg chg="add del mod">
          <ac:chgData name="Nataliia Chornii (UA)" userId="4e4b8b3d-5f31-49bb-9f80-8a25c04abfff" providerId="ADAL" clId="{EE97D3FE-9ACA-4467-98E5-532EC45D9D1C}" dt="2024-03-04T09:38:40.844" v="19120" actId="478"/>
          <ac:spMkLst>
            <pc:docMk/>
            <pc:sldMk cId="1939332489" sldId="936"/>
            <ac:spMk id="28" creationId="{EB915A3B-216A-9C0D-926C-7DC165D3CC2D}"/>
          </ac:spMkLst>
        </pc:spChg>
        <pc:spChg chg="mod">
          <ac:chgData name="Nataliia Chornii (UA)" userId="4e4b8b3d-5f31-49bb-9f80-8a25c04abfff" providerId="ADAL" clId="{EE97D3FE-9ACA-4467-98E5-532EC45D9D1C}" dt="2024-03-11T14:26:27.981" v="24097"/>
          <ac:spMkLst>
            <pc:docMk/>
            <pc:sldMk cId="1939332489" sldId="936"/>
            <ac:spMk id="29" creationId="{A1C2775C-5A43-3B01-F188-D8675D229A41}"/>
          </ac:spMkLst>
        </pc:spChg>
        <pc:spChg chg="mod">
          <ac:chgData name="Nataliia Chornii (UA)" userId="4e4b8b3d-5f31-49bb-9f80-8a25c04abfff" providerId="ADAL" clId="{EE97D3FE-9ACA-4467-98E5-532EC45D9D1C}" dt="2024-03-11T14:26:27.981" v="24097"/>
          <ac:spMkLst>
            <pc:docMk/>
            <pc:sldMk cId="1939332489" sldId="936"/>
            <ac:spMk id="30" creationId="{7458F7AF-9AC4-32C7-984F-C030A7CD9518}"/>
          </ac:spMkLst>
        </pc:spChg>
        <pc:spChg chg="mod">
          <ac:chgData name="Nataliia Chornii (UA)" userId="4e4b8b3d-5f31-49bb-9f80-8a25c04abfff" providerId="ADAL" clId="{EE97D3FE-9ACA-4467-98E5-532EC45D9D1C}" dt="2024-03-11T14:26:27.981" v="24097"/>
          <ac:spMkLst>
            <pc:docMk/>
            <pc:sldMk cId="1939332489" sldId="936"/>
            <ac:spMk id="31" creationId="{C1FDAE0F-6ECE-EAD0-56DB-A1505240E31C}"/>
          </ac:spMkLst>
        </pc:spChg>
        <pc:spChg chg="add del mod">
          <ac:chgData name="Nataliia Chornii (UA)" userId="4e4b8b3d-5f31-49bb-9f80-8a25c04abfff" providerId="ADAL" clId="{EE97D3FE-9ACA-4467-98E5-532EC45D9D1C}" dt="2024-03-11T14:31:02.878" v="24277" actId="478"/>
          <ac:spMkLst>
            <pc:docMk/>
            <pc:sldMk cId="1939332489" sldId="936"/>
            <ac:spMk id="32" creationId="{2994670C-A959-FD9E-A900-217223B2DE3C}"/>
          </ac:spMkLst>
        </pc:spChg>
        <pc:spChg chg="del">
          <ac:chgData name="Nataliia Chornii (UA)" userId="4e4b8b3d-5f31-49bb-9f80-8a25c04abfff" providerId="ADAL" clId="{EE97D3FE-9ACA-4467-98E5-532EC45D9D1C}" dt="2024-03-04T09:36:01.891" v="18907" actId="478"/>
          <ac:spMkLst>
            <pc:docMk/>
            <pc:sldMk cId="1939332489" sldId="936"/>
            <ac:spMk id="45" creationId="{64C0F80D-62A8-8ED5-4DEB-616CF5DDBBAA}"/>
          </ac:spMkLst>
        </pc:spChg>
        <pc:spChg chg="del">
          <ac:chgData name="Nataliia Chornii (UA)" userId="4e4b8b3d-5f31-49bb-9f80-8a25c04abfff" providerId="ADAL" clId="{EE97D3FE-9ACA-4467-98E5-532EC45D9D1C}" dt="2024-03-04T09:36:01.891" v="18907" actId="478"/>
          <ac:spMkLst>
            <pc:docMk/>
            <pc:sldMk cId="1939332489" sldId="936"/>
            <ac:spMk id="46" creationId="{ED5C1B45-1FDB-2A1D-9552-BCFEE5918624}"/>
          </ac:spMkLst>
        </pc:spChg>
        <pc:grpChg chg="add mod">
          <ac:chgData name="Nataliia Chornii (UA)" userId="4e4b8b3d-5f31-49bb-9f80-8a25c04abfff" providerId="ADAL" clId="{EE97D3FE-9ACA-4467-98E5-532EC45D9D1C}" dt="2024-03-11T14:26:27.981" v="24097"/>
          <ac:grpSpMkLst>
            <pc:docMk/>
            <pc:sldMk cId="1939332489" sldId="936"/>
            <ac:grpSpMk id="23" creationId="{1B02D641-624D-2306-FFFE-629A1EC17C8B}"/>
          </ac:grpSpMkLst>
        </pc:grpChg>
        <pc:graphicFrameChg chg="mod">
          <ac:chgData name="Nataliia Chornii (UA)" userId="4e4b8b3d-5f31-49bb-9f80-8a25c04abfff" providerId="ADAL" clId="{EE97D3FE-9ACA-4467-98E5-532EC45D9D1C}" dt="2024-03-11T14:17:06.264" v="23891"/>
          <ac:graphicFrameMkLst>
            <pc:docMk/>
            <pc:sldMk cId="1939332489" sldId="936"/>
            <ac:graphicFrameMk id="8" creationId="{32A03EDD-F030-291B-BE81-BF9DE321CA50}"/>
          </ac:graphicFrameMkLst>
        </pc:graphicFrameChg>
        <pc:picChg chg="mod ord">
          <ac:chgData name="Nataliia Chornii (UA)" userId="4e4b8b3d-5f31-49bb-9f80-8a25c04abfff" providerId="ADAL" clId="{EE97D3FE-9ACA-4467-98E5-532EC45D9D1C}" dt="2024-03-11T14:17:06.244" v="23851"/>
          <ac:picMkLst>
            <pc:docMk/>
            <pc:sldMk cId="1939332489" sldId="936"/>
            <ac:picMk id="13" creationId="{74DDB8D3-0D3E-4998-DA26-3080B29564A0}"/>
          </ac:picMkLst>
        </pc:pic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3:02.215" v="22443"/>
              <pc2:cmMkLst xmlns:pc2="http://schemas.microsoft.com/office/powerpoint/2019/9/main/command">
                <pc:docMk/>
                <pc:sldMk cId="1939332489" sldId="936"/>
                <pc2:cmMk id="{91AA2356-15CD-45EE-93C9-BC368C8EFAFC}"/>
              </pc2:cmMkLst>
            </pc226:cmChg>
          </p:ext>
        </pc:extLst>
      </pc:sldChg>
      <pc:sldChg chg="addSp delSp modSp mod modCm">
        <pc:chgData name="Nataliia Chornii (UA)" userId="4e4b8b3d-5f31-49bb-9f80-8a25c04abfff" providerId="ADAL" clId="{EE97D3FE-9ACA-4467-98E5-532EC45D9D1C}" dt="2024-03-11T14:30:54.866" v="24273" actId="478"/>
        <pc:sldMkLst>
          <pc:docMk/>
          <pc:sldMk cId="1263375755" sldId="937"/>
        </pc:sldMkLst>
        <pc:spChg chg="del">
          <ac:chgData name="Nataliia Chornii (UA)" userId="4e4b8b3d-5f31-49bb-9f80-8a25c04abfff" providerId="ADAL" clId="{EE97D3FE-9ACA-4467-98E5-532EC45D9D1C}" dt="2024-03-04T09:34:41.767" v="18888" actId="478"/>
          <ac:spMkLst>
            <pc:docMk/>
            <pc:sldMk cId="1263375755" sldId="937"/>
            <ac:spMk id="2" creationId="{7ED4D46D-04AD-7DC4-4216-971E04043EA7}"/>
          </ac:spMkLst>
        </pc:spChg>
        <pc:spChg chg="add mod">
          <ac:chgData name="Nataliia Chornii (UA)" userId="4e4b8b3d-5f31-49bb-9f80-8a25c04abfff" providerId="ADAL" clId="{EE97D3FE-9ACA-4467-98E5-532EC45D9D1C}" dt="2024-03-11T14:26:24.451" v="24096"/>
          <ac:spMkLst>
            <pc:docMk/>
            <pc:sldMk cId="1263375755" sldId="937"/>
            <ac:spMk id="2" creationId="{ED2943CD-16EE-91FE-30AA-1E91969505A6}"/>
          </ac:spMkLst>
        </pc:spChg>
        <pc:spChg chg="mod ord">
          <ac:chgData name="Nataliia Chornii (UA)" userId="4e4b8b3d-5f31-49bb-9f80-8a25c04abfff" providerId="ADAL" clId="{EE97D3FE-9ACA-4467-98E5-532EC45D9D1C}" dt="2024-03-04T10:43:52.472" v="20521"/>
          <ac:spMkLst>
            <pc:docMk/>
            <pc:sldMk cId="1263375755" sldId="937"/>
            <ac:spMk id="3" creationId="{F4CCF02E-F3C4-C376-8F56-61BD85A2E74B}"/>
          </ac:spMkLst>
        </pc:spChg>
        <pc:spChg chg="mod ord">
          <ac:chgData name="Nataliia Chornii (UA)" userId="4e4b8b3d-5f31-49bb-9f80-8a25c04abfff" providerId="ADAL" clId="{EE97D3FE-9ACA-4467-98E5-532EC45D9D1C}" dt="2024-03-04T10:43:53.079" v="20548" actId="207"/>
          <ac:spMkLst>
            <pc:docMk/>
            <pc:sldMk cId="1263375755" sldId="937"/>
            <ac:spMk id="4" creationId="{872966CD-924A-B939-E655-A6BAF817DCBF}"/>
          </ac:spMkLst>
        </pc:spChg>
        <pc:spChg chg="add mod ord">
          <ac:chgData name="Nataliia Chornii (UA)" userId="4e4b8b3d-5f31-49bb-9f80-8a25c04abfff" providerId="ADAL" clId="{EE97D3FE-9ACA-4467-98E5-532EC45D9D1C}" dt="2024-03-04T10:43:52.472" v="20525"/>
          <ac:spMkLst>
            <pc:docMk/>
            <pc:sldMk cId="1263375755" sldId="937"/>
            <ac:spMk id="5" creationId="{B84E4DE4-C567-9AA2-9EA6-FF63AC8010C1}"/>
          </ac:spMkLst>
        </pc:spChg>
        <pc:spChg chg="add mod ord">
          <ac:chgData name="Nataliia Chornii (UA)" userId="4e4b8b3d-5f31-49bb-9f80-8a25c04abfff" providerId="ADAL" clId="{EE97D3FE-9ACA-4467-98E5-532EC45D9D1C}" dt="2024-03-04T10:43:52.472" v="20527"/>
          <ac:spMkLst>
            <pc:docMk/>
            <pc:sldMk cId="1263375755" sldId="937"/>
            <ac:spMk id="6" creationId="{6BDFFD0F-D669-CBFC-F79D-1F7CE72AB8C2}"/>
          </ac:spMkLst>
        </pc:spChg>
        <pc:spChg chg="add mod ord">
          <ac:chgData name="Nataliia Chornii (UA)" userId="4e4b8b3d-5f31-49bb-9f80-8a25c04abfff" providerId="ADAL" clId="{EE97D3FE-9ACA-4467-98E5-532EC45D9D1C}" dt="2024-03-04T10:43:52.472" v="20529"/>
          <ac:spMkLst>
            <pc:docMk/>
            <pc:sldMk cId="1263375755" sldId="937"/>
            <ac:spMk id="7" creationId="{291128ED-10A5-5D71-7FD0-2940E91156C5}"/>
          </ac:spMkLst>
        </pc:spChg>
        <pc:spChg chg="add mod ord">
          <ac:chgData name="Nataliia Chornii (UA)" userId="4e4b8b3d-5f31-49bb-9f80-8a25c04abfff" providerId="ADAL" clId="{EE97D3FE-9ACA-4467-98E5-532EC45D9D1C}" dt="2024-03-04T10:43:52.472" v="20531"/>
          <ac:spMkLst>
            <pc:docMk/>
            <pc:sldMk cId="1263375755" sldId="937"/>
            <ac:spMk id="9" creationId="{40119071-6F0C-7DBF-8B52-8247B7B38480}"/>
          </ac:spMkLst>
        </pc:spChg>
        <pc:spChg chg="add mod ord">
          <ac:chgData name="Nataliia Chornii (UA)" userId="4e4b8b3d-5f31-49bb-9f80-8a25c04abfff" providerId="ADAL" clId="{EE97D3FE-9ACA-4467-98E5-532EC45D9D1C}" dt="2024-03-04T10:43:52.472" v="20533"/>
          <ac:spMkLst>
            <pc:docMk/>
            <pc:sldMk cId="1263375755" sldId="937"/>
            <ac:spMk id="10" creationId="{BC9E057D-3C62-CB02-6C02-90AAC7B6CD99}"/>
          </ac:spMkLst>
        </pc:spChg>
        <pc:spChg chg="mod ord">
          <ac:chgData name="Nataliia Chornii (UA)" userId="4e4b8b3d-5f31-49bb-9f80-8a25c04abfff" providerId="ADAL" clId="{EE97D3FE-9ACA-4467-98E5-532EC45D9D1C}" dt="2024-03-04T10:43:52.472" v="20523"/>
          <ac:spMkLst>
            <pc:docMk/>
            <pc:sldMk cId="1263375755" sldId="937"/>
            <ac:spMk id="11" creationId="{ECEF24F5-E26D-2531-E4A1-337E326AC9CB}"/>
          </ac:spMkLst>
        </pc:spChg>
        <pc:spChg chg="add mod ord">
          <ac:chgData name="Nataliia Chornii (UA)" userId="4e4b8b3d-5f31-49bb-9f80-8a25c04abfff" providerId="ADAL" clId="{EE97D3FE-9ACA-4467-98E5-532EC45D9D1C}" dt="2024-03-04T10:43:52.472" v="20535"/>
          <ac:spMkLst>
            <pc:docMk/>
            <pc:sldMk cId="1263375755" sldId="937"/>
            <ac:spMk id="12" creationId="{5DEF950D-8557-A15F-4AC0-CC2EC189B5DF}"/>
          </ac:spMkLst>
        </pc:spChg>
        <pc:spChg chg="mod ord">
          <ac:chgData name="Nataliia Chornii (UA)" userId="4e4b8b3d-5f31-49bb-9f80-8a25c04abfff" providerId="ADAL" clId="{EE97D3FE-9ACA-4467-98E5-532EC45D9D1C}" dt="2024-03-04T10:43:52.472" v="20517"/>
          <ac:spMkLst>
            <pc:docMk/>
            <pc:sldMk cId="1263375755" sldId="937"/>
            <ac:spMk id="14" creationId="{A8A8DD37-9B73-46FB-C75B-2CEFA6483C22}"/>
          </ac:spMkLst>
        </pc:spChg>
        <pc:spChg chg="mod">
          <ac:chgData name="Nataliia Chornii (UA)" userId="4e4b8b3d-5f31-49bb-9f80-8a25c04abfff" providerId="ADAL" clId="{EE97D3FE-9ACA-4467-98E5-532EC45D9D1C}" dt="2024-03-11T14:26:24.451" v="24096"/>
          <ac:spMkLst>
            <pc:docMk/>
            <pc:sldMk cId="1263375755" sldId="937"/>
            <ac:spMk id="15" creationId="{B11F367E-2F53-48E3-D230-A34313A99E06}"/>
          </ac:spMkLst>
        </pc:spChg>
        <pc:spChg chg="del mod">
          <ac:chgData name="Nataliia Chornii (UA)" userId="4e4b8b3d-5f31-49bb-9f80-8a25c04abfff" providerId="ADAL" clId="{EE97D3FE-9ACA-4467-98E5-532EC45D9D1C}" dt="2024-03-04T09:34:59.971" v="18892" actId="478"/>
          <ac:spMkLst>
            <pc:docMk/>
            <pc:sldMk cId="1263375755" sldId="937"/>
            <ac:spMk id="15" creationId="{E629ACA0-19AA-6B2C-F2D4-5BA2027E48BA}"/>
          </ac:spMkLst>
        </pc:spChg>
        <pc:spChg chg="mod ord">
          <ac:chgData name="Nataliia Chornii (UA)" userId="4e4b8b3d-5f31-49bb-9f80-8a25c04abfff" providerId="ADAL" clId="{EE97D3FE-9ACA-4467-98E5-532EC45D9D1C}" dt="2024-03-04T10:43:52.472" v="20519"/>
          <ac:spMkLst>
            <pc:docMk/>
            <pc:sldMk cId="1263375755" sldId="937"/>
            <ac:spMk id="16" creationId="{25A25F16-3DF9-5BEF-8F70-42FAB50A6BCE}"/>
          </ac:spMkLst>
        </pc:spChg>
        <pc:spChg chg="add mod ord">
          <ac:chgData name="Nataliia Chornii (UA)" userId="4e4b8b3d-5f31-49bb-9f80-8a25c04abfff" providerId="ADAL" clId="{EE97D3FE-9ACA-4467-98E5-532EC45D9D1C}" dt="2024-03-04T10:43:52.472" v="20537"/>
          <ac:spMkLst>
            <pc:docMk/>
            <pc:sldMk cId="1263375755" sldId="937"/>
            <ac:spMk id="17" creationId="{9376B17C-E1F0-0C98-C153-DD16C3ED4496}"/>
          </ac:spMkLst>
        </pc:spChg>
        <pc:spChg chg="del">
          <ac:chgData name="Nataliia Chornii (UA)" userId="4e4b8b3d-5f31-49bb-9f80-8a25c04abfff" providerId="ADAL" clId="{EE97D3FE-9ACA-4467-98E5-532EC45D9D1C}" dt="2024-03-04T09:34:16.294" v="18882" actId="478"/>
          <ac:spMkLst>
            <pc:docMk/>
            <pc:sldMk cId="1263375755" sldId="937"/>
            <ac:spMk id="18" creationId="{1F2102AE-9429-7797-684E-D82C1BB638FD}"/>
          </ac:spMkLst>
        </pc:spChg>
        <pc:spChg chg="mod">
          <ac:chgData name="Nataliia Chornii (UA)" userId="4e4b8b3d-5f31-49bb-9f80-8a25c04abfff" providerId="ADAL" clId="{EE97D3FE-9ACA-4467-98E5-532EC45D9D1C}" dt="2024-03-11T14:26:24.451" v="24096"/>
          <ac:spMkLst>
            <pc:docMk/>
            <pc:sldMk cId="1263375755" sldId="937"/>
            <ac:spMk id="18" creationId="{8EB9CC23-38FA-AF7C-DADF-C57F6D418AF2}"/>
          </ac:spMkLst>
        </pc:spChg>
        <pc:spChg chg="del">
          <ac:chgData name="Nataliia Chornii (UA)" userId="4e4b8b3d-5f31-49bb-9f80-8a25c04abfff" providerId="ADAL" clId="{EE97D3FE-9ACA-4467-98E5-532EC45D9D1C}" dt="2024-03-04T09:34:16.294" v="18882" actId="478"/>
          <ac:spMkLst>
            <pc:docMk/>
            <pc:sldMk cId="1263375755" sldId="937"/>
            <ac:spMk id="19" creationId="{292CC956-AEE0-AD72-18CB-38A87FB03753}"/>
          </ac:spMkLst>
        </pc:spChg>
        <pc:spChg chg="mod">
          <ac:chgData name="Nataliia Chornii (UA)" userId="4e4b8b3d-5f31-49bb-9f80-8a25c04abfff" providerId="ADAL" clId="{EE97D3FE-9ACA-4467-98E5-532EC45D9D1C}" dt="2024-03-11T14:26:24.451" v="24096"/>
          <ac:spMkLst>
            <pc:docMk/>
            <pc:sldMk cId="1263375755" sldId="937"/>
            <ac:spMk id="19" creationId="{97B9C4D3-B11B-D6FF-F226-3857BBBC8A9C}"/>
          </ac:spMkLst>
        </pc:spChg>
        <pc:spChg chg="mod">
          <ac:chgData name="Nataliia Chornii (UA)" userId="4e4b8b3d-5f31-49bb-9f80-8a25c04abfff" providerId="ADAL" clId="{EE97D3FE-9ACA-4467-98E5-532EC45D9D1C}" dt="2024-03-11T14:26:24.451" v="24096"/>
          <ac:spMkLst>
            <pc:docMk/>
            <pc:sldMk cId="1263375755" sldId="937"/>
            <ac:spMk id="20" creationId="{1A36B013-8BE0-8F05-F7EC-5F79916B2377}"/>
          </ac:spMkLst>
        </pc:spChg>
        <pc:spChg chg="del">
          <ac:chgData name="Nataliia Chornii (UA)" userId="4e4b8b3d-5f31-49bb-9f80-8a25c04abfff" providerId="ADAL" clId="{EE97D3FE-9ACA-4467-98E5-532EC45D9D1C}" dt="2024-03-04T09:34:16.294" v="18882" actId="478"/>
          <ac:spMkLst>
            <pc:docMk/>
            <pc:sldMk cId="1263375755" sldId="937"/>
            <ac:spMk id="20" creationId="{394F65FC-FCF7-6F6A-B818-8E1FDE619DCD}"/>
          </ac:spMkLst>
        </pc:spChg>
        <pc:spChg chg="mod">
          <ac:chgData name="Nataliia Chornii (UA)" userId="4e4b8b3d-5f31-49bb-9f80-8a25c04abfff" providerId="ADAL" clId="{EE97D3FE-9ACA-4467-98E5-532EC45D9D1C}" dt="2024-03-11T14:26:24.451" v="24096"/>
          <ac:spMkLst>
            <pc:docMk/>
            <pc:sldMk cId="1263375755" sldId="937"/>
            <ac:spMk id="21" creationId="{245ABA34-A6EC-0247-C853-7BC9CABD8B9F}"/>
          </ac:spMkLst>
        </pc:spChg>
        <pc:spChg chg="del">
          <ac:chgData name="Nataliia Chornii (UA)" userId="4e4b8b3d-5f31-49bb-9f80-8a25c04abfff" providerId="ADAL" clId="{EE97D3FE-9ACA-4467-98E5-532EC45D9D1C}" dt="2024-03-04T09:34:16.294" v="18882" actId="478"/>
          <ac:spMkLst>
            <pc:docMk/>
            <pc:sldMk cId="1263375755" sldId="937"/>
            <ac:spMk id="21" creationId="{865D7ED0-1C9C-D1FA-AF2E-E5D9CC5887D1}"/>
          </ac:spMkLst>
        </pc:spChg>
        <pc:spChg chg="mod">
          <ac:chgData name="Nataliia Chornii (UA)" userId="4e4b8b3d-5f31-49bb-9f80-8a25c04abfff" providerId="ADAL" clId="{EE97D3FE-9ACA-4467-98E5-532EC45D9D1C}" dt="2024-03-11T14:26:24.451" v="24096"/>
          <ac:spMkLst>
            <pc:docMk/>
            <pc:sldMk cId="1263375755" sldId="937"/>
            <ac:spMk id="22" creationId="{8F334F23-FE7E-D542-8974-CE44680F0679}"/>
          </ac:spMkLst>
        </pc:spChg>
        <pc:spChg chg="del">
          <ac:chgData name="Nataliia Chornii (UA)" userId="4e4b8b3d-5f31-49bb-9f80-8a25c04abfff" providerId="ADAL" clId="{EE97D3FE-9ACA-4467-98E5-532EC45D9D1C}" dt="2024-03-04T09:34:16.294" v="18882" actId="478"/>
          <ac:spMkLst>
            <pc:docMk/>
            <pc:sldMk cId="1263375755" sldId="937"/>
            <ac:spMk id="22" creationId="{B3614BE9-57F3-2AD6-B8F2-CABFBDCE09AB}"/>
          </ac:spMkLst>
        </pc:spChg>
        <pc:spChg chg="add mod">
          <ac:chgData name="Nataliia Chornii (UA)" userId="4e4b8b3d-5f31-49bb-9f80-8a25c04abfff" providerId="ADAL" clId="{EE97D3FE-9ACA-4467-98E5-532EC45D9D1C}" dt="2024-03-11T14:30:53.845" v="24272" actId="14100"/>
          <ac:spMkLst>
            <pc:docMk/>
            <pc:sldMk cId="1263375755" sldId="937"/>
            <ac:spMk id="23" creationId="{25611068-7DDA-B2EC-9592-2476E3129359}"/>
          </ac:spMkLst>
        </pc:spChg>
        <pc:spChg chg="del">
          <ac:chgData name="Nataliia Chornii (UA)" userId="4e4b8b3d-5f31-49bb-9f80-8a25c04abfff" providerId="ADAL" clId="{EE97D3FE-9ACA-4467-98E5-532EC45D9D1C}" dt="2024-03-04T09:34:16.294" v="18882" actId="478"/>
          <ac:spMkLst>
            <pc:docMk/>
            <pc:sldMk cId="1263375755" sldId="937"/>
            <ac:spMk id="23" creationId="{8209EE50-23EC-BA9E-795A-C776616CF2D5}"/>
          </ac:spMkLst>
        </pc:spChg>
        <pc:spChg chg="add mod ord">
          <ac:chgData name="Nataliia Chornii (UA)" userId="4e4b8b3d-5f31-49bb-9f80-8a25c04abfff" providerId="ADAL" clId="{EE97D3FE-9ACA-4467-98E5-532EC45D9D1C}" dt="2024-03-04T10:43:52.472" v="20539"/>
          <ac:spMkLst>
            <pc:docMk/>
            <pc:sldMk cId="1263375755" sldId="937"/>
            <ac:spMk id="24" creationId="{3753E256-6408-1146-E160-33565302DAED}"/>
          </ac:spMkLst>
        </pc:spChg>
        <pc:spChg chg="add del mod ord">
          <ac:chgData name="Nataliia Chornii (UA)" userId="4e4b8b3d-5f31-49bb-9f80-8a25c04abfff" providerId="ADAL" clId="{EE97D3FE-9ACA-4467-98E5-532EC45D9D1C}" dt="2024-03-11T14:30:54.866" v="24273" actId="478"/>
          <ac:spMkLst>
            <pc:docMk/>
            <pc:sldMk cId="1263375755" sldId="937"/>
            <ac:spMk id="25" creationId="{5671F210-08EA-8B28-90EF-F2C14949B3B4}"/>
          </ac:spMkLst>
        </pc:spChg>
        <pc:spChg chg="add del mod modVis">
          <ac:chgData name="Nataliia Chornii (UA)" userId="4e4b8b3d-5f31-49bb-9f80-8a25c04abfff" providerId="ADAL" clId="{EE97D3FE-9ACA-4467-98E5-532EC45D9D1C}" dt="2024-03-04T09:37:24.038" v="19035"/>
          <ac:spMkLst>
            <pc:docMk/>
            <pc:sldMk cId="1263375755" sldId="937"/>
            <ac:spMk id="26" creationId="{1596BDDD-8A48-5BB3-47C7-5FBE7520A264}"/>
          </ac:spMkLst>
        </pc:spChg>
        <pc:spChg chg="add del mod modVis">
          <ac:chgData name="Nataliia Chornii (UA)" userId="4e4b8b3d-5f31-49bb-9f80-8a25c04abfff" providerId="ADAL" clId="{EE97D3FE-9ACA-4467-98E5-532EC45D9D1C}" dt="2024-03-04T09:37:26.456" v="19062"/>
          <ac:spMkLst>
            <pc:docMk/>
            <pc:sldMk cId="1263375755" sldId="937"/>
            <ac:spMk id="27" creationId="{45FD17E9-D2C0-36D3-8E3D-528E3B67AE68}"/>
          </ac:spMkLst>
        </pc:spChg>
        <pc:spChg chg="add del mod modVis">
          <ac:chgData name="Nataliia Chornii (UA)" userId="4e4b8b3d-5f31-49bb-9f80-8a25c04abfff" providerId="ADAL" clId="{EE97D3FE-9ACA-4467-98E5-532EC45D9D1C}" dt="2024-03-04T10:42:39.723" v="20373"/>
          <ac:spMkLst>
            <pc:docMk/>
            <pc:sldMk cId="1263375755" sldId="937"/>
            <ac:spMk id="28" creationId="{D5325787-7C79-F1BC-978A-BCB4E1E84A62}"/>
          </ac:spMkLst>
        </pc:spChg>
        <pc:spChg chg="del">
          <ac:chgData name="Nataliia Chornii (UA)" userId="4e4b8b3d-5f31-49bb-9f80-8a25c04abfff" providerId="ADAL" clId="{EE97D3FE-9ACA-4467-98E5-532EC45D9D1C}" dt="2024-03-04T09:34:16.294" v="18882" actId="478"/>
          <ac:spMkLst>
            <pc:docMk/>
            <pc:sldMk cId="1263375755" sldId="937"/>
            <ac:spMk id="45" creationId="{64C0F80D-62A8-8ED5-4DEB-616CF5DDBBAA}"/>
          </ac:spMkLst>
        </pc:spChg>
        <pc:spChg chg="del">
          <ac:chgData name="Nataliia Chornii (UA)" userId="4e4b8b3d-5f31-49bb-9f80-8a25c04abfff" providerId="ADAL" clId="{EE97D3FE-9ACA-4467-98E5-532EC45D9D1C}" dt="2024-03-04T09:34:16.294" v="18882" actId="478"/>
          <ac:spMkLst>
            <pc:docMk/>
            <pc:sldMk cId="1263375755" sldId="937"/>
            <ac:spMk id="46" creationId="{ED5C1B45-1FDB-2A1D-9552-BCFEE5918624}"/>
          </ac:spMkLst>
        </pc:spChg>
        <pc:grpChg chg="add mod">
          <ac:chgData name="Nataliia Chornii (UA)" userId="4e4b8b3d-5f31-49bb-9f80-8a25c04abfff" providerId="ADAL" clId="{EE97D3FE-9ACA-4467-98E5-532EC45D9D1C}" dt="2024-03-11T14:26:24.451" v="24096"/>
          <ac:grpSpMkLst>
            <pc:docMk/>
            <pc:sldMk cId="1263375755" sldId="937"/>
            <ac:grpSpMk id="13" creationId="{46B64CA6-3A20-6C92-0131-A301C30EF6AF}"/>
          </ac:grpSpMkLst>
        </pc:grpChg>
        <pc:graphicFrameChg chg="mod">
          <ac:chgData name="Nataliia Chornii (UA)" userId="4e4b8b3d-5f31-49bb-9f80-8a25c04abfff" providerId="ADAL" clId="{EE97D3FE-9ACA-4467-98E5-532EC45D9D1C}" dt="2024-03-04T10:43:52.487" v="20547"/>
          <ac:graphicFrameMkLst>
            <pc:docMk/>
            <pc:sldMk cId="1263375755" sldId="937"/>
            <ac:graphicFrameMk id="8" creationId="{32A03EDD-F030-291B-BE81-BF9DE321CA50}"/>
          </ac:graphicFrameMkLst>
        </pc:graphicFrameChg>
        <pc:picChg chg="del mod ord">
          <ac:chgData name="Nataliia Chornii (UA)" userId="4e4b8b3d-5f31-49bb-9f80-8a25c04abfff" providerId="ADAL" clId="{EE97D3FE-9ACA-4467-98E5-532EC45D9D1C}" dt="2024-03-04T10:42:41.081" v="20376" actId="478"/>
          <ac:picMkLst>
            <pc:docMk/>
            <pc:sldMk cId="1263375755" sldId="937"/>
            <ac:picMk id="13" creationId="{74DDB8D3-0D3E-4998-DA26-3080B29564A0}"/>
          </ac:picMkLst>
        </pc:picChg>
        <pc:picChg chg="add mod ord modCrop">
          <ac:chgData name="Nataliia Chornii (UA)" userId="4e4b8b3d-5f31-49bb-9f80-8a25c04abfff" providerId="ADAL" clId="{EE97D3FE-9ACA-4467-98E5-532EC45D9D1C}" dt="2024-03-04T10:43:52.472" v="20515"/>
          <ac:picMkLst>
            <pc:docMk/>
            <pc:sldMk cId="1263375755" sldId="937"/>
            <ac:picMk id="30" creationId="{AB4C9FDB-076F-0336-F777-BCEDB4421830}"/>
          </ac:picMkLst>
        </pc:pic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2:57.422" v="22442"/>
              <pc2:cmMkLst xmlns:pc2="http://schemas.microsoft.com/office/powerpoint/2019/9/main/command">
                <pc:docMk/>
                <pc:sldMk cId="1263375755" sldId="937"/>
                <pc2:cmMk id="{B43CF2A4-07EF-486D-ABE3-FCC5F57ABF34}"/>
              </pc2:cmMkLst>
            </pc226:cmChg>
          </p:ext>
        </pc:extLst>
      </pc:sldChg>
      <pc:sldChg chg="addSp delSp modSp mod modCm">
        <pc:chgData name="Nataliia Chornii (UA)" userId="4e4b8b3d-5f31-49bb-9f80-8a25c04abfff" providerId="ADAL" clId="{EE97D3FE-9ACA-4467-98E5-532EC45D9D1C}" dt="2024-03-11T14:31:09.112" v="24281"/>
        <pc:sldMkLst>
          <pc:docMk/>
          <pc:sldMk cId="2976985460" sldId="938"/>
        </pc:sldMkLst>
        <pc:spChg chg="add mod">
          <ac:chgData name="Nataliia Chornii (UA)" userId="4e4b8b3d-5f31-49bb-9f80-8a25c04abfff" providerId="ADAL" clId="{EE97D3FE-9ACA-4467-98E5-532EC45D9D1C}" dt="2024-03-11T14:26:31.277" v="24098"/>
          <ac:spMkLst>
            <pc:docMk/>
            <pc:sldMk cId="2976985460" sldId="938"/>
            <ac:spMk id="2" creationId="{522041E8-8E88-02C5-E03A-E769C521DA8E}"/>
          </ac:spMkLst>
        </pc:spChg>
        <pc:spChg chg="del">
          <ac:chgData name="Nataliia Chornii (UA)" userId="4e4b8b3d-5f31-49bb-9f80-8a25c04abfff" providerId="ADAL" clId="{EE97D3FE-9ACA-4467-98E5-532EC45D9D1C}" dt="2024-03-04T09:37:42.164" v="19069" actId="478"/>
          <ac:spMkLst>
            <pc:docMk/>
            <pc:sldMk cId="2976985460" sldId="938"/>
            <ac:spMk id="2" creationId="{7ED4D46D-04AD-7DC4-4216-971E04043EA7}"/>
          </ac:spMkLst>
        </pc:spChg>
        <pc:spChg chg="mod ord">
          <ac:chgData name="Nataliia Chornii (UA)" userId="4e4b8b3d-5f31-49bb-9f80-8a25c04abfff" providerId="ADAL" clId="{EE97D3FE-9ACA-4467-98E5-532EC45D9D1C}" dt="2024-03-04T10:44:50.403" v="20619"/>
          <ac:spMkLst>
            <pc:docMk/>
            <pc:sldMk cId="2976985460" sldId="938"/>
            <ac:spMk id="3" creationId="{F4CCF02E-F3C4-C376-8F56-61BD85A2E74B}"/>
          </ac:spMkLst>
        </pc:spChg>
        <pc:spChg chg="mod ord">
          <ac:chgData name="Nataliia Chornii (UA)" userId="4e4b8b3d-5f31-49bb-9f80-8a25c04abfff" providerId="ADAL" clId="{EE97D3FE-9ACA-4467-98E5-532EC45D9D1C}" dt="2024-03-04T10:44:50.404" v="20621"/>
          <ac:spMkLst>
            <pc:docMk/>
            <pc:sldMk cId="2976985460" sldId="938"/>
            <ac:spMk id="4" creationId="{872966CD-924A-B939-E655-A6BAF817DCBF}"/>
          </ac:spMkLst>
        </pc:spChg>
        <pc:spChg chg="add mod ord">
          <ac:chgData name="Nataliia Chornii (UA)" userId="4e4b8b3d-5f31-49bb-9f80-8a25c04abfff" providerId="ADAL" clId="{EE97D3FE-9ACA-4467-98E5-532EC45D9D1C}" dt="2024-03-04T10:44:50.404" v="20625"/>
          <ac:spMkLst>
            <pc:docMk/>
            <pc:sldMk cId="2976985460" sldId="938"/>
            <ac:spMk id="5" creationId="{371FCDBA-9B9E-5D7C-1A41-4BD6B8898FF7}"/>
          </ac:spMkLst>
        </pc:spChg>
        <pc:spChg chg="add mod ord">
          <ac:chgData name="Nataliia Chornii (UA)" userId="4e4b8b3d-5f31-49bb-9f80-8a25c04abfff" providerId="ADAL" clId="{EE97D3FE-9ACA-4467-98E5-532EC45D9D1C}" dt="2024-03-04T10:44:50.404" v="20627"/>
          <ac:spMkLst>
            <pc:docMk/>
            <pc:sldMk cId="2976985460" sldId="938"/>
            <ac:spMk id="6" creationId="{28FF6910-3D7D-2213-DCB1-B257AC1B7F0F}"/>
          </ac:spMkLst>
        </pc:spChg>
        <pc:spChg chg="add mod ord">
          <ac:chgData name="Nataliia Chornii (UA)" userId="4e4b8b3d-5f31-49bb-9f80-8a25c04abfff" providerId="ADAL" clId="{EE97D3FE-9ACA-4467-98E5-532EC45D9D1C}" dt="2024-03-04T10:44:50.404" v="20629"/>
          <ac:spMkLst>
            <pc:docMk/>
            <pc:sldMk cId="2976985460" sldId="938"/>
            <ac:spMk id="7" creationId="{F3879881-8630-2FDA-7C55-AF987ACAD725}"/>
          </ac:spMkLst>
        </pc:spChg>
        <pc:spChg chg="add mod ord">
          <ac:chgData name="Nataliia Chornii (UA)" userId="4e4b8b3d-5f31-49bb-9f80-8a25c04abfff" providerId="ADAL" clId="{EE97D3FE-9ACA-4467-98E5-532EC45D9D1C}" dt="2024-03-04T10:44:50.404" v="20631"/>
          <ac:spMkLst>
            <pc:docMk/>
            <pc:sldMk cId="2976985460" sldId="938"/>
            <ac:spMk id="9" creationId="{9409E1E2-8EA7-CC92-53FC-A8C9135E24B2}"/>
          </ac:spMkLst>
        </pc:spChg>
        <pc:spChg chg="add mod ord">
          <ac:chgData name="Nataliia Chornii (UA)" userId="4e4b8b3d-5f31-49bb-9f80-8a25c04abfff" providerId="ADAL" clId="{EE97D3FE-9ACA-4467-98E5-532EC45D9D1C}" dt="2024-03-04T10:44:50.404" v="20633"/>
          <ac:spMkLst>
            <pc:docMk/>
            <pc:sldMk cId="2976985460" sldId="938"/>
            <ac:spMk id="10" creationId="{89A4AC3B-C5BA-A4BE-AD67-5F7613F6FD1F}"/>
          </ac:spMkLst>
        </pc:spChg>
        <pc:spChg chg="mod ord">
          <ac:chgData name="Nataliia Chornii (UA)" userId="4e4b8b3d-5f31-49bb-9f80-8a25c04abfff" providerId="ADAL" clId="{EE97D3FE-9ACA-4467-98E5-532EC45D9D1C}" dt="2024-03-04T10:44:50.404" v="20623"/>
          <ac:spMkLst>
            <pc:docMk/>
            <pc:sldMk cId="2976985460" sldId="938"/>
            <ac:spMk id="11" creationId="{ECEF24F5-E26D-2531-E4A1-337E326AC9CB}"/>
          </ac:spMkLst>
        </pc:spChg>
        <pc:spChg chg="add mod ord">
          <ac:chgData name="Nataliia Chornii (UA)" userId="4e4b8b3d-5f31-49bb-9f80-8a25c04abfff" providerId="ADAL" clId="{EE97D3FE-9ACA-4467-98E5-532EC45D9D1C}" dt="2024-03-04T10:44:50.404" v="20635"/>
          <ac:spMkLst>
            <pc:docMk/>
            <pc:sldMk cId="2976985460" sldId="938"/>
            <ac:spMk id="12" creationId="{9D2EC366-A88E-EB2D-A324-9B14F3953256}"/>
          </ac:spMkLst>
        </pc:spChg>
        <pc:spChg chg="add del mod ord">
          <ac:chgData name="Nataliia Chornii (UA)" userId="4e4b8b3d-5f31-49bb-9f80-8a25c04abfff" providerId="ADAL" clId="{EE97D3FE-9ACA-4467-98E5-532EC45D9D1C}" dt="2024-03-04T10:44:50.387" v="20615"/>
          <ac:spMkLst>
            <pc:docMk/>
            <pc:sldMk cId="2976985460" sldId="938"/>
            <ac:spMk id="14" creationId="{A8A8DD37-9B73-46FB-C75B-2CEFA6483C22}"/>
          </ac:spMkLst>
        </pc:spChg>
        <pc:spChg chg="mod">
          <ac:chgData name="Nataliia Chornii (UA)" userId="4e4b8b3d-5f31-49bb-9f80-8a25c04abfff" providerId="ADAL" clId="{EE97D3FE-9ACA-4467-98E5-532EC45D9D1C}" dt="2024-03-11T14:26:31.277" v="24098"/>
          <ac:spMkLst>
            <pc:docMk/>
            <pc:sldMk cId="2976985460" sldId="938"/>
            <ac:spMk id="15" creationId="{0FEBF4CD-8CA1-0BED-C8D8-93CBEA950BC4}"/>
          </ac:spMkLst>
        </pc:spChg>
        <pc:spChg chg="del">
          <ac:chgData name="Nataliia Chornii (UA)" userId="4e4b8b3d-5f31-49bb-9f80-8a25c04abfff" providerId="ADAL" clId="{EE97D3FE-9ACA-4467-98E5-532EC45D9D1C}" dt="2024-03-04T09:37:39.273" v="19066" actId="478"/>
          <ac:spMkLst>
            <pc:docMk/>
            <pc:sldMk cId="2976985460" sldId="938"/>
            <ac:spMk id="15" creationId="{E629ACA0-19AA-6B2C-F2D4-5BA2027E48BA}"/>
          </ac:spMkLst>
        </pc:spChg>
        <pc:spChg chg="mod ord">
          <ac:chgData name="Nataliia Chornii (UA)" userId="4e4b8b3d-5f31-49bb-9f80-8a25c04abfff" providerId="ADAL" clId="{EE97D3FE-9ACA-4467-98E5-532EC45D9D1C}" dt="2024-03-04T10:44:53.619" v="20646" actId="14100"/>
          <ac:spMkLst>
            <pc:docMk/>
            <pc:sldMk cId="2976985460" sldId="938"/>
            <ac:spMk id="16" creationId="{25A25F16-3DF9-5BEF-8F70-42FAB50A6BCE}"/>
          </ac:spMkLst>
        </pc:spChg>
        <pc:spChg chg="add mod ord">
          <ac:chgData name="Nataliia Chornii (UA)" userId="4e4b8b3d-5f31-49bb-9f80-8a25c04abfff" providerId="ADAL" clId="{EE97D3FE-9ACA-4467-98E5-532EC45D9D1C}" dt="2024-03-04T10:44:50.404" v="20637"/>
          <ac:spMkLst>
            <pc:docMk/>
            <pc:sldMk cId="2976985460" sldId="938"/>
            <ac:spMk id="17" creationId="{A924FF13-D704-21CA-9AB6-582C4BE0FAA4}"/>
          </ac:spMkLst>
        </pc:spChg>
        <pc:spChg chg="del">
          <ac:chgData name="Nataliia Chornii (UA)" userId="4e4b8b3d-5f31-49bb-9f80-8a25c04abfff" providerId="ADAL" clId="{EE97D3FE-9ACA-4467-98E5-532EC45D9D1C}" dt="2024-03-04T09:37:38.359" v="19065" actId="478"/>
          <ac:spMkLst>
            <pc:docMk/>
            <pc:sldMk cId="2976985460" sldId="938"/>
            <ac:spMk id="18" creationId="{1F2102AE-9429-7797-684E-D82C1BB638FD}"/>
          </ac:spMkLst>
        </pc:spChg>
        <pc:spChg chg="mod">
          <ac:chgData name="Nataliia Chornii (UA)" userId="4e4b8b3d-5f31-49bb-9f80-8a25c04abfff" providerId="ADAL" clId="{EE97D3FE-9ACA-4467-98E5-532EC45D9D1C}" dt="2024-03-11T14:26:31.277" v="24098"/>
          <ac:spMkLst>
            <pc:docMk/>
            <pc:sldMk cId="2976985460" sldId="938"/>
            <ac:spMk id="18" creationId="{3CB2B83B-4855-8893-D810-3FE0CD64E744}"/>
          </ac:spMkLst>
        </pc:spChg>
        <pc:spChg chg="del">
          <ac:chgData name="Nataliia Chornii (UA)" userId="4e4b8b3d-5f31-49bb-9f80-8a25c04abfff" providerId="ADAL" clId="{EE97D3FE-9ACA-4467-98E5-532EC45D9D1C}" dt="2024-03-04T09:37:38.359" v="19065" actId="478"/>
          <ac:spMkLst>
            <pc:docMk/>
            <pc:sldMk cId="2976985460" sldId="938"/>
            <ac:spMk id="19" creationId="{292CC956-AEE0-AD72-18CB-38A87FB03753}"/>
          </ac:spMkLst>
        </pc:spChg>
        <pc:spChg chg="mod">
          <ac:chgData name="Nataliia Chornii (UA)" userId="4e4b8b3d-5f31-49bb-9f80-8a25c04abfff" providerId="ADAL" clId="{EE97D3FE-9ACA-4467-98E5-532EC45D9D1C}" dt="2024-03-11T14:26:31.277" v="24098"/>
          <ac:spMkLst>
            <pc:docMk/>
            <pc:sldMk cId="2976985460" sldId="938"/>
            <ac:spMk id="19" creationId="{7A33789B-28C1-0EE3-2D8B-E1E7D51C0986}"/>
          </ac:spMkLst>
        </pc:spChg>
        <pc:spChg chg="del">
          <ac:chgData name="Nataliia Chornii (UA)" userId="4e4b8b3d-5f31-49bb-9f80-8a25c04abfff" providerId="ADAL" clId="{EE97D3FE-9ACA-4467-98E5-532EC45D9D1C}" dt="2024-03-04T09:37:38.359" v="19065" actId="478"/>
          <ac:spMkLst>
            <pc:docMk/>
            <pc:sldMk cId="2976985460" sldId="938"/>
            <ac:spMk id="20" creationId="{394F65FC-FCF7-6F6A-B818-8E1FDE619DCD}"/>
          </ac:spMkLst>
        </pc:spChg>
        <pc:spChg chg="mod">
          <ac:chgData name="Nataliia Chornii (UA)" userId="4e4b8b3d-5f31-49bb-9f80-8a25c04abfff" providerId="ADAL" clId="{EE97D3FE-9ACA-4467-98E5-532EC45D9D1C}" dt="2024-03-11T14:26:31.277" v="24098"/>
          <ac:spMkLst>
            <pc:docMk/>
            <pc:sldMk cId="2976985460" sldId="938"/>
            <ac:spMk id="20" creationId="{9F7BDE82-AF48-13BD-F14E-796D1B47D627}"/>
          </ac:spMkLst>
        </pc:spChg>
        <pc:spChg chg="mod">
          <ac:chgData name="Nataliia Chornii (UA)" userId="4e4b8b3d-5f31-49bb-9f80-8a25c04abfff" providerId="ADAL" clId="{EE97D3FE-9ACA-4467-98E5-532EC45D9D1C}" dt="2024-03-11T14:26:31.277" v="24098"/>
          <ac:spMkLst>
            <pc:docMk/>
            <pc:sldMk cId="2976985460" sldId="938"/>
            <ac:spMk id="21" creationId="{47E08EBB-8820-5D6C-D694-CB5722592AD4}"/>
          </ac:spMkLst>
        </pc:spChg>
        <pc:spChg chg="del">
          <ac:chgData name="Nataliia Chornii (UA)" userId="4e4b8b3d-5f31-49bb-9f80-8a25c04abfff" providerId="ADAL" clId="{EE97D3FE-9ACA-4467-98E5-532EC45D9D1C}" dt="2024-03-04T09:37:38.359" v="19065" actId="478"/>
          <ac:spMkLst>
            <pc:docMk/>
            <pc:sldMk cId="2976985460" sldId="938"/>
            <ac:spMk id="21" creationId="{865D7ED0-1C9C-D1FA-AF2E-E5D9CC5887D1}"/>
          </ac:spMkLst>
        </pc:spChg>
        <pc:spChg chg="mod">
          <ac:chgData name="Nataliia Chornii (UA)" userId="4e4b8b3d-5f31-49bb-9f80-8a25c04abfff" providerId="ADAL" clId="{EE97D3FE-9ACA-4467-98E5-532EC45D9D1C}" dt="2024-03-11T14:26:31.277" v="24098"/>
          <ac:spMkLst>
            <pc:docMk/>
            <pc:sldMk cId="2976985460" sldId="938"/>
            <ac:spMk id="22" creationId="{2A04E996-EA33-F3C2-491E-1BB9DAB8CB7B}"/>
          </ac:spMkLst>
        </pc:spChg>
        <pc:spChg chg="del">
          <ac:chgData name="Nataliia Chornii (UA)" userId="4e4b8b3d-5f31-49bb-9f80-8a25c04abfff" providerId="ADAL" clId="{EE97D3FE-9ACA-4467-98E5-532EC45D9D1C}" dt="2024-03-04T09:37:38.359" v="19065" actId="478"/>
          <ac:spMkLst>
            <pc:docMk/>
            <pc:sldMk cId="2976985460" sldId="938"/>
            <ac:spMk id="22" creationId="{B3614BE9-57F3-2AD6-B8F2-CABFBDCE09AB}"/>
          </ac:spMkLst>
        </pc:spChg>
        <pc:spChg chg="del">
          <ac:chgData name="Nataliia Chornii (UA)" userId="4e4b8b3d-5f31-49bb-9f80-8a25c04abfff" providerId="ADAL" clId="{EE97D3FE-9ACA-4467-98E5-532EC45D9D1C}" dt="2024-03-04T09:37:38.359" v="19065" actId="478"/>
          <ac:spMkLst>
            <pc:docMk/>
            <pc:sldMk cId="2976985460" sldId="938"/>
            <ac:spMk id="23" creationId="{8209EE50-23EC-BA9E-795A-C776616CF2D5}"/>
          </ac:spMkLst>
        </pc:spChg>
        <pc:spChg chg="add mod">
          <ac:chgData name="Nataliia Chornii (UA)" userId="4e4b8b3d-5f31-49bb-9f80-8a25c04abfff" providerId="ADAL" clId="{EE97D3FE-9ACA-4467-98E5-532EC45D9D1C}" dt="2024-03-11T14:31:09.112" v="24281"/>
          <ac:spMkLst>
            <pc:docMk/>
            <pc:sldMk cId="2976985460" sldId="938"/>
            <ac:spMk id="23" creationId="{B57D46C5-1D17-93F3-422D-931D413F17E2}"/>
          </ac:spMkLst>
        </pc:spChg>
        <pc:spChg chg="add mod ord">
          <ac:chgData name="Nataliia Chornii (UA)" userId="4e4b8b3d-5f31-49bb-9f80-8a25c04abfff" providerId="ADAL" clId="{EE97D3FE-9ACA-4467-98E5-532EC45D9D1C}" dt="2024-03-04T10:44:50.409" v="20639"/>
          <ac:spMkLst>
            <pc:docMk/>
            <pc:sldMk cId="2976985460" sldId="938"/>
            <ac:spMk id="24" creationId="{562D4C91-BEE7-2D97-FADC-D6600BEB8A22}"/>
          </ac:spMkLst>
        </pc:spChg>
        <pc:spChg chg="add del mod ord">
          <ac:chgData name="Nataliia Chornii (UA)" userId="4e4b8b3d-5f31-49bb-9f80-8a25c04abfff" providerId="ADAL" clId="{EE97D3FE-9ACA-4467-98E5-532EC45D9D1C}" dt="2024-03-11T14:31:08.845" v="24280" actId="478"/>
          <ac:spMkLst>
            <pc:docMk/>
            <pc:sldMk cId="2976985460" sldId="938"/>
            <ac:spMk id="25" creationId="{4511EE97-DC8F-F064-A429-63BB4A68C935}"/>
          </ac:spMkLst>
        </pc:spChg>
        <pc:spChg chg="add del mod modVis">
          <ac:chgData name="Nataliia Chornii (UA)" userId="4e4b8b3d-5f31-49bb-9f80-8a25c04abfff" providerId="ADAL" clId="{EE97D3FE-9ACA-4467-98E5-532EC45D9D1C}" dt="2024-03-04T09:37:48.113" v="19095"/>
          <ac:spMkLst>
            <pc:docMk/>
            <pc:sldMk cId="2976985460" sldId="938"/>
            <ac:spMk id="26" creationId="{4FF711C6-C952-1D01-DB5E-F0A3F42B2C9D}"/>
          </ac:spMkLst>
        </pc:spChg>
        <pc:spChg chg="add del mod">
          <ac:chgData name="Nataliia Chornii (UA)" userId="4e4b8b3d-5f31-49bb-9f80-8a25c04abfff" providerId="ADAL" clId="{EE97D3FE-9ACA-4467-98E5-532EC45D9D1C}" dt="2024-03-04T09:39:13.451" v="19133" actId="478"/>
          <ac:spMkLst>
            <pc:docMk/>
            <pc:sldMk cId="2976985460" sldId="938"/>
            <ac:spMk id="27" creationId="{F5FFF323-0542-E6BD-5FFC-16AC4DE1A9AC}"/>
          </ac:spMkLst>
        </pc:spChg>
        <pc:spChg chg="add del mod modVis">
          <ac:chgData name="Nataliia Chornii (UA)" userId="4e4b8b3d-5f31-49bb-9f80-8a25c04abfff" providerId="ADAL" clId="{EE97D3FE-9ACA-4467-98E5-532EC45D9D1C}" dt="2024-03-04T10:44:31.599" v="20602"/>
          <ac:spMkLst>
            <pc:docMk/>
            <pc:sldMk cId="2976985460" sldId="938"/>
            <ac:spMk id="28" creationId="{6AF287D3-FF01-C941-9A58-BFF9B487B57F}"/>
          </ac:spMkLst>
        </pc:spChg>
        <pc:spChg chg="del">
          <ac:chgData name="Nataliia Chornii (UA)" userId="4e4b8b3d-5f31-49bb-9f80-8a25c04abfff" providerId="ADAL" clId="{EE97D3FE-9ACA-4467-98E5-532EC45D9D1C}" dt="2024-03-04T09:37:38.359" v="19065" actId="478"/>
          <ac:spMkLst>
            <pc:docMk/>
            <pc:sldMk cId="2976985460" sldId="938"/>
            <ac:spMk id="45" creationId="{64C0F80D-62A8-8ED5-4DEB-616CF5DDBBAA}"/>
          </ac:spMkLst>
        </pc:spChg>
        <pc:spChg chg="del">
          <ac:chgData name="Nataliia Chornii (UA)" userId="4e4b8b3d-5f31-49bb-9f80-8a25c04abfff" providerId="ADAL" clId="{EE97D3FE-9ACA-4467-98E5-532EC45D9D1C}" dt="2024-03-04T09:37:38.359" v="19065" actId="478"/>
          <ac:spMkLst>
            <pc:docMk/>
            <pc:sldMk cId="2976985460" sldId="938"/>
            <ac:spMk id="46" creationId="{ED5C1B45-1FDB-2A1D-9552-BCFEE5918624}"/>
          </ac:spMkLst>
        </pc:spChg>
        <pc:grpChg chg="add mod">
          <ac:chgData name="Nataliia Chornii (UA)" userId="4e4b8b3d-5f31-49bb-9f80-8a25c04abfff" providerId="ADAL" clId="{EE97D3FE-9ACA-4467-98E5-532EC45D9D1C}" dt="2024-03-11T14:26:31.277" v="24098"/>
          <ac:grpSpMkLst>
            <pc:docMk/>
            <pc:sldMk cId="2976985460" sldId="938"/>
            <ac:grpSpMk id="13" creationId="{EACCD0CA-A4A4-B42D-94BB-2CF3BBB24F90}"/>
          </ac:grpSpMkLst>
        </pc:grpChg>
        <pc:graphicFrameChg chg="mod">
          <ac:chgData name="Nataliia Chornii (UA)" userId="4e4b8b3d-5f31-49bb-9f80-8a25c04abfff" providerId="ADAL" clId="{EE97D3FE-9ACA-4467-98E5-532EC45D9D1C}" dt="2024-03-04T10:44:50.409" v="20645"/>
          <ac:graphicFrameMkLst>
            <pc:docMk/>
            <pc:sldMk cId="2976985460" sldId="938"/>
            <ac:graphicFrameMk id="8" creationId="{32A03EDD-F030-291B-BE81-BF9DE321CA50}"/>
          </ac:graphicFrameMkLst>
        </pc:graphicFrameChg>
        <pc:picChg chg="del mod ord">
          <ac:chgData name="Nataliia Chornii (UA)" userId="4e4b8b3d-5f31-49bb-9f80-8a25c04abfff" providerId="ADAL" clId="{EE97D3FE-9ACA-4467-98E5-532EC45D9D1C}" dt="2024-03-04T10:44:33.580" v="20605" actId="478"/>
          <ac:picMkLst>
            <pc:docMk/>
            <pc:sldMk cId="2976985460" sldId="938"/>
            <ac:picMk id="13" creationId="{74DDB8D3-0D3E-4998-DA26-3080B29564A0}"/>
          </ac:picMkLst>
        </pc:picChg>
        <pc:picChg chg="add mod ord modCrop">
          <ac:chgData name="Nataliia Chornii (UA)" userId="4e4b8b3d-5f31-49bb-9f80-8a25c04abfff" providerId="ADAL" clId="{EE97D3FE-9ACA-4467-98E5-532EC45D9D1C}" dt="2024-03-04T10:44:50.387" v="20613"/>
          <ac:picMkLst>
            <pc:docMk/>
            <pc:sldMk cId="2976985460" sldId="938"/>
            <ac:picMk id="30" creationId="{931173D5-E091-CD5E-A470-8DC442583BC8}"/>
          </ac:picMkLst>
        </pc:pic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3:05.984" v="22444"/>
              <pc2:cmMkLst xmlns:pc2="http://schemas.microsoft.com/office/powerpoint/2019/9/main/command">
                <pc:docMk/>
                <pc:sldMk cId="2976985460" sldId="938"/>
                <pc2:cmMk id="{E8E3E279-41EF-4EC9-96D4-87274249FA89}"/>
              </pc2:cmMkLst>
            </pc226:cmChg>
          </p:ext>
        </pc:extLst>
      </pc:sldChg>
      <pc:sldChg chg="addSp delSp modSp mod modClrScheme modCm chgLayout">
        <pc:chgData name="Nataliia Chornii (UA)" userId="4e4b8b3d-5f31-49bb-9f80-8a25c04abfff" providerId="ADAL" clId="{EE97D3FE-9ACA-4467-98E5-532EC45D9D1C}" dt="2024-03-11T15:06:01.518" v="25234" actId="478"/>
        <pc:sldMkLst>
          <pc:docMk/>
          <pc:sldMk cId="558100583" sldId="939"/>
        </pc:sldMkLst>
        <pc:spChg chg="add mod">
          <ac:chgData name="Nataliia Chornii (UA)" userId="4e4b8b3d-5f31-49bb-9f80-8a25c04abfff" providerId="ADAL" clId="{EE97D3FE-9ACA-4467-98E5-532EC45D9D1C}" dt="2024-03-11T14:26:32.770" v="24099"/>
          <ac:spMkLst>
            <pc:docMk/>
            <pc:sldMk cId="558100583" sldId="939"/>
            <ac:spMk id="2" creationId="{1E225718-E008-467A-5BFC-8A08C55E0544}"/>
          </ac:spMkLst>
        </pc:spChg>
        <pc:spChg chg="del">
          <ac:chgData name="Nataliia Chornii (UA)" userId="4e4b8b3d-5f31-49bb-9f80-8a25c04abfff" providerId="ADAL" clId="{EE97D3FE-9ACA-4467-98E5-532EC45D9D1C}" dt="2024-03-04T09:39:26.238" v="19135" actId="478"/>
          <ac:spMkLst>
            <pc:docMk/>
            <pc:sldMk cId="558100583" sldId="939"/>
            <ac:spMk id="2" creationId="{F6B088C4-896F-0BB6-190E-567264B27E74}"/>
          </ac:spMkLst>
        </pc:spChg>
        <pc:spChg chg="mod ord">
          <ac:chgData name="Nataliia Chornii (UA)" userId="4e4b8b3d-5f31-49bb-9f80-8a25c04abfff" providerId="ADAL" clId="{EE97D3FE-9ACA-4467-98E5-532EC45D9D1C}" dt="2024-03-11T15:04:47.583" v="25213" actId="948"/>
          <ac:spMkLst>
            <pc:docMk/>
            <pc:sldMk cId="558100583" sldId="939"/>
            <ac:spMk id="3" creationId="{F4CCF02E-F3C4-C376-8F56-61BD85A2E74B}"/>
          </ac:spMkLst>
        </pc:spChg>
        <pc:spChg chg="mod ord">
          <ac:chgData name="Nataliia Chornii (UA)" userId="4e4b8b3d-5f31-49bb-9f80-8a25c04abfff" providerId="ADAL" clId="{EE97D3FE-9ACA-4467-98E5-532EC45D9D1C}" dt="2024-03-04T10:49:13.319" v="20866"/>
          <ac:spMkLst>
            <pc:docMk/>
            <pc:sldMk cId="558100583" sldId="939"/>
            <ac:spMk id="4" creationId="{872966CD-924A-B939-E655-A6BAF817DCBF}"/>
          </ac:spMkLst>
        </pc:spChg>
        <pc:spChg chg="add mod ord">
          <ac:chgData name="Nataliia Chornii (UA)" userId="4e4b8b3d-5f31-49bb-9f80-8a25c04abfff" providerId="ADAL" clId="{EE97D3FE-9ACA-4467-98E5-532EC45D9D1C}" dt="2024-03-04T10:49:13.304" v="20832"/>
          <ac:spMkLst>
            <pc:docMk/>
            <pc:sldMk cId="558100583" sldId="939"/>
            <ac:spMk id="5" creationId="{5BA4BF49-55EE-0385-3948-BE4386A9E008}"/>
          </ac:spMkLst>
        </pc:spChg>
        <pc:spChg chg="add mod ord">
          <ac:chgData name="Nataliia Chornii (UA)" userId="4e4b8b3d-5f31-49bb-9f80-8a25c04abfff" providerId="ADAL" clId="{EE97D3FE-9ACA-4467-98E5-532EC45D9D1C}" dt="2024-03-04T10:49:13.304" v="20834"/>
          <ac:spMkLst>
            <pc:docMk/>
            <pc:sldMk cId="558100583" sldId="939"/>
            <ac:spMk id="6" creationId="{0C108BD1-931B-C37F-E823-CFBF6495B4F9}"/>
          </ac:spMkLst>
        </pc:spChg>
        <pc:spChg chg="add mod ord">
          <ac:chgData name="Nataliia Chornii (UA)" userId="4e4b8b3d-5f31-49bb-9f80-8a25c04abfff" providerId="ADAL" clId="{EE97D3FE-9ACA-4467-98E5-532EC45D9D1C}" dt="2024-03-04T10:49:13.304" v="20836"/>
          <ac:spMkLst>
            <pc:docMk/>
            <pc:sldMk cId="558100583" sldId="939"/>
            <ac:spMk id="7" creationId="{9CF7A655-E6E9-63EB-75DB-94EADD3D2A7D}"/>
          </ac:spMkLst>
        </pc:spChg>
        <pc:spChg chg="add mod ord">
          <ac:chgData name="Nataliia Chornii (UA)" userId="4e4b8b3d-5f31-49bb-9f80-8a25c04abfff" providerId="ADAL" clId="{EE97D3FE-9ACA-4467-98E5-532EC45D9D1C}" dt="2024-03-04T10:49:13.304" v="20838"/>
          <ac:spMkLst>
            <pc:docMk/>
            <pc:sldMk cId="558100583" sldId="939"/>
            <ac:spMk id="8" creationId="{54F458ED-0455-E9E1-8DAA-F6F304736367}"/>
          </ac:spMkLst>
        </pc:spChg>
        <pc:spChg chg="add mod ord">
          <ac:chgData name="Nataliia Chornii (UA)" userId="4e4b8b3d-5f31-49bb-9f80-8a25c04abfff" providerId="ADAL" clId="{EE97D3FE-9ACA-4467-98E5-532EC45D9D1C}" dt="2024-03-04T10:49:13.304" v="20840"/>
          <ac:spMkLst>
            <pc:docMk/>
            <pc:sldMk cId="558100583" sldId="939"/>
            <ac:spMk id="10" creationId="{CEB1DE58-1273-6427-78D0-0FFAE6FC3C3A}"/>
          </ac:spMkLst>
        </pc:spChg>
        <pc:spChg chg="add mod ord">
          <ac:chgData name="Nataliia Chornii (UA)" userId="4e4b8b3d-5f31-49bb-9f80-8a25c04abfff" providerId="ADAL" clId="{EE97D3FE-9ACA-4467-98E5-532EC45D9D1C}" dt="2024-03-04T10:49:13.304" v="20842"/>
          <ac:spMkLst>
            <pc:docMk/>
            <pc:sldMk cId="558100583" sldId="939"/>
            <ac:spMk id="11" creationId="{1736B751-27DD-8526-9C16-4CB53A668A21}"/>
          </ac:spMkLst>
        </pc:spChg>
        <pc:spChg chg="add mod ord">
          <ac:chgData name="Nataliia Chornii (UA)" userId="4e4b8b3d-5f31-49bb-9f80-8a25c04abfff" providerId="ADAL" clId="{EE97D3FE-9ACA-4467-98E5-532EC45D9D1C}" dt="2024-03-04T10:49:13.304" v="20844"/>
          <ac:spMkLst>
            <pc:docMk/>
            <pc:sldMk cId="558100583" sldId="939"/>
            <ac:spMk id="12" creationId="{6657A6A7-AA52-6ECB-537C-148049F71322}"/>
          </ac:spMkLst>
        </pc:spChg>
        <pc:spChg chg="add mod ord">
          <ac:chgData name="Nataliia Chornii (UA)" userId="4e4b8b3d-5f31-49bb-9f80-8a25c04abfff" providerId="ADAL" clId="{EE97D3FE-9ACA-4467-98E5-532EC45D9D1C}" dt="2024-03-04T10:49:13.304" v="20846"/>
          <ac:spMkLst>
            <pc:docMk/>
            <pc:sldMk cId="558100583" sldId="939"/>
            <ac:spMk id="13" creationId="{E8ECD8CD-346E-E8A1-05C6-5A3EDEFEE438}"/>
          </ac:spMkLst>
        </pc:spChg>
        <pc:spChg chg="add mod ord">
          <ac:chgData name="Nataliia Chornii (UA)" userId="4e4b8b3d-5f31-49bb-9f80-8a25c04abfff" providerId="ADAL" clId="{EE97D3FE-9ACA-4467-98E5-532EC45D9D1C}" dt="2024-03-04T10:49:13.319" v="20848"/>
          <ac:spMkLst>
            <pc:docMk/>
            <pc:sldMk cId="558100583" sldId="939"/>
            <ac:spMk id="14" creationId="{67968481-ED46-EB04-41C6-22754AB5F1B4}"/>
          </ac:spMkLst>
        </pc:spChg>
        <pc:spChg chg="add mod ord">
          <ac:chgData name="Nataliia Chornii (UA)" userId="4e4b8b3d-5f31-49bb-9f80-8a25c04abfff" providerId="ADAL" clId="{EE97D3FE-9ACA-4467-98E5-532EC45D9D1C}" dt="2024-03-04T10:49:13.319" v="20850"/>
          <ac:spMkLst>
            <pc:docMk/>
            <pc:sldMk cId="558100583" sldId="939"/>
            <ac:spMk id="15" creationId="{B4D5CBC7-C789-0D39-2A29-F5471373EBF8}"/>
          </ac:spMkLst>
        </pc:spChg>
        <pc:spChg chg="mod ord">
          <ac:chgData name="Nataliia Chornii (UA)" userId="4e4b8b3d-5f31-49bb-9f80-8a25c04abfff" providerId="ADAL" clId="{EE97D3FE-9ACA-4467-98E5-532EC45D9D1C}" dt="2024-03-04T10:55:07.097" v="21040" actId="403"/>
          <ac:spMkLst>
            <pc:docMk/>
            <pc:sldMk cId="558100583" sldId="939"/>
            <ac:spMk id="16" creationId="{30819613-CE74-49B6-0807-44FDBB81D466}"/>
          </ac:spMkLst>
        </pc:spChg>
        <pc:spChg chg="add mod ord">
          <ac:chgData name="Nataliia Chornii (UA)" userId="4e4b8b3d-5f31-49bb-9f80-8a25c04abfff" providerId="ADAL" clId="{EE97D3FE-9ACA-4467-98E5-532EC45D9D1C}" dt="2024-03-04T10:49:13.319" v="20852"/>
          <ac:spMkLst>
            <pc:docMk/>
            <pc:sldMk cId="558100583" sldId="939"/>
            <ac:spMk id="17" creationId="{0E97A79C-D46F-89A9-5909-77B07A15BB5F}"/>
          </ac:spMkLst>
        </pc:spChg>
        <pc:spChg chg="mod ord">
          <ac:chgData name="Nataliia Chornii (UA)" userId="4e4b8b3d-5f31-49bb-9f80-8a25c04abfff" providerId="ADAL" clId="{EE97D3FE-9ACA-4467-98E5-532EC45D9D1C}" dt="2024-03-04T10:49:13.325" v="20870"/>
          <ac:spMkLst>
            <pc:docMk/>
            <pc:sldMk cId="558100583" sldId="939"/>
            <ac:spMk id="18" creationId="{E1D4AC8F-0322-E8A8-E509-5AF71473A8F4}"/>
          </ac:spMkLst>
        </pc:spChg>
        <pc:spChg chg="add mod ord">
          <ac:chgData name="Nataliia Chornii (UA)" userId="4e4b8b3d-5f31-49bb-9f80-8a25c04abfff" providerId="ADAL" clId="{EE97D3FE-9ACA-4467-98E5-532EC45D9D1C}" dt="2024-03-04T10:49:13.319" v="20854"/>
          <ac:spMkLst>
            <pc:docMk/>
            <pc:sldMk cId="558100583" sldId="939"/>
            <ac:spMk id="19" creationId="{025AFCB6-1E4F-767E-BB59-D69827B5EA75}"/>
          </ac:spMkLst>
        </pc:spChg>
        <pc:spChg chg="mod ord">
          <ac:chgData name="Nataliia Chornii (UA)" userId="4e4b8b3d-5f31-49bb-9f80-8a25c04abfff" providerId="ADAL" clId="{EE97D3FE-9ACA-4467-98E5-532EC45D9D1C}" dt="2024-03-11T15:03:54.087" v="25161" actId="20577"/>
          <ac:spMkLst>
            <pc:docMk/>
            <pc:sldMk cId="558100583" sldId="939"/>
            <ac:spMk id="20" creationId="{BCB0856A-D775-E9B2-A22B-A661D9F8D43C}"/>
          </ac:spMkLst>
        </pc:spChg>
        <pc:spChg chg="add del mod modVis">
          <ac:chgData name="Nataliia Chornii (UA)" userId="4e4b8b3d-5f31-49bb-9f80-8a25c04abfff" providerId="ADAL" clId="{EE97D3FE-9ACA-4467-98E5-532EC45D9D1C}" dt="2024-03-04T09:39:46.491" v="19210"/>
          <ac:spMkLst>
            <pc:docMk/>
            <pc:sldMk cId="558100583" sldId="939"/>
            <ac:spMk id="21" creationId="{63803D9E-B09E-89C8-F55E-4FBFFB752624}"/>
          </ac:spMkLst>
        </pc:spChg>
        <pc:spChg chg="mod ord">
          <ac:chgData name="Nataliia Chornii (UA)" userId="4e4b8b3d-5f31-49bb-9f80-8a25c04abfff" providerId="ADAL" clId="{EE97D3FE-9ACA-4467-98E5-532EC45D9D1C}" dt="2024-03-04T10:49:13.325" v="20874"/>
          <ac:spMkLst>
            <pc:docMk/>
            <pc:sldMk cId="558100583" sldId="939"/>
            <ac:spMk id="22" creationId="{044C1CE5-09D8-63ED-7E23-4A59A70CC41B}"/>
          </ac:spMkLst>
        </pc:spChg>
        <pc:spChg chg="add mod topLvl">
          <ac:chgData name="Nataliia Chornii (UA)" userId="4e4b8b3d-5f31-49bb-9f80-8a25c04abfff" providerId="ADAL" clId="{EE97D3FE-9ACA-4467-98E5-532EC45D9D1C}" dt="2024-03-11T15:03:32.247" v="25156" actId="165"/>
          <ac:spMkLst>
            <pc:docMk/>
            <pc:sldMk cId="558100583" sldId="939"/>
            <ac:spMk id="23" creationId="{C94987E4-3321-E634-AFBE-C194310190C1}"/>
          </ac:spMkLst>
        </pc:spChg>
        <pc:spChg chg="del mod ord">
          <ac:chgData name="Nataliia Chornii (UA)" userId="4e4b8b3d-5f31-49bb-9f80-8a25c04abfff" providerId="ADAL" clId="{EE97D3FE-9ACA-4467-98E5-532EC45D9D1C}" dt="2024-03-11T14:31:16.754" v="24285" actId="478"/>
          <ac:spMkLst>
            <pc:docMk/>
            <pc:sldMk cId="558100583" sldId="939"/>
            <ac:spMk id="23" creationId="{F0F92295-EBAE-39D7-7494-D9035179A285}"/>
          </ac:spMkLst>
        </pc:spChg>
        <pc:spChg chg="del">
          <ac:chgData name="Nataliia Chornii (UA)" userId="4e4b8b3d-5f31-49bb-9f80-8a25c04abfff" providerId="ADAL" clId="{EE97D3FE-9ACA-4467-98E5-532EC45D9D1C}" dt="2024-03-04T09:39:31.673" v="19139" actId="478"/>
          <ac:spMkLst>
            <pc:docMk/>
            <pc:sldMk cId="558100583" sldId="939"/>
            <ac:spMk id="24" creationId="{6291F660-4399-3100-7AA6-1A96F2BE2FA0}"/>
          </ac:spMkLst>
        </pc:spChg>
        <pc:spChg chg="mod">
          <ac:chgData name="Nataliia Chornii (UA)" userId="4e4b8b3d-5f31-49bb-9f80-8a25c04abfff" providerId="ADAL" clId="{EE97D3FE-9ACA-4467-98E5-532EC45D9D1C}" dt="2024-03-11T14:26:32.770" v="24099"/>
          <ac:spMkLst>
            <pc:docMk/>
            <pc:sldMk cId="558100583" sldId="939"/>
            <ac:spMk id="24" creationId="{FD5B5FC5-C629-FCD5-6835-4C4E49DAA221}"/>
          </ac:spMkLst>
        </pc:spChg>
        <pc:spChg chg="mod">
          <ac:chgData name="Nataliia Chornii (UA)" userId="4e4b8b3d-5f31-49bb-9f80-8a25c04abfff" providerId="ADAL" clId="{EE97D3FE-9ACA-4467-98E5-532EC45D9D1C}" dt="2024-03-11T14:26:32.770" v="24099"/>
          <ac:spMkLst>
            <pc:docMk/>
            <pc:sldMk cId="558100583" sldId="939"/>
            <ac:spMk id="25" creationId="{0D0AF705-8B53-C1F8-1694-3AE116016035}"/>
          </ac:spMkLst>
        </pc:spChg>
        <pc:spChg chg="del">
          <ac:chgData name="Nataliia Chornii (UA)" userId="4e4b8b3d-5f31-49bb-9f80-8a25c04abfff" providerId="ADAL" clId="{EE97D3FE-9ACA-4467-98E5-532EC45D9D1C}" dt="2024-03-04T09:39:29.207" v="19137" actId="478"/>
          <ac:spMkLst>
            <pc:docMk/>
            <pc:sldMk cId="558100583" sldId="939"/>
            <ac:spMk id="25" creationId="{5EF755D9-3B19-3121-7148-7B4F37248EA8}"/>
          </ac:spMkLst>
        </pc:spChg>
        <pc:spChg chg="del">
          <ac:chgData name="Nataliia Chornii (UA)" userId="4e4b8b3d-5f31-49bb-9f80-8a25c04abfff" providerId="ADAL" clId="{EE97D3FE-9ACA-4467-98E5-532EC45D9D1C}" dt="2024-03-04T09:39:28.368" v="19136" actId="478"/>
          <ac:spMkLst>
            <pc:docMk/>
            <pc:sldMk cId="558100583" sldId="939"/>
            <ac:spMk id="26" creationId="{D3B06146-D695-C0D1-DE10-612BD2266EB5}"/>
          </ac:spMkLst>
        </pc:spChg>
        <pc:spChg chg="mod">
          <ac:chgData name="Nataliia Chornii (UA)" userId="4e4b8b3d-5f31-49bb-9f80-8a25c04abfff" providerId="ADAL" clId="{EE97D3FE-9ACA-4467-98E5-532EC45D9D1C}" dt="2024-03-11T14:26:32.770" v="24099"/>
          <ac:spMkLst>
            <pc:docMk/>
            <pc:sldMk cId="558100583" sldId="939"/>
            <ac:spMk id="26" creationId="{E8488B98-9E1E-1F70-FB25-DB5F66574EA5}"/>
          </ac:spMkLst>
        </pc:spChg>
        <pc:spChg chg="mod">
          <ac:chgData name="Nataliia Chornii (UA)" userId="4e4b8b3d-5f31-49bb-9f80-8a25c04abfff" providerId="ADAL" clId="{EE97D3FE-9ACA-4467-98E5-532EC45D9D1C}" dt="2024-03-11T14:26:32.770" v="24099"/>
          <ac:spMkLst>
            <pc:docMk/>
            <pc:sldMk cId="558100583" sldId="939"/>
            <ac:spMk id="27" creationId="{3C448427-965B-B927-227D-28FF5B8BD346}"/>
          </ac:spMkLst>
        </pc:spChg>
        <pc:spChg chg="del">
          <ac:chgData name="Nataliia Chornii (UA)" userId="4e4b8b3d-5f31-49bb-9f80-8a25c04abfff" providerId="ADAL" clId="{EE97D3FE-9ACA-4467-98E5-532EC45D9D1C}" dt="2024-03-04T09:39:28.368" v="19136" actId="478"/>
          <ac:spMkLst>
            <pc:docMk/>
            <pc:sldMk cId="558100583" sldId="939"/>
            <ac:spMk id="27" creationId="{C67C067A-BA44-E473-03E2-74C4CDD50A4F}"/>
          </ac:spMkLst>
        </pc:spChg>
        <pc:spChg chg="mod">
          <ac:chgData name="Nataliia Chornii (UA)" userId="4e4b8b3d-5f31-49bb-9f80-8a25c04abfff" providerId="ADAL" clId="{EE97D3FE-9ACA-4467-98E5-532EC45D9D1C}" dt="2024-03-11T14:26:32.770" v="24099"/>
          <ac:spMkLst>
            <pc:docMk/>
            <pc:sldMk cId="558100583" sldId="939"/>
            <ac:spMk id="28" creationId="{550EF39B-5680-1AFF-3272-550A84BCF3F1}"/>
          </ac:spMkLst>
        </pc:spChg>
        <pc:spChg chg="del">
          <ac:chgData name="Nataliia Chornii (UA)" userId="4e4b8b3d-5f31-49bb-9f80-8a25c04abfff" providerId="ADAL" clId="{EE97D3FE-9ACA-4467-98E5-532EC45D9D1C}" dt="2024-03-04T09:39:28.368" v="19136" actId="478"/>
          <ac:spMkLst>
            <pc:docMk/>
            <pc:sldMk cId="558100583" sldId="939"/>
            <ac:spMk id="28" creationId="{E6632A91-C990-C64C-6F5B-FCB2451BD5A7}"/>
          </ac:spMkLst>
        </pc:spChg>
        <pc:spChg chg="mod">
          <ac:chgData name="Nataliia Chornii (UA)" userId="4e4b8b3d-5f31-49bb-9f80-8a25c04abfff" providerId="ADAL" clId="{EE97D3FE-9ACA-4467-98E5-532EC45D9D1C}" dt="2024-03-11T14:26:32.770" v="24099"/>
          <ac:spMkLst>
            <pc:docMk/>
            <pc:sldMk cId="558100583" sldId="939"/>
            <ac:spMk id="29" creationId="{2D3695D9-9167-E74C-F671-DF007D2C4AEB}"/>
          </ac:spMkLst>
        </pc:spChg>
        <pc:spChg chg="del">
          <ac:chgData name="Nataliia Chornii (UA)" userId="4e4b8b3d-5f31-49bb-9f80-8a25c04abfff" providerId="ADAL" clId="{EE97D3FE-9ACA-4467-98E5-532EC45D9D1C}" dt="2024-03-04T09:39:28.368" v="19136" actId="478"/>
          <ac:spMkLst>
            <pc:docMk/>
            <pc:sldMk cId="558100583" sldId="939"/>
            <ac:spMk id="29" creationId="{69C14E03-FCEC-D42E-5785-FE3FD67A2269}"/>
          </ac:spMkLst>
        </pc:spChg>
        <pc:spChg chg="add mod">
          <ac:chgData name="Nataliia Chornii (UA)" userId="4e4b8b3d-5f31-49bb-9f80-8a25c04abfff" providerId="ADAL" clId="{EE97D3FE-9ACA-4467-98E5-532EC45D9D1C}" dt="2024-03-11T14:31:25.022" v="24313" actId="14100"/>
          <ac:spMkLst>
            <pc:docMk/>
            <pc:sldMk cId="558100583" sldId="939"/>
            <ac:spMk id="30" creationId="{27823F89-4964-863D-A03A-9A8E94BFE0D8}"/>
          </ac:spMkLst>
        </pc:spChg>
        <pc:spChg chg="del">
          <ac:chgData name="Nataliia Chornii (UA)" userId="4e4b8b3d-5f31-49bb-9f80-8a25c04abfff" providerId="ADAL" clId="{EE97D3FE-9ACA-4467-98E5-532EC45D9D1C}" dt="2024-03-04T09:39:28.368" v="19136" actId="478"/>
          <ac:spMkLst>
            <pc:docMk/>
            <pc:sldMk cId="558100583" sldId="939"/>
            <ac:spMk id="30" creationId="{AD97BBB0-7D2A-0CBE-6249-FB26EF157720}"/>
          </ac:spMkLst>
        </pc:spChg>
        <pc:spChg chg="del">
          <ac:chgData name="Nataliia Chornii (UA)" userId="4e4b8b3d-5f31-49bb-9f80-8a25c04abfff" providerId="ADAL" clId="{EE97D3FE-9ACA-4467-98E5-532EC45D9D1C}" dt="2024-03-04T09:39:28.368" v="19136" actId="478"/>
          <ac:spMkLst>
            <pc:docMk/>
            <pc:sldMk cId="558100583" sldId="939"/>
            <ac:spMk id="31" creationId="{AE1F2CF7-12B2-2C61-02F4-8E90DCAB95C7}"/>
          </ac:spMkLst>
        </pc:spChg>
        <pc:spChg chg="add mod topLvl">
          <ac:chgData name="Nataliia Chornii (UA)" userId="4e4b8b3d-5f31-49bb-9f80-8a25c04abfff" providerId="ADAL" clId="{EE97D3FE-9ACA-4467-98E5-532EC45D9D1C}" dt="2024-03-11T15:05:58.976" v="25233" actId="552"/>
          <ac:spMkLst>
            <pc:docMk/>
            <pc:sldMk cId="558100583" sldId="939"/>
            <ac:spMk id="31" creationId="{BF893276-BB3C-9809-C4B8-56DD69C3B52F}"/>
          </ac:spMkLst>
        </pc:spChg>
        <pc:spChg chg="add del mod modVis">
          <ac:chgData name="Nataliia Chornii (UA)" userId="4e4b8b3d-5f31-49bb-9f80-8a25c04abfff" providerId="ADAL" clId="{EE97D3FE-9ACA-4467-98E5-532EC45D9D1C}" dt="2024-03-11T14:31:20.685" v="24310"/>
          <ac:spMkLst>
            <pc:docMk/>
            <pc:sldMk cId="558100583" sldId="939"/>
            <ac:spMk id="31" creationId="{C31982A7-BF56-D873-4B24-BC41D2004C0F}"/>
          </ac:spMkLst>
        </pc:spChg>
        <pc:spChg chg="del">
          <ac:chgData name="Nataliia Chornii (UA)" userId="4e4b8b3d-5f31-49bb-9f80-8a25c04abfff" providerId="ADAL" clId="{EE97D3FE-9ACA-4467-98E5-532EC45D9D1C}" dt="2024-03-04T09:39:28.368" v="19136" actId="478"/>
          <ac:spMkLst>
            <pc:docMk/>
            <pc:sldMk cId="558100583" sldId="939"/>
            <ac:spMk id="32" creationId="{AA14433E-3F38-54C2-3C19-F70FDD5BB4F8}"/>
          </ac:spMkLst>
        </pc:spChg>
        <pc:spChg chg="add del mod topLvl">
          <ac:chgData name="Nataliia Chornii (UA)" userId="4e4b8b3d-5f31-49bb-9f80-8a25c04abfff" providerId="ADAL" clId="{EE97D3FE-9ACA-4467-98E5-532EC45D9D1C}" dt="2024-03-11T15:03:41.690" v="25157" actId="478"/>
          <ac:spMkLst>
            <pc:docMk/>
            <pc:sldMk cId="558100583" sldId="939"/>
            <ac:spMk id="32" creationId="{D32A1C07-B12E-9795-D051-A6E52560534B}"/>
          </ac:spMkLst>
        </pc:spChg>
        <pc:spChg chg="add del mod topLvl">
          <ac:chgData name="Nataliia Chornii (UA)" userId="4e4b8b3d-5f31-49bb-9f80-8a25c04abfff" providerId="ADAL" clId="{EE97D3FE-9ACA-4467-98E5-532EC45D9D1C}" dt="2024-03-11T15:03:41.690" v="25157" actId="478"/>
          <ac:spMkLst>
            <pc:docMk/>
            <pc:sldMk cId="558100583" sldId="939"/>
            <ac:spMk id="33" creationId="{DC739BE3-A59D-A2B8-231B-C56FB7894350}"/>
          </ac:spMkLst>
        </pc:spChg>
        <pc:spChg chg="del">
          <ac:chgData name="Nataliia Chornii (UA)" userId="4e4b8b3d-5f31-49bb-9f80-8a25c04abfff" providerId="ADAL" clId="{EE97D3FE-9ACA-4467-98E5-532EC45D9D1C}" dt="2024-03-04T09:39:28.368" v="19136" actId="478"/>
          <ac:spMkLst>
            <pc:docMk/>
            <pc:sldMk cId="558100583" sldId="939"/>
            <ac:spMk id="33" creationId="{F92B9C6C-8C5B-AC82-5DDC-E8DB5ABA08D5}"/>
          </ac:spMkLst>
        </pc:spChg>
        <pc:spChg chg="add del mod topLvl">
          <ac:chgData name="Nataliia Chornii (UA)" userId="4e4b8b3d-5f31-49bb-9f80-8a25c04abfff" providerId="ADAL" clId="{EE97D3FE-9ACA-4467-98E5-532EC45D9D1C}" dt="2024-03-11T15:03:41.690" v="25157" actId="478"/>
          <ac:spMkLst>
            <pc:docMk/>
            <pc:sldMk cId="558100583" sldId="939"/>
            <ac:spMk id="34" creationId="{D6611F9E-D3C4-053C-D48E-DA42CD36308B}"/>
          </ac:spMkLst>
        </pc:spChg>
        <pc:spChg chg="del">
          <ac:chgData name="Nataliia Chornii (UA)" userId="4e4b8b3d-5f31-49bb-9f80-8a25c04abfff" providerId="ADAL" clId="{EE97D3FE-9ACA-4467-98E5-532EC45D9D1C}" dt="2024-03-04T09:39:30.092" v="19138" actId="478"/>
          <ac:spMkLst>
            <pc:docMk/>
            <pc:sldMk cId="558100583" sldId="939"/>
            <ac:spMk id="35" creationId="{4F177113-0781-5137-1CD7-3B2F5D62C022}"/>
          </ac:spMkLst>
        </pc:spChg>
        <pc:spChg chg="add del mod topLvl">
          <ac:chgData name="Nataliia Chornii (UA)" userId="4e4b8b3d-5f31-49bb-9f80-8a25c04abfff" providerId="ADAL" clId="{EE97D3FE-9ACA-4467-98E5-532EC45D9D1C}" dt="2024-03-11T15:03:41.690" v="25157" actId="478"/>
          <ac:spMkLst>
            <pc:docMk/>
            <pc:sldMk cId="558100583" sldId="939"/>
            <ac:spMk id="35" creationId="{91FF8844-B3EF-B00F-0D49-29B309D07F18}"/>
          </ac:spMkLst>
        </pc:spChg>
        <pc:spChg chg="mod ord">
          <ac:chgData name="Nataliia Chornii (UA)" userId="4e4b8b3d-5f31-49bb-9f80-8a25c04abfff" providerId="ADAL" clId="{EE97D3FE-9ACA-4467-98E5-532EC45D9D1C}" dt="2024-03-04T10:49:13.319" v="20856"/>
          <ac:spMkLst>
            <pc:docMk/>
            <pc:sldMk cId="558100583" sldId="939"/>
            <ac:spMk id="36" creationId="{A8F39C25-781C-A7DA-387A-D92FCABEE1F5}"/>
          </ac:spMkLst>
        </pc:spChg>
        <pc:spChg chg="mod ord">
          <ac:chgData name="Nataliia Chornii (UA)" userId="4e4b8b3d-5f31-49bb-9f80-8a25c04abfff" providerId="ADAL" clId="{EE97D3FE-9ACA-4467-98E5-532EC45D9D1C}" dt="2024-03-04T10:49:13.319" v="20858"/>
          <ac:spMkLst>
            <pc:docMk/>
            <pc:sldMk cId="558100583" sldId="939"/>
            <ac:spMk id="37" creationId="{BD11DB78-D65B-9D3C-EED7-1721F1C9BCF6}"/>
          </ac:spMkLst>
        </pc:spChg>
        <pc:spChg chg="mod ord">
          <ac:chgData name="Nataliia Chornii (UA)" userId="4e4b8b3d-5f31-49bb-9f80-8a25c04abfff" providerId="ADAL" clId="{EE97D3FE-9ACA-4467-98E5-532EC45D9D1C}" dt="2024-03-04T10:49:13.319" v="20860"/>
          <ac:spMkLst>
            <pc:docMk/>
            <pc:sldMk cId="558100583" sldId="939"/>
            <ac:spMk id="38" creationId="{7B1F3CCD-2DE1-C2A8-D340-EAF5B3993679}"/>
          </ac:spMkLst>
        </pc:spChg>
        <pc:spChg chg="mod ord">
          <ac:chgData name="Nataliia Chornii (UA)" userId="4e4b8b3d-5f31-49bb-9f80-8a25c04abfff" providerId="ADAL" clId="{EE97D3FE-9ACA-4467-98E5-532EC45D9D1C}" dt="2024-03-04T10:49:13.319" v="20862"/>
          <ac:spMkLst>
            <pc:docMk/>
            <pc:sldMk cId="558100583" sldId="939"/>
            <ac:spMk id="39" creationId="{DCB78F50-A328-CF00-9A1A-F2F677D9CB38}"/>
          </ac:spMkLst>
        </pc:spChg>
        <pc:spChg chg="add del mod topLvl">
          <ac:chgData name="Nataliia Chornii (UA)" userId="4e4b8b3d-5f31-49bb-9f80-8a25c04abfff" providerId="ADAL" clId="{EE97D3FE-9ACA-4467-98E5-532EC45D9D1C}" dt="2024-03-11T15:03:41.690" v="25157" actId="478"/>
          <ac:spMkLst>
            <pc:docMk/>
            <pc:sldMk cId="558100583" sldId="939"/>
            <ac:spMk id="40" creationId="{7FA574CA-986D-BD14-1205-A367716586AA}"/>
          </ac:spMkLst>
        </pc:spChg>
        <pc:spChg chg="add del mod">
          <ac:chgData name="Nataliia Chornii (UA)" userId="4e4b8b3d-5f31-49bb-9f80-8a25c04abfff" providerId="ADAL" clId="{EE97D3FE-9ACA-4467-98E5-532EC45D9D1C}" dt="2024-03-04T09:40:12.204" v="19275" actId="6264"/>
          <ac:spMkLst>
            <pc:docMk/>
            <pc:sldMk cId="558100583" sldId="939"/>
            <ac:spMk id="40" creationId="{8EEA851C-9283-C07A-1937-53A572F690DA}"/>
          </ac:spMkLst>
        </pc:spChg>
        <pc:spChg chg="add del mod">
          <ac:chgData name="Nataliia Chornii (UA)" userId="4e4b8b3d-5f31-49bb-9f80-8a25c04abfff" providerId="ADAL" clId="{EE97D3FE-9ACA-4467-98E5-532EC45D9D1C}" dt="2024-03-04T09:40:12.204" v="19275" actId="6264"/>
          <ac:spMkLst>
            <pc:docMk/>
            <pc:sldMk cId="558100583" sldId="939"/>
            <ac:spMk id="41" creationId="{B4B36E3C-F227-F66B-4022-64858E0E0435}"/>
          </ac:spMkLst>
        </pc:spChg>
        <pc:spChg chg="add mod topLvl">
          <ac:chgData name="Nataliia Chornii (UA)" userId="4e4b8b3d-5f31-49bb-9f80-8a25c04abfff" providerId="ADAL" clId="{EE97D3FE-9ACA-4467-98E5-532EC45D9D1C}" dt="2024-03-11T15:04:14.928" v="25171" actId="12789"/>
          <ac:spMkLst>
            <pc:docMk/>
            <pc:sldMk cId="558100583" sldId="939"/>
            <ac:spMk id="41" creationId="{D98DCC94-C3D2-F5CB-50E8-D61370EDE6DE}"/>
          </ac:spMkLst>
        </pc:spChg>
        <pc:spChg chg="add del mod ord">
          <ac:chgData name="Nataliia Chornii (UA)" userId="4e4b8b3d-5f31-49bb-9f80-8a25c04abfff" providerId="ADAL" clId="{EE97D3FE-9ACA-4467-98E5-532EC45D9D1C}" dt="2024-03-04T09:40:17.557" v="19302" actId="700"/>
          <ac:spMkLst>
            <pc:docMk/>
            <pc:sldMk cId="558100583" sldId="939"/>
            <ac:spMk id="42" creationId="{E6F8B575-6E58-4848-D9FE-E7335F9AC3BB}"/>
          </ac:spMkLst>
        </pc:spChg>
        <pc:spChg chg="add mod topLvl">
          <ac:chgData name="Nataliia Chornii (UA)" userId="4e4b8b3d-5f31-49bb-9f80-8a25c04abfff" providerId="ADAL" clId="{EE97D3FE-9ACA-4467-98E5-532EC45D9D1C}" dt="2024-03-11T15:03:32.247" v="25156" actId="165"/>
          <ac:spMkLst>
            <pc:docMk/>
            <pc:sldMk cId="558100583" sldId="939"/>
            <ac:spMk id="43" creationId="{4D89D5AF-881D-F866-45E6-0B625E68355A}"/>
          </ac:spMkLst>
        </pc:spChg>
        <pc:spChg chg="add del mod modVis">
          <ac:chgData name="Nataliia Chornii (UA)" userId="4e4b8b3d-5f31-49bb-9f80-8a25c04abfff" providerId="ADAL" clId="{EE97D3FE-9ACA-4467-98E5-532EC45D9D1C}" dt="2024-03-04T09:40:12.819" v="19299"/>
          <ac:spMkLst>
            <pc:docMk/>
            <pc:sldMk cId="558100583" sldId="939"/>
            <ac:spMk id="43" creationId="{95C0A294-9238-DE1D-9C09-CF314E113230}"/>
          </ac:spMkLst>
        </pc:spChg>
        <pc:spChg chg="add del mod topLvl">
          <ac:chgData name="Nataliia Chornii (UA)" userId="4e4b8b3d-5f31-49bb-9f80-8a25c04abfff" providerId="ADAL" clId="{EE97D3FE-9ACA-4467-98E5-532EC45D9D1C}" dt="2024-03-11T15:03:41.690" v="25157" actId="478"/>
          <ac:spMkLst>
            <pc:docMk/>
            <pc:sldMk cId="558100583" sldId="939"/>
            <ac:spMk id="44" creationId="{97C46DB3-DC6F-2787-E7F2-52DD948ADCB5}"/>
          </ac:spMkLst>
        </pc:spChg>
        <pc:spChg chg="add del mod ord">
          <ac:chgData name="Nataliia Chornii (UA)" userId="4e4b8b3d-5f31-49bb-9f80-8a25c04abfff" providerId="ADAL" clId="{EE97D3FE-9ACA-4467-98E5-532EC45D9D1C}" dt="2024-03-04T09:40:19.575" v="19329" actId="478"/>
          <ac:spMkLst>
            <pc:docMk/>
            <pc:sldMk cId="558100583" sldId="939"/>
            <ac:spMk id="44" creationId="{D4CCA92A-ADA1-0AAE-C350-503AE4ECAF4F}"/>
          </ac:spMkLst>
        </pc:spChg>
        <pc:spChg chg="add del mod topLvl">
          <ac:chgData name="Nataliia Chornii (UA)" userId="4e4b8b3d-5f31-49bb-9f80-8a25c04abfff" providerId="ADAL" clId="{EE97D3FE-9ACA-4467-98E5-532EC45D9D1C}" dt="2024-03-11T15:03:41.690" v="25157" actId="478"/>
          <ac:spMkLst>
            <pc:docMk/>
            <pc:sldMk cId="558100583" sldId="939"/>
            <ac:spMk id="45" creationId="{2F5AC030-513B-2253-646B-E912112CF010}"/>
          </ac:spMkLst>
        </pc:spChg>
        <pc:spChg chg="add del mod modVis">
          <ac:chgData name="Nataliia Chornii (UA)" userId="4e4b8b3d-5f31-49bb-9f80-8a25c04abfff" providerId="ADAL" clId="{EE97D3FE-9ACA-4467-98E5-532EC45D9D1C}" dt="2024-03-04T09:40:18.006" v="19326"/>
          <ac:spMkLst>
            <pc:docMk/>
            <pc:sldMk cId="558100583" sldId="939"/>
            <ac:spMk id="45" creationId="{7F5852FF-9F0E-78D6-DCA3-9B470D42F523}"/>
          </ac:spMkLst>
        </pc:spChg>
        <pc:spChg chg="add mod ord">
          <ac:chgData name="Nataliia Chornii (UA)" userId="4e4b8b3d-5f31-49bb-9f80-8a25c04abfff" providerId="ADAL" clId="{EE97D3FE-9ACA-4467-98E5-532EC45D9D1C}" dt="2024-03-04T10:50:06.063" v="20931" actId="554"/>
          <ac:spMkLst>
            <pc:docMk/>
            <pc:sldMk cId="558100583" sldId="939"/>
            <ac:spMk id="46" creationId="{87F6084C-15E9-620D-F93C-647D2A57DDF8}"/>
          </ac:spMkLst>
        </pc:spChg>
        <pc:spChg chg="add mod">
          <ac:chgData name="Nataliia Chornii (UA)" userId="4e4b8b3d-5f31-49bb-9f80-8a25c04abfff" providerId="ADAL" clId="{EE97D3FE-9ACA-4467-98E5-532EC45D9D1C}" dt="2024-03-04T10:49:57.427" v="20922"/>
          <ac:spMkLst>
            <pc:docMk/>
            <pc:sldMk cId="558100583" sldId="939"/>
            <ac:spMk id="48" creationId="{A14B16FD-A963-1B51-1AA7-73C281C4F5DC}"/>
          </ac:spMkLst>
        </pc:spChg>
        <pc:spChg chg="add mod">
          <ac:chgData name="Nataliia Chornii (UA)" userId="4e4b8b3d-5f31-49bb-9f80-8a25c04abfff" providerId="ADAL" clId="{EE97D3FE-9ACA-4467-98E5-532EC45D9D1C}" dt="2024-03-04T10:49:57.427" v="20922"/>
          <ac:spMkLst>
            <pc:docMk/>
            <pc:sldMk cId="558100583" sldId="939"/>
            <ac:spMk id="49" creationId="{5F3E4100-6593-2F06-F209-B338E64778F5}"/>
          </ac:spMkLst>
        </pc:spChg>
        <pc:spChg chg="add del mod topLvl">
          <ac:chgData name="Nataliia Chornii (UA)" userId="4e4b8b3d-5f31-49bb-9f80-8a25c04abfff" providerId="ADAL" clId="{EE97D3FE-9ACA-4467-98E5-532EC45D9D1C}" dt="2024-03-11T15:03:41.690" v="25157" actId="478"/>
          <ac:spMkLst>
            <pc:docMk/>
            <pc:sldMk cId="558100583" sldId="939"/>
            <ac:spMk id="51" creationId="{884C45C5-440F-8C34-8817-36FB22EB6DFD}"/>
          </ac:spMkLst>
        </pc:spChg>
        <pc:spChg chg="add del mod modVis">
          <ac:chgData name="Nataliia Chornii (UA)" userId="4e4b8b3d-5f31-49bb-9f80-8a25c04abfff" providerId="ADAL" clId="{EE97D3FE-9ACA-4467-98E5-532EC45D9D1C}" dt="2024-03-04T10:49:13.036" v="20827"/>
          <ac:spMkLst>
            <pc:docMk/>
            <pc:sldMk cId="558100583" sldId="939"/>
            <ac:spMk id="51" creationId="{C0A1C217-C15B-2100-1F9F-423F0192B284}"/>
          </ac:spMkLst>
        </pc:spChg>
        <pc:spChg chg="add del mod topLvl">
          <ac:chgData name="Nataliia Chornii (UA)" userId="4e4b8b3d-5f31-49bb-9f80-8a25c04abfff" providerId="ADAL" clId="{EE97D3FE-9ACA-4467-98E5-532EC45D9D1C}" dt="2024-03-11T15:03:41.690" v="25157" actId="478"/>
          <ac:spMkLst>
            <pc:docMk/>
            <pc:sldMk cId="558100583" sldId="939"/>
            <ac:spMk id="53" creationId="{057D0806-277C-E4C1-57C7-471E1649F07D}"/>
          </ac:spMkLst>
        </pc:spChg>
        <pc:spChg chg="add del mod topLvl">
          <ac:chgData name="Nataliia Chornii (UA)" userId="4e4b8b3d-5f31-49bb-9f80-8a25c04abfff" providerId="ADAL" clId="{EE97D3FE-9ACA-4467-98E5-532EC45D9D1C}" dt="2024-03-11T15:03:41.690" v="25157" actId="478"/>
          <ac:spMkLst>
            <pc:docMk/>
            <pc:sldMk cId="558100583" sldId="939"/>
            <ac:spMk id="54" creationId="{A6B474C9-8AA7-D795-4727-BE36A143A731}"/>
          </ac:spMkLst>
        </pc:spChg>
        <pc:spChg chg="mod">
          <ac:chgData name="Nataliia Chornii (UA)" userId="4e4b8b3d-5f31-49bb-9f80-8a25c04abfff" providerId="ADAL" clId="{EE97D3FE-9ACA-4467-98E5-532EC45D9D1C}" dt="2024-03-04T10:49:44.089" v="20897"/>
          <ac:spMkLst>
            <pc:docMk/>
            <pc:sldMk cId="558100583" sldId="939"/>
            <ac:spMk id="54" creationId="{D6D3130A-FF5E-952A-B103-8C7901315F26}"/>
          </ac:spMkLst>
        </pc:spChg>
        <pc:spChg chg="add mod topLvl">
          <ac:chgData name="Nataliia Chornii (UA)" userId="4e4b8b3d-5f31-49bb-9f80-8a25c04abfff" providerId="ADAL" clId="{EE97D3FE-9ACA-4467-98E5-532EC45D9D1C}" dt="2024-03-11T15:03:50.141" v="25160" actId="1076"/>
          <ac:spMkLst>
            <pc:docMk/>
            <pc:sldMk cId="558100583" sldId="939"/>
            <ac:spMk id="55" creationId="{0F96A860-3CA2-C106-0010-C8659C25EF10}"/>
          </ac:spMkLst>
        </pc:spChg>
        <pc:spChg chg="mod">
          <ac:chgData name="Nataliia Chornii (UA)" userId="4e4b8b3d-5f31-49bb-9f80-8a25c04abfff" providerId="ADAL" clId="{EE97D3FE-9ACA-4467-98E5-532EC45D9D1C}" dt="2024-03-04T10:49:44.089" v="20897"/>
          <ac:spMkLst>
            <pc:docMk/>
            <pc:sldMk cId="558100583" sldId="939"/>
            <ac:spMk id="55" creationId="{A6A62050-16AA-72B4-CBFD-D4C755A7DF88}"/>
          </ac:spMkLst>
        </pc:spChg>
        <pc:spChg chg="add mod topLvl">
          <ac:chgData name="Nataliia Chornii (UA)" userId="4e4b8b3d-5f31-49bb-9f80-8a25c04abfff" providerId="ADAL" clId="{EE97D3FE-9ACA-4467-98E5-532EC45D9D1C}" dt="2024-03-11T15:03:32.247" v="25156" actId="165"/>
          <ac:spMkLst>
            <pc:docMk/>
            <pc:sldMk cId="558100583" sldId="939"/>
            <ac:spMk id="56" creationId="{1340AA0A-2A02-1D11-606F-F7CCFB7BBF13}"/>
          </ac:spMkLst>
        </pc:spChg>
        <pc:spChg chg="mod">
          <ac:chgData name="Nataliia Chornii (UA)" userId="4e4b8b3d-5f31-49bb-9f80-8a25c04abfff" providerId="ADAL" clId="{EE97D3FE-9ACA-4467-98E5-532EC45D9D1C}" dt="2024-03-04T10:49:44.089" v="20897"/>
          <ac:spMkLst>
            <pc:docMk/>
            <pc:sldMk cId="558100583" sldId="939"/>
            <ac:spMk id="57" creationId="{3F6387C8-F2B2-9C59-F94F-268C74C306F0}"/>
          </ac:spMkLst>
        </pc:spChg>
        <pc:spChg chg="add mod topLvl">
          <ac:chgData name="Nataliia Chornii (UA)" userId="4e4b8b3d-5f31-49bb-9f80-8a25c04abfff" providerId="ADAL" clId="{EE97D3FE-9ACA-4467-98E5-532EC45D9D1C}" dt="2024-03-11T15:03:32.247" v="25156" actId="165"/>
          <ac:spMkLst>
            <pc:docMk/>
            <pc:sldMk cId="558100583" sldId="939"/>
            <ac:spMk id="57" creationId="{5BDDD447-6115-2875-EB4D-441F8C7174F3}"/>
          </ac:spMkLst>
        </pc:spChg>
        <pc:spChg chg="mod">
          <ac:chgData name="Nataliia Chornii (UA)" userId="4e4b8b3d-5f31-49bb-9f80-8a25c04abfff" providerId="ADAL" clId="{EE97D3FE-9ACA-4467-98E5-532EC45D9D1C}" dt="2024-03-04T10:49:44.089" v="20897"/>
          <ac:spMkLst>
            <pc:docMk/>
            <pc:sldMk cId="558100583" sldId="939"/>
            <ac:spMk id="58" creationId="{C1048DA1-5D61-0A37-1771-A9816AD702AB}"/>
          </ac:spMkLst>
        </pc:spChg>
        <pc:spChg chg="mod">
          <ac:chgData name="Nataliia Chornii (UA)" userId="4e4b8b3d-5f31-49bb-9f80-8a25c04abfff" providerId="ADAL" clId="{EE97D3FE-9ACA-4467-98E5-532EC45D9D1C}" dt="2024-03-04T10:49:44.089" v="20897"/>
          <ac:spMkLst>
            <pc:docMk/>
            <pc:sldMk cId="558100583" sldId="939"/>
            <ac:spMk id="59" creationId="{18F4D1C8-5121-13FE-CBB0-390F0F74FBFF}"/>
          </ac:spMkLst>
        </pc:spChg>
        <pc:spChg chg="add mod">
          <ac:chgData name="Nataliia Chornii (UA)" userId="4e4b8b3d-5f31-49bb-9f80-8a25c04abfff" providerId="ADAL" clId="{EE97D3FE-9ACA-4467-98E5-532EC45D9D1C}" dt="2024-03-04T10:54:39.874" v="21031" actId="1036"/>
          <ac:spMkLst>
            <pc:docMk/>
            <pc:sldMk cId="558100583" sldId="939"/>
            <ac:spMk id="60" creationId="{B2E30242-9244-A35E-C96C-EC7D96C868CC}"/>
          </ac:spMkLst>
        </pc:spChg>
        <pc:spChg chg="add mod">
          <ac:chgData name="Nataliia Chornii (UA)" userId="4e4b8b3d-5f31-49bb-9f80-8a25c04abfff" providerId="ADAL" clId="{EE97D3FE-9ACA-4467-98E5-532EC45D9D1C}" dt="2024-03-11T15:04:37.540" v="25211" actId="3064"/>
          <ac:spMkLst>
            <pc:docMk/>
            <pc:sldMk cId="558100583" sldId="939"/>
            <ac:spMk id="63" creationId="{20097FC8-71D3-3D2F-7B37-E72E308B2886}"/>
          </ac:spMkLst>
        </pc:spChg>
        <pc:spChg chg="add mod">
          <ac:chgData name="Nataliia Chornii (UA)" userId="4e4b8b3d-5f31-49bb-9f80-8a25c04abfff" providerId="ADAL" clId="{EE97D3FE-9ACA-4467-98E5-532EC45D9D1C}" dt="2024-03-11T15:04:51.046" v="25225" actId="12789"/>
          <ac:spMkLst>
            <pc:docMk/>
            <pc:sldMk cId="558100583" sldId="939"/>
            <ac:spMk id="64" creationId="{A09DB7FB-D3C4-A491-7629-EB3704B6FBE2}"/>
          </ac:spMkLst>
        </pc:spChg>
        <pc:spChg chg="add mod">
          <ac:chgData name="Nataliia Chornii (UA)" userId="4e4b8b3d-5f31-49bb-9f80-8a25c04abfff" providerId="ADAL" clId="{EE97D3FE-9ACA-4467-98E5-532EC45D9D1C}" dt="2024-03-11T15:04:48.488" v="25223" actId="553"/>
          <ac:spMkLst>
            <pc:docMk/>
            <pc:sldMk cId="558100583" sldId="939"/>
            <ac:spMk id="65" creationId="{293C68F3-9D28-7611-BCD6-FEA45BDD8E56}"/>
          </ac:spMkLst>
        </pc:spChg>
        <pc:spChg chg="add del mod modVis">
          <ac:chgData name="Nataliia Chornii (UA)" userId="4e4b8b3d-5f31-49bb-9f80-8a25c04abfff" providerId="ADAL" clId="{EE97D3FE-9ACA-4467-98E5-532EC45D9D1C}" dt="2024-03-11T15:04:26.981" v="25205"/>
          <ac:spMkLst>
            <pc:docMk/>
            <pc:sldMk cId="558100583" sldId="939"/>
            <ac:spMk id="66" creationId="{D9E8FAA2-0BA0-CD3B-5D3F-D32D6B6C0B61}"/>
          </ac:spMkLst>
        </pc:spChg>
        <pc:spChg chg="mod">
          <ac:chgData name="Nataliia Chornii (UA)" userId="4e4b8b3d-5f31-49bb-9f80-8a25c04abfff" providerId="ADAL" clId="{EE97D3FE-9ACA-4467-98E5-532EC45D9D1C}" dt="2024-03-11T15:05:54.092" v="25232"/>
          <ac:spMkLst>
            <pc:docMk/>
            <pc:sldMk cId="558100583" sldId="939"/>
            <ac:spMk id="68" creationId="{3FC3DFEC-7913-57FA-473F-5E10D73B221A}"/>
          </ac:spMkLst>
        </pc:spChg>
        <pc:spChg chg="mod">
          <ac:chgData name="Nataliia Chornii (UA)" userId="4e4b8b3d-5f31-49bb-9f80-8a25c04abfff" providerId="ADAL" clId="{EE97D3FE-9ACA-4467-98E5-532EC45D9D1C}" dt="2024-03-11T15:05:54.092" v="25232"/>
          <ac:spMkLst>
            <pc:docMk/>
            <pc:sldMk cId="558100583" sldId="939"/>
            <ac:spMk id="69" creationId="{56250352-A6B0-1665-8123-8FF818125291}"/>
          </ac:spMkLst>
        </pc:spChg>
        <pc:spChg chg="mod">
          <ac:chgData name="Nataliia Chornii (UA)" userId="4e4b8b3d-5f31-49bb-9f80-8a25c04abfff" providerId="ADAL" clId="{EE97D3FE-9ACA-4467-98E5-532EC45D9D1C}" dt="2024-03-11T15:05:54.092" v="25232"/>
          <ac:spMkLst>
            <pc:docMk/>
            <pc:sldMk cId="558100583" sldId="939"/>
            <ac:spMk id="70" creationId="{A70FD735-016E-3535-CEBA-5AA881B9381B}"/>
          </ac:spMkLst>
        </pc:spChg>
        <pc:spChg chg="mod">
          <ac:chgData name="Nataliia Chornii (UA)" userId="4e4b8b3d-5f31-49bb-9f80-8a25c04abfff" providerId="ADAL" clId="{EE97D3FE-9ACA-4467-98E5-532EC45D9D1C}" dt="2024-03-11T15:05:54.092" v="25232"/>
          <ac:spMkLst>
            <pc:docMk/>
            <pc:sldMk cId="558100583" sldId="939"/>
            <ac:spMk id="71" creationId="{2F888E77-4051-39A2-151F-6325F4C67833}"/>
          </ac:spMkLst>
        </pc:spChg>
        <pc:spChg chg="mod">
          <ac:chgData name="Nataliia Chornii (UA)" userId="4e4b8b3d-5f31-49bb-9f80-8a25c04abfff" providerId="ADAL" clId="{EE97D3FE-9ACA-4467-98E5-532EC45D9D1C}" dt="2024-03-11T15:05:54.092" v="25232"/>
          <ac:spMkLst>
            <pc:docMk/>
            <pc:sldMk cId="558100583" sldId="939"/>
            <ac:spMk id="72" creationId="{D4D7BDE5-A7FE-E5A1-D115-8C9312B07009}"/>
          </ac:spMkLst>
        </pc:spChg>
        <pc:spChg chg="mod">
          <ac:chgData name="Nataliia Chornii (UA)" userId="4e4b8b3d-5f31-49bb-9f80-8a25c04abfff" providerId="ADAL" clId="{EE97D3FE-9ACA-4467-98E5-532EC45D9D1C}" dt="2024-03-11T15:05:54.092" v="25232"/>
          <ac:spMkLst>
            <pc:docMk/>
            <pc:sldMk cId="558100583" sldId="939"/>
            <ac:spMk id="73" creationId="{418A9233-C555-138D-2FFF-823B07A6C860}"/>
          </ac:spMkLst>
        </pc:spChg>
        <pc:spChg chg="mod">
          <ac:chgData name="Nataliia Chornii (UA)" userId="4e4b8b3d-5f31-49bb-9f80-8a25c04abfff" providerId="ADAL" clId="{EE97D3FE-9ACA-4467-98E5-532EC45D9D1C}" dt="2024-03-11T15:05:54.092" v="25232"/>
          <ac:spMkLst>
            <pc:docMk/>
            <pc:sldMk cId="558100583" sldId="939"/>
            <ac:spMk id="75" creationId="{A59B948C-C4CA-1780-15D9-C163B52B1891}"/>
          </ac:spMkLst>
        </pc:spChg>
        <pc:spChg chg="mod">
          <ac:chgData name="Nataliia Chornii (UA)" userId="4e4b8b3d-5f31-49bb-9f80-8a25c04abfff" providerId="ADAL" clId="{EE97D3FE-9ACA-4467-98E5-532EC45D9D1C}" dt="2024-03-11T15:05:54.092" v="25232"/>
          <ac:spMkLst>
            <pc:docMk/>
            <pc:sldMk cId="558100583" sldId="939"/>
            <ac:spMk id="76" creationId="{04A84B1F-66D4-472F-68AA-847FE29F9206}"/>
          </ac:spMkLst>
        </pc:spChg>
        <pc:spChg chg="mod">
          <ac:chgData name="Nataliia Chornii (UA)" userId="4e4b8b3d-5f31-49bb-9f80-8a25c04abfff" providerId="ADAL" clId="{EE97D3FE-9ACA-4467-98E5-532EC45D9D1C}" dt="2024-03-11T15:05:54.092" v="25232"/>
          <ac:spMkLst>
            <pc:docMk/>
            <pc:sldMk cId="558100583" sldId="939"/>
            <ac:spMk id="77" creationId="{09F11405-AF2D-FD06-0105-9649814FDB66}"/>
          </ac:spMkLst>
        </pc:spChg>
        <pc:spChg chg="mod">
          <ac:chgData name="Nataliia Chornii (UA)" userId="4e4b8b3d-5f31-49bb-9f80-8a25c04abfff" providerId="ADAL" clId="{EE97D3FE-9ACA-4467-98E5-532EC45D9D1C}" dt="2024-03-11T15:05:54.092" v="25232"/>
          <ac:spMkLst>
            <pc:docMk/>
            <pc:sldMk cId="558100583" sldId="939"/>
            <ac:spMk id="78" creationId="{5393BB64-D906-54AB-C549-805A837A0285}"/>
          </ac:spMkLst>
        </pc:spChg>
        <pc:spChg chg="mod">
          <ac:chgData name="Nataliia Chornii (UA)" userId="4e4b8b3d-5f31-49bb-9f80-8a25c04abfff" providerId="ADAL" clId="{EE97D3FE-9ACA-4467-98E5-532EC45D9D1C}" dt="2024-03-11T15:05:54.092" v="25232"/>
          <ac:spMkLst>
            <pc:docMk/>
            <pc:sldMk cId="558100583" sldId="939"/>
            <ac:spMk id="79" creationId="{B10DE817-007A-90C4-B2C8-2841661D467E}"/>
          </ac:spMkLst>
        </pc:spChg>
        <pc:spChg chg="mod">
          <ac:chgData name="Nataliia Chornii (UA)" userId="4e4b8b3d-5f31-49bb-9f80-8a25c04abfff" providerId="ADAL" clId="{EE97D3FE-9ACA-4467-98E5-532EC45D9D1C}" dt="2024-03-11T15:05:54.092" v="25232"/>
          <ac:spMkLst>
            <pc:docMk/>
            <pc:sldMk cId="558100583" sldId="939"/>
            <ac:spMk id="80" creationId="{40996D69-2D4C-8DAF-9950-6BFDFDF81FDF}"/>
          </ac:spMkLst>
        </pc:spChg>
        <pc:spChg chg="mod">
          <ac:chgData name="Nataliia Chornii (UA)" userId="4e4b8b3d-5f31-49bb-9f80-8a25c04abfff" providerId="ADAL" clId="{EE97D3FE-9ACA-4467-98E5-532EC45D9D1C}" dt="2024-03-11T15:05:54.092" v="25232"/>
          <ac:spMkLst>
            <pc:docMk/>
            <pc:sldMk cId="558100583" sldId="939"/>
            <ac:spMk id="81" creationId="{47C53B14-D55D-38E2-E3F0-D9A3FD8F0EE2}"/>
          </ac:spMkLst>
        </pc:spChg>
        <pc:grpChg chg="add mod">
          <ac:chgData name="Nataliia Chornii (UA)" userId="4e4b8b3d-5f31-49bb-9f80-8a25c04abfff" providerId="ADAL" clId="{EE97D3FE-9ACA-4467-98E5-532EC45D9D1C}" dt="2024-03-11T14:26:32.770" v="24099"/>
          <ac:grpSpMkLst>
            <pc:docMk/>
            <pc:sldMk cId="558100583" sldId="939"/>
            <ac:grpSpMk id="21" creationId="{EC58A2CF-A26E-B828-6C32-A58A4D256527}"/>
          </ac:grpSpMkLst>
        </pc:grpChg>
        <pc:grpChg chg="add mod ord">
          <ac:chgData name="Nataliia Chornii (UA)" userId="4e4b8b3d-5f31-49bb-9f80-8a25c04abfff" providerId="ADAL" clId="{EE97D3FE-9ACA-4467-98E5-532EC45D9D1C}" dt="2024-03-04T10:49:57.427" v="20922"/>
          <ac:grpSpMkLst>
            <pc:docMk/>
            <pc:sldMk cId="558100583" sldId="939"/>
            <ac:grpSpMk id="50" creationId="{70A03FDA-CAA9-19A0-4D89-3676785B3619}"/>
          </ac:grpSpMkLst>
        </pc:grpChg>
        <pc:grpChg chg="add mod">
          <ac:chgData name="Nataliia Chornii (UA)" userId="4e4b8b3d-5f31-49bb-9f80-8a25c04abfff" providerId="ADAL" clId="{EE97D3FE-9ACA-4467-98E5-532EC45D9D1C}" dt="2024-03-04T10:50:15.084" v="20935" actId="555"/>
          <ac:grpSpMkLst>
            <pc:docMk/>
            <pc:sldMk cId="558100583" sldId="939"/>
            <ac:grpSpMk id="52" creationId="{A70FDED7-6947-DEF1-A08A-FBC967B40259}"/>
          </ac:grpSpMkLst>
        </pc:grpChg>
        <pc:grpChg chg="add del mod">
          <ac:chgData name="Nataliia Chornii (UA)" userId="4e4b8b3d-5f31-49bb-9f80-8a25c04abfff" providerId="ADAL" clId="{EE97D3FE-9ACA-4467-98E5-532EC45D9D1C}" dt="2024-03-04T10:50:08.630" v="20932" actId="478"/>
          <ac:grpSpMkLst>
            <pc:docMk/>
            <pc:sldMk cId="558100583" sldId="939"/>
            <ac:grpSpMk id="53" creationId="{ED2C2F1D-5524-4078-74B6-AFB50B8BD678}"/>
          </ac:grpSpMkLst>
        </pc:grpChg>
        <pc:grpChg chg="add del mod">
          <ac:chgData name="Nataliia Chornii (UA)" userId="4e4b8b3d-5f31-49bb-9f80-8a25c04abfff" providerId="ADAL" clId="{EE97D3FE-9ACA-4467-98E5-532EC45D9D1C}" dt="2024-03-04T10:50:18.826" v="20937" actId="478"/>
          <ac:grpSpMkLst>
            <pc:docMk/>
            <pc:sldMk cId="558100583" sldId="939"/>
            <ac:grpSpMk id="56" creationId="{E5E2E384-4C53-17FA-1BA0-8C452085241B}"/>
          </ac:grpSpMkLst>
        </pc:grpChg>
        <pc:grpChg chg="add del mod">
          <ac:chgData name="Nataliia Chornii (UA)" userId="4e4b8b3d-5f31-49bb-9f80-8a25c04abfff" providerId="ADAL" clId="{EE97D3FE-9ACA-4467-98E5-532EC45D9D1C}" dt="2024-03-11T15:03:32.247" v="25156" actId="165"/>
          <ac:grpSpMkLst>
            <pc:docMk/>
            <pc:sldMk cId="558100583" sldId="939"/>
            <ac:grpSpMk id="58" creationId="{18302903-4C1A-3250-A07C-BA1B5DC13AD3}"/>
          </ac:grpSpMkLst>
        </pc:grpChg>
        <pc:grpChg chg="add del mod">
          <ac:chgData name="Nataliia Chornii (UA)" userId="4e4b8b3d-5f31-49bb-9f80-8a25c04abfff" providerId="ADAL" clId="{EE97D3FE-9ACA-4467-98E5-532EC45D9D1C}" dt="2024-03-11T15:06:01.518" v="25234" actId="478"/>
          <ac:grpSpMkLst>
            <pc:docMk/>
            <pc:sldMk cId="558100583" sldId="939"/>
            <ac:grpSpMk id="67" creationId="{5D4C42EE-C64D-A108-6E82-D8BBC6E9E4FF}"/>
          </ac:grpSpMkLst>
        </pc:grpChg>
        <pc:graphicFrameChg chg="mod">
          <ac:chgData name="Nataliia Chornii (UA)" userId="4e4b8b3d-5f31-49bb-9f80-8a25c04abfff" providerId="ADAL" clId="{EE97D3FE-9ACA-4467-98E5-532EC45D9D1C}" dt="2024-03-11T15:04:47.599" v="25222"/>
          <ac:graphicFrameMkLst>
            <pc:docMk/>
            <pc:sldMk cId="558100583" sldId="939"/>
            <ac:graphicFrameMk id="9" creationId="{D9E6BB6A-4571-FBF8-9A7D-06ADE4374D4D}"/>
          </ac:graphicFrameMkLst>
        </pc:graphicFrameChg>
        <pc:picChg chg="add mod ord">
          <ac:chgData name="Nataliia Chornii (UA)" userId="4e4b8b3d-5f31-49bb-9f80-8a25c04abfff" providerId="ADAL" clId="{EE97D3FE-9ACA-4467-98E5-532EC45D9D1C}" dt="2024-03-04T10:50:37.694" v="20940" actId="208"/>
          <ac:picMkLst>
            <pc:docMk/>
            <pc:sldMk cId="558100583" sldId="939"/>
            <ac:picMk id="47" creationId="{AFA8DF43-8FA7-BDF8-F2FB-F3B0054DF797}"/>
          </ac:picMkLst>
        </pc:picChg>
        <pc:cxnChg chg="add mod topLvl">
          <ac:chgData name="Nataliia Chornii (UA)" userId="4e4b8b3d-5f31-49bb-9f80-8a25c04abfff" providerId="ADAL" clId="{EE97D3FE-9ACA-4467-98E5-532EC45D9D1C}" dt="2024-03-11T15:03:50.141" v="25160" actId="1076"/>
          <ac:cxnSpMkLst>
            <pc:docMk/>
            <pc:sldMk cId="558100583" sldId="939"/>
            <ac:cxnSpMk id="42" creationId="{965015A4-110C-E1BF-85B6-5CDC058B8A9F}"/>
          </ac:cxnSpMkLst>
        </pc:cxnChg>
        <pc:cxnChg chg="mod">
          <ac:chgData name="Nataliia Chornii (UA)" userId="4e4b8b3d-5f31-49bb-9f80-8a25c04abfff" providerId="ADAL" clId="{EE97D3FE-9ACA-4467-98E5-532EC45D9D1C}" dt="2024-03-11T15:06:01.518" v="25234" actId="478"/>
          <ac:cxnSpMkLst>
            <pc:docMk/>
            <pc:sldMk cId="558100583" sldId="939"/>
            <ac:cxnSpMk id="74" creationId="{25B3F6D5-282C-358C-D2B0-D6257024D1C3}"/>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3:16.020" v="22448"/>
              <pc2:cmMkLst xmlns:pc2="http://schemas.microsoft.com/office/powerpoint/2019/9/main/command">
                <pc:docMk/>
                <pc:sldMk cId="558100583" sldId="939"/>
                <pc2:cmMk id="{B1F41855-E807-4805-BAAB-9374EF31217B}"/>
              </pc2:cmMkLst>
            </pc226:cmChg>
            <pc226:cmChg xmlns:pc226="http://schemas.microsoft.com/office/powerpoint/2022/06/main/command" chg="mod">
              <pc226:chgData name="Nataliia Chornii (UA)" userId="4e4b8b3d-5f31-49bb-9f80-8a25c04abfff" providerId="ADAL" clId="{EE97D3FE-9ACA-4467-98E5-532EC45D9D1C}" dt="2024-03-04T12:43:13.244" v="22447"/>
              <pc2:cmMkLst xmlns:pc2="http://schemas.microsoft.com/office/powerpoint/2019/9/main/command">
                <pc:docMk/>
                <pc:sldMk cId="558100583" sldId="939"/>
                <pc2:cmMk id="{A570185F-E994-4EC6-A68A-E2C36FB87FD5}"/>
              </pc2:cmMkLst>
            </pc226:cmChg>
            <pc226:cmChg xmlns:pc226="http://schemas.microsoft.com/office/powerpoint/2022/06/main/command" chg="mod">
              <pc226:chgData name="Nataliia Chornii (UA)" userId="4e4b8b3d-5f31-49bb-9f80-8a25c04abfff" providerId="ADAL" clId="{EE97D3FE-9ACA-4467-98E5-532EC45D9D1C}" dt="2024-03-04T12:43:08.377" v="22445"/>
              <pc2:cmMkLst xmlns:pc2="http://schemas.microsoft.com/office/powerpoint/2019/9/main/command">
                <pc:docMk/>
                <pc:sldMk cId="558100583" sldId="939"/>
                <pc2:cmMk id="{D899416F-60CC-4A08-8640-9B29D319EBA4}"/>
              </pc2:cmMkLst>
            </pc226:cmChg>
            <pc226:cmChg xmlns:pc226="http://schemas.microsoft.com/office/powerpoint/2022/06/main/command" chg="mod">
              <pc226:chgData name="Nataliia Chornii (UA)" userId="4e4b8b3d-5f31-49bb-9f80-8a25c04abfff" providerId="ADAL" clId="{EE97D3FE-9ACA-4467-98E5-532EC45D9D1C}" dt="2024-03-04T12:43:10.444" v="22446"/>
              <pc2:cmMkLst xmlns:pc2="http://schemas.microsoft.com/office/powerpoint/2019/9/main/command">
                <pc:docMk/>
                <pc:sldMk cId="558100583" sldId="939"/>
                <pc2:cmMk id="{8E8DDBDA-6933-4C90-9A00-EDFEF31D1A4E}"/>
              </pc2:cmMkLst>
            </pc226:cmChg>
          </p:ext>
        </pc:extLst>
      </pc:sldChg>
      <pc:sldChg chg="addSp delSp modSp mod modCm">
        <pc:chgData name="Nataliia Chornii (UA)" userId="4e4b8b3d-5f31-49bb-9f80-8a25c04abfff" providerId="ADAL" clId="{EE97D3FE-9ACA-4467-98E5-532EC45D9D1C}" dt="2024-03-11T15:08:51.900" v="25292" actId="12789"/>
        <pc:sldMkLst>
          <pc:docMk/>
          <pc:sldMk cId="2169785454" sldId="940"/>
        </pc:sldMkLst>
        <pc:spChg chg="add mod">
          <ac:chgData name="Nataliia Chornii (UA)" userId="4e4b8b3d-5f31-49bb-9f80-8a25c04abfff" providerId="ADAL" clId="{EE97D3FE-9ACA-4467-98E5-532EC45D9D1C}" dt="2024-03-11T14:26:34.588" v="24100"/>
          <ac:spMkLst>
            <pc:docMk/>
            <pc:sldMk cId="2169785454" sldId="940"/>
            <ac:spMk id="2" creationId="{26CBEC25-69EE-FABD-D9B3-821EC29127F9}"/>
          </ac:spMkLst>
        </pc:spChg>
        <pc:spChg chg="del mod ord">
          <ac:chgData name="Nataliia Chornii (UA)" userId="4e4b8b3d-5f31-49bb-9f80-8a25c04abfff" providerId="ADAL" clId="{EE97D3FE-9ACA-4467-98E5-532EC45D9D1C}" dt="2024-03-04T09:42:39.111" v="19482" actId="478"/>
          <ac:spMkLst>
            <pc:docMk/>
            <pc:sldMk cId="2169785454" sldId="940"/>
            <ac:spMk id="2" creationId="{F6B088C4-896F-0BB6-190E-567264B27E74}"/>
          </ac:spMkLst>
        </pc:spChg>
        <pc:spChg chg="mod ord">
          <ac:chgData name="Nataliia Chornii (UA)" userId="4e4b8b3d-5f31-49bb-9f80-8a25c04abfff" providerId="ADAL" clId="{EE97D3FE-9ACA-4467-98E5-532EC45D9D1C}" dt="2024-03-11T14:31:35.731" v="24318" actId="948"/>
          <ac:spMkLst>
            <pc:docMk/>
            <pc:sldMk cId="2169785454" sldId="940"/>
            <ac:spMk id="3" creationId="{F4CCF02E-F3C4-C376-8F56-61BD85A2E74B}"/>
          </ac:spMkLst>
        </pc:spChg>
        <pc:spChg chg="mod ord">
          <ac:chgData name="Nataliia Chornii (UA)" userId="4e4b8b3d-5f31-49bb-9f80-8a25c04abfff" providerId="ADAL" clId="{EE97D3FE-9ACA-4467-98E5-532EC45D9D1C}" dt="2024-03-04T10:52:18.027" v="20984"/>
          <ac:spMkLst>
            <pc:docMk/>
            <pc:sldMk cId="2169785454" sldId="940"/>
            <ac:spMk id="4" creationId="{872966CD-924A-B939-E655-A6BAF817DCBF}"/>
          </ac:spMkLst>
        </pc:spChg>
        <pc:spChg chg="add del mod ord">
          <ac:chgData name="Nataliia Chornii (UA)" userId="4e4b8b3d-5f31-49bb-9f80-8a25c04abfff" providerId="ADAL" clId="{EE97D3FE-9ACA-4467-98E5-532EC45D9D1C}" dt="2024-03-04T09:42:03.236" v="19415" actId="478"/>
          <ac:spMkLst>
            <pc:docMk/>
            <pc:sldMk cId="2169785454" sldId="940"/>
            <ac:spMk id="5" creationId="{CA7D9EF1-7EF2-0B8B-F2CE-05A31EE18C94}"/>
          </ac:spMkLst>
        </pc:spChg>
        <pc:spChg chg="mod">
          <ac:chgData name="Nataliia Chornii (UA)" userId="4e4b8b3d-5f31-49bb-9f80-8a25c04abfff" providerId="ADAL" clId="{EE97D3FE-9ACA-4467-98E5-532EC45D9D1C}" dt="2024-03-11T14:26:34.588" v="24100"/>
          <ac:spMkLst>
            <pc:docMk/>
            <pc:sldMk cId="2169785454" sldId="940"/>
            <ac:spMk id="6" creationId="{36F849D7-46C0-6C5A-A723-C6A32015E50F}"/>
          </ac:spMkLst>
        </pc:spChg>
        <pc:spChg chg="add del mod ord">
          <ac:chgData name="Nataliia Chornii (UA)" userId="4e4b8b3d-5f31-49bb-9f80-8a25c04abfff" providerId="ADAL" clId="{EE97D3FE-9ACA-4467-98E5-532EC45D9D1C}" dt="2024-03-04T09:42:05.651" v="19417" actId="478"/>
          <ac:spMkLst>
            <pc:docMk/>
            <pc:sldMk cId="2169785454" sldId="940"/>
            <ac:spMk id="6" creationId="{86CFCE20-7512-A6A9-55AA-D0C0A0057EDD}"/>
          </ac:spMkLst>
        </pc:spChg>
        <pc:spChg chg="add del mod ord">
          <ac:chgData name="Nataliia Chornii (UA)" userId="4e4b8b3d-5f31-49bb-9f80-8a25c04abfff" providerId="ADAL" clId="{EE97D3FE-9ACA-4467-98E5-532EC45D9D1C}" dt="2024-03-04T09:42:02.716" v="19414" actId="478"/>
          <ac:spMkLst>
            <pc:docMk/>
            <pc:sldMk cId="2169785454" sldId="940"/>
            <ac:spMk id="7" creationId="{8227AC2B-8688-23ED-F355-BC78869FBE01}"/>
          </ac:spMkLst>
        </pc:spChg>
        <pc:spChg chg="mod">
          <ac:chgData name="Nataliia Chornii (UA)" userId="4e4b8b3d-5f31-49bb-9f80-8a25c04abfff" providerId="ADAL" clId="{EE97D3FE-9ACA-4467-98E5-532EC45D9D1C}" dt="2024-03-11T14:26:34.588" v="24100"/>
          <ac:spMkLst>
            <pc:docMk/>
            <pc:sldMk cId="2169785454" sldId="940"/>
            <ac:spMk id="7" creationId="{85DAA367-7E3D-BF6C-A630-9497DF47550A}"/>
          </ac:spMkLst>
        </pc:spChg>
        <pc:spChg chg="mod">
          <ac:chgData name="Nataliia Chornii (UA)" userId="4e4b8b3d-5f31-49bb-9f80-8a25c04abfff" providerId="ADAL" clId="{EE97D3FE-9ACA-4467-98E5-532EC45D9D1C}" dt="2024-03-11T14:26:34.588" v="24100"/>
          <ac:spMkLst>
            <pc:docMk/>
            <pc:sldMk cId="2169785454" sldId="940"/>
            <ac:spMk id="8" creationId="{942F8577-FFE1-9E4C-87D0-C6867D4A3A33}"/>
          </ac:spMkLst>
        </pc:spChg>
        <pc:spChg chg="add del mod ord">
          <ac:chgData name="Nataliia Chornii (UA)" userId="4e4b8b3d-5f31-49bb-9f80-8a25c04abfff" providerId="ADAL" clId="{EE97D3FE-9ACA-4467-98E5-532EC45D9D1C}" dt="2024-03-04T09:42:04.925" v="19416" actId="478"/>
          <ac:spMkLst>
            <pc:docMk/>
            <pc:sldMk cId="2169785454" sldId="940"/>
            <ac:spMk id="8" creationId="{9E249449-92EC-33CF-2C90-B00C30698FC8}"/>
          </ac:spMkLst>
        </pc:spChg>
        <pc:spChg chg="mod">
          <ac:chgData name="Nataliia Chornii (UA)" userId="4e4b8b3d-5f31-49bb-9f80-8a25c04abfff" providerId="ADAL" clId="{EE97D3FE-9ACA-4467-98E5-532EC45D9D1C}" dt="2024-03-11T14:26:34.588" v="24100"/>
          <ac:spMkLst>
            <pc:docMk/>
            <pc:sldMk cId="2169785454" sldId="940"/>
            <ac:spMk id="10" creationId="{682D648A-6A47-005B-CC42-381A9FF46147}"/>
          </ac:spMkLst>
        </pc:spChg>
        <pc:spChg chg="add del mod ord">
          <ac:chgData name="Nataliia Chornii (UA)" userId="4e4b8b3d-5f31-49bb-9f80-8a25c04abfff" providerId="ADAL" clId="{EE97D3FE-9ACA-4467-98E5-532EC45D9D1C}" dt="2024-03-04T09:42:04.925" v="19416" actId="478"/>
          <ac:spMkLst>
            <pc:docMk/>
            <pc:sldMk cId="2169785454" sldId="940"/>
            <ac:spMk id="10" creationId="{8764CBDF-3BEE-FD88-08F7-5D27168A48A6}"/>
          </ac:spMkLst>
        </pc:spChg>
        <pc:spChg chg="mod">
          <ac:chgData name="Nataliia Chornii (UA)" userId="4e4b8b3d-5f31-49bb-9f80-8a25c04abfff" providerId="ADAL" clId="{EE97D3FE-9ACA-4467-98E5-532EC45D9D1C}" dt="2024-03-11T14:26:34.588" v="24100"/>
          <ac:spMkLst>
            <pc:docMk/>
            <pc:sldMk cId="2169785454" sldId="940"/>
            <ac:spMk id="11" creationId="{2ED77B11-BB88-CB63-50B3-A651C8997BB8}"/>
          </ac:spMkLst>
        </pc:spChg>
        <pc:spChg chg="add del mod ord">
          <ac:chgData name="Nataliia Chornii (UA)" userId="4e4b8b3d-5f31-49bb-9f80-8a25c04abfff" providerId="ADAL" clId="{EE97D3FE-9ACA-4467-98E5-532EC45D9D1C}" dt="2024-03-04T09:42:04.925" v="19416" actId="478"/>
          <ac:spMkLst>
            <pc:docMk/>
            <pc:sldMk cId="2169785454" sldId="940"/>
            <ac:spMk id="11" creationId="{6EA9BEF0-2741-E0F5-F185-FC67B65B226E}"/>
          </ac:spMkLst>
        </pc:spChg>
        <pc:spChg chg="add del mod modVis">
          <ac:chgData name="Nataliia Chornii (UA)" userId="4e4b8b3d-5f31-49bb-9f80-8a25c04abfff" providerId="ADAL" clId="{EE97D3FE-9ACA-4467-98E5-532EC45D9D1C}" dt="2024-03-04T09:41:40.733" v="19405"/>
          <ac:spMkLst>
            <pc:docMk/>
            <pc:sldMk cId="2169785454" sldId="940"/>
            <ac:spMk id="12" creationId="{FDEEBB11-82C4-E82A-4BBC-84A66067142B}"/>
          </ac:spMkLst>
        </pc:spChg>
        <pc:spChg chg="mod">
          <ac:chgData name="Nataliia Chornii (UA)" userId="4e4b8b3d-5f31-49bb-9f80-8a25c04abfff" providerId="ADAL" clId="{EE97D3FE-9ACA-4467-98E5-532EC45D9D1C}" dt="2024-03-11T14:26:34.588" v="24100"/>
          <ac:spMkLst>
            <pc:docMk/>
            <pc:sldMk cId="2169785454" sldId="940"/>
            <ac:spMk id="12" creationId="{FE65C05D-79F1-3D44-996D-46AE4F1E12D4}"/>
          </ac:spMkLst>
        </pc:spChg>
        <pc:spChg chg="add mod ord">
          <ac:chgData name="Nataliia Chornii (UA)" userId="4e4b8b3d-5f31-49bb-9f80-8a25c04abfff" providerId="ADAL" clId="{EE97D3FE-9ACA-4467-98E5-532EC45D9D1C}" dt="2024-03-04T10:52:18.027" v="20970"/>
          <ac:spMkLst>
            <pc:docMk/>
            <pc:sldMk cId="2169785454" sldId="940"/>
            <ac:spMk id="13" creationId="{0D92C7FE-84BE-3BA1-61C0-95EF809D6C49}"/>
          </ac:spMkLst>
        </pc:spChg>
        <pc:spChg chg="add mod ord">
          <ac:chgData name="Nataliia Chornii (UA)" userId="4e4b8b3d-5f31-49bb-9f80-8a25c04abfff" providerId="ADAL" clId="{EE97D3FE-9ACA-4467-98E5-532EC45D9D1C}" dt="2024-03-04T10:52:18.027" v="20972"/>
          <ac:spMkLst>
            <pc:docMk/>
            <pc:sldMk cId="2169785454" sldId="940"/>
            <ac:spMk id="14" creationId="{11EF33B5-B97B-2A58-F711-22984259ED65}"/>
          </ac:spMkLst>
        </pc:spChg>
        <pc:spChg chg="add mod ord">
          <ac:chgData name="Nataliia Chornii (UA)" userId="4e4b8b3d-5f31-49bb-9f80-8a25c04abfff" providerId="ADAL" clId="{EE97D3FE-9ACA-4467-98E5-532EC45D9D1C}" dt="2024-03-04T10:52:18.027" v="20974"/>
          <ac:spMkLst>
            <pc:docMk/>
            <pc:sldMk cId="2169785454" sldId="940"/>
            <ac:spMk id="15" creationId="{33BCE1C2-7CC5-B888-833A-087CA2AEEEDC}"/>
          </ac:spMkLst>
        </pc:spChg>
        <pc:spChg chg="mod ord">
          <ac:chgData name="Nataliia Chornii (UA)" userId="4e4b8b3d-5f31-49bb-9f80-8a25c04abfff" providerId="ADAL" clId="{EE97D3FE-9ACA-4467-98E5-532EC45D9D1C}" dt="2024-03-11T15:06:20.068" v="25241" actId="20577"/>
          <ac:spMkLst>
            <pc:docMk/>
            <pc:sldMk cId="2169785454" sldId="940"/>
            <ac:spMk id="16" creationId="{30819613-CE74-49B6-0807-44FDBB81D466}"/>
          </ac:spMkLst>
        </pc:spChg>
        <pc:spChg chg="add mod ord">
          <ac:chgData name="Nataliia Chornii (UA)" userId="4e4b8b3d-5f31-49bb-9f80-8a25c04abfff" providerId="ADAL" clId="{EE97D3FE-9ACA-4467-98E5-532EC45D9D1C}" dt="2024-03-04T09:42:35.773" v="19480" actId="164"/>
          <ac:spMkLst>
            <pc:docMk/>
            <pc:sldMk cId="2169785454" sldId="940"/>
            <ac:spMk id="17" creationId="{5F2DE715-FA6F-6E45-9FFA-2E7486865B08}"/>
          </ac:spMkLst>
        </pc:spChg>
        <pc:spChg chg="add mod ord">
          <ac:chgData name="Nataliia Chornii (UA)" userId="4e4b8b3d-5f31-49bb-9f80-8a25c04abfff" providerId="ADAL" clId="{EE97D3FE-9ACA-4467-98E5-532EC45D9D1C}" dt="2024-03-04T09:42:35.773" v="19480" actId="164"/>
          <ac:spMkLst>
            <pc:docMk/>
            <pc:sldMk cId="2169785454" sldId="940"/>
            <ac:spMk id="18" creationId="{7F6B9350-8C4F-16C2-68C3-04C074E465CD}"/>
          </ac:spMkLst>
        </pc:spChg>
        <pc:spChg chg="add mod ord">
          <ac:chgData name="Nataliia Chornii (UA)" userId="4e4b8b3d-5f31-49bb-9f80-8a25c04abfff" providerId="ADAL" clId="{EE97D3FE-9ACA-4467-98E5-532EC45D9D1C}" dt="2024-03-04T09:42:35.773" v="19480" actId="164"/>
          <ac:spMkLst>
            <pc:docMk/>
            <pc:sldMk cId="2169785454" sldId="940"/>
            <ac:spMk id="19" creationId="{0C32969B-04D5-8343-4A7B-B432C6962BCE}"/>
          </ac:spMkLst>
        </pc:spChg>
        <pc:spChg chg="add mod">
          <ac:chgData name="Nataliia Chornii (UA)" userId="4e4b8b3d-5f31-49bb-9f80-8a25c04abfff" providerId="ADAL" clId="{EE97D3FE-9ACA-4467-98E5-532EC45D9D1C}" dt="2024-03-11T14:31:30.340" v="24315"/>
          <ac:spMkLst>
            <pc:docMk/>
            <pc:sldMk cId="2169785454" sldId="940"/>
            <ac:spMk id="21" creationId="{5F3D2569-C1F1-791B-F491-08CB63AD8D90}"/>
          </ac:spMkLst>
        </pc:spChg>
        <pc:spChg chg="add del mod">
          <ac:chgData name="Nataliia Chornii (UA)" userId="4e4b8b3d-5f31-49bb-9f80-8a25c04abfff" providerId="ADAL" clId="{EE97D3FE-9ACA-4467-98E5-532EC45D9D1C}" dt="2024-03-04T10:51:30.289" v="20943" actId="478"/>
          <ac:spMkLst>
            <pc:docMk/>
            <pc:sldMk cId="2169785454" sldId="940"/>
            <ac:spMk id="21" creationId="{69BD356E-E224-265B-601A-6CE0453E8B0A}"/>
          </ac:spMkLst>
        </pc:spChg>
        <pc:spChg chg="add del mod modVis">
          <ac:chgData name="Nataliia Chornii (UA)" userId="4e4b8b3d-5f31-49bb-9f80-8a25c04abfff" providerId="ADAL" clId="{EE97D3FE-9ACA-4467-98E5-532EC45D9D1C}" dt="2024-03-11T14:31:35.763" v="24341"/>
          <ac:spMkLst>
            <pc:docMk/>
            <pc:sldMk cId="2169785454" sldId="940"/>
            <ac:spMk id="22" creationId="{7F53DC1C-530F-CC26-9334-7E656C88C4B2}"/>
          </ac:spMkLst>
        </pc:spChg>
        <pc:spChg chg="add del">
          <ac:chgData name="Nataliia Chornii (UA)" userId="4e4b8b3d-5f31-49bb-9f80-8a25c04abfff" providerId="ADAL" clId="{EE97D3FE-9ACA-4467-98E5-532EC45D9D1C}" dt="2024-03-11T15:05:37.111" v="25227" actId="22"/>
          <ac:spMkLst>
            <pc:docMk/>
            <pc:sldMk cId="2169785454" sldId="940"/>
            <ac:spMk id="23" creationId="{1456DA2F-585F-B30F-C38B-2AD5AA992710}"/>
          </ac:spMkLst>
        </pc:spChg>
        <pc:spChg chg="del mod ord">
          <ac:chgData name="Nataliia Chornii (UA)" userId="4e4b8b3d-5f31-49bb-9f80-8a25c04abfff" providerId="ADAL" clId="{EE97D3FE-9ACA-4467-98E5-532EC45D9D1C}" dt="2024-03-11T14:31:32.339" v="24316" actId="478"/>
          <ac:spMkLst>
            <pc:docMk/>
            <pc:sldMk cId="2169785454" sldId="940"/>
            <ac:spMk id="23" creationId="{F0F92295-EBAE-39D7-7494-D9035179A285}"/>
          </ac:spMkLst>
        </pc:spChg>
        <pc:spChg chg="add mod">
          <ac:chgData name="Nataliia Chornii (UA)" userId="4e4b8b3d-5f31-49bb-9f80-8a25c04abfff" providerId="ADAL" clId="{EE97D3FE-9ACA-4467-98E5-532EC45D9D1C}" dt="2024-03-11T15:05:49.557" v="25229" actId="164"/>
          <ac:spMkLst>
            <pc:docMk/>
            <pc:sldMk cId="2169785454" sldId="940"/>
            <ac:spMk id="24" creationId="{623315F2-6F52-7DCB-3A14-620B719AD403}"/>
          </ac:spMkLst>
        </pc:spChg>
        <pc:spChg chg="add del mod ord">
          <ac:chgData name="Nataliia Chornii (UA)" userId="4e4b8b3d-5f31-49bb-9f80-8a25c04abfff" providerId="ADAL" clId="{EE97D3FE-9ACA-4467-98E5-532EC45D9D1C}" dt="2024-03-04T09:42:06.900" v="19419" actId="478"/>
          <ac:spMkLst>
            <pc:docMk/>
            <pc:sldMk cId="2169785454" sldId="940"/>
            <ac:spMk id="24" creationId="{6291F660-4399-3100-7AA6-1A96F2BE2FA0}"/>
          </ac:spMkLst>
        </pc:spChg>
        <pc:spChg chg="add mod">
          <ac:chgData name="Nataliia Chornii (UA)" userId="4e4b8b3d-5f31-49bb-9f80-8a25c04abfff" providerId="ADAL" clId="{EE97D3FE-9ACA-4467-98E5-532EC45D9D1C}" dt="2024-03-11T15:05:49.557" v="25229" actId="164"/>
          <ac:spMkLst>
            <pc:docMk/>
            <pc:sldMk cId="2169785454" sldId="940"/>
            <ac:spMk id="26" creationId="{789BFD32-9DF4-7211-FF14-5948C67BE9BF}"/>
          </ac:spMkLst>
        </pc:spChg>
        <pc:spChg chg="del">
          <ac:chgData name="Nataliia Chornii (UA)" userId="4e4b8b3d-5f31-49bb-9f80-8a25c04abfff" providerId="ADAL" clId="{EE97D3FE-9ACA-4467-98E5-532EC45D9D1C}" dt="2024-03-04T09:41:37.514" v="19350" actId="478"/>
          <ac:spMkLst>
            <pc:docMk/>
            <pc:sldMk cId="2169785454" sldId="940"/>
            <ac:spMk id="26" creationId="{D3B06146-D695-C0D1-DE10-612BD2266EB5}"/>
          </ac:spMkLst>
        </pc:spChg>
        <pc:spChg chg="add mod">
          <ac:chgData name="Nataliia Chornii (UA)" userId="4e4b8b3d-5f31-49bb-9f80-8a25c04abfff" providerId="ADAL" clId="{EE97D3FE-9ACA-4467-98E5-532EC45D9D1C}" dt="2024-03-11T15:05:49.557" v="25229" actId="164"/>
          <ac:spMkLst>
            <pc:docMk/>
            <pc:sldMk cId="2169785454" sldId="940"/>
            <ac:spMk id="27" creationId="{DB36808B-37AC-CFC3-F891-9A73E292254D}"/>
          </ac:spMkLst>
        </pc:spChg>
        <pc:spChg chg="del">
          <ac:chgData name="Nataliia Chornii (UA)" userId="4e4b8b3d-5f31-49bb-9f80-8a25c04abfff" providerId="ADAL" clId="{EE97D3FE-9ACA-4467-98E5-532EC45D9D1C}" dt="2024-03-04T09:41:37.514" v="19350" actId="478"/>
          <ac:spMkLst>
            <pc:docMk/>
            <pc:sldMk cId="2169785454" sldId="940"/>
            <ac:spMk id="28" creationId="{E6632A91-C990-C64C-6F5B-FCB2451BD5A7}"/>
          </ac:spMkLst>
        </pc:spChg>
        <pc:spChg chg="add mod">
          <ac:chgData name="Nataliia Chornii (UA)" userId="4e4b8b3d-5f31-49bb-9f80-8a25c04abfff" providerId="ADAL" clId="{EE97D3FE-9ACA-4467-98E5-532EC45D9D1C}" dt="2024-03-11T15:05:49.557" v="25229" actId="164"/>
          <ac:spMkLst>
            <pc:docMk/>
            <pc:sldMk cId="2169785454" sldId="940"/>
            <ac:spMk id="28" creationId="{F0D577AC-C0DD-B963-55D8-AB496D9A6EA3}"/>
          </ac:spMkLst>
        </pc:spChg>
        <pc:spChg chg="del">
          <ac:chgData name="Nataliia Chornii (UA)" userId="4e4b8b3d-5f31-49bb-9f80-8a25c04abfff" providerId="ADAL" clId="{EE97D3FE-9ACA-4467-98E5-532EC45D9D1C}" dt="2024-03-04T09:41:37.514" v="19350" actId="478"/>
          <ac:spMkLst>
            <pc:docMk/>
            <pc:sldMk cId="2169785454" sldId="940"/>
            <ac:spMk id="29" creationId="{69C14E03-FCEC-D42E-5785-FE3FD67A2269}"/>
          </ac:spMkLst>
        </pc:spChg>
        <pc:spChg chg="add mod">
          <ac:chgData name="Nataliia Chornii (UA)" userId="4e4b8b3d-5f31-49bb-9f80-8a25c04abfff" providerId="ADAL" clId="{EE97D3FE-9ACA-4467-98E5-532EC45D9D1C}" dt="2024-03-11T15:05:49.557" v="25229" actId="164"/>
          <ac:spMkLst>
            <pc:docMk/>
            <pc:sldMk cId="2169785454" sldId="940"/>
            <ac:spMk id="29" creationId="{866A13D6-A565-1519-29DC-4570A5030F54}"/>
          </ac:spMkLst>
        </pc:spChg>
        <pc:spChg chg="add mod">
          <ac:chgData name="Nataliia Chornii (UA)" userId="4e4b8b3d-5f31-49bb-9f80-8a25c04abfff" providerId="ADAL" clId="{EE97D3FE-9ACA-4467-98E5-532EC45D9D1C}" dt="2024-03-11T15:05:49.557" v="25229" actId="164"/>
          <ac:spMkLst>
            <pc:docMk/>
            <pc:sldMk cId="2169785454" sldId="940"/>
            <ac:spMk id="31" creationId="{23D3ECD2-C201-16DB-3C9F-2658698F8C75}"/>
          </ac:spMkLst>
        </pc:spChg>
        <pc:spChg chg="del">
          <ac:chgData name="Nataliia Chornii (UA)" userId="4e4b8b3d-5f31-49bb-9f80-8a25c04abfff" providerId="ADAL" clId="{EE97D3FE-9ACA-4467-98E5-532EC45D9D1C}" dt="2024-03-04T09:41:37.514" v="19350" actId="478"/>
          <ac:spMkLst>
            <pc:docMk/>
            <pc:sldMk cId="2169785454" sldId="940"/>
            <ac:spMk id="32" creationId="{AA14433E-3F38-54C2-3C19-F70FDD5BB4F8}"/>
          </ac:spMkLst>
        </pc:spChg>
        <pc:spChg chg="mod">
          <ac:chgData name="Nataliia Chornii (UA)" userId="4e4b8b3d-5f31-49bb-9f80-8a25c04abfff" providerId="ADAL" clId="{EE97D3FE-9ACA-4467-98E5-532EC45D9D1C}" dt="2024-03-04T10:52:13.777" v="20947" actId="165"/>
          <ac:spMkLst>
            <pc:docMk/>
            <pc:sldMk cId="2169785454" sldId="940"/>
            <ac:spMk id="33" creationId="{B506211A-ECD1-0836-E9FB-F8B570D6B234}"/>
          </ac:spMkLst>
        </pc:spChg>
        <pc:spChg chg="mod">
          <ac:chgData name="Nataliia Chornii (UA)" userId="4e4b8b3d-5f31-49bb-9f80-8a25c04abfff" providerId="ADAL" clId="{EE97D3FE-9ACA-4467-98E5-532EC45D9D1C}" dt="2024-03-04T10:52:13.777" v="20947" actId="165"/>
          <ac:spMkLst>
            <pc:docMk/>
            <pc:sldMk cId="2169785454" sldId="940"/>
            <ac:spMk id="34" creationId="{3B5D66C3-47BC-AE6C-0AE6-55E952D53630}"/>
          </ac:spMkLst>
        </pc:spChg>
        <pc:spChg chg="add mod">
          <ac:chgData name="Nataliia Chornii (UA)" userId="4e4b8b3d-5f31-49bb-9f80-8a25c04abfff" providerId="ADAL" clId="{EE97D3FE-9ACA-4467-98E5-532EC45D9D1C}" dt="2024-03-11T15:05:49.557" v="25229" actId="164"/>
          <ac:spMkLst>
            <pc:docMk/>
            <pc:sldMk cId="2169785454" sldId="940"/>
            <ac:spMk id="35" creationId="{0FA7658D-24D7-DD2A-3B5C-2EB961E76452}"/>
          </ac:spMkLst>
        </pc:spChg>
        <pc:spChg chg="del mod ord">
          <ac:chgData name="Nataliia Chornii (UA)" userId="4e4b8b3d-5f31-49bb-9f80-8a25c04abfff" providerId="ADAL" clId="{EE97D3FE-9ACA-4467-98E5-532EC45D9D1C}" dt="2024-03-04T09:42:02.716" v="19414" actId="478"/>
          <ac:spMkLst>
            <pc:docMk/>
            <pc:sldMk cId="2169785454" sldId="940"/>
            <ac:spMk id="35" creationId="{4F177113-0781-5137-1CD7-3B2F5D62C022}"/>
          </ac:spMkLst>
        </pc:spChg>
        <pc:spChg chg="mod ord">
          <ac:chgData name="Nataliia Chornii (UA)" userId="4e4b8b3d-5f31-49bb-9f80-8a25c04abfff" providerId="ADAL" clId="{EE97D3FE-9ACA-4467-98E5-532EC45D9D1C}" dt="2024-03-04T10:52:18.027" v="20978"/>
          <ac:spMkLst>
            <pc:docMk/>
            <pc:sldMk cId="2169785454" sldId="940"/>
            <ac:spMk id="36" creationId="{A8F39C25-781C-A7DA-387A-D92FCABEE1F5}"/>
          </ac:spMkLst>
        </pc:spChg>
        <pc:spChg chg="add mod">
          <ac:chgData name="Nataliia Chornii (UA)" userId="4e4b8b3d-5f31-49bb-9f80-8a25c04abfff" providerId="ADAL" clId="{EE97D3FE-9ACA-4467-98E5-532EC45D9D1C}" dt="2024-03-11T15:05:49.557" v="25229" actId="164"/>
          <ac:spMkLst>
            <pc:docMk/>
            <pc:sldMk cId="2169785454" sldId="940"/>
            <ac:spMk id="37" creationId="{4B44C252-1706-C652-C65A-EB4314E7E877}"/>
          </ac:spMkLst>
        </pc:spChg>
        <pc:spChg chg="add del mod modVis">
          <ac:chgData name="Nataliia Chornii (UA)" userId="4e4b8b3d-5f31-49bb-9f80-8a25c04abfff" providerId="ADAL" clId="{EE97D3FE-9ACA-4467-98E5-532EC45D9D1C}" dt="2024-03-04T10:52:18.043" v="20996"/>
          <ac:spMkLst>
            <pc:docMk/>
            <pc:sldMk cId="2169785454" sldId="940"/>
            <ac:spMk id="37" creationId="{613DFADF-7668-F78F-201D-C5C26B235BD3}"/>
          </ac:spMkLst>
        </pc:spChg>
        <pc:spChg chg="mod ord">
          <ac:chgData name="Nataliia Chornii (UA)" userId="4e4b8b3d-5f31-49bb-9f80-8a25c04abfff" providerId="ADAL" clId="{EE97D3FE-9ACA-4467-98E5-532EC45D9D1C}" dt="2024-03-04T10:52:18.027" v="20980"/>
          <ac:spMkLst>
            <pc:docMk/>
            <pc:sldMk cId="2169785454" sldId="940"/>
            <ac:spMk id="38" creationId="{7B1F3CCD-2DE1-C2A8-D340-EAF5B3993679}"/>
          </ac:spMkLst>
        </pc:spChg>
        <pc:spChg chg="add mod">
          <ac:chgData name="Nataliia Chornii (UA)" userId="4e4b8b3d-5f31-49bb-9f80-8a25c04abfff" providerId="ADAL" clId="{EE97D3FE-9ACA-4467-98E5-532EC45D9D1C}" dt="2024-03-11T15:07:08.350" v="25259" actId="1076"/>
          <ac:spMkLst>
            <pc:docMk/>
            <pc:sldMk cId="2169785454" sldId="940"/>
            <ac:spMk id="40" creationId="{20C39927-6FEB-B068-6830-6BF11F44CD7D}"/>
          </ac:spMkLst>
        </pc:spChg>
        <pc:spChg chg="add mod">
          <ac:chgData name="Nataliia Chornii (UA)" userId="4e4b8b3d-5f31-49bb-9f80-8a25c04abfff" providerId="ADAL" clId="{EE97D3FE-9ACA-4467-98E5-532EC45D9D1C}" dt="2024-03-11T15:05:49.557" v="25229" actId="164"/>
          <ac:spMkLst>
            <pc:docMk/>
            <pc:sldMk cId="2169785454" sldId="940"/>
            <ac:spMk id="41" creationId="{F2F31BD8-6C48-D35C-4A22-7F8DBA5C5608}"/>
          </ac:spMkLst>
        </pc:spChg>
        <pc:spChg chg="add mod">
          <ac:chgData name="Nataliia Chornii (UA)" userId="4e4b8b3d-5f31-49bb-9f80-8a25c04abfff" providerId="ADAL" clId="{EE97D3FE-9ACA-4467-98E5-532EC45D9D1C}" dt="2024-03-11T15:05:49.557" v="25229" actId="164"/>
          <ac:spMkLst>
            <pc:docMk/>
            <pc:sldMk cId="2169785454" sldId="940"/>
            <ac:spMk id="42" creationId="{DDB1D916-C32E-412D-A58E-73662645E147}"/>
          </ac:spMkLst>
        </pc:spChg>
        <pc:spChg chg="add mod">
          <ac:chgData name="Nataliia Chornii (UA)" userId="4e4b8b3d-5f31-49bb-9f80-8a25c04abfff" providerId="ADAL" clId="{EE97D3FE-9ACA-4467-98E5-532EC45D9D1C}" dt="2024-03-11T15:05:49.557" v="25229" actId="164"/>
          <ac:spMkLst>
            <pc:docMk/>
            <pc:sldMk cId="2169785454" sldId="940"/>
            <ac:spMk id="43" creationId="{E95EAC9C-A9B9-FF4A-889C-830E02093F7D}"/>
          </ac:spMkLst>
        </pc:spChg>
        <pc:spChg chg="add mod">
          <ac:chgData name="Nataliia Chornii (UA)" userId="4e4b8b3d-5f31-49bb-9f80-8a25c04abfff" providerId="ADAL" clId="{EE97D3FE-9ACA-4467-98E5-532EC45D9D1C}" dt="2024-03-11T15:05:49.557" v="25229" actId="164"/>
          <ac:spMkLst>
            <pc:docMk/>
            <pc:sldMk cId="2169785454" sldId="940"/>
            <ac:spMk id="44" creationId="{F5AB462F-2394-54C8-9C39-235643602329}"/>
          </ac:spMkLst>
        </pc:spChg>
        <pc:spChg chg="add mod">
          <ac:chgData name="Nataliia Chornii (UA)" userId="4e4b8b3d-5f31-49bb-9f80-8a25c04abfff" providerId="ADAL" clId="{EE97D3FE-9ACA-4467-98E5-532EC45D9D1C}" dt="2024-03-11T15:05:49.557" v="25229" actId="164"/>
          <ac:spMkLst>
            <pc:docMk/>
            <pc:sldMk cId="2169785454" sldId="940"/>
            <ac:spMk id="45" creationId="{C1B35A28-E4A7-9881-CFA8-DE3E45FAA77E}"/>
          </ac:spMkLst>
        </pc:spChg>
        <pc:spChg chg="mod topLvl">
          <ac:chgData name="Nataliia Chornii (UA)" userId="4e4b8b3d-5f31-49bb-9f80-8a25c04abfff" providerId="ADAL" clId="{EE97D3FE-9ACA-4467-98E5-532EC45D9D1C}" dt="2024-03-11T15:07:56.651" v="25275" actId="12789"/>
          <ac:spMkLst>
            <pc:docMk/>
            <pc:sldMk cId="2169785454" sldId="940"/>
            <ac:spMk id="48" creationId="{A4A1DC63-F989-7DAC-799B-BCA0AFE699E2}"/>
          </ac:spMkLst>
        </pc:spChg>
        <pc:spChg chg="mod topLvl">
          <ac:chgData name="Nataliia Chornii (UA)" userId="4e4b8b3d-5f31-49bb-9f80-8a25c04abfff" providerId="ADAL" clId="{EE97D3FE-9ACA-4467-98E5-532EC45D9D1C}" dt="2024-03-11T15:08:39.175" v="25286" actId="12789"/>
          <ac:spMkLst>
            <pc:docMk/>
            <pc:sldMk cId="2169785454" sldId="940"/>
            <ac:spMk id="49" creationId="{A7A0151E-5B58-8D8A-285E-361B78A9422E}"/>
          </ac:spMkLst>
        </pc:spChg>
        <pc:spChg chg="mod topLvl">
          <ac:chgData name="Nataliia Chornii (UA)" userId="4e4b8b3d-5f31-49bb-9f80-8a25c04abfff" providerId="ADAL" clId="{EE97D3FE-9ACA-4467-98E5-532EC45D9D1C}" dt="2024-03-11T15:08:36.901" v="25285" actId="12789"/>
          <ac:spMkLst>
            <pc:docMk/>
            <pc:sldMk cId="2169785454" sldId="940"/>
            <ac:spMk id="50" creationId="{010CCCE4-E9F2-B809-0C8E-827EF3E5E426}"/>
          </ac:spMkLst>
        </pc:spChg>
        <pc:spChg chg="mod topLvl">
          <ac:chgData name="Nataliia Chornii (UA)" userId="4e4b8b3d-5f31-49bb-9f80-8a25c04abfff" providerId="ADAL" clId="{EE97D3FE-9ACA-4467-98E5-532EC45D9D1C}" dt="2024-03-11T15:08:51.900" v="25292" actId="12789"/>
          <ac:spMkLst>
            <pc:docMk/>
            <pc:sldMk cId="2169785454" sldId="940"/>
            <ac:spMk id="51" creationId="{512D1EAE-F968-7682-ECE5-72B4FFFF85A3}"/>
          </ac:spMkLst>
        </pc:spChg>
        <pc:spChg chg="del mod topLvl">
          <ac:chgData name="Nataliia Chornii (UA)" userId="4e4b8b3d-5f31-49bb-9f80-8a25c04abfff" providerId="ADAL" clId="{EE97D3FE-9ACA-4467-98E5-532EC45D9D1C}" dt="2024-03-11T15:06:11.839" v="25238" actId="478"/>
          <ac:spMkLst>
            <pc:docMk/>
            <pc:sldMk cId="2169785454" sldId="940"/>
            <ac:spMk id="52" creationId="{BE71FAD9-0188-3939-8EC6-9AF4634B81A3}"/>
          </ac:spMkLst>
        </pc:spChg>
        <pc:spChg chg="mod topLvl">
          <ac:chgData name="Nataliia Chornii (UA)" userId="4e4b8b3d-5f31-49bb-9f80-8a25c04abfff" providerId="ADAL" clId="{EE97D3FE-9ACA-4467-98E5-532EC45D9D1C}" dt="2024-03-11T15:07:41.186" v="25267" actId="12789"/>
          <ac:spMkLst>
            <pc:docMk/>
            <pc:sldMk cId="2169785454" sldId="940"/>
            <ac:spMk id="53" creationId="{61E235E7-84ED-A6CC-1651-ABAD842FA0B8}"/>
          </ac:spMkLst>
        </pc:spChg>
        <pc:spChg chg="mod topLvl">
          <ac:chgData name="Nataliia Chornii (UA)" userId="4e4b8b3d-5f31-49bb-9f80-8a25c04abfff" providerId="ADAL" clId="{EE97D3FE-9ACA-4467-98E5-532EC45D9D1C}" dt="2024-03-11T15:06:50.315" v="25250" actId="14100"/>
          <ac:spMkLst>
            <pc:docMk/>
            <pc:sldMk cId="2169785454" sldId="940"/>
            <ac:spMk id="55" creationId="{CAAE35C6-3DA4-1798-DBDE-9C3BD133112C}"/>
          </ac:spMkLst>
        </pc:spChg>
        <pc:spChg chg="mod topLvl">
          <ac:chgData name="Nataliia Chornii (UA)" userId="4e4b8b3d-5f31-49bb-9f80-8a25c04abfff" providerId="ADAL" clId="{EE97D3FE-9ACA-4467-98E5-532EC45D9D1C}" dt="2024-03-11T15:06:46.577" v="25249" actId="165"/>
          <ac:spMkLst>
            <pc:docMk/>
            <pc:sldMk cId="2169785454" sldId="940"/>
            <ac:spMk id="56" creationId="{4BD693FD-7EA4-B359-63B3-1F582FA6A5E1}"/>
          </ac:spMkLst>
        </pc:spChg>
        <pc:spChg chg="mod topLvl">
          <ac:chgData name="Nataliia Chornii (UA)" userId="4e4b8b3d-5f31-49bb-9f80-8a25c04abfff" providerId="ADAL" clId="{EE97D3FE-9ACA-4467-98E5-532EC45D9D1C}" dt="2024-03-11T15:06:46.577" v="25249" actId="165"/>
          <ac:spMkLst>
            <pc:docMk/>
            <pc:sldMk cId="2169785454" sldId="940"/>
            <ac:spMk id="57" creationId="{B8D0412D-A242-A961-6FD5-E5CE9DFA949D}"/>
          </ac:spMkLst>
        </pc:spChg>
        <pc:spChg chg="del mod topLvl">
          <ac:chgData name="Nataliia Chornii (UA)" userId="4e4b8b3d-5f31-49bb-9f80-8a25c04abfff" providerId="ADAL" clId="{EE97D3FE-9ACA-4467-98E5-532EC45D9D1C}" dt="2024-03-11T15:06:12.885" v="25239" actId="478"/>
          <ac:spMkLst>
            <pc:docMk/>
            <pc:sldMk cId="2169785454" sldId="940"/>
            <ac:spMk id="58" creationId="{7C9DE323-7E5A-EA7B-8794-FB0587EF4A3D}"/>
          </ac:spMkLst>
        </pc:spChg>
        <pc:spChg chg="mod topLvl">
          <ac:chgData name="Nataliia Chornii (UA)" userId="4e4b8b3d-5f31-49bb-9f80-8a25c04abfff" providerId="ADAL" clId="{EE97D3FE-9ACA-4467-98E5-532EC45D9D1C}" dt="2024-03-11T15:06:46.577" v="25249" actId="165"/>
          <ac:spMkLst>
            <pc:docMk/>
            <pc:sldMk cId="2169785454" sldId="940"/>
            <ac:spMk id="59" creationId="{548B9B05-848B-0CB7-938A-C340555E2864}"/>
          </ac:spMkLst>
        </pc:spChg>
        <pc:spChg chg="mod topLvl">
          <ac:chgData name="Nataliia Chornii (UA)" userId="4e4b8b3d-5f31-49bb-9f80-8a25c04abfff" providerId="ADAL" clId="{EE97D3FE-9ACA-4467-98E5-532EC45D9D1C}" dt="2024-03-11T15:06:46.577" v="25249" actId="165"/>
          <ac:spMkLst>
            <pc:docMk/>
            <pc:sldMk cId="2169785454" sldId="940"/>
            <ac:spMk id="60" creationId="{A49A4C87-9F67-6768-6AC6-5FBB5DD27C68}"/>
          </ac:spMkLst>
        </pc:spChg>
        <pc:spChg chg="mod topLvl">
          <ac:chgData name="Nataliia Chornii (UA)" userId="4e4b8b3d-5f31-49bb-9f80-8a25c04abfff" providerId="ADAL" clId="{EE97D3FE-9ACA-4467-98E5-532EC45D9D1C}" dt="2024-03-11T15:06:46.577" v="25249" actId="165"/>
          <ac:spMkLst>
            <pc:docMk/>
            <pc:sldMk cId="2169785454" sldId="940"/>
            <ac:spMk id="61" creationId="{B3436993-D048-8EDA-F1FF-E9D38591FEEC}"/>
          </ac:spMkLst>
        </pc:spChg>
        <pc:spChg chg="add mod">
          <ac:chgData name="Nataliia Chornii (UA)" userId="4e4b8b3d-5f31-49bb-9f80-8a25c04abfff" providerId="ADAL" clId="{EE97D3FE-9ACA-4467-98E5-532EC45D9D1C}" dt="2024-03-11T15:07:41.186" v="25267" actId="12789"/>
          <ac:spMkLst>
            <pc:docMk/>
            <pc:sldMk cId="2169785454" sldId="940"/>
            <ac:spMk id="64" creationId="{8AAAF1FD-1289-4D07-6647-2F1F62A6A243}"/>
          </ac:spMkLst>
        </pc:spChg>
        <pc:spChg chg="add mod">
          <ac:chgData name="Nataliia Chornii (UA)" userId="4e4b8b3d-5f31-49bb-9f80-8a25c04abfff" providerId="ADAL" clId="{EE97D3FE-9ACA-4467-98E5-532EC45D9D1C}" dt="2024-03-11T15:07:11.096" v="25260" actId="1076"/>
          <ac:spMkLst>
            <pc:docMk/>
            <pc:sldMk cId="2169785454" sldId="940"/>
            <ac:spMk id="66" creationId="{176904F0-FFB9-5BAF-13F1-EC5C9104D6E0}"/>
          </ac:spMkLst>
        </pc:spChg>
        <pc:spChg chg="add del mod">
          <ac:chgData name="Nataliia Chornii (UA)" userId="4e4b8b3d-5f31-49bb-9f80-8a25c04abfff" providerId="ADAL" clId="{EE97D3FE-9ACA-4467-98E5-532EC45D9D1C}" dt="2024-03-11T15:08:49.627" v="25289" actId="478"/>
          <ac:spMkLst>
            <pc:docMk/>
            <pc:sldMk cId="2169785454" sldId="940"/>
            <ac:spMk id="67" creationId="{7539ED67-557D-BFD6-EA83-7AED4EF81671}"/>
          </ac:spMkLst>
        </pc:spChg>
        <pc:spChg chg="add mod">
          <ac:chgData name="Nataliia Chornii (UA)" userId="4e4b8b3d-5f31-49bb-9f80-8a25c04abfff" providerId="ADAL" clId="{EE97D3FE-9ACA-4467-98E5-532EC45D9D1C}" dt="2024-03-11T15:07:43.617" v="25269" actId="571"/>
          <ac:spMkLst>
            <pc:docMk/>
            <pc:sldMk cId="2169785454" sldId="940"/>
            <ac:spMk id="68" creationId="{670CDCBC-18AA-CC0F-ACF0-E9FD8C8397A6}"/>
          </ac:spMkLst>
        </pc:spChg>
        <pc:spChg chg="add mod">
          <ac:chgData name="Nataliia Chornii (UA)" userId="4e4b8b3d-5f31-49bb-9f80-8a25c04abfff" providerId="ADAL" clId="{EE97D3FE-9ACA-4467-98E5-532EC45D9D1C}" dt="2024-03-11T15:07:56.651" v="25275" actId="12789"/>
          <ac:spMkLst>
            <pc:docMk/>
            <pc:sldMk cId="2169785454" sldId="940"/>
            <ac:spMk id="69" creationId="{06CF4829-D23F-A9B8-E20B-BC6A9BBED4BD}"/>
          </ac:spMkLst>
        </pc:spChg>
        <pc:spChg chg="add mod">
          <ac:chgData name="Nataliia Chornii (UA)" userId="4e4b8b3d-5f31-49bb-9f80-8a25c04abfff" providerId="ADAL" clId="{EE97D3FE-9ACA-4467-98E5-532EC45D9D1C}" dt="2024-03-11T15:08:39.175" v="25286" actId="12789"/>
          <ac:spMkLst>
            <pc:docMk/>
            <pc:sldMk cId="2169785454" sldId="940"/>
            <ac:spMk id="70" creationId="{D0C077BE-209A-E2B3-0FDA-A6FFAB74B3DB}"/>
          </ac:spMkLst>
        </pc:spChg>
        <pc:spChg chg="add mod">
          <ac:chgData name="Nataliia Chornii (UA)" userId="4e4b8b3d-5f31-49bb-9f80-8a25c04abfff" providerId="ADAL" clId="{EE97D3FE-9ACA-4467-98E5-532EC45D9D1C}" dt="2024-03-11T15:08:36.901" v="25285" actId="12789"/>
          <ac:spMkLst>
            <pc:docMk/>
            <pc:sldMk cId="2169785454" sldId="940"/>
            <ac:spMk id="71" creationId="{3D68D09B-FBBB-6CDD-7F30-BA85C9DA4B91}"/>
          </ac:spMkLst>
        </pc:spChg>
        <pc:spChg chg="add del mod">
          <ac:chgData name="Nataliia Chornii (UA)" userId="4e4b8b3d-5f31-49bb-9f80-8a25c04abfff" providerId="ADAL" clId="{EE97D3FE-9ACA-4467-98E5-532EC45D9D1C}" dt="2024-03-11T15:08:49.627" v="25291"/>
          <ac:spMkLst>
            <pc:docMk/>
            <pc:sldMk cId="2169785454" sldId="940"/>
            <ac:spMk id="72" creationId="{6AEF7EC1-2B03-2980-8A43-4233B7D5B889}"/>
          </ac:spMkLst>
        </pc:spChg>
        <pc:spChg chg="add mod">
          <ac:chgData name="Nataliia Chornii (UA)" userId="4e4b8b3d-5f31-49bb-9f80-8a25c04abfff" providerId="ADAL" clId="{EE97D3FE-9ACA-4467-98E5-532EC45D9D1C}" dt="2024-03-11T15:08:51.900" v="25292" actId="12789"/>
          <ac:spMkLst>
            <pc:docMk/>
            <pc:sldMk cId="2169785454" sldId="940"/>
            <ac:spMk id="73" creationId="{5EA1CE50-8C28-1BC6-6E3B-A6077460C743}"/>
          </ac:spMkLst>
        </pc:spChg>
        <pc:grpChg chg="add mod">
          <ac:chgData name="Nataliia Chornii (UA)" userId="4e4b8b3d-5f31-49bb-9f80-8a25c04abfff" providerId="ADAL" clId="{EE97D3FE-9ACA-4467-98E5-532EC45D9D1C}" dt="2024-03-11T14:26:34.588" v="24100"/>
          <ac:grpSpMkLst>
            <pc:docMk/>
            <pc:sldMk cId="2169785454" sldId="940"/>
            <ac:grpSpMk id="5" creationId="{D7F287C2-4448-7719-74D8-2072D2FC122D}"/>
          </ac:grpSpMkLst>
        </pc:grpChg>
        <pc:grpChg chg="add mod ord">
          <ac:chgData name="Nataliia Chornii (UA)" userId="4e4b8b3d-5f31-49bb-9f80-8a25c04abfff" providerId="ADAL" clId="{EE97D3FE-9ACA-4467-98E5-532EC45D9D1C}" dt="2024-03-04T10:52:18.027" v="20976"/>
          <ac:grpSpMkLst>
            <pc:docMk/>
            <pc:sldMk cId="2169785454" sldId="940"/>
            <ac:grpSpMk id="20" creationId="{78FA2CB3-16CD-B6C3-DD78-919997C14242}"/>
          </ac:grpSpMkLst>
        </pc:grpChg>
        <pc:grpChg chg="add del mod">
          <ac:chgData name="Nataliia Chornii (UA)" userId="4e4b8b3d-5f31-49bb-9f80-8a25c04abfff" providerId="ADAL" clId="{EE97D3FE-9ACA-4467-98E5-532EC45D9D1C}" dt="2024-03-04T10:52:13.777" v="20947" actId="165"/>
          <ac:grpSpMkLst>
            <pc:docMk/>
            <pc:sldMk cId="2169785454" sldId="940"/>
            <ac:grpSpMk id="27" creationId="{64D5A355-27DF-6FC5-9637-58EEDA210C1F}"/>
          </ac:grpSpMkLst>
        </pc:grpChg>
        <pc:grpChg chg="mod ord topLvl">
          <ac:chgData name="Nataliia Chornii (UA)" userId="4e4b8b3d-5f31-49bb-9f80-8a25c04abfff" providerId="ADAL" clId="{EE97D3FE-9ACA-4467-98E5-532EC45D9D1C}" dt="2024-03-04T10:52:36.702" v="21007" actId="164"/>
          <ac:grpSpMkLst>
            <pc:docMk/>
            <pc:sldMk cId="2169785454" sldId="940"/>
            <ac:grpSpMk id="30" creationId="{E6A65197-8152-A6D9-2D38-D8A76D8E62A3}"/>
          </ac:grpSpMkLst>
        </pc:grpChg>
        <pc:grpChg chg="add mod">
          <ac:chgData name="Nataliia Chornii (UA)" userId="4e4b8b3d-5f31-49bb-9f80-8a25c04abfff" providerId="ADAL" clId="{EE97D3FE-9ACA-4467-98E5-532EC45D9D1C}" dt="2024-03-04T10:52:36.702" v="21007" actId="164"/>
          <ac:grpSpMkLst>
            <pc:docMk/>
            <pc:sldMk cId="2169785454" sldId="940"/>
            <ac:grpSpMk id="39" creationId="{519A8B8C-D859-24CF-238A-710D6B2C4D35}"/>
          </ac:grpSpMkLst>
        </pc:grpChg>
        <pc:grpChg chg="add del mod">
          <ac:chgData name="Nataliia Chornii (UA)" userId="4e4b8b3d-5f31-49bb-9f80-8a25c04abfff" providerId="ADAL" clId="{EE97D3FE-9ACA-4467-98E5-532EC45D9D1C}" dt="2024-03-11T15:05:52.236" v="25231" actId="478"/>
          <ac:grpSpMkLst>
            <pc:docMk/>
            <pc:sldMk cId="2169785454" sldId="940"/>
            <ac:grpSpMk id="46" creationId="{49FF034F-D22D-D5D6-A0C7-6221CD2CB2D7}"/>
          </ac:grpSpMkLst>
        </pc:grpChg>
        <pc:grpChg chg="add del mod">
          <ac:chgData name="Nataliia Chornii (UA)" userId="4e4b8b3d-5f31-49bb-9f80-8a25c04abfff" providerId="ADAL" clId="{EE97D3FE-9ACA-4467-98E5-532EC45D9D1C}" dt="2024-03-11T15:06:10.285" v="25237" actId="165"/>
          <ac:grpSpMkLst>
            <pc:docMk/>
            <pc:sldMk cId="2169785454" sldId="940"/>
            <ac:grpSpMk id="47" creationId="{7E5C5272-7C05-2630-15EB-BEA5F10C44D1}"/>
          </ac:grpSpMkLst>
        </pc:grpChg>
        <pc:grpChg chg="add del mod">
          <ac:chgData name="Nataliia Chornii (UA)" userId="4e4b8b3d-5f31-49bb-9f80-8a25c04abfff" providerId="ADAL" clId="{EE97D3FE-9ACA-4467-98E5-532EC45D9D1C}" dt="2024-03-11T15:06:46.577" v="25249" actId="165"/>
          <ac:grpSpMkLst>
            <pc:docMk/>
            <pc:sldMk cId="2169785454" sldId="940"/>
            <ac:grpSpMk id="65" creationId="{A925D3D4-BBF1-A8F1-3CEA-88E9BD4E9C6B}"/>
          </ac:grpSpMkLst>
        </pc:grpChg>
        <pc:graphicFrameChg chg="mod">
          <ac:chgData name="Nataliia Chornii (UA)" userId="4e4b8b3d-5f31-49bb-9f80-8a25c04abfff" providerId="ADAL" clId="{EE97D3FE-9ACA-4467-98E5-532EC45D9D1C}" dt="2024-03-11T14:31:35.778" v="24343"/>
          <ac:graphicFrameMkLst>
            <pc:docMk/>
            <pc:sldMk cId="2169785454" sldId="940"/>
            <ac:graphicFrameMk id="9" creationId="{D9E6BB6A-4571-FBF8-9A7D-06ADE4374D4D}"/>
          </ac:graphicFrameMkLst>
        </pc:graphicFrameChg>
        <pc:picChg chg="add mod ord">
          <ac:chgData name="Nataliia Chornii (UA)" userId="4e4b8b3d-5f31-49bb-9f80-8a25c04abfff" providerId="ADAL" clId="{EE97D3FE-9ACA-4467-98E5-532EC45D9D1C}" dt="2024-03-04T10:52:36.702" v="21007" actId="164"/>
          <ac:picMkLst>
            <pc:docMk/>
            <pc:sldMk cId="2169785454" sldId="940"/>
            <ac:picMk id="25" creationId="{CD034C99-3AF5-C1DE-88C9-2001613953C9}"/>
          </ac:picMkLst>
        </pc:picChg>
        <pc:picChg chg="del mod topLvl">
          <ac:chgData name="Nataliia Chornii (UA)" userId="4e4b8b3d-5f31-49bb-9f80-8a25c04abfff" providerId="ADAL" clId="{EE97D3FE-9ACA-4467-98E5-532EC45D9D1C}" dt="2024-03-04T10:52:15.295" v="20948" actId="478"/>
          <ac:picMkLst>
            <pc:docMk/>
            <pc:sldMk cId="2169785454" sldId="940"/>
            <ac:picMk id="31" creationId="{04DF0F3F-6BC5-C87C-CB4D-5F2678473517}"/>
          </ac:picMkLst>
        </pc:picChg>
        <pc:cxnChg chg="add mod">
          <ac:chgData name="Nataliia Chornii (UA)" userId="4e4b8b3d-5f31-49bb-9f80-8a25c04abfff" providerId="ADAL" clId="{EE97D3FE-9ACA-4467-98E5-532EC45D9D1C}" dt="2024-03-11T15:05:52.236" v="25231" actId="478"/>
          <ac:cxnSpMkLst>
            <pc:docMk/>
            <pc:sldMk cId="2169785454" sldId="940"/>
            <ac:cxnSpMk id="32" creationId="{E6505313-3D7B-05F9-2750-821E93655DCD}"/>
          </ac:cxnSpMkLst>
        </pc:cxnChg>
        <pc:cxnChg chg="mod topLvl">
          <ac:chgData name="Nataliia Chornii (UA)" userId="4e4b8b3d-5f31-49bb-9f80-8a25c04abfff" providerId="ADAL" clId="{EE97D3FE-9ACA-4467-98E5-532EC45D9D1C}" dt="2024-03-11T15:06:50.315" v="25250" actId="14100"/>
          <ac:cxnSpMkLst>
            <pc:docMk/>
            <pc:sldMk cId="2169785454" sldId="940"/>
            <ac:cxnSpMk id="54" creationId="{0F3DA636-2777-B2C2-32AD-3AE30818D252}"/>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3:19.363" v="22449"/>
              <pc2:cmMkLst xmlns:pc2="http://schemas.microsoft.com/office/powerpoint/2019/9/main/command">
                <pc:docMk/>
                <pc:sldMk cId="2169785454" sldId="940"/>
                <pc2:cmMk id="{D8D88415-B258-4414-B60D-60263E5E54CC}"/>
              </pc2:cmMkLst>
            </pc226:cmChg>
            <pc226:cmChg xmlns:pc226="http://schemas.microsoft.com/office/powerpoint/2022/06/main/command" chg="mod">
              <pc226:chgData name="Nataliia Chornii (UA)" userId="4e4b8b3d-5f31-49bb-9f80-8a25c04abfff" providerId="ADAL" clId="{EE97D3FE-9ACA-4467-98E5-532EC45D9D1C}" dt="2024-03-01T14:55:58.385" v="15918" actId="2056"/>
              <pc2:cmMkLst xmlns:pc2="http://schemas.microsoft.com/office/powerpoint/2019/9/main/command">
                <pc:docMk/>
                <pc:sldMk cId="2169785454" sldId="940"/>
                <pc2:cmMk id="{BCCDEE57-AEF6-454F-B7D5-2CAD163603F2}"/>
              </pc2:cmMkLst>
            </pc226:cmChg>
            <pc226:cmChg xmlns:pc226="http://schemas.microsoft.com/office/powerpoint/2022/06/main/command" chg="mod">
              <pc226:chgData name="Nataliia Chornii (UA)" userId="4e4b8b3d-5f31-49bb-9f80-8a25c04abfff" providerId="ADAL" clId="{EE97D3FE-9ACA-4467-98E5-532EC45D9D1C}" dt="2024-03-04T12:43:21.603" v="22450"/>
              <pc2:cmMkLst xmlns:pc2="http://schemas.microsoft.com/office/powerpoint/2019/9/main/command">
                <pc:docMk/>
                <pc:sldMk cId="2169785454" sldId="940"/>
                <pc2:cmMk id="{B751C4A5-EDBC-4C47-B97D-33448EC4C89E}"/>
              </pc2:cmMkLst>
            </pc226:cmChg>
            <pc226:cmChg xmlns:pc226="http://schemas.microsoft.com/office/powerpoint/2022/06/main/command" chg="mod">
              <pc226:chgData name="Nataliia Chornii (UA)" userId="4e4b8b3d-5f31-49bb-9f80-8a25c04abfff" providerId="ADAL" clId="{EE97D3FE-9ACA-4467-98E5-532EC45D9D1C}" dt="2024-03-11T15:08:46.863" v="25288"/>
              <pc2:cmMkLst xmlns:pc2="http://schemas.microsoft.com/office/powerpoint/2019/9/main/command">
                <pc:docMk/>
                <pc:sldMk cId="2169785454" sldId="940"/>
                <pc2:cmMk id="{3A4D3BAF-8104-4495-8DE3-4015667E4BE1}"/>
              </pc2:cmMkLst>
            </pc226:cmChg>
          </p:ext>
        </pc:extLst>
      </pc:sldChg>
      <pc:sldChg chg="addSp delSp modSp mod modCm">
        <pc:chgData name="Nataliia Chornii (UA)" userId="4e4b8b3d-5f31-49bb-9f80-8a25c04abfff" providerId="ADAL" clId="{EE97D3FE-9ACA-4467-98E5-532EC45D9D1C}" dt="2024-03-11T14:32:51.218" v="24396" actId="948"/>
        <pc:sldMkLst>
          <pc:docMk/>
          <pc:sldMk cId="4229434319" sldId="941"/>
        </pc:sldMkLst>
        <pc:spChg chg="del mod">
          <ac:chgData name="Nataliia Chornii (UA)" userId="4e4b8b3d-5f31-49bb-9f80-8a25c04abfff" providerId="ADAL" clId="{EE97D3FE-9ACA-4467-98E5-532EC45D9D1C}" dt="2024-03-11T14:31:39.433" v="24345" actId="478"/>
          <ac:spMkLst>
            <pc:docMk/>
            <pc:sldMk cId="4229434319" sldId="941"/>
            <ac:spMk id="2" creationId="{9DF5DEA7-2B62-A714-2DA0-9BA52C8CF43D}"/>
          </ac:spMkLst>
        </pc:spChg>
        <pc:spChg chg="del mod ord">
          <ac:chgData name="Nataliia Chornii (UA)" userId="4e4b8b3d-5f31-49bb-9f80-8a25c04abfff" providerId="ADAL" clId="{EE97D3FE-9ACA-4467-98E5-532EC45D9D1C}" dt="2024-03-04T09:45:22.193" v="19791" actId="478"/>
          <ac:spMkLst>
            <pc:docMk/>
            <pc:sldMk cId="4229434319" sldId="941"/>
            <ac:spMk id="2" creationId="{F6B088C4-896F-0BB6-190E-567264B27E74}"/>
          </ac:spMkLst>
        </pc:spChg>
        <pc:spChg chg="mod ord">
          <ac:chgData name="Nataliia Chornii (UA)" userId="4e4b8b3d-5f31-49bb-9f80-8a25c04abfff" providerId="ADAL" clId="{EE97D3FE-9ACA-4467-98E5-532EC45D9D1C}" dt="2024-03-11T14:32:29.117" v="24383" actId="948"/>
          <ac:spMkLst>
            <pc:docMk/>
            <pc:sldMk cId="4229434319" sldId="941"/>
            <ac:spMk id="3" creationId="{F4CCF02E-F3C4-C376-8F56-61BD85A2E74B}"/>
          </ac:spMkLst>
        </pc:spChg>
        <pc:spChg chg="mod ord">
          <ac:chgData name="Nataliia Chornii (UA)" userId="4e4b8b3d-5f31-49bb-9f80-8a25c04abfff" providerId="ADAL" clId="{EE97D3FE-9ACA-4467-98E5-532EC45D9D1C}" dt="2024-03-04T09:44:33.016" v="19733"/>
          <ac:spMkLst>
            <pc:docMk/>
            <pc:sldMk cId="4229434319" sldId="941"/>
            <ac:spMk id="4" creationId="{872966CD-924A-B939-E655-A6BAF817DCBF}"/>
          </ac:spMkLst>
        </pc:spChg>
        <pc:spChg chg="add mod">
          <ac:chgData name="Nataliia Chornii (UA)" userId="4e4b8b3d-5f31-49bb-9f80-8a25c04abfff" providerId="ADAL" clId="{EE97D3FE-9ACA-4467-98E5-532EC45D9D1C}" dt="2024-03-11T14:26:37.976" v="24101"/>
          <ac:spMkLst>
            <pc:docMk/>
            <pc:sldMk cId="4229434319" sldId="941"/>
            <ac:spMk id="5" creationId="{3EE9A8D7-974A-0CF9-3140-9CBC7B279E05}"/>
          </ac:spMkLst>
        </pc:spChg>
        <pc:spChg chg="add del mod">
          <ac:chgData name="Nataliia Chornii (UA)" userId="4e4b8b3d-5f31-49bb-9f80-8a25c04abfff" providerId="ADAL" clId="{EE97D3FE-9ACA-4467-98E5-532EC45D9D1C}" dt="2024-03-04T09:44:02.664" v="19495" actId="478"/>
          <ac:spMkLst>
            <pc:docMk/>
            <pc:sldMk cId="4229434319" sldId="941"/>
            <ac:spMk id="5" creationId="{FBB42B61-6D4A-4737-1035-0F0F6FDC6CE1}"/>
          </ac:spMkLst>
        </pc:spChg>
        <pc:spChg chg="add mod ord">
          <ac:chgData name="Nataliia Chornii (UA)" userId="4e4b8b3d-5f31-49bb-9f80-8a25c04abfff" providerId="ADAL" clId="{EE97D3FE-9ACA-4467-98E5-532EC45D9D1C}" dt="2024-03-11T14:32:38.380" v="24394" actId="14100"/>
          <ac:spMkLst>
            <pc:docMk/>
            <pc:sldMk cId="4229434319" sldId="941"/>
            <ac:spMk id="6" creationId="{A2BB43A5-DD5D-8646-71E8-1A36915C0B8C}"/>
          </ac:spMkLst>
        </pc:spChg>
        <pc:spChg chg="add mod ord">
          <ac:chgData name="Nataliia Chornii (UA)" userId="4e4b8b3d-5f31-49bb-9f80-8a25c04abfff" providerId="ADAL" clId="{EE97D3FE-9ACA-4467-98E5-532EC45D9D1C}" dt="2024-03-11T14:32:42.125" v="24395" actId="14100"/>
          <ac:spMkLst>
            <pc:docMk/>
            <pc:sldMk cId="4229434319" sldId="941"/>
            <ac:spMk id="7" creationId="{E4EF8F99-6CAF-89D6-2B0A-03C46A8AE78A}"/>
          </ac:spMkLst>
        </pc:spChg>
        <pc:spChg chg="add mod ord">
          <ac:chgData name="Nataliia Chornii (UA)" userId="4e4b8b3d-5f31-49bb-9f80-8a25c04abfff" providerId="ADAL" clId="{EE97D3FE-9ACA-4467-98E5-532EC45D9D1C}" dt="2024-03-11T14:32:42.125" v="24395" actId="14100"/>
          <ac:spMkLst>
            <pc:docMk/>
            <pc:sldMk cId="4229434319" sldId="941"/>
            <ac:spMk id="8" creationId="{0DC07B40-AB81-B121-2741-FD0AC669FE4B}"/>
          </ac:spMkLst>
        </pc:spChg>
        <pc:spChg chg="add mod ord">
          <ac:chgData name="Nataliia Chornii (UA)" userId="4e4b8b3d-5f31-49bb-9f80-8a25c04abfff" providerId="ADAL" clId="{EE97D3FE-9ACA-4467-98E5-532EC45D9D1C}" dt="2024-03-04T09:44:45.241" v="19785" actId="552"/>
          <ac:spMkLst>
            <pc:docMk/>
            <pc:sldMk cId="4229434319" sldId="941"/>
            <ac:spMk id="10" creationId="{FD39E877-8733-6B3A-0736-82AE534CA18E}"/>
          </ac:spMkLst>
        </pc:spChg>
        <pc:spChg chg="add mod ord">
          <ac:chgData name="Nataliia Chornii (UA)" userId="4e4b8b3d-5f31-49bb-9f80-8a25c04abfff" providerId="ADAL" clId="{EE97D3FE-9ACA-4467-98E5-532EC45D9D1C}" dt="2024-03-04T09:44:33.032" v="19741"/>
          <ac:spMkLst>
            <pc:docMk/>
            <pc:sldMk cId="4229434319" sldId="941"/>
            <ac:spMk id="11" creationId="{284EF3B7-0D90-7812-B83D-6F9FB9C16ADE}"/>
          </ac:spMkLst>
        </pc:spChg>
        <pc:spChg chg="add mod ord">
          <ac:chgData name="Nataliia Chornii (UA)" userId="4e4b8b3d-5f31-49bb-9f80-8a25c04abfff" providerId="ADAL" clId="{EE97D3FE-9ACA-4467-98E5-532EC45D9D1C}" dt="2024-03-04T09:44:33.032" v="19743"/>
          <ac:spMkLst>
            <pc:docMk/>
            <pc:sldMk cId="4229434319" sldId="941"/>
            <ac:spMk id="12" creationId="{645AEA1F-484B-9114-07B9-348240688C2A}"/>
          </ac:spMkLst>
        </pc:spChg>
        <pc:spChg chg="add mod ord">
          <ac:chgData name="Nataliia Chornii (UA)" userId="4e4b8b3d-5f31-49bb-9f80-8a25c04abfff" providerId="ADAL" clId="{EE97D3FE-9ACA-4467-98E5-532EC45D9D1C}" dt="2024-03-04T09:44:33.032" v="19745"/>
          <ac:spMkLst>
            <pc:docMk/>
            <pc:sldMk cId="4229434319" sldId="941"/>
            <ac:spMk id="13" creationId="{4D41839D-B245-47A7-C971-A1DF27C69FD1}"/>
          </ac:spMkLst>
        </pc:spChg>
        <pc:spChg chg="add mod ord">
          <ac:chgData name="Nataliia Chornii (UA)" userId="4e4b8b3d-5f31-49bb-9f80-8a25c04abfff" providerId="ADAL" clId="{EE97D3FE-9ACA-4467-98E5-532EC45D9D1C}" dt="2024-03-04T09:44:47.821" v="19786" actId="553"/>
          <ac:spMkLst>
            <pc:docMk/>
            <pc:sldMk cId="4229434319" sldId="941"/>
            <ac:spMk id="14" creationId="{A0CB0E11-2B7E-5E0C-8007-0A75CD1A76D9}"/>
          </ac:spMkLst>
        </pc:spChg>
        <pc:spChg chg="add mod ord">
          <ac:chgData name="Nataliia Chornii (UA)" userId="4e4b8b3d-5f31-49bb-9f80-8a25c04abfff" providerId="ADAL" clId="{EE97D3FE-9ACA-4467-98E5-532EC45D9D1C}" dt="2024-03-04T09:44:33.032" v="19749"/>
          <ac:spMkLst>
            <pc:docMk/>
            <pc:sldMk cId="4229434319" sldId="941"/>
            <ac:spMk id="15" creationId="{B18768A5-110E-10C0-6D3E-DB72A0912CCB}"/>
          </ac:spMkLst>
        </pc:spChg>
        <pc:spChg chg="mod ord">
          <ac:chgData name="Nataliia Chornii (UA)" userId="4e4b8b3d-5f31-49bb-9f80-8a25c04abfff" providerId="ADAL" clId="{EE97D3FE-9ACA-4467-98E5-532EC45D9D1C}" dt="2024-03-11T14:32:51.218" v="24396" actId="948"/>
          <ac:spMkLst>
            <pc:docMk/>
            <pc:sldMk cId="4229434319" sldId="941"/>
            <ac:spMk id="16" creationId="{30819613-CE74-49B6-0807-44FDBB81D466}"/>
          </ac:spMkLst>
        </pc:spChg>
        <pc:spChg chg="add mod ord">
          <ac:chgData name="Nataliia Chornii (UA)" userId="4e4b8b3d-5f31-49bb-9f80-8a25c04abfff" providerId="ADAL" clId="{EE97D3FE-9ACA-4467-98E5-532EC45D9D1C}" dt="2024-03-04T09:44:33.032" v="19751"/>
          <ac:spMkLst>
            <pc:docMk/>
            <pc:sldMk cId="4229434319" sldId="941"/>
            <ac:spMk id="17" creationId="{942F1E49-5A40-BD21-159E-8060CE8FA7BC}"/>
          </ac:spMkLst>
        </pc:spChg>
        <pc:spChg chg="mod ord">
          <ac:chgData name="Nataliia Chornii (UA)" userId="4e4b8b3d-5f31-49bb-9f80-8a25c04abfff" providerId="ADAL" clId="{EE97D3FE-9ACA-4467-98E5-532EC45D9D1C}" dt="2024-03-11T14:32:05.309" v="24377" actId="14100"/>
          <ac:spMkLst>
            <pc:docMk/>
            <pc:sldMk cId="4229434319" sldId="941"/>
            <ac:spMk id="18" creationId="{E1D4AC8F-0322-E8A8-E509-5AF71473A8F4}"/>
          </ac:spMkLst>
        </pc:spChg>
        <pc:spChg chg="add mod ord">
          <ac:chgData name="Nataliia Chornii (UA)" userId="4e4b8b3d-5f31-49bb-9f80-8a25c04abfff" providerId="ADAL" clId="{EE97D3FE-9ACA-4467-98E5-532EC45D9D1C}" dt="2024-03-04T09:44:33.032" v="19753"/>
          <ac:spMkLst>
            <pc:docMk/>
            <pc:sldMk cId="4229434319" sldId="941"/>
            <ac:spMk id="19" creationId="{CF9BE83C-42B3-50C4-4EF0-2F8A69DC017B}"/>
          </ac:spMkLst>
        </pc:spChg>
        <pc:spChg chg="add del mod modVis">
          <ac:chgData name="Nataliia Chornii (UA)" userId="4e4b8b3d-5f31-49bb-9f80-8a25c04abfff" providerId="ADAL" clId="{EE97D3FE-9ACA-4467-98E5-532EC45D9D1C}" dt="2024-03-04T09:44:09.554" v="19528"/>
          <ac:spMkLst>
            <pc:docMk/>
            <pc:sldMk cId="4229434319" sldId="941"/>
            <ac:spMk id="20" creationId="{ED4AE23D-6B7D-6B6A-8C36-FBF0AE57AD49}"/>
          </ac:spMkLst>
        </pc:spChg>
        <pc:spChg chg="add mod">
          <ac:chgData name="Nataliia Chornii (UA)" userId="4e4b8b3d-5f31-49bb-9f80-8a25c04abfff" providerId="ADAL" clId="{EE97D3FE-9ACA-4467-98E5-532EC45D9D1C}" dt="2024-03-11T14:32:30.949" v="24393" actId="553"/>
          <ac:spMkLst>
            <pc:docMk/>
            <pc:sldMk cId="4229434319" sldId="941"/>
            <ac:spMk id="21" creationId="{47F90413-FED8-5E76-8366-C80AC457EE4C}"/>
          </ac:spMkLst>
        </pc:spChg>
        <pc:spChg chg="add del mod modVis">
          <ac:chgData name="Nataliia Chornii (UA)" userId="4e4b8b3d-5f31-49bb-9f80-8a25c04abfff" providerId="ADAL" clId="{EE97D3FE-9ACA-4467-98E5-532EC45D9D1C}" dt="2024-03-04T10:57:03.981" v="21077"/>
          <ac:spMkLst>
            <pc:docMk/>
            <pc:sldMk cId="4229434319" sldId="941"/>
            <ac:spMk id="22" creationId="{5875B8ED-8331-BBD8-91C7-4F41AB2B5540}"/>
          </ac:spMkLst>
        </pc:spChg>
        <pc:spChg chg="mod">
          <ac:chgData name="Nataliia Chornii (UA)" userId="4e4b8b3d-5f31-49bb-9f80-8a25c04abfff" providerId="ADAL" clId="{EE97D3FE-9ACA-4467-98E5-532EC45D9D1C}" dt="2024-03-11T14:26:37.976" v="24101"/>
          <ac:spMkLst>
            <pc:docMk/>
            <pc:sldMk cId="4229434319" sldId="941"/>
            <ac:spMk id="22" creationId="{6DCA2759-BC0C-60B1-0C55-6AB8A16A11B2}"/>
          </ac:spMkLst>
        </pc:spChg>
        <pc:spChg chg="del mod ord">
          <ac:chgData name="Nataliia Chornii (UA)" userId="4e4b8b3d-5f31-49bb-9f80-8a25c04abfff" providerId="ADAL" clId="{EE97D3FE-9ACA-4467-98E5-532EC45D9D1C}" dt="2024-03-11T14:31:49.102" v="24376" actId="478"/>
          <ac:spMkLst>
            <pc:docMk/>
            <pc:sldMk cId="4229434319" sldId="941"/>
            <ac:spMk id="23" creationId="{F0F92295-EBAE-39D7-7494-D9035179A285}"/>
          </ac:spMkLst>
        </pc:spChg>
        <pc:spChg chg="del">
          <ac:chgData name="Nataliia Chornii (UA)" userId="4e4b8b3d-5f31-49bb-9f80-8a25c04abfff" providerId="ADAL" clId="{EE97D3FE-9ACA-4467-98E5-532EC45D9D1C}" dt="2024-03-04T09:43:58.448" v="19492" actId="478"/>
          <ac:spMkLst>
            <pc:docMk/>
            <pc:sldMk cId="4229434319" sldId="941"/>
            <ac:spMk id="24" creationId="{6291F660-4399-3100-7AA6-1A96F2BE2FA0}"/>
          </ac:spMkLst>
        </pc:spChg>
        <pc:spChg chg="mod">
          <ac:chgData name="Nataliia Chornii (UA)" userId="4e4b8b3d-5f31-49bb-9f80-8a25c04abfff" providerId="ADAL" clId="{EE97D3FE-9ACA-4467-98E5-532EC45D9D1C}" dt="2024-03-11T14:26:37.976" v="24101"/>
          <ac:spMkLst>
            <pc:docMk/>
            <pc:sldMk cId="4229434319" sldId="941"/>
            <ac:spMk id="24" creationId="{D6AA42A8-019F-0942-66AC-77CA4B5D951C}"/>
          </ac:spMkLst>
        </pc:spChg>
        <pc:spChg chg="mod">
          <ac:chgData name="Nataliia Chornii (UA)" userId="4e4b8b3d-5f31-49bb-9f80-8a25c04abfff" providerId="ADAL" clId="{EE97D3FE-9ACA-4467-98E5-532EC45D9D1C}" dt="2024-03-11T14:26:37.976" v="24101"/>
          <ac:spMkLst>
            <pc:docMk/>
            <pc:sldMk cId="4229434319" sldId="941"/>
            <ac:spMk id="25" creationId="{5A47F367-68E7-E3E7-60DB-86B0D7DFB740}"/>
          </ac:spMkLst>
        </pc:spChg>
        <pc:spChg chg="del">
          <ac:chgData name="Nataliia Chornii (UA)" userId="4e4b8b3d-5f31-49bb-9f80-8a25c04abfff" providerId="ADAL" clId="{EE97D3FE-9ACA-4467-98E5-532EC45D9D1C}" dt="2024-03-04T09:43:59.126" v="19493" actId="478"/>
          <ac:spMkLst>
            <pc:docMk/>
            <pc:sldMk cId="4229434319" sldId="941"/>
            <ac:spMk id="25" creationId="{5EF755D9-3B19-3121-7148-7B4F37248EA8}"/>
          </ac:spMkLst>
        </pc:spChg>
        <pc:spChg chg="mod">
          <ac:chgData name="Nataliia Chornii (UA)" userId="4e4b8b3d-5f31-49bb-9f80-8a25c04abfff" providerId="ADAL" clId="{EE97D3FE-9ACA-4467-98E5-532EC45D9D1C}" dt="2024-03-11T14:26:37.976" v="24101"/>
          <ac:spMkLst>
            <pc:docMk/>
            <pc:sldMk cId="4229434319" sldId="941"/>
            <ac:spMk id="26" creationId="{6E91B1A6-011A-C8A2-100C-1CBD3D8676F3}"/>
          </ac:spMkLst>
        </pc:spChg>
        <pc:spChg chg="del">
          <ac:chgData name="Nataliia Chornii (UA)" userId="4e4b8b3d-5f31-49bb-9f80-8a25c04abfff" providerId="ADAL" clId="{EE97D3FE-9ACA-4467-98E5-532EC45D9D1C}" dt="2024-03-04T09:43:57.517" v="19491" actId="478"/>
          <ac:spMkLst>
            <pc:docMk/>
            <pc:sldMk cId="4229434319" sldId="941"/>
            <ac:spMk id="26" creationId="{D3B06146-D695-C0D1-DE10-612BD2266EB5}"/>
          </ac:spMkLst>
        </pc:spChg>
        <pc:spChg chg="mod">
          <ac:chgData name="Nataliia Chornii (UA)" userId="4e4b8b3d-5f31-49bb-9f80-8a25c04abfff" providerId="ADAL" clId="{EE97D3FE-9ACA-4467-98E5-532EC45D9D1C}" dt="2024-03-11T14:26:37.976" v="24101"/>
          <ac:spMkLst>
            <pc:docMk/>
            <pc:sldMk cId="4229434319" sldId="941"/>
            <ac:spMk id="27" creationId="{3767178A-9D12-B617-5C43-E145B6E64442}"/>
          </ac:spMkLst>
        </pc:spChg>
        <pc:spChg chg="del">
          <ac:chgData name="Nataliia Chornii (UA)" userId="4e4b8b3d-5f31-49bb-9f80-8a25c04abfff" providerId="ADAL" clId="{EE97D3FE-9ACA-4467-98E5-532EC45D9D1C}" dt="2024-03-04T09:43:57.517" v="19491" actId="478"/>
          <ac:spMkLst>
            <pc:docMk/>
            <pc:sldMk cId="4229434319" sldId="941"/>
            <ac:spMk id="27" creationId="{C67C067A-BA44-E473-03E2-74C4CDD50A4F}"/>
          </ac:spMkLst>
        </pc:spChg>
        <pc:spChg chg="mod">
          <ac:chgData name="Nataliia Chornii (UA)" userId="4e4b8b3d-5f31-49bb-9f80-8a25c04abfff" providerId="ADAL" clId="{EE97D3FE-9ACA-4467-98E5-532EC45D9D1C}" dt="2024-03-11T14:26:37.976" v="24101"/>
          <ac:spMkLst>
            <pc:docMk/>
            <pc:sldMk cId="4229434319" sldId="941"/>
            <ac:spMk id="28" creationId="{7CC82735-8661-F15B-80E1-5083D6501266}"/>
          </ac:spMkLst>
        </pc:spChg>
        <pc:spChg chg="del">
          <ac:chgData name="Nataliia Chornii (UA)" userId="4e4b8b3d-5f31-49bb-9f80-8a25c04abfff" providerId="ADAL" clId="{EE97D3FE-9ACA-4467-98E5-532EC45D9D1C}" dt="2024-03-04T09:43:57.517" v="19491" actId="478"/>
          <ac:spMkLst>
            <pc:docMk/>
            <pc:sldMk cId="4229434319" sldId="941"/>
            <ac:spMk id="28" creationId="{E6632A91-C990-C64C-6F5B-FCB2451BD5A7}"/>
          </ac:spMkLst>
        </pc:spChg>
        <pc:spChg chg="add mod">
          <ac:chgData name="Nataliia Chornii (UA)" userId="4e4b8b3d-5f31-49bb-9f80-8a25c04abfff" providerId="ADAL" clId="{EE97D3FE-9ACA-4467-98E5-532EC45D9D1C}" dt="2024-03-11T14:31:45.107" v="24348"/>
          <ac:spMkLst>
            <pc:docMk/>
            <pc:sldMk cId="4229434319" sldId="941"/>
            <ac:spMk id="29" creationId="{10CF8497-44F6-D4A2-BC21-9718267BF46C}"/>
          </ac:spMkLst>
        </pc:spChg>
        <pc:spChg chg="del">
          <ac:chgData name="Nataliia Chornii (UA)" userId="4e4b8b3d-5f31-49bb-9f80-8a25c04abfff" providerId="ADAL" clId="{EE97D3FE-9ACA-4467-98E5-532EC45D9D1C}" dt="2024-03-04T09:43:57.517" v="19491" actId="478"/>
          <ac:spMkLst>
            <pc:docMk/>
            <pc:sldMk cId="4229434319" sldId="941"/>
            <ac:spMk id="29" creationId="{69C14E03-FCEC-D42E-5785-FE3FD67A2269}"/>
          </ac:spMkLst>
        </pc:spChg>
        <pc:spChg chg="del">
          <ac:chgData name="Nataliia Chornii (UA)" userId="4e4b8b3d-5f31-49bb-9f80-8a25c04abfff" providerId="ADAL" clId="{EE97D3FE-9ACA-4467-98E5-532EC45D9D1C}" dt="2024-03-04T09:43:57.517" v="19491" actId="478"/>
          <ac:spMkLst>
            <pc:docMk/>
            <pc:sldMk cId="4229434319" sldId="941"/>
            <ac:spMk id="30" creationId="{AD97BBB0-7D2A-0CBE-6249-FB26EF157720}"/>
          </ac:spMkLst>
        </pc:spChg>
        <pc:spChg chg="add del mod modVis">
          <ac:chgData name="Nataliia Chornii (UA)" userId="4e4b8b3d-5f31-49bb-9f80-8a25c04abfff" providerId="ADAL" clId="{EE97D3FE-9ACA-4467-98E5-532EC45D9D1C}" dt="2024-03-11T14:31:47.684" v="24373"/>
          <ac:spMkLst>
            <pc:docMk/>
            <pc:sldMk cId="4229434319" sldId="941"/>
            <ac:spMk id="30" creationId="{B24F8582-2ECB-08C5-48BF-0F19D0028727}"/>
          </ac:spMkLst>
        </pc:spChg>
        <pc:spChg chg="add mod">
          <ac:chgData name="Nataliia Chornii (UA)" userId="4e4b8b3d-5f31-49bb-9f80-8a25c04abfff" providerId="ADAL" clId="{EE97D3FE-9ACA-4467-98E5-532EC45D9D1C}" dt="2024-03-11T14:32:30.949" v="24393" actId="553"/>
          <ac:spMkLst>
            <pc:docMk/>
            <pc:sldMk cId="4229434319" sldId="941"/>
            <ac:spMk id="31" creationId="{6C40605B-972D-274D-B9C5-B49D58BC4487}"/>
          </ac:spMkLst>
        </pc:spChg>
        <pc:spChg chg="del">
          <ac:chgData name="Nataliia Chornii (UA)" userId="4e4b8b3d-5f31-49bb-9f80-8a25c04abfff" providerId="ADAL" clId="{EE97D3FE-9ACA-4467-98E5-532EC45D9D1C}" dt="2024-03-04T09:43:57.517" v="19491" actId="478"/>
          <ac:spMkLst>
            <pc:docMk/>
            <pc:sldMk cId="4229434319" sldId="941"/>
            <ac:spMk id="31" creationId="{AE1F2CF7-12B2-2C61-02F4-8E90DCAB95C7}"/>
          </ac:spMkLst>
        </pc:spChg>
        <pc:spChg chg="del">
          <ac:chgData name="Nataliia Chornii (UA)" userId="4e4b8b3d-5f31-49bb-9f80-8a25c04abfff" providerId="ADAL" clId="{EE97D3FE-9ACA-4467-98E5-532EC45D9D1C}" dt="2024-03-04T09:43:57.517" v="19491" actId="478"/>
          <ac:spMkLst>
            <pc:docMk/>
            <pc:sldMk cId="4229434319" sldId="941"/>
            <ac:spMk id="32" creationId="{AA14433E-3F38-54C2-3C19-F70FDD5BB4F8}"/>
          </ac:spMkLst>
        </pc:spChg>
        <pc:spChg chg="del">
          <ac:chgData name="Nataliia Chornii (UA)" userId="4e4b8b3d-5f31-49bb-9f80-8a25c04abfff" providerId="ADAL" clId="{EE97D3FE-9ACA-4467-98E5-532EC45D9D1C}" dt="2024-03-04T09:43:57.517" v="19491" actId="478"/>
          <ac:spMkLst>
            <pc:docMk/>
            <pc:sldMk cId="4229434319" sldId="941"/>
            <ac:spMk id="33" creationId="{F92B9C6C-8C5B-AC82-5DDC-E8DB5ABA08D5}"/>
          </ac:spMkLst>
        </pc:spChg>
        <pc:spChg chg="add del mod">
          <ac:chgData name="Nataliia Chornii (UA)" userId="4e4b8b3d-5f31-49bb-9f80-8a25c04abfff" providerId="ADAL" clId="{EE97D3FE-9ACA-4467-98E5-532EC45D9D1C}" dt="2024-03-04T10:57:29.034" v="21084"/>
          <ac:spMkLst>
            <pc:docMk/>
            <pc:sldMk cId="4229434319" sldId="941"/>
            <ac:spMk id="34" creationId="{8F672AE7-0DDD-3274-E002-1DF4267A07E0}"/>
          </ac:spMkLst>
        </pc:spChg>
        <pc:spChg chg="del mod ord">
          <ac:chgData name="Nataliia Chornii (UA)" userId="4e4b8b3d-5f31-49bb-9f80-8a25c04abfff" providerId="ADAL" clId="{EE97D3FE-9ACA-4467-98E5-532EC45D9D1C}" dt="2024-03-04T09:44:29.004" v="19714" actId="478"/>
          <ac:spMkLst>
            <pc:docMk/>
            <pc:sldMk cId="4229434319" sldId="941"/>
            <ac:spMk id="35" creationId="{4F177113-0781-5137-1CD7-3B2F5D62C022}"/>
          </ac:spMkLst>
        </pc:spChg>
        <pc:spChg chg="mod ord">
          <ac:chgData name="Nataliia Chornii (UA)" userId="4e4b8b3d-5f31-49bb-9f80-8a25c04abfff" providerId="ADAL" clId="{EE97D3FE-9ACA-4467-98E5-532EC45D9D1C}" dt="2024-03-11T14:32:05.309" v="24377" actId="14100"/>
          <ac:spMkLst>
            <pc:docMk/>
            <pc:sldMk cId="4229434319" sldId="941"/>
            <ac:spMk id="36" creationId="{A8F39C25-781C-A7DA-387A-D92FCABEE1F5}"/>
          </ac:spMkLst>
        </pc:spChg>
        <pc:spChg chg="add mod">
          <ac:chgData name="Nataliia Chornii (UA)" userId="4e4b8b3d-5f31-49bb-9f80-8a25c04abfff" providerId="ADAL" clId="{EE97D3FE-9ACA-4467-98E5-532EC45D9D1C}" dt="2024-03-11T14:32:13.392" v="24379" actId="1076"/>
          <ac:spMkLst>
            <pc:docMk/>
            <pc:sldMk cId="4229434319" sldId="941"/>
            <ac:spMk id="37" creationId="{E30F7D34-DADA-8F5C-B87F-33FA0FE4040C}"/>
          </ac:spMkLst>
        </pc:spChg>
        <pc:spChg chg="mod ord">
          <ac:chgData name="Nataliia Chornii (UA)" userId="4e4b8b3d-5f31-49bb-9f80-8a25c04abfff" providerId="ADAL" clId="{EE97D3FE-9ACA-4467-98E5-532EC45D9D1C}" dt="2024-03-11T14:32:05.309" v="24377" actId="14100"/>
          <ac:spMkLst>
            <pc:docMk/>
            <pc:sldMk cId="4229434319" sldId="941"/>
            <ac:spMk id="38" creationId="{7B1F3CCD-2DE1-C2A8-D340-EAF5B3993679}"/>
          </ac:spMkLst>
        </pc:spChg>
        <pc:spChg chg="mod">
          <ac:chgData name="Nataliia Chornii (UA)" userId="4e4b8b3d-5f31-49bb-9f80-8a25c04abfff" providerId="ADAL" clId="{EE97D3FE-9ACA-4467-98E5-532EC45D9D1C}" dt="2024-03-04T11:03:48.197" v="21703"/>
          <ac:spMkLst>
            <pc:docMk/>
            <pc:sldMk cId="4229434319" sldId="941"/>
            <ac:spMk id="40" creationId="{939AFD7E-CE7C-68BB-2CB0-9DE736774427}"/>
          </ac:spMkLst>
        </pc:spChg>
        <pc:spChg chg="mod">
          <ac:chgData name="Nataliia Chornii (UA)" userId="4e4b8b3d-5f31-49bb-9f80-8a25c04abfff" providerId="ADAL" clId="{EE97D3FE-9ACA-4467-98E5-532EC45D9D1C}" dt="2024-03-04T11:03:48.197" v="21703"/>
          <ac:spMkLst>
            <pc:docMk/>
            <pc:sldMk cId="4229434319" sldId="941"/>
            <ac:spMk id="41" creationId="{3CCBB661-91D3-721F-B441-B5554103118F}"/>
          </ac:spMkLst>
        </pc:spChg>
        <pc:spChg chg="mod">
          <ac:chgData name="Nataliia Chornii (UA)" userId="4e4b8b3d-5f31-49bb-9f80-8a25c04abfff" providerId="ADAL" clId="{EE97D3FE-9ACA-4467-98E5-532EC45D9D1C}" dt="2024-03-04T11:03:48.197" v="21703"/>
          <ac:spMkLst>
            <pc:docMk/>
            <pc:sldMk cId="4229434319" sldId="941"/>
            <ac:spMk id="42" creationId="{1C3D77FE-2050-57C5-699B-E23D89EE4D9F}"/>
          </ac:spMkLst>
        </pc:spChg>
        <pc:grpChg chg="add mod">
          <ac:chgData name="Nataliia Chornii (UA)" userId="4e4b8b3d-5f31-49bb-9f80-8a25c04abfff" providerId="ADAL" clId="{EE97D3FE-9ACA-4467-98E5-532EC45D9D1C}" dt="2024-03-11T14:26:37.976" v="24101"/>
          <ac:grpSpMkLst>
            <pc:docMk/>
            <pc:sldMk cId="4229434319" sldId="941"/>
            <ac:grpSpMk id="20" creationId="{1476811F-6F80-556F-F119-B8BF7156FE00}"/>
          </ac:grpSpMkLst>
        </pc:grpChg>
        <pc:grpChg chg="add mod">
          <ac:chgData name="Nataliia Chornii (UA)" userId="4e4b8b3d-5f31-49bb-9f80-8a25c04abfff" providerId="ADAL" clId="{EE97D3FE-9ACA-4467-98E5-532EC45D9D1C}" dt="2024-03-11T14:32:10.174" v="24378" actId="1076"/>
          <ac:grpSpMkLst>
            <pc:docMk/>
            <pc:sldMk cId="4229434319" sldId="941"/>
            <ac:grpSpMk id="39" creationId="{A33A8691-5AD1-2CF8-9C5D-C16FB49C59A3}"/>
          </ac:grpSpMkLst>
        </pc:grpChg>
        <pc:graphicFrameChg chg="mod">
          <ac:chgData name="Nataliia Chornii (UA)" userId="4e4b8b3d-5f31-49bb-9f80-8a25c04abfff" providerId="ADAL" clId="{EE97D3FE-9ACA-4467-98E5-532EC45D9D1C}" dt="2024-03-11T14:32:29.132" v="24391"/>
          <ac:graphicFrameMkLst>
            <pc:docMk/>
            <pc:sldMk cId="4229434319" sldId="941"/>
            <ac:graphicFrameMk id="9" creationId="{D9E6BB6A-4571-FBF8-9A7D-06ADE4374D4D}"/>
          </ac:graphicFrameMkLst>
        </pc:graphicFrame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11T14:31:45.107" v="24348"/>
              <pc2:cmMkLst xmlns:pc2="http://schemas.microsoft.com/office/powerpoint/2019/9/main/command">
                <pc:docMk/>
                <pc:sldMk cId="4229434319" sldId="941"/>
                <pc2:cmMk id="{8590AEC1-A34A-45D3-8F8B-CA9F66F14848}"/>
              </pc2:cmMkLst>
            </pc226:cmChg>
            <pc226:cmChg xmlns:pc226="http://schemas.microsoft.com/office/powerpoint/2022/06/main/command" chg="mod">
              <pc226:chgData name="Nataliia Chornii (UA)" userId="4e4b8b3d-5f31-49bb-9f80-8a25c04abfff" providerId="ADAL" clId="{EE97D3FE-9ACA-4467-98E5-532EC45D9D1C}" dt="2024-03-04T12:43:32.003" v="22452"/>
              <pc2:cmMkLst xmlns:pc2="http://schemas.microsoft.com/office/powerpoint/2019/9/main/command">
                <pc:docMk/>
                <pc:sldMk cId="4229434319" sldId="941"/>
                <pc2:cmMk id="{BDB956F7-3AF8-48A2-B57C-3B87C2A3F5EC}"/>
              </pc2:cmMkLst>
            </pc226:cmChg>
          </p:ext>
        </pc:extLst>
      </pc:sldChg>
      <pc:sldChg chg="addSp delSp modSp mod modCm">
        <pc:chgData name="Nataliia Chornii (UA)" userId="4e4b8b3d-5f31-49bb-9f80-8a25c04abfff" providerId="ADAL" clId="{EE97D3FE-9ACA-4467-98E5-532EC45D9D1C}" dt="2024-03-11T14:33:10.663" v="24478"/>
        <pc:sldMkLst>
          <pc:docMk/>
          <pc:sldMk cId="3615584869" sldId="942"/>
        </pc:sldMkLst>
        <pc:spChg chg="add mod">
          <ac:chgData name="Nataliia Chornii (UA)" userId="4e4b8b3d-5f31-49bb-9f80-8a25c04abfff" providerId="ADAL" clId="{EE97D3FE-9ACA-4467-98E5-532EC45D9D1C}" dt="2024-03-11T14:26:41.150" v="24102"/>
          <ac:spMkLst>
            <pc:docMk/>
            <pc:sldMk cId="3615584869" sldId="942"/>
            <ac:spMk id="2" creationId="{8EE1DE98-DB4B-314F-4BB5-97B8B97A8B14}"/>
          </ac:spMkLst>
        </pc:spChg>
        <pc:spChg chg="del mod ord">
          <ac:chgData name="Nataliia Chornii (UA)" userId="4e4b8b3d-5f31-49bb-9f80-8a25c04abfff" providerId="ADAL" clId="{EE97D3FE-9ACA-4467-98E5-532EC45D9D1C}" dt="2024-03-04T11:02:36.580" v="21702" actId="478"/>
          <ac:spMkLst>
            <pc:docMk/>
            <pc:sldMk cId="3615584869" sldId="942"/>
            <ac:spMk id="2" creationId="{F6B088C4-896F-0BB6-190E-567264B27E74}"/>
          </ac:spMkLst>
        </pc:spChg>
        <pc:spChg chg="mod ord">
          <ac:chgData name="Nataliia Chornii (UA)" userId="4e4b8b3d-5f31-49bb-9f80-8a25c04abfff" providerId="ADAL" clId="{EE97D3FE-9ACA-4467-98E5-532EC45D9D1C}" dt="2024-03-11T14:33:10.630" v="24453" actId="948"/>
          <ac:spMkLst>
            <pc:docMk/>
            <pc:sldMk cId="3615584869" sldId="942"/>
            <ac:spMk id="3" creationId="{F4CCF02E-F3C4-C376-8F56-61BD85A2E74B}"/>
          </ac:spMkLst>
        </pc:spChg>
        <pc:spChg chg="mod ord">
          <ac:chgData name="Nataliia Chornii (UA)" userId="4e4b8b3d-5f31-49bb-9f80-8a25c04abfff" providerId="ADAL" clId="{EE97D3FE-9ACA-4467-98E5-532EC45D9D1C}" dt="2024-03-04T12:33:46.182" v="21751"/>
          <ac:spMkLst>
            <pc:docMk/>
            <pc:sldMk cId="3615584869" sldId="942"/>
            <ac:spMk id="4" creationId="{872966CD-924A-B939-E655-A6BAF817DCBF}"/>
          </ac:spMkLst>
        </pc:spChg>
        <pc:spChg chg="del mod ord">
          <ac:chgData name="Nataliia Chornii (UA)" userId="4e4b8b3d-5f31-49bb-9f80-8a25c04abfff" providerId="ADAL" clId="{EE97D3FE-9ACA-4467-98E5-532EC45D9D1C}" dt="2024-03-04T10:59:46.518" v="21378" actId="478"/>
          <ac:spMkLst>
            <pc:docMk/>
            <pc:sldMk cId="3615584869" sldId="942"/>
            <ac:spMk id="5" creationId="{729A689A-717A-CEB0-A1F7-C7FBD27BC821}"/>
          </ac:spMkLst>
        </pc:spChg>
        <pc:spChg chg="mod ord">
          <ac:chgData name="Nataliia Chornii (UA)" userId="4e4b8b3d-5f31-49bb-9f80-8a25c04abfff" providerId="ADAL" clId="{EE97D3FE-9ACA-4467-98E5-532EC45D9D1C}" dt="2024-03-04T12:34:14.452" v="21824" actId="20577"/>
          <ac:spMkLst>
            <pc:docMk/>
            <pc:sldMk cId="3615584869" sldId="942"/>
            <ac:spMk id="6" creationId="{9FCB5464-71C0-8D26-F8EA-D639E3AD3942}"/>
          </ac:spMkLst>
        </pc:spChg>
        <pc:spChg chg="mod ord">
          <ac:chgData name="Nataliia Chornii (UA)" userId="4e4b8b3d-5f31-49bb-9f80-8a25c04abfff" providerId="ADAL" clId="{EE97D3FE-9ACA-4467-98E5-532EC45D9D1C}" dt="2024-03-04T12:33:46.182" v="21761"/>
          <ac:spMkLst>
            <pc:docMk/>
            <pc:sldMk cId="3615584869" sldId="942"/>
            <ac:spMk id="7" creationId="{131CF737-7F8A-F69F-9074-8E1795165146}"/>
          </ac:spMkLst>
        </pc:spChg>
        <pc:spChg chg="mod ord">
          <ac:chgData name="Nataliia Chornii (UA)" userId="4e4b8b3d-5f31-49bb-9f80-8a25c04abfff" providerId="ADAL" clId="{EE97D3FE-9ACA-4467-98E5-532EC45D9D1C}" dt="2024-03-04T12:33:46.182" v="21763"/>
          <ac:spMkLst>
            <pc:docMk/>
            <pc:sldMk cId="3615584869" sldId="942"/>
            <ac:spMk id="8" creationId="{DE394745-7D20-7CFE-FA0E-311E6546C320}"/>
          </ac:spMkLst>
        </pc:spChg>
        <pc:spChg chg="mod ord">
          <ac:chgData name="Nataliia Chornii (UA)" userId="4e4b8b3d-5f31-49bb-9f80-8a25c04abfff" providerId="ADAL" clId="{EE97D3FE-9ACA-4467-98E5-532EC45D9D1C}" dt="2024-03-04T12:33:46.182" v="21765"/>
          <ac:spMkLst>
            <pc:docMk/>
            <pc:sldMk cId="3615584869" sldId="942"/>
            <ac:spMk id="10" creationId="{CEB10E6B-E2C2-E173-D397-F7696E76B2B3}"/>
          </ac:spMkLst>
        </pc:spChg>
        <pc:spChg chg="del mod ord">
          <ac:chgData name="Nataliia Chornii (UA)" userId="4e4b8b3d-5f31-49bb-9f80-8a25c04abfff" providerId="ADAL" clId="{EE97D3FE-9ACA-4467-98E5-532EC45D9D1C}" dt="2024-03-04T10:59:46.518" v="21378" actId="478"/>
          <ac:spMkLst>
            <pc:docMk/>
            <pc:sldMk cId="3615584869" sldId="942"/>
            <ac:spMk id="11" creationId="{67F9DE6C-0200-93AD-A9AC-A39DC86C8387}"/>
          </ac:spMkLst>
        </pc:spChg>
        <pc:spChg chg="mod">
          <ac:chgData name="Nataliia Chornii (UA)" userId="4e4b8b3d-5f31-49bb-9f80-8a25c04abfff" providerId="ADAL" clId="{EE97D3FE-9ACA-4467-98E5-532EC45D9D1C}" dt="2024-03-11T14:26:41.150" v="24102"/>
          <ac:spMkLst>
            <pc:docMk/>
            <pc:sldMk cId="3615584869" sldId="942"/>
            <ac:spMk id="11" creationId="{FC80916A-4E1C-C852-5A1F-FCD06808413F}"/>
          </ac:spMkLst>
        </pc:spChg>
        <pc:spChg chg="mod ord">
          <ac:chgData name="Nataliia Chornii (UA)" userId="4e4b8b3d-5f31-49bb-9f80-8a25c04abfff" providerId="ADAL" clId="{EE97D3FE-9ACA-4467-98E5-532EC45D9D1C}" dt="2024-03-04T12:34:15.292" v="21825" actId="20577"/>
          <ac:spMkLst>
            <pc:docMk/>
            <pc:sldMk cId="3615584869" sldId="942"/>
            <ac:spMk id="12" creationId="{BCD23311-41AD-9807-EF29-568FF837616E}"/>
          </ac:spMkLst>
        </pc:spChg>
        <pc:spChg chg="mod ord">
          <ac:chgData name="Nataliia Chornii (UA)" userId="4e4b8b3d-5f31-49bb-9f80-8a25c04abfff" providerId="ADAL" clId="{EE97D3FE-9ACA-4467-98E5-532EC45D9D1C}" dt="2024-03-04T12:33:46.182" v="21769"/>
          <ac:spMkLst>
            <pc:docMk/>
            <pc:sldMk cId="3615584869" sldId="942"/>
            <ac:spMk id="13" creationId="{71ED36E5-E465-D1F1-1E45-A8813A4B5D7F}"/>
          </ac:spMkLst>
        </pc:spChg>
        <pc:spChg chg="mod ord">
          <ac:chgData name="Nataliia Chornii (UA)" userId="4e4b8b3d-5f31-49bb-9f80-8a25c04abfff" providerId="ADAL" clId="{EE97D3FE-9ACA-4467-98E5-532EC45D9D1C}" dt="2024-03-04T12:33:46.182" v="21771"/>
          <ac:spMkLst>
            <pc:docMk/>
            <pc:sldMk cId="3615584869" sldId="942"/>
            <ac:spMk id="14" creationId="{259DB89D-0663-813E-2C04-0B4D674C635D}"/>
          </ac:spMkLst>
        </pc:spChg>
        <pc:spChg chg="mod ord">
          <ac:chgData name="Nataliia Chornii (UA)" userId="4e4b8b3d-5f31-49bb-9f80-8a25c04abfff" providerId="ADAL" clId="{EE97D3FE-9ACA-4467-98E5-532EC45D9D1C}" dt="2024-03-04T12:33:46.182" v="21773"/>
          <ac:spMkLst>
            <pc:docMk/>
            <pc:sldMk cId="3615584869" sldId="942"/>
            <ac:spMk id="15" creationId="{CD0345AC-E5CC-E9A5-9519-EA39D36AEABB}"/>
          </ac:spMkLst>
        </pc:spChg>
        <pc:spChg chg="mod ord">
          <ac:chgData name="Nataliia Chornii (UA)" userId="4e4b8b3d-5f31-49bb-9f80-8a25c04abfff" providerId="ADAL" clId="{EE97D3FE-9ACA-4467-98E5-532EC45D9D1C}" dt="2024-03-04T12:33:46.182" v="21753"/>
          <ac:spMkLst>
            <pc:docMk/>
            <pc:sldMk cId="3615584869" sldId="942"/>
            <ac:spMk id="16" creationId="{30819613-CE74-49B6-0807-44FDBB81D466}"/>
          </ac:spMkLst>
        </pc:spChg>
        <pc:spChg chg="mod">
          <ac:chgData name="Nataliia Chornii (UA)" userId="4e4b8b3d-5f31-49bb-9f80-8a25c04abfff" providerId="ADAL" clId="{EE97D3FE-9ACA-4467-98E5-532EC45D9D1C}" dt="2024-03-11T14:26:41.150" v="24102"/>
          <ac:spMkLst>
            <pc:docMk/>
            <pc:sldMk cId="3615584869" sldId="942"/>
            <ac:spMk id="17" creationId="{3CBF9FF9-CE66-F27C-3983-148FD1147DB6}"/>
          </ac:spMkLst>
        </pc:spChg>
        <pc:spChg chg="add del mod ord">
          <ac:chgData name="Nataliia Chornii (UA)" userId="4e4b8b3d-5f31-49bb-9f80-8a25c04abfff" providerId="ADAL" clId="{EE97D3FE-9ACA-4467-98E5-532EC45D9D1C}" dt="2024-03-04T10:59:38.018" v="21285"/>
          <ac:spMkLst>
            <pc:docMk/>
            <pc:sldMk cId="3615584869" sldId="942"/>
            <ac:spMk id="17" creationId="{4AEAFA8B-7A08-BFE4-6643-1938BF8A0884}"/>
          </ac:spMkLst>
        </pc:spChg>
        <pc:spChg chg="mod ord">
          <ac:chgData name="Nataliia Chornii (UA)" userId="4e4b8b3d-5f31-49bb-9f80-8a25c04abfff" providerId="ADAL" clId="{EE97D3FE-9ACA-4467-98E5-532EC45D9D1C}" dt="2024-03-04T12:33:46.182" v="21755"/>
          <ac:spMkLst>
            <pc:docMk/>
            <pc:sldMk cId="3615584869" sldId="942"/>
            <ac:spMk id="18" creationId="{E1D4AC8F-0322-E8A8-E509-5AF71473A8F4}"/>
          </ac:spMkLst>
        </pc:spChg>
        <pc:spChg chg="mod">
          <ac:chgData name="Nataliia Chornii (UA)" userId="4e4b8b3d-5f31-49bb-9f80-8a25c04abfff" providerId="ADAL" clId="{EE97D3FE-9ACA-4467-98E5-532EC45D9D1C}" dt="2024-03-11T14:26:41.150" v="24102"/>
          <ac:spMkLst>
            <pc:docMk/>
            <pc:sldMk cId="3615584869" sldId="942"/>
            <ac:spMk id="19" creationId="{42B06607-CE59-8BC6-31F5-F13D2467D138}"/>
          </ac:spMkLst>
        </pc:spChg>
        <pc:spChg chg="add del mod ord">
          <ac:chgData name="Nataliia Chornii (UA)" userId="4e4b8b3d-5f31-49bb-9f80-8a25c04abfff" providerId="ADAL" clId="{EE97D3FE-9ACA-4467-98E5-532EC45D9D1C}" dt="2024-03-04T10:59:38.018" v="21285"/>
          <ac:spMkLst>
            <pc:docMk/>
            <pc:sldMk cId="3615584869" sldId="942"/>
            <ac:spMk id="19" creationId="{FEE47A33-6503-7BF9-157C-EC426E57E03D}"/>
          </ac:spMkLst>
        </pc:spChg>
        <pc:spChg chg="add del mod ord">
          <ac:chgData name="Nataliia Chornii (UA)" userId="4e4b8b3d-5f31-49bb-9f80-8a25c04abfff" providerId="ADAL" clId="{EE97D3FE-9ACA-4467-98E5-532EC45D9D1C}" dt="2024-03-04T10:59:38.018" v="21285"/>
          <ac:spMkLst>
            <pc:docMk/>
            <pc:sldMk cId="3615584869" sldId="942"/>
            <ac:spMk id="20" creationId="{80BDEFCF-4EB9-9FAC-EFB9-FADB2FC0A438}"/>
          </ac:spMkLst>
        </pc:spChg>
        <pc:spChg chg="mod">
          <ac:chgData name="Nataliia Chornii (UA)" userId="4e4b8b3d-5f31-49bb-9f80-8a25c04abfff" providerId="ADAL" clId="{EE97D3FE-9ACA-4467-98E5-532EC45D9D1C}" dt="2024-03-11T14:26:41.150" v="24102"/>
          <ac:spMkLst>
            <pc:docMk/>
            <pc:sldMk cId="3615584869" sldId="942"/>
            <ac:spMk id="20" creationId="{B964C889-4B51-94FD-4838-B65EE3CC3550}"/>
          </ac:spMkLst>
        </pc:spChg>
        <pc:spChg chg="mod">
          <ac:chgData name="Nataliia Chornii (UA)" userId="4e4b8b3d-5f31-49bb-9f80-8a25c04abfff" providerId="ADAL" clId="{EE97D3FE-9ACA-4467-98E5-532EC45D9D1C}" dt="2024-03-11T14:26:41.150" v="24102"/>
          <ac:spMkLst>
            <pc:docMk/>
            <pc:sldMk cId="3615584869" sldId="942"/>
            <ac:spMk id="21" creationId="{524A36D9-CDA9-267C-D8E2-BF523BC61635}"/>
          </ac:spMkLst>
        </pc:spChg>
        <pc:spChg chg="add del mod ord">
          <ac:chgData name="Nataliia Chornii (UA)" userId="4e4b8b3d-5f31-49bb-9f80-8a25c04abfff" providerId="ADAL" clId="{EE97D3FE-9ACA-4467-98E5-532EC45D9D1C}" dt="2024-03-04T10:59:38.018" v="21285"/>
          <ac:spMkLst>
            <pc:docMk/>
            <pc:sldMk cId="3615584869" sldId="942"/>
            <ac:spMk id="21" creationId="{B4ADCF57-262B-3537-4FC0-8EF66C128EA3}"/>
          </ac:spMkLst>
        </pc:spChg>
        <pc:spChg chg="mod">
          <ac:chgData name="Nataliia Chornii (UA)" userId="4e4b8b3d-5f31-49bb-9f80-8a25c04abfff" providerId="ADAL" clId="{EE97D3FE-9ACA-4467-98E5-532EC45D9D1C}" dt="2024-03-11T14:26:41.150" v="24102"/>
          <ac:spMkLst>
            <pc:docMk/>
            <pc:sldMk cId="3615584869" sldId="942"/>
            <ac:spMk id="22" creationId="{129B7FCA-C72E-91DE-8C50-F8B321431778}"/>
          </ac:spMkLst>
        </pc:spChg>
        <pc:spChg chg="add del mod ord">
          <ac:chgData name="Nataliia Chornii (UA)" userId="4e4b8b3d-5f31-49bb-9f80-8a25c04abfff" providerId="ADAL" clId="{EE97D3FE-9ACA-4467-98E5-532EC45D9D1C}" dt="2024-03-04T10:59:38.018" v="21285"/>
          <ac:spMkLst>
            <pc:docMk/>
            <pc:sldMk cId="3615584869" sldId="942"/>
            <ac:spMk id="22" creationId="{2767FCED-8FF7-3803-1583-919E301D03F9}"/>
          </ac:spMkLst>
        </pc:spChg>
        <pc:spChg chg="del mod ord">
          <ac:chgData name="Nataliia Chornii (UA)" userId="4e4b8b3d-5f31-49bb-9f80-8a25c04abfff" providerId="ADAL" clId="{EE97D3FE-9ACA-4467-98E5-532EC45D9D1C}" dt="2024-03-11T14:33:09.245" v="24451" actId="478"/>
          <ac:spMkLst>
            <pc:docMk/>
            <pc:sldMk cId="3615584869" sldId="942"/>
            <ac:spMk id="23" creationId="{F0F92295-EBAE-39D7-7494-D9035179A285}"/>
          </ac:spMkLst>
        </pc:spChg>
        <pc:spChg chg="del mod ord">
          <ac:chgData name="Nataliia Chornii (UA)" userId="4e4b8b3d-5f31-49bb-9f80-8a25c04abfff" providerId="ADAL" clId="{EE97D3FE-9ACA-4467-98E5-532EC45D9D1C}" dt="2024-03-04T10:59:41.487" v="21288" actId="478"/>
          <ac:spMkLst>
            <pc:docMk/>
            <pc:sldMk cId="3615584869" sldId="942"/>
            <ac:spMk id="24" creationId="{6291F660-4399-3100-7AA6-1A96F2BE2FA0}"/>
          </ac:spMkLst>
        </pc:spChg>
        <pc:spChg chg="add del mod modVis">
          <ac:chgData name="Nataliia Chornii (UA)" userId="4e4b8b3d-5f31-49bb-9f80-8a25c04abfff" providerId="ADAL" clId="{EE97D3FE-9ACA-4467-98E5-532EC45D9D1C}" dt="2024-03-11T14:33:04.447" v="24444" actId="962"/>
          <ac:spMkLst>
            <pc:docMk/>
            <pc:sldMk cId="3615584869" sldId="942"/>
            <ac:spMk id="24" creationId="{CBA35F36-1817-0653-94CE-FD874AC79F6D}"/>
          </ac:spMkLst>
        </pc:spChg>
        <pc:spChg chg="del mod ord">
          <ac:chgData name="Nataliia Chornii (UA)" userId="4e4b8b3d-5f31-49bb-9f80-8a25c04abfff" providerId="ADAL" clId="{EE97D3FE-9ACA-4467-98E5-532EC45D9D1C}" dt="2024-03-04T10:59:40.842" v="21287" actId="478"/>
          <ac:spMkLst>
            <pc:docMk/>
            <pc:sldMk cId="3615584869" sldId="942"/>
            <ac:spMk id="25" creationId="{5EF755D9-3B19-3121-7148-7B4F37248EA8}"/>
          </ac:spMkLst>
        </pc:spChg>
        <pc:spChg chg="add mod">
          <ac:chgData name="Nataliia Chornii (UA)" userId="4e4b8b3d-5f31-49bb-9f80-8a25c04abfff" providerId="ADAL" clId="{EE97D3FE-9ACA-4467-98E5-532EC45D9D1C}" dt="2024-03-11T14:33:06.766" v="24450"/>
          <ac:spMkLst>
            <pc:docMk/>
            <pc:sldMk cId="3615584869" sldId="942"/>
            <ac:spMk id="25" creationId="{75EFC37F-1063-4F82-B810-0A2208C5BE0E}"/>
          </ac:spMkLst>
        </pc:spChg>
        <pc:spChg chg="add del mod modVis">
          <ac:chgData name="Nataliia Chornii (UA)" userId="4e4b8b3d-5f31-49bb-9f80-8a25c04abfff" providerId="ADAL" clId="{EE97D3FE-9ACA-4467-98E5-532EC45D9D1C}" dt="2024-03-11T14:33:10.663" v="24476"/>
          <ac:spMkLst>
            <pc:docMk/>
            <pc:sldMk cId="3615584869" sldId="942"/>
            <ac:spMk id="26" creationId="{20C98FCB-C633-04E7-6FB5-40D178C95063}"/>
          </ac:spMkLst>
        </pc:spChg>
        <pc:spChg chg="del mod ord">
          <ac:chgData name="Nataliia Chornii (UA)" userId="4e4b8b3d-5f31-49bb-9f80-8a25c04abfff" providerId="ADAL" clId="{EE97D3FE-9ACA-4467-98E5-532EC45D9D1C}" dt="2024-03-04T10:59:40.318" v="21286" actId="478"/>
          <ac:spMkLst>
            <pc:docMk/>
            <pc:sldMk cId="3615584869" sldId="942"/>
            <ac:spMk id="26" creationId="{D3B06146-D695-C0D1-DE10-612BD2266EB5}"/>
          </ac:spMkLst>
        </pc:spChg>
        <pc:spChg chg="del mod ord">
          <ac:chgData name="Nataliia Chornii (UA)" userId="4e4b8b3d-5f31-49bb-9f80-8a25c04abfff" providerId="ADAL" clId="{EE97D3FE-9ACA-4467-98E5-532EC45D9D1C}" dt="2024-03-04T10:59:40.318" v="21286" actId="478"/>
          <ac:spMkLst>
            <pc:docMk/>
            <pc:sldMk cId="3615584869" sldId="942"/>
            <ac:spMk id="27" creationId="{C67C067A-BA44-E473-03E2-74C4CDD50A4F}"/>
          </ac:spMkLst>
        </pc:spChg>
        <pc:spChg chg="del mod ord">
          <ac:chgData name="Nataliia Chornii (UA)" userId="4e4b8b3d-5f31-49bb-9f80-8a25c04abfff" providerId="ADAL" clId="{EE97D3FE-9ACA-4467-98E5-532EC45D9D1C}" dt="2024-03-04T10:59:40.318" v="21286" actId="478"/>
          <ac:spMkLst>
            <pc:docMk/>
            <pc:sldMk cId="3615584869" sldId="942"/>
            <ac:spMk id="28" creationId="{E6632A91-C990-C64C-6F5B-FCB2451BD5A7}"/>
          </ac:spMkLst>
        </pc:spChg>
        <pc:spChg chg="del mod ord">
          <ac:chgData name="Nataliia Chornii (UA)" userId="4e4b8b3d-5f31-49bb-9f80-8a25c04abfff" providerId="ADAL" clId="{EE97D3FE-9ACA-4467-98E5-532EC45D9D1C}" dt="2024-03-04T10:59:40.318" v="21286" actId="478"/>
          <ac:spMkLst>
            <pc:docMk/>
            <pc:sldMk cId="3615584869" sldId="942"/>
            <ac:spMk id="29" creationId="{69C14E03-FCEC-D42E-5785-FE3FD67A2269}"/>
          </ac:spMkLst>
        </pc:spChg>
        <pc:spChg chg="del mod ord">
          <ac:chgData name="Nataliia Chornii (UA)" userId="4e4b8b3d-5f31-49bb-9f80-8a25c04abfff" providerId="ADAL" clId="{EE97D3FE-9ACA-4467-98E5-532EC45D9D1C}" dt="2024-03-04T10:59:40.318" v="21286" actId="478"/>
          <ac:spMkLst>
            <pc:docMk/>
            <pc:sldMk cId="3615584869" sldId="942"/>
            <ac:spMk id="30" creationId="{AD97BBB0-7D2A-0CBE-6249-FB26EF157720}"/>
          </ac:spMkLst>
        </pc:spChg>
        <pc:spChg chg="del mod ord">
          <ac:chgData name="Nataliia Chornii (UA)" userId="4e4b8b3d-5f31-49bb-9f80-8a25c04abfff" providerId="ADAL" clId="{EE97D3FE-9ACA-4467-98E5-532EC45D9D1C}" dt="2024-03-04T10:59:40.318" v="21286" actId="478"/>
          <ac:spMkLst>
            <pc:docMk/>
            <pc:sldMk cId="3615584869" sldId="942"/>
            <ac:spMk id="31" creationId="{AE1F2CF7-12B2-2C61-02F4-8E90DCAB95C7}"/>
          </ac:spMkLst>
        </pc:spChg>
        <pc:spChg chg="del mod ord">
          <ac:chgData name="Nataliia Chornii (UA)" userId="4e4b8b3d-5f31-49bb-9f80-8a25c04abfff" providerId="ADAL" clId="{EE97D3FE-9ACA-4467-98E5-532EC45D9D1C}" dt="2024-03-04T10:59:40.318" v="21286" actId="478"/>
          <ac:spMkLst>
            <pc:docMk/>
            <pc:sldMk cId="3615584869" sldId="942"/>
            <ac:spMk id="32" creationId="{AA14433E-3F38-54C2-3C19-F70FDD5BB4F8}"/>
          </ac:spMkLst>
        </pc:spChg>
        <pc:spChg chg="del mod ord">
          <ac:chgData name="Nataliia Chornii (UA)" userId="4e4b8b3d-5f31-49bb-9f80-8a25c04abfff" providerId="ADAL" clId="{EE97D3FE-9ACA-4467-98E5-532EC45D9D1C}" dt="2024-03-04T10:59:40.318" v="21286" actId="478"/>
          <ac:spMkLst>
            <pc:docMk/>
            <pc:sldMk cId="3615584869" sldId="942"/>
            <ac:spMk id="33" creationId="{F92B9C6C-8C5B-AC82-5DDC-E8DB5ABA08D5}"/>
          </ac:spMkLst>
        </pc:spChg>
        <pc:spChg chg="add del mod ord">
          <ac:chgData name="Nataliia Chornii (UA)" userId="4e4b8b3d-5f31-49bb-9f80-8a25c04abfff" providerId="ADAL" clId="{EE97D3FE-9ACA-4467-98E5-532EC45D9D1C}" dt="2024-03-04T10:59:38.018" v="21285"/>
          <ac:spMkLst>
            <pc:docMk/>
            <pc:sldMk cId="3615584869" sldId="942"/>
            <ac:spMk id="34" creationId="{D316F7C6-D3B1-069B-B67B-6F94DF2235A7}"/>
          </ac:spMkLst>
        </pc:spChg>
        <pc:spChg chg="del mod ord">
          <ac:chgData name="Nataliia Chornii (UA)" userId="4e4b8b3d-5f31-49bb-9f80-8a25c04abfff" providerId="ADAL" clId="{EE97D3FE-9ACA-4467-98E5-532EC45D9D1C}" dt="2024-03-04T10:59:46.518" v="21378" actId="478"/>
          <ac:spMkLst>
            <pc:docMk/>
            <pc:sldMk cId="3615584869" sldId="942"/>
            <ac:spMk id="35" creationId="{4F177113-0781-5137-1CD7-3B2F5D62C022}"/>
          </ac:spMkLst>
        </pc:spChg>
        <pc:spChg chg="mod ord">
          <ac:chgData name="Nataliia Chornii (UA)" userId="4e4b8b3d-5f31-49bb-9f80-8a25c04abfff" providerId="ADAL" clId="{EE97D3FE-9ACA-4467-98E5-532EC45D9D1C}" dt="2024-03-04T12:34:14.103" v="21823" actId="20577"/>
          <ac:spMkLst>
            <pc:docMk/>
            <pc:sldMk cId="3615584869" sldId="942"/>
            <ac:spMk id="36" creationId="{A8F39C25-781C-A7DA-387A-D92FCABEE1F5}"/>
          </ac:spMkLst>
        </pc:spChg>
        <pc:spChg chg="add del mod ord">
          <ac:chgData name="Nataliia Chornii (UA)" userId="4e4b8b3d-5f31-49bb-9f80-8a25c04abfff" providerId="ADAL" clId="{EE97D3FE-9ACA-4467-98E5-532EC45D9D1C}" dt="2024-03-04T10:59:38.018" v="21285"/>
          <ac:spMkLst>
            <pc:docMk/>
            <pc:sldMk cId="3615584869" sldId="942"/>
            <ac:spMk id="37" creationId="{3BF9B0ED-A7A5-0F78-B40F-E339612E4F2F}"/>
          </ac:spMkLst>
        </pc:spChg>
        <pc:spChg chg="mod ord">
          <ac:chgData name="Nataliia Chornii (UA)" userId="4e4b8b3d-5f31-49bb-9f80-8a25c04abfff" providerId="ADAL" clId="{EE97D3FE-9ACA-4467-98E5-532EC45D9D1C}" dt="2024-03-04T12:33:46.167" v="21747"/>
          <ac:spMkLst>
            <pc:docMk/>
            <pc:sldMk cId="3615584869" sldId="942"/>
            <ac:spMk id="38" creationId="{7B1F3CCD-2DE1-C2A8-D340-EAF5B3993679}"/>
          </ac:spMkLst>
        </pc:spChg>
        <pc:spChg chg="add del mod ord">
          <ac:chgData name="Nataliia Chornii (UA)" userId="4e4b8b3d-5f31-49bb-9f80-8a25c04abfff" providerId="ADAL" clId="{EE97D3FE-9ACA-4467-98E5-532EC45D9D1C}" dt="2024-03-04T10:59:38.018" v="21285"/>
          <ac:spMkLst>
            <pc:docMk/>
            <pc:sldMk cId="3615584869" sldId="942"/>
            <ac:spMk id="39" creationId="{22D3FE23-29EA-D21A-57D7-BBC31E930A07}"/>
          </ac:spMkLst>
        </pc:spChg>
        <pc:spChg chg="add del mod ord">
          <ac:chgData name="Nataliia Chornii (UA)" userId="4e4b8b3d-5f31-49bb-9f80-8a25c04abfff" providerId="ADAL" clId="{EE97D3FE-9ACA-4467-98E5-532EC45D9D1C}" dt="2024-03-04T10:59:38.018" v="21285"/>
          <ac:spMkLst>
            <pc:docMk/>
            <pc:sldMk cId="3615584869" sldId="942"/>
            <ac:spMk id="40" creationId="{1D703817-7242-94CA-3050-0E8ADCBD9F41}"/>
          </ac:spMkLst>
        </pc:spChg>
        <pc:spChg chg="add del mod ord">
          <ac:chgData name="Nataliia Chornii (UA)" userId="4e4b8b3d-5f31-49bb-9f80-8a25c04abfff" providerId="ADAL" clId="{EE97D3FE-9ACA-4467-98E5-532EC45D9D1C}" dt="2024-03-04T10:59:38.018" v="21285"/>
          <ac:spMkLst>
            <pc:docMk/>
            <pc:sldMk cId="3615584869" sldId="942"/>
            <ac:spMk id="41" creationId="{C3EC5453-F8F2-E969-B933-4B32F4C9C422}"/>
          </ac:spMkLst>
        </pc:spChg>
        <pc:spChg chg="add del mod ord">
          <ac:chgData name="Nataliia Chornii (UA)" userId="4e4b8b3d-5f31-49bb-9f80-8a25c04abfff" providerId="ADAL" clId="{EE97D3FE-9ACA-4467-98E5-532EC45D9D1C}" dt="2024-03-04T10:59:38.018" v="21285"/>
          <ac:spMkLst>
            <pc:docMk/>
            <pc:sldMk cId="3615584869" sldId="942"/>
            <ac:spMk id="42" creationId="{5BAA8165-9AEE-98BC-AB57-AE78D474E8EC}"/>
          </ac:spMkLst>
        </pc:spChg>
        <pc:spChg chg="add del mod ord">
          <ac:chgData name="Nataliia Chornii (UA)" userId="4e4b8b3d-5f31-49bb-9f80-8a25c04abfff" providerId="ADAL" clId="{EE97D3FE-9ACA-4467-98E5-532EC45D9D1C}" dt="2024-03-04T10:59:38.018" v="21285"/>
          <ac:spMkLst>
            <pc:docMk/>
            <pc:sldMk cId="3615584869" sldId="942"/>
            <ac:spMk id="43" creationId="{D8E3C205-14BD-1D14-66F9-CDD4F2B281BE}"/>
          </ac:spMkLst>
        </pc:spChg>
        <pc:spChg chg="add del mod modVis">
          <ac:chgData name="Nataliia Chornii (UA)" userId="4e4b8b3d-5f31-49bb-9f80-8a25c04abfff" providerId="ADAL" clId="{EE97D3FE-9ACA-4467-98E5-532EC45D9D1C}" dt="2024-03-04T10:59:37.767" v="21280"/>
          <ac:spMkLst>
            <pc:docMk/>
            <pc:sldMk cId="3615584869" sldId="942"/>
            <ac:spMk id="44" creationId="{E77BECC6-A0FE-62D5-FB40-4A01457A93AF}"/>
          </ac:spMkLst>
        </pc:spChg>
        <pc:spChg chg="add mod ord">
          <ac:chgData name="Nataliia Chornii (UA)" userId="4e4b8b3d-5f31-49bb-9f80-8a25c04abfff" providerId="ADAL" clId="{EE97D3FE-9ACA-4467-98E5-532EC45D9D1C}" dt="2024-03-04T12:33:46.167" v="21719"/>
          <ac:spMkLst>
            <pc:docMk/>
            <pc:sldMk cId="3615584869" sldId="942"/>
            <ac:spMk id="45" creationId="{ACCF17B9-A116-B3E5-4253-E3D27A07EBE6}"/>
          </ac:spMkLst>
        </pc:spChg>
        <pc:spChg chg="add mod ord">
          <ac:chgData name="Nataliia Chornii (UA)" userId="4e4b8b3d-5f31-49bb-9f80-8a25c04abfff" providerId="ADAL" clId="{EE97D3FE-9ACA-4467-98E5-532EC45D9D1C}" dt="2024-03-04T12:33:46.167" v="21721"/>
          <ac:spMkLst>
            <pc:docMk/>
            <pc:sldMk cId="3615584869" sldId="942"/>
            <ac:spMk id="46" creationId="{B1F489B2-211A-189D-1FC2-52DBCFFFA12A}"/>
          </ac:spMkLst>
        </pc:spChg>
        <pc:spChg chg="add mod ord">
          <ac:chgData name="Nataliia Chornii (UA)" userId="4e4b8b3d-5f31-49bb-9f80-8a25c04abfff" providerId="ADAL" clId="{EE97D3FE-9ACA-4467-98E5-532EC45D9D1C}" dt="2024-03-04T12:33:46.167" v="21725"/>
          <ac:spMkLst>
            <pc:docMk/>
            <pc:sldMk cId="3615584869" sldId="942"/>
            <ac:spMk id="47" creationId="{B2495B1F-472D-0A3B-8475-9C34F129F695}"/>
          </ac:spMkLst>
        </pc:spChg>
        <pc:spChg chg="add mod ord">
          <ac:chgData name="Nataliia Chornii (UA)" userId="4e4b8b3d-5f31-49bb-9f80-8a25c04abfff" providerId="ADAL" clId="{EE97D3FE-9ACA-4467-98E5-532EC45D9D1C}" dt="2024-03-04T12:33:46.167" v="21727"/>
          <ac:spMkLst>
            <pc:docMk/>
            <pc:sldMk cId="3615584869" sldId="942"/>
            <ac:spMk id="48" creationId="{5D5376FA-B5D9-BD4A-2E60-484F85927EC5}"/>
          </ac:spMkLst>
        </pc:spChg>
        <pc:spChg chg="add mod ord">
          <ac:chgData name="Nataliia Chornii (UA)" userId="4e4b8b3d-5f31-49bb-9f80-8a25c04abfff" providerId="ADAL" clId="{EE97D3FE-9ACA-4467-98E5-532EC45D9D1C}" dt="2024-03-04T12:33:46.167" v="21729"/>
          <ac:spMkLst>
            <pc:docMk/>
            <pc:sldMk cId="3615584869" sldId="942"/>
            <ac:spMk id="49" creationId="{C0FB0A2A-8E58-5714-4E5D-483BA9D70A3C}"/>
          </ac:spMkLst>
        </pc:spChg>
        <pc:spChg chg="add mod ord">
          <ac:chgData name="Nataliia Chornii (UA)" userId="4e4b8b3d-5f31-49bb-9f80-8a25c04abfff" providerId="ADAL" clId="{EE97D3FE-9ACA-4467-98E5-532EC45D9D1C}" dt="2024-03-04T12:33:46.167" v="21731"/>
          <ac:spMkLst>
            <pc:docMk/>
            <pc:sldMk cId="3615584869" sldId="942"/>
            <ac:spMk id="50" creationId="{0D2829EB-2DB7-92B6-ED60-5F4CCE5EA10F}"/>
          </ac:spMkLst>
        </pc:spChg>
        <pc:spChg chg="add mod ord">
          <ac:chgData name="Nataliia Chornii (UA)" userId="4e4b8b3d-5f31-49bb-9f80-8a25c04abfff" providerId="ADAL" clId="{EE97D3FE-9ACA-4467-98E5-532EC45D9D1C}" dt="2024-03-04T12:33:46.167" v="21733"/>
          <ac:spMkLst>
            <pc:docMk/>
            <pc:sldMk cId="3615584869" sldId="942"/>
            <ac:spMk id="51" creationId="{06048512-5DC5-9021-22C4-AFCDFDBB09B7}"/>
          </ac:spMkLst>
        </pc:spChg>
        <pc:spChg chg="add mod ord">
          <ac:chgData name="Nataliia Chornii (UA)" userId="4e4b8b3d-5f31-49bb-9f80-8a25c04abfff" providerId="ADAL" clId="{EE97D3FE-9ACA-4467-98E5-532EC45D9D1C}" dt="2024-03-04T12:33:46.167" v="21735"/>
          <ac:spMkLst>
            <pc:docMk/>
            <pc:sldMk cId="3615584869" sldId="942"/>
            <ac:spMk id="52" creationId="{E84079C4-A3E3-E2C1-1A20-FA736957F86A}"/>
          </ac:spMkLst>
        </pc:spChg>
        <pc:spChg chg="add mod ord">
          <ac:chgData name="Nataliia Chornii (UA)" userId="4e4b8b3d-5f31-49bb-9f80-8a25c04abfff" providerId="ADAL" clId="{EE97D3FE-9ACA-4467-98E5-532EC45D9D1C}" dt="2024-03-04T12:33:46.167" v="21737"/>
          <ac:spMkLst>
            <pc:docMk/>
            <pc:sldMk cId="3615584869" sldId="942"/>
            <ac:spMk id="53" creationId="{13A9E587-1DB7-4681-C8DF-047EB324C085}"/>
          </ac:spMkLst>
        </pc:spChg>
        <pc:spChg chg="add mod ord">
          <ac:chgData name="Nataliia Chornii (UA)" userId="4e4b8b3d-5f31-49bb-9f80-8a25c04abfff" providerId="ADAL" clId="{EE97D3FE-9ACA-4467-98E5-532EC45D9D1C}" dt="2024-03-04T12:33:46.167" v="21739"/>
          <ac:spMkLst>
            <pc:docMk/>
            <pc:sldMk cId="3615584869" sldId="942"/>
            <ac:spMk id="54" creationId="{F3BCA6AD-5AB6-7270-4339-1C66A6A7FD37}"/>
          </ac:spMkLst>
        </pc:spChg>
        <pc:spChg chg="add mod ord">
          <ac:chgData name="Nataliia Chornii (UA)" userId="4e4b8b3d-5f31-49bb-9f80-8a25c04abfff" providerId="ADAL" clId="{EE97D3FE-9ACA-4467-98E5-532EC45D9D1C}" dt="2024-03-04T12:33:46.167" v="21741"/>
          <ac:spMkLst>
            <pc:docMk/>
            <pc:sldMk cId="3615584869" sldId="942"/>
            <ac:spMk id="55" creationId="{BFBB300A-2BF9-E2D4-BBEF-173F767980B6}"/>
          </ac:spMkLst>
        </pc:spChg>
        <pc:spChg chg="add mod ord">
          <ac:chgData name="Nataliia Chornii (UA)" userId="4e4b8b3d-5f31-49bb-9f80-8a25c04abfff" providerId="ADAL" clId="{EE97D3FE-9ACA-4467-98E5-532EC45D9D1C}" dt="2024-03-04T12:33:46.167" v="21743"/>
          <ac:spMkLst>
            <pc:docMk/>
            <pc:sldMk cId="3615584869" sldId="942"/>
            <ac:spMk id="56" creationId="{6B255094-3850-7320-5989-3104B5A2D549}"/>
          </ac:spMkLst>
        </pc:spChg>
        <pc:spChg chg="add del mod modVis">
          <ac:chgData name="Nataliia Chornii (UA)" userId="4e4b8b3d-5f31-49bb-9f80-8a25c04abfff" providerId="ADAL" clId="{EE97D3FE-9ACA-4467-98E5-532EC45D9D1C}" dt="2024-03-04T10:59:43.644" v="21375"/>
          <ac:spMkLst>
            <pc:docMk/>
            <pc:sldMk cId="3615584869" sldId="942"/>
            <ac:spMk id="57" creationId="{26BE5E60-1722-7281-4A8B-0FBC491AC5A4}"/>
          </ac:spMkLst>
        </pc:spChg>
        <pc:spChg chg="add del mod ord">
          <ac:chgData name="Nataliia Chornii (UA)" userId="4e4b8b3d-5f31-49bb-9f80-8a25c04abfff" providerId="ADAL" clId="{EE97D3FE-9ACA-4467-98E5-532EC45D9D1C}" dt="2024-03-04T11:01:08.850" v="21551" actId="478"/>
          <ac:spMkLst>
            <pc:docMk/>
            <pc:sldMk cId="3615584869" sldId="942"/>
            <ac:spMk id="58" creationId="{ECE03AC3-16B7-092F-7936-F5D11310E27C}"/>
          </ac:spMkLst>
        </pc:spChg>
        <pc:spChg chg="add del mod">
          <ac:chgData name="Nataliia Chornii (UA)" userId="4e4b8b3d-5f31-49bb-9f80-8a25c04abfff" providerId="ADAL" clId="{EE97D3FE-9ACA-4467-98E5-532EC45D9D1C}" dt="2024-03-04T11:01:08.850" v="21551" actId="478"/>
          <ac:spMkLst>
            <pc:docMk/>
            <pc:sldMk cId="3615584869" sldId="942"/>
            <ac:spMk id="59" creationId="{8BDF2E74-9E2C-0056-AE94-BC522F6BA8A7}"/>
          </ac:spMkLst>
        </pc:spChg>
        <pc:spChg chg="add del mod">
          <ac:chgData name="Nataliia Chornii (UA)" userId="4e4b8b3d-5f31-49bb-9f80-8a25c04abfff" providerId="ADAL" clId="{EE97D3FE-9ACA-4467-98E5-532EC45D9D1C}" dt="2024-03-04T11:01:08.850" v="21551" actId="478"/>
          <ac:spMkLst>
            <pc:docMk/>
            <pc:sldMk cId="3615584869" sldId="942"/>
            <ac:spMk id="60" creationId="{647074C5-E8E8-EFFE-8D6B-49BDB4CADF4E}"/>
          </ac:spMkLst>
        </pc:spChg>
        <pc:spChg chg="add del mod">
          <ac:chgData name="Nataliia Chornii (UA)" userId="4e4b8b3d-5f31-49bb-9f80-8a25c04abfff" providerId="ADAL" clId="{EE97D3FE-9ACA-4467-98E5-532EC45D9D1C}" dt="2024-03-04T11:01:08.850" v="21551" actId="478"/>
          <ac:spMkLst>
            <pc:docMk/>
            <pc:sldMk cId="3615584869" sldId="942"/>
            <ac:spMk id="61" creationId="{3ACA907F-08F0-A691-938B-0C6C07DF5161}"/>
          </ac:spMkLst>
        </pc:spChg>
        <pc:spChg chg="add mod ord">
          <ac:chgData name="Nataliia Chornii (UA)" userId="4e4b8b3d-5f31-49bb-9f80-8a25c04abfff" providerId="ADAL" clId="{EE97D3FE-9ACA-4467-98E5-532EC45D9D1C}" dt="2024-03-04T12:33:46.167" v="21723"/>
          <ac:spMkLst>
            <pc:docMk/>
            <pc:sldMk cId="3615584869" sldId="942"/>
            <ac:spMk id="62" creationId="{8F1ACBBE-C6FA-4666-5248-C1605BDAD626}"/>
          </ac:spMkLst>
        </pc:spChg>
        <pc:spChg chg="mod">
          <ac:chgData name="Nataliia Chornii (UA)" userId="4e4b8b3d-5f31-49bb-9f80-8a25c04abfff" providerId="ADAL" clId="{EE97D3FE-9ACA-4467-98E5-532EC45D9D1C}" dt="2024-03-04T12:34:03.584" v="21820" actId="207"/>
          <ac:spMkLst>
            <pc:docMk/>
            <pc:sldMk cId="3615584869" sldId="942"/>
            <ac:spMk id="64" creationId="{1CC801F4-CCCF-2F7F-84A8-D8E48274A6B6}"/>
          </ac:spMkLst>
        </pc:spChg>
        <pc:spChg chg="mod">
          <ac:chgData name="Nataliia Chornii (UA)" userId="4e4b8b3d-5f31-49bb-9f80-8a25c04abfff" providerId="ADAL" clId="{EE97D3FE-9ACA-4467-98E5-532EC45D9D1C}" dt="2024-03-04T12:34:03.584" v="21820" actId="207"/>
          <ac:spMkLst>
            <pc:docMk/>
            <pc:sldMk cId="3615584869" sldId="942"/>
            <ac:spMk id="65" creationId="{B99D2B3F-B5A9-66C2-038C-63FCE7694E8C}"/>
          </ac:spMkLst>
        </pc:spChg>
        <pc:spChg chg="mod">
          <ac:chgData name="Nataliia Chornii (UA)" userId="4e4b8b3d-5f31-49bb-9f80-8a25c04abfff" providerId="ADAL" clId="{EE97D3FE-9ACA-4467-98E5-532EC45D9D1C}" dt="2024-03-04T12:34:03.584" v="21820" actId="207"/>
          <ac:spMkLst>
            <pc:docMk/>
            <pc:sldMk cId="3615584869" sldId="942"/>
            <ac:spMk id="66" creationId="{E9A57BD3-332B-5C66-9305-4372D5A9EBAD}"/>
          </ac:spMkLst>
        </pc:spChg>
        <pc:spChg chg="mod">
          <ac:chgData name="Nataliia Chornii (UA)" userId="4e4b8b3d-5f31-49bb-9f80-8a25c04abfff" providerId="ADAL" clId="{EE97D3FE-9ACA-4467-98E5-532EC45D9D1C}" dt="2024-03-04T12:34:03.584" v="21820" actId="207"/>
          <ac:spMkLst>
            <pc:docMk/>
            <pc:sldMk cId="3615584869" sldId="942"/>
            <ac:spMk id="67" creationId="{0444D4ED-5289-CCCE-26BB-EBB9153FC084}"/>
          </ac:spMkLst>
        </pc:spChg>
        <pc:spChg chg="mod">
          <ac:chgData name="Nataliia Chornii (UA)" userId="4e4b8b3d-5f31-49bb-9f80-8a25c04abfff" providerId="ADAL" clId="{EE97D3FE-9ACA-4467-98E5-532EC45D9D1C}" dt="2024-03-04T12:34:03.584" v="21820" actId="207"/>
          <ac:spMkLst>
            <pc:docMk/>
            <pc:sldMk cId="3615584869" sldId="942"/>
            <ac:spMk id="68" creationId="{249AEE51-7C5E-6E4F-FABF-864BE9930990}"/>
          </ac:spMkLst>
        </pc:spChg>
        <pc:spChg chg="add mod ord">
          <ac:chgData name="Nataliia Chornii (UA)" userId="4e4b8b3d-5f31-49bb-9f80-8a25c04abfff" providerId="ADAL" clId="{EE97D3FE-9ACA-4467-98E5-532EC45D9D1C}" dt="2024-03-04T12:34:07.388" v="21821" actId="1076"/>
          <ac:spMkLst>
            <pc:docMk/>
            <pc:sldMk cId="3615584869" sldId="942"/>
            <ac:spMk id="69" creationId="{70C81FC0-D8FE-8C2E-F3AD-2F6B9F01C7B1}"/>
          </ac:spMkLst>
        </pc:spChg>
        <pc:spChg chg="mod">
          <ac:chgData name="Nataliia Chornii (UA)" userId="4e4b8b3d-5f31-49bb-9f80-8a25c04abfff" providerId="ADAL" clId="{EE97D3FE-9ACA-4467-98E5-532EC45D9D1C}" dt="2024-03-04T12:33:41.761" v="21714" actId="165"/>
          <ac:spMkLst>
            <pc:docMk/>
            <pc:sldMk cId="3615584869" sldId="942"/>
            <ac:spMk id="75" creationId="{2293C164-5533-AB8F-AC1C-F5597C77B61A}"/>
          </ac:spMkLst>
        </pc:spChg>
        <pc:spChg chg="mod">
          <ac:chgData name="Nataliia Chornii (UA)" userId="4e4b8b3d-5f31-49bb-9f80-8a25c04abfff" providerId="ADAL" clId="{EE97D3FE-9ACA-4467-98E5-532EC45D9D1C}" dt="2024-03-04T12:33:41.761" v="21714" actId="165"/>
          <ac:spMkLst>
            <pc:docMk/>
            <pc:sldMk cId="3615584869" sldId="942"/>
            <ac:spMk id="76" creationId="{2E21B927-F905-2298-4C4A-57D9CB30159F}"/>
          </ac:spMkLst>
        </pc:spChg>
        <pc:grpChg chg="add mod">
          <ac:chgData name="Nataliia Chornii (UA)" userId="4e4b8b3d-5f31-49bb-9f80-8a25c04abfff" providerId="ADAL" clId="{EE97D3FE-9ACA-4467-98E5-532EC45D9D1C}" dt="2024-03-11T14:26:41.150" v="24102"/>
          <ac:grpSpMkLst>
            <pc:docMk/>
            <pc:sldMk cId="3615584869" sldId="942"/>
            <ac:grpSpMk id="5" creationId="{74E10E71-FC9E-C3E7-772E-8D76294CF3F6}"/>
          </ac:grpSpMkLst>
        </pc:grpChg>
        <pc:grpChg chg="add mod ord">
          <ac:chgData name="Nataliia Chornii (UA)" userId="4e4b8b3d-5f31-49bb-9f80-8a25c04abfff" providerId="ADAL" clId="{EE97D3FE-9ACA-4467-98E5-532EC45D9D1C}" dt="2024-03-04T12:34:10.757" v="21822" actId="1076"/>
          <ac:grpSpMkLst>
            <pc:docMk/>
            <pc:sldMk cId="3615584869" sldId="942"/>
            <ac:grpSpMk id="63" creationId="{8E3807C4-D158-E79B-C45B-DD81FB3A492A}"/>
          </ac:grpSpMkLst>
        </pc:grpChg>
        <pc:grpChg chg="add del mod">
          <ac:chgData name="Nataliia Chornii (UA)" userId="4e4b8b3d-5f31-49bb-9f80-8a25c04abfff" providerId="ADAL" clId="{EE97D3FE-9ACA-4467-98E5-532EC45D9D1C}" dt="2024-03-04T12:33:41.761" v="21714" actId="165"/>
          <ac:grpSpMkLst>
            <pc:docMk/>
            <pc:sldMk cId="3615584869" sldId="942"/>
            <ac:grpSpMk id="72" creationId="{7E17D37C-7F12-6CB8-DB8E-AA77102EC4CA}"/>
          </ac:grpSpMkLst>
        </pc:grpChg>
        <pc:grpChg chg="mod ord topLvl">
          <ac:chgData name="Nataliia Chornii (UA)" userId="4e4b8b3d-5f31-49bb-9f80-8a25c04abfff" providerId="ADAL" clId="{EE97D3FE-9ACA-4467-98E5-532EC45D9D1C}" dt="2024-03-04T12:33:56.021" v="21792" actId="164"/>
          <ac:grpSpMkLst>
            <pc:docMk/>
            <pc:sldMk cId="3615584869" sldId="942"/>
            <ac:grpSpMk id="73" creationId="{0C9B8937-54FA-353F-3013-10049A195BD2}"/>
          </ac:grpSpMkLst>
        </pc:grpChg>
        <pc:grpChg chg="add mod">
          <ac:chgData name="Nataliia Chornii (UA)" userId="4e4b8b3d-5f31-49bb-9f80-8a25c04abfff" providerId="ADAL" clId="{EE97D3FE-9ACA-4467-98E5-532EC45D9D1C}" dt="2024-03-04T12:34:00.128" v="21819" actId="553"/>
          <ac:grpSpMkLst>
            <pc:docMk/>
            <pc:sldMk cId="3615584869" sldId="942"/>
            <ac:grpSpMk id="77" creationId="{3E969E2E-7BC0-DAAB-FE4C-9F3B7600F87B}"/>
          </ac:grpSpMkLst>
        </pc:grpChg>
        <pc:graphicFrameChg chg="mod">
          <ac:chgData name="Nataliia Chornii (UA)" userId="4e4b8b3d-5f31-49bb-9f80-8a25c04abfff" providerId="ADAL" clId="{EE97D3FE-9ACA-4467-98E5-532EC45D9D1C}" dt="2024-03-11T14:33:10.663" v="24478"/>
          <ac:graphicFrameMkLst>
            <pc:docMk/>
            <pc:sldMk cId="3615584869" sldId="942"/>
            <ac:graphicFrameMk id="9" creationId="{D9E6BB6A-4571-FBF8-9A7D-06ADE4374D4D}"/>
          </ac:graphicFrameMkLst>
        </pc:graphicFrameChg>
        <pc:picChg chg="add mod ord">
          <ac:chgData name="Nataliia Chornii (UA)" userId="4e4b8b3d-5f31-49bb-9f80-8a25c04abfff" providerId="ADAL" clId="{EE97D3FE-9ACA-4467-98E5-532EC45D9D1C}" dt="2024-03-04T12:33:56.021" v="21792" actId="164"/>
          <ac:picMkLst>
            <pc:docMk/>
            <pc:sldMk cId="3615584869" sldId="942"/>
            <ac:picMk id="71" creationId="{8FF3C6E9-95F2-E3E6-B5F1-78EAF3D46892}"/>
          </ac:picMkLst>
        </pc:picChg>
        <pc:picChg chg="del mod topLvl">
          <ac:chgData name="Nataliia Chornii (UA)" userId="4e4b8b3d-5f31-49bb-9f80-8a25c04abfff" providerId="ADAL" clId="{EE97D3FE-9ACA-4467-98E5-532EC45D9D1C}" dt="2024-03-04T12:33:43.420" v="21715" actId="478"/>
          <ac:picMkLst>
            <pc:docMk/>
            <pc:sldMk cId="3615584869" sldId="942"/>
            <ac:picMk id="74" creationId="{39312CE1-4081-386B-8A10-E905146FCFB9}"/>
          </ac:picMkLst>
        </pc:pic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3:35.379" v="22453"/>
              <pc2:cmMkLst xmlns:pc2="http://schemas.microsoft.com/office/powerpoint/2019/9/main/command">
                <pc:docMk/>
                <pc:sldMk cId="3615584869" sldId="942"/>
                <pc2:cmMk id="{096D112C-449F-4189-90D1-E6E5D7CBF081}"/>
              </pc2:cmMkLst>
            </pc226:cmChg>
            <pc226:cmChg xmlns:pc226="http://schemas.microsoft.com/office/powerpoint/2022/06/main/command" chg="mod">
              <pc226:chgData name="Nataliia Chornii (UA)" userId="4e4b8b3d-5f31-49bb-9f80-8a25c04abfff" providerId="ADAL" clId="{EE97D3FE-9ACA-4467-98E5-532EC45D9D1C}" dt="2024-03-04T12:43:37.399" v="22454"/>
              <pc2:cmMkLst xmlns:pc2="http://schemas.microsoft.com/office/powerpoint/2019/9/main/command">
                <pc:docMk/>
                <pc:sldMk cId="3615584869" sldId="942"/>
                <pc2:cmMk id="{C59F5F95-7CF3-471D-B137-CACBBEBB3858}"/>
              </pc2:cmMkLst>
            </pc226:cmChg>
          </p:ext>
        </pc:extLst>
      </pc:sldChg>
      <pc:sldChg chg="addSp delSp modSp mod">
        <pc:chgData name="Nataliia Chornii (UA)" userId="4e4b8b3d-5f31-49bb-9f80-8a25c04abfff" providerId="ADAL" clId="{EE97D3FE-9ACA-4467-98E5-532EC45D9D1C}" dt="2024-03-11T14:33:23.845" v="24483" actId="14100"/>
        <pc:sldMkLst>
          <pc:docMk/>
          <pc:sldMk cId="256155706" sldId="943"/>
        </pc:sldMkLst>
        <pc:spChg chg="add mod ord">
          <ac:chgData name="Nataliia Chornii (UA)" userId="4e4b8b3d-5f31-49bb-9f80-8a25c04abfff" providerId="ADAL" clId="{EE97D3FE-9ACA-4467-98E5-532EC45D9D1C}" dt="2024-03-04T12:35:51.951" v="21981"/>
          <ac:spMkLst>
            <pc:docMk/>
            <pc:sldMk cId="256155706" sldId="943"/>
            <ac:spMk id="2" creationId="{5F735A8C-4418-CDE7-FDAD-A62BB616594E}"/>
          </ac:spMkLst>
        </pc:spChg>
        <pc:spChg chg="mod ord">
          <ac:chgData name="Nataliia Chornii (UA)" userId="4e4b8b3d-5f31-49bb-9f80-8a25c04abfff" providerId="ADAL" clId="{EE97D3FE-9ACA-4467-98E5-532EC45D9D1C}" dt="2024-03-04T12:35:51.950" v="21961"/>
          <ac:spMkLst>
            <pc:docMk/>
            <pc:sldMk cId="256155706" sldId="943"/>
            <ac:spMk id="3" creationId="{F4CCF02E-F3C4-C376-8F56-61BD85A2E74B}"/>
          </ac:spMkLst>
        </pc:spChg>
        <pc:spChg chg="mod ord">
          <ac:chgData name="Nataliia Chornii (UA)" userId="4e4b8b3d-5f31-49bb-9f80-8a25c04abfff" providerId="ADAL" clId="{EE97D3FE-9ACA-4467-98E5-532EC45D9D1C}" dt="2024-03-04T12:35:51.951" v="21963"/>
          <ac:spMkLst>
            <pc:docMk/>
            <pc:sldMk cId="256155706" sldId="943"/>
            <ac:spMk id="4" creationId="{872966CD-924A-B939-E655-A6BAF817DCBF}"/>
          </ac:spMkLst>
        </pc:spChg>
        <pc:spChg chg="add del mod modVis">
          <ac:chgData name="Nataliia Chornii (UA)" userId="4e4b8b3d-5f31-49bb-9f80-8a25c04abfff" providerId="ADAL" clId="{EE97D3FE-9ACA-4467-98E5-532EC45D9D1C}" dt="2024-03-04T09:50:25.945" v="19900"/>
          <ac:spMkLst>
            <pc:docMk/>
            <pc:sldMk cId="256155706" sldId="943"/>
            <ac:spMk id="5" creationId="{2ECE74C5-72D0-F1F3-65F7-40985BEBC5BC}"/>
          </ac:spMkLst>
        </pc:spChg>
        <pc:spChg chg="add mod">
          <ac:chgData name="Nataliia Chornii (UA)" userId="4e4b8b3d-5f31-49bb-9f80-8a25c04abfff" providerId="ADAL" clId="{EE97D3FE-9ACA-4467-98E5-532EC45D9D1C}" dt="2024-03-11T14:26:42.984" v="24103"/>
          <ac:spMkLst>
            <pc:docMk/>
            <pc:sldMk cId="256155706" sldId="943"/>
            <ac:spMk id="5" creationId="{E51AF134-199A-8F49-D18A-7F7D1C5FFE30}"/>
          </ac:spMkLst>
        </pc:spChg>
        <pc:spChg chg="add del mod ord">
          <ac:chgData name="Nataliia Chornii (UA)" userId="4e4b8b3d-5f31-49bb-9f80-8a25c04abfff" providerId="ADAL" clId="{EE97D3FE-9ACA-4467-98E5-532EC45D9D1C}" dt="2024-03-11T14:33:19.516" v="24482" actId="478"/>
          <ac:spMkLst>
            <pc:docMk/>
            <pc:sldMk cId="256155706" sldId="943"/>
            <ac:spMk id="6" creationId="{898887DF-9190-F283-B120-8AE08B7645FA}"/>
          </ac:spMkLst>
        </pc:spChg>
        <pc:spChg chg="add del mod modVis">
          <ac:chgData name="Nataliia Chornii (UA)" userId="4e4b8b3d-5f31-49bb-9f80-8a25c04abfff" providerId="ADAL" clId="{EE97D3FE-9ACA-4467-98E5-532EC45D9D1C}" dt="2024-03-04T12:35:07.153" v="21887"/>
          <ac:spMkLst>
            <pc:docMk/>
            <pc:sldMk cId="256155706" sldId="943"/>
            <ac:spMk id="7" creationId="{1E72C125-9E9D-2218-F24A-17A8B3C82CC4}"/>
          </ac:spMkLst>
        </pc:spChg>
        <pc:spChg chg="mod ord">
          <ac:chgData name="Nataliia Chornii (UA)" userId="4e4b8b3d-5f31-49bb-9f80-8a25c04abfff" providerId="ADAL" clId="{EE97D3FE-9ACA-4467-98E5-532EC45D9D1C}" dt="2024-03-04T12:35:51.951" v="21979"/>
          <ac:spMkLst>
            <pc:docMk/>
            <pc:sldMk cId="256155706" sldId="943"/>
            <ac:spMk id="8" creationId="{8F84A1C1-A3B2-78F7-2F05-EA937E442831}"/>
          </ac:spMkLst>
        </pc:spChg>
        <pc:spChg chg="del mod">
          <ac:chgData name="Nataliia Chornii (UA)" userId="4e4b8b3d-5f31-49bb-9f80-8a25c04abfff" providerId="ADAL" clId="{EE97D3FE-9ACA-4467-98E5-532EC45D9D1C}" dt="2024-03-04T09:51:00.411" v="19924" actId="478"/>
          <ac:spMkLst>
            <pc:docMk/>
            <pc:sldMk cId="256155706" sldId="943"/>
            <ac:spMk id="10" creationId="{6F55AA3F-6103-110B-C367-10711AC49356}"/>
          </ac:spMkLst>
        </pc:spChg>
        <pc:spChg chg="mod">
          <ac:chgData name="Nataliia Chornii (UA)" userId="4e4b8b3d-5f31-49bb-9f80-8a25c04abfff" providerId="ADAL" clId="{EE97D3FE-9ACA-4467-98E5-532EC45D9D1C}" dt="2024-03-11T14:26:42.984" v="24103"/>
          <ac:spMkLst>
            <pc:docMk/>
            <pc:sldMk cId="256155706" sldId="943"/>
            <ac:spMk id="14" creationId="{A6762951-07B6-0AAC-F12D-7D88CF6C6897}"/>
          </ac:spMkLst>
        </pc:spChg>
        <pc:spChg chg="mod">
          <ac:chgData name="Nataliia Chornii (UA)" userId="4e4b8b3d-5f31-49bb-9f80-8a25c04abfff" providerId="ADAL" clId="{EE97D3FE-9ACA-4467-98E5-532EC45D9D1C}" dt="2024-03-11T14:26:42.984" v="24103"/>
          <ac:spMkLst>
            <pc:docMk/>
            <pc:sldMk cId="256155706" sldId="943"/>
            <ac:spMk id="15" creationId="{CB4D4C84-0ECA-DAC9-DD65-29A9CDDB478F}"/>
          </ac:spMkLst>
        </pc:spChg>
        <pc:spChg chg="mod">
          <ac:chgData name="Nataliia Chornii (UA)" userId="4e4b8b3d-5f31-49bb-9f80-8a25c04abfff" providerId="ADAL" clId="{EE97D3FE-9ACA-4467-98E5-532EC45D9D1C}" dt="2024-03-11T14:26:42.984" v="24103"/>
          <ac:spMkLst>
            <pc:docMk/>
            <pc:sldMk cId="256155706" sldId="943"/>
            <ac:spMk id="16" creationId="{FBA518E8-4406-0B6B-1158-83DDC1A8E03F}"/>
          </ac:spMkLst>
        </pc:spChg>
        <pc:spChg chg="mod">
          <ac:chgData name="Nataliia Chornii (UA)" userId="4e4b8b3d-5f31-49bb-9f80-8a25c04abfff" providerId="ADAL" clId="{EE97D3FE-9ACA-4467-98E5-532EC45D9D1C}" dt="2024-03-11T14:26:42.984" v="24103"/>
          <ac:spMkLst>
            <pc:docMk/>
            <pc:sldMk cId="256155706" sldId="943"/>
            <ac:spMk id="17" creationId="{1D18DEAE-43DF-EB86-A9E9-D5C9A0F87E2F}"/>
          </ac:spMkLst>
        </pc:spChg>
        <pc:spChg chg="mod">
          <ac:chgData name="Nataliia Chornii (UA)" userId="4e4b8b3d-5f31-49bb-9f80-8a25c04abfff" providerId="ADAL" clId="{EE97D3FE-9ACA-4467-98E5-532EC45D9D1C}" dt="2024-03-11T14:26:42.984" v="24103"/>
          <ac:spMkLst>
            <pc:docMk/>
            <pc:sldMk cId="256155706" sldId="943"/>
            <ac:spMk id="18" creationId="{3E053F10-8ED7-0D6B-A7D6-F67BA4BD7FB4}"/>
          </ac:spMkLst>
        </pc:spChg>
        <pc:spChg chg="del">
          <ac:chgData name="Nataliia Chornii (UA)" userId="4e4b8b3d-5f31-49bb-9f80-8a25c04abfff" providerId="ADAL" clId="{EE97D3FE-9ACA-4467-98E5-532EC45D9D1C}" dt="2024-03-04T09:50:49.737" v="19921" actId="478"/>
          <ac:spMkLst>
            <pc:docMk/>
            <pc:sldMk cId="256155706" sldId="943"/>
            <ac:spMk id="19" creationId="{6540A5E1-A41A-D662-410E-E26837FEC171}"/>
          </ac:spMkLst>
        </pc:spChg>
        <pc:spChg chg="mod">
          <ac:chgData name="Nataliia Chornii (UA)" userId="4e4b8b3d-5f31-49bb-9f80-8a25c04abfff" providerId="ADAL" clId="{EE97D3FE-9ACA-4467-98E5-532EC45D9D1C}" dt="2024-03-11T14:26:42.984" v="24103"/>
          <ac:spMkLst>
            <pc:docMk/>
            <pc:sldMk cId="256155706" sldId="943"/>
            <ac:spMk id="19" creationId="{842AEBD7-120B-4F45-9970-41B60894F2AF}"/>
          </ac:spMkLst>
        </pc:spChg>
        <pc:spChg chg="add mod">
          <ac:chgData name="Nataliia Chornii (UA)" userId="4e4b8b3d-5f31-49bb-9f80-8a25c04abfff" providerId="ADAL" clId="{EE97D3FE-9ACA-4467-98E5-532EC45D9D1C}" dt="2024-03-11T14:33:23.845" v="24483" actId="14100"/>
          <ac:spMkLst>
            <pc:docMk/>
            <pc:sldMk cId="256155706" sldId="943"/>
            <ac:spMk id="20" creationId="{94F6B793-48F5-10A3-322F-CA5F3C1F7DBD}"/>
          </ac:spMkLst>
        </pc:spChg>
        <pc:spChg chg="mod ord">
          <ac:chgData name="Nataliia Chornii (UA)" userId="4e4b8b3d-5f31-49bb-9f80-8a25c04abfff" providerId="ADAL" clId="{EE97D3FE-9ACA-4467-98E5-532EC45D9D1C}" dt="2024-03-04T12:35:51.951" v="21985"/>
          <ac:spMkLst>
            <pc:docMk/>
            <pc:sldMk cId="256155706" sldId="943"/>
            <ac:spMk id="25" creationId="{2B261BF4-92C6-462D-AA95-793AE54DD688}"/>
          </ac:spMkLst>
        </pc:spChg>
        <pc:spChg chg="mod ord">
          <ac:chgData name="Nataliia Chornii (UA)" userId="4e4b8b3d-5f31-49bb-9f80-8a25c04abfff" providerId="ADAL" clId="{EE97D3FE-9ACA-4467-98E5-532EC45D9D1C}" dt="2024-03-04T12:35:51.951" v="21965"/>
          <ac:spMkLst>
            <pc:docMk/>
            <pc:sldMk cId="256155706" sldId="943"/>
            <ac:spMk id="26" creationId="{5EC1F9AE-82A4-85FE-592B-EF659F76F7EC}"/>
          </ac:spMkLst>
        </pc:spChg>
        <pc:spChg chg="mod ord">
          <ac:chgData name="Nataliia Chornii (UA)" userId="4e4b8b3d-5f31-49bb-9f80-8a25c04abfff" providerId="ADAL" clId="{EE97D3FE-9ACA-4467-98E5-532EC45D9D1C}" dt="2024-03-04T12:35:51.951" v="21987"/>
          <ac:spMkLst>
            <pc:docMk/>
            <pc:sldMk cId="256155706" sldId="943"/>
            <ac:spMk id="27" creationId="{72D802D4-B169-1594-D931-40179675E33A}"/>
          </ac:spMkLst>
        </pc:spChg>
        <pc:spChg chg="mod ord">
          <ac:chgData name="Nataliia Chornii (UA)" userId="4e4b8b3d-5f31-49bb-9f80-8a25c04abfff" providerId="ADAL" clId="{EE97D3FE-9ACA-4467-98E5-532EC45D9D1C}" dt="2024-03-04T12:35:51.951" v="21967"/>
          <ac:spMkLst>
            <pc:docMk/>
            <pc:sldMk cId="256155706" sldId="943"/>
            <ac:spMk id="29" creationId="{3915AD89-6428-4A75-0915-328643F1703C}"/>
          </ac:spMkLst>
        </pc:spChg>
        <pc:spChg chg="mod ord">
          <ac:chgData name="Nataliia Chornii (UA)" userId="4e4b8b3d-5f31-49bb-9f80-8a25c04abfff" providerId="ADAL" clId="{EE97D3FE-9ACA-4467-98E5-532EC45D9D1C}" dt="2024-03-04T12:35:51.951" v="21969"/>
          <ac:spMkLst>
            <pc:docMk/>
            <pc:sldMk cId="256155706" sldId="943"/>
            <ac:spMk id="30" creationId="{373AB206-F1F0-CC72-8C15-85605D9AF2AC}"/>
          </ac:spMkLst>
        </pc:spChg>
        <pc:spChg chg="mod ord">
          <ac:chgData name="Nataliia Chornii (UA)" userId="4e4b8b3d-5f31-49bb-9f80-8a25c04abfff" providerId="ADAL" clId="{EE97D3FE-9ACA-4467-98E5-532EC45D9D1C}" dt="2024-03-04T12:36:27.623" v="21995" actId="1076"/>
          <ac:spMkLst>
            <pc:docMk/>
            <pc:sldMk cId="256155706" sldId="943"/>
            <ac:spMk id="42" creationId="{50830596-224D-A11D-D251-21B0CA3EB02E}"/>
          </ac:spMkLst>
        </pc:spChg>
        <pc:spChg chg="mod ord">
          <ac:chgData name="Nataliia Chornii (UA)" userId="4e4b8b3d-5f31-49bb-9f80-8a25c04abfff" providerId="ADAL" clId="{EE97D3FE-9ACA-4467-98E5-532EC45D9D1C}" dt="2024-03-04T12:35:16.302" v="21934" actId="164"/>
          <ac:spMkLst>
            <pc:docMk/>
            <pc:sldMk cId="256155706" sldId="943"/>
            <ac:spMk id="44" creationId="{37325A5C-F07F-2313-782A-18E3E98D15F0}"/>
          </ac:spMkLst>
        </pc:spChg>
        <pc:spChg chg="mod ord">
          <ac:chgData name="Nataliia Chornii (UA)" userId="4e4b8b3d-5f31-49bb-9f80-8a25c04abfff" providerId="ADAL" clId="{EE97D3FE-9ACA-4467-98E5-532EC45D9D1C}" dt="2024-03-04T12:35:16.302" v="21934" actId="164"/>
          <ac:spMkLst>
            <pc:docMk/>
            <pc:sldMk cId="256155706" sldId="943"/>
            <ac:spMk id="45" creationId="{5A4A472A-422C-56F4-A0F5-AE422E82D144}"/>
          </ac:spMkLst>
        </pc:spChg>
        <pc:spChg chg="mod ord">
          <ac:chgData name="Nataliia Chornii (UA)" userId="4e4b8b3d-5f31-49bb-9f80-8a25c04abfff" providerId="ADAL" clId="{EE97D3FE-9ACA-4467-98E5-532EC45D9D1C}" dt="2024-03-04T12:35:51.951" v="21971"/>
          <ac:spMkLst>
            <pc:docMk/>
            <pc:sldMk cId="256155706" sldId="943"/>
            <ac:spMk id="46" creationId="{09BF84D6-F468-7005-FAB5-AA0B6AE5CFB4}"/>
          </ac:spMkLst>
        </pc:spChg>
        <pc:spChg chg="mod ord">
          <ac:chgData name="Nataliia Chornii (UA)" userId="4e4b8b3d-5f31-49bb-9f80-8a25c04abfff" providerId="ADAL" clId="{EE97D3FE-9ACA-4467-98E5-532EC45D9D1C}" dt="2024-03-04T12:35:16.302" v="21934" actId="164"/>
          <ac:spMkLst>
            <pc:docMk/>
            <pc:sldMk cId="256155706" sldId="943"/>
            <ac:spMk id="49" creationId="{DED3BED4-139F-CB4F-0A7B-7B90211550F4}"/>
          </ac:spMkLst>
        </pc:spChg>
        <pc:spChg chg="mod ord">
          <ac:chgData name="Nataliia Chornii (UA)" userId="4e4b8b3d-5f31-49bb-9f80-8a25c04abfff" providerId="ADAL" clId="{EE97D3FE-9ACA-4467-98E5-532EC45D9D1C}" dt="2024-03-04T12:35:51.951" v="21973"/>
          <ac:spMkLst>
            <pc:docMk/>
            <pc:sldMk cId="256155706" sldId="943"/>
            <ac:spMk id="50" creationId="{0130363F-7CE7-F3D0-4AB5-F295FAC2DCBC}"/>
          </ac:spMkLst>
        </pc:spChg>
        <pc:spChg chg="mod ord">
          <ac:chgData name="Nataliia Chornii (UA)" userId="4e4b8b3d-5f31-49bb-9f80-8a25c04abfff" providerId="ADAL" clId="{EE97D3FE-9ACA-4467-98E5-532EC45D9D1C}" dt="2024-03-04T12:35:51.951" v="21975"/>
          <ac:spMkLst>
            <pc:docMk/>
            <pc:sldMk cId="256155706" sldId="943"/>
            <ac:spMk id="51" creationId="{AFEB1935-0849-FFDB-14A2-768E555E2F79}"/>
          </ac:spMkLst>
        </pc:spChg>
        <pc:spChg chg="del">
          <ac:chgData name="Nataliia Chornii (UA)" userId="4e4b8b3d-5f31-49bb-9f80-8a25c04abfff" providerId="ADAL" clId="{EE97D3FE-9ACA-4467-98E5-532EC45D9D1C}" dt="2024-03-04T09:50:18.988" v="19870" actId="478"/>
          <ac:spMkLst>
            <pc:docMk/>
            <pc:sldMk cId="256155706" sldId="943"/>
            <ac:spMk id="52" creationId="{C28EBB85-E5E0-FA58-8077-AD15508F23C6}"/>
          </ac:spMkLst>
        </pc:spChg>
        <pc:grpChg chg="add mod ord">
          <ac:chgData name="Nataliia Chornii (UA)" userId="4e4b8b3d-5f31-49bb-9f80-8a25c04abfff" providerId="ADAL" clId="{EE97D3FE-9ACA-4467-98E5-532EC45D9D1C}" dt="2024-03-04T12:35:51.951" v="21989"/>
          <ac:grpSpMkLst>
            <pc:docMk/>
            <pc:sldMk cId="256155706" sldId="943"/>
            <ac:grpSpMk id="9" creationId="{CD2C3658-A1D3-3144-1ED5-F2F246D99B5F}"/>
          </ac:grpSpMkLst>
        </pc:grpChg>
        <pc:grpChg chg="add mod">
          <ac:chgData name="Nataliia Chornii (UA)" userId="4e4b8b3d-5f31-49bb-9f80-8a25c04abfff" providerId="ADAL" clId="{EE97D3FE-9ACA-4467-98E5-532EC45D9D1C}" dt="2024-03-11T14:26:42.984" v="24103"/>
          <ac:grpSpMkLst>
            <pc:docMk/>
            <pc:sldMk cId="256155706" sldId="943"/>
            <ac:grpSpMk id="11" creationId="{E53823CA-7BF7-4DBA-D8C8-B4EF8F5C9FDA}"/>
          </ac:grpSpMkLst>
        </pc:grpChg>
        <pc:graphicFrameChg chg="mod">
          <ac:chgData name="Nataliia Chornii (UA)" userId="4e4b8b3d-5f31-49bb-9f80-8a25c04abfff" providerId="ADAL" clId="{EE97D3FE-9ACA-4467-98E5-532EC45D9D1C}" dt="2024-03-04T12:35:51.951" v="21993"/>
          <ac:graphicFrameMkLst>
            <pc:docMk/>
            <pc:sldMk cId="256155706" sldId="943"/>
            <ac:graphicFrameMk id="12" creationId="{F6E6AF23-7B86-113A-F559-513B41FEC1FE}"/>
          </ac:graphicFrameMkLst>
        </pc:graphicFrameChg>
        <pc:picChg chg="add mod ord">
          <ac:chgData name="Nataliia Chornii (UA)" userId="4e4b8b3d-5f31-49bb-9f80-8a25c04abfff" providerId="ADAL" clId="{EE97D3FE-9ACA-4467-98E5-532EC45D9D1C}" dt="2024-03-04T12:35:51.939" v="21957"/>
          <ac:picMkLst>
            <pc:docMk/>
            <pc:sldMk cId="256155706" sldId="943"/>
            <ac:picMk id="13" creationId="{00A41EEB-AD8A-07E9-A204-094CF7B91A1C}"/>
          </ac:picMkLst>
        </pc:picChg>
        <pc:picChg chg="del mod ord">
          <ac:chgData name="Nataliia Chornii (UA)" userId="4e4b8b3d-5f31-49bb-9f80-8a25c04abfff" providerId="ADAL" clId="{EE97D3FE-9ACA-4467-98E5-532EC45D9D1C}" dt="2024-03-04T12:35:08.020" v="21890" actId="478"/>
          <ac:picMkLst>
            <pc:docMk/>
            <pc:sldMk cId="256155706" sldId="943"/>
            <ac:picMk id="41" creationId="{7CAE88F2-0719-E8A4-5A3E-39E39CF155A6}"/>
          </ac:picMkLst>
        </pc:picChg>
        <pc:cxnChg chg="mod ord">
          <ac:chgData name="Nataliia Chornii (UA)" userId="4e4b8b3d-5f31-49bb-9f80-8a25c04abfff" providerId="ADAL" clId="{EE97D3FE-9ACA-4467-98E5-532EC45D9D1C}" dt="2024-03-04T12:35:51.951" v="21977"/>
          <ac:cxnSpMkLst>
            <pc:docMk/>
            <pc:sldMk cId="256155706" sldId="943"/>
            <ac:cxnSpMk id="53" creationId="{F358E754-064A-5B8C-B2FC-4E612BA07893}"/>
          </ac:cxnSpMkLst>
        </pc:cxnChg>
      </pc:sldChg>
      <pc:sldChg chg="addSp delSp modSp mod modCm">
        <pc:chgData name="Nataliia Chornii (UA)" userId="4e4b8b3d-5f31-49bb-9f80-8a25c04abfff" providerId="ADAL" clId="{EE97D3FE-9ACA-4467-98E5-532EC45D9D1C}" dt="2024-03-11T14:34:05.070" v="25038"/>
        <pc:sldMkLst>
          <pc:docMk/>
          <pc:sldMk cId="2143110826" sldId="944"/>
        </pc:sldMkLst>
        <pc:spChg chg="add mod">
          <ac:chgData name="Nataliia Chornii (UA)" userId="4e4b8b3d-5f31-49bb-9f80-8a25c04abfff" providerId="ADAL" clId="{EE97D3FE-9ACA-4467-98E5-532EC45D9D1C}" dt="2024-03-11T14:27:00.585" v="24111"/>
          <ac:spMkLst>
            <pc:docMk/>
            <pc:sldMk cId="2143110826" sldId="944"/>
            <ac:spMk id="2" creationId="{46DFF4DD-D60C-310F-F629-F4F4D44804C8}"/>
          </ac:spMkLst>
        </pc:spChg>
        <pc:spChg chg="add del mod modVis">
          <ac:chgData name="Nataliia Chornii (UA)" userId="4e4b8b3d-5f31-49bb-9f80-8a25c04abfff" providerId="ADAL" clId="{EE97D3FE-9ACA-4467-98E5-532EC45D9D1C}" dt="2024-03-04T09:51:41.721" v="19999"/>
          <ac:spMkLst>
            <pc:docMk/>
            <pc:sldMk cId="2143110826" sldId="944"/>
            <ac:spMk id="2" creationId="{F73322E0-C28B-48FF-2CC6-213AA6D0ECCE}"/>
          </ac:spMkLst>
        </pc:spChg>
        <pc:spChg chg="mod ord">
          <ac:chgData name="Nataliia Chornii (UA)" userId="4e4b8b3d-5f31-49bb-9f80-8a25c04abfff" providerId="ADAL" clId="{EE97D3FE-9ACA-4467-98E5-532EC45D9D1C}" dt="2024-03-04T12:38:44.226" v="22219"/>
          <ac:spMkLst>
            <pc:docMk/>
            <pc:sldMk cId="2143110826" sldId="944"/>
            <ac:spMk id="3" creationId="{F4CCF02E-F3C4-C376-8F56-61BD85A2E74B}"/>
          </ac:spMkLst>
        </pc:spChg>
        <pc:spChg chg="mod ord">
          <ac:chgData name="Nataliia Chornii (UA)" userId="4e4b8b3d-5f31-49bb-9f80-8a25c04abfff" providerId="ADAL" clId="{EE97D3FE-9ACA-4467-98E5-532EC45D9D1C}" dt="2024-03-04T12:38:44.226" v="22221"/>
          <ac:spMkLst>
            <pc:docMk/>
            <pc:sldMk cId="2143110826" sldId="944"/>
            <ac:spMk id="4" creationId="{872966CD-924A-B939-E655-A6BAF817DCBF}"/>
          </ac:spMkLst>
        </pc:spChg>
        <pc:spChg chg="add del mod modVis">
          <ac:chgData name="Nataliia Chornii (UA)" userId="4e4b8b3d-5f31-49bb-9f80-8a25c04abfff" providerId="ADAL" clId="{EE97D3FE-9ACA-4467-98E5-532EC45D9D1C}" dt="2024-03-04T09:51:43.428" v="20026"/>
          <ac:spMkLst>
            <pc:docMk/>
            <pc:sldMk cId="2143110826" sldId="944"/>
            <ac:spMk id="5" creationId="{7CBB5266-27A1-BD6D-4013-6AF2B0392BA3}"/>
          </ac:spMkLst>
        </pc:spChg>
        <pc:spChg chg="add del mod ord">
          <ac:chgData name="Nataliia Chornii (UA)" userId="4e4b8b3d-5f31-49bb-9f80-8a25c04abfff" providerId="ADAL" clId="{EE97D3FE-9ACA-4467-98E5-532EC45D9D1C}" dt="2024-03-11T14:34:04.784" v="25037" actId="478"/>
          <ac:spMkLst>
            <pc:docMk/>
            <pc:sldMk cId="2143110826" sldId="944"/>
            <ac:spMk id="6" creationId="{F5AA410E-3357-BB30-92B8-F2EA09E4E394}"/>
          </ac:spMkLst>
        </pc:spChg>
        <pc:spChg chg="mod">
          <ac:chgData name="Nataliia Chornii (UA)" userId="4e4b8b3d-5f31-49bb-9f80-8a25c04abfff" providerId="ADAL" clId="{EE97D3FE-9ACA-4467-98E5-532EC45D9D1C}" dt="2024-03-11T14:27:00.585" v="24111"/>
          <ac:spMkLst>
            <pc:docMk/>
            <pc:sldMk cId="2143110826" sldId="944"/>
            <ac:spMk id="7" creationId="{734993F1-E3AF-348A-B3AF-218E94A2F95D}"/>
          </ac:spMkLst>
        </pc:spChg>
        <pc:spChg chg="add del mod modVis">
          <ac:chgData name="Nataliia Chornii (UA)" userId="4e4b8b3d-5f31-49bb-9f80-8a25c04abfff" providerId="ADAL" clId="{EE97D3FE-9ACA-4467-98E5-532EC45D9D1C}" dt="2024-03-04T12:38:29.413" v="22203"/>
          <ac:spMkLst>
            <pc:docMk/>
            <pc:sldMk cId="2143110826" sldId="944"/>
            <ac:spMk id="7" creationId="{ED2B6236-FC43-F510-9C3B-EFB10FFFD9F4}"/>
          </ac:spMkLst>
        </pc:spChg>
        <pc:spChg chg="mod ord">
          <ac:chgData name="Nataliia Chornii (UA)" userId="4e4b8b3d-5f31-49bb-9f80-8a25c04abfff" providerId="ADAL" clId="{EE97D3FE-9ACA-4467-98E5-532EC45D9D1C}" dt="2024-03-04T12:39:15.382" v="22251" actId="14100"/>
          <ac:spMkLst>
            <pc:docMk/>
            <pc:sldMk cId="2143110826" sldId="944"/>
            <ac:spMk id="8" creationId="{8F84A1C1-A3B2-78F7-2F05-EA937E442831}"/>
          </ac:spMkLst>
        </pc:spChg>
        <pc:spChg chg="mod">
          <ac:chgData name="Nataliia Chornii (UA)" userId="4e4b8b3d-5f31-49bb-9f80-8a25c04abfff" providerId="ADAL" clId="{EE97D3FE-9ACA-4467-98E5-532EC45D9D1C}" dt="2024-03-11T14:27:00.585" v="24111"/>
          <ac:spMkLst>
            <pc:docMk/>
            <pc:sldMk cId="2143110826" sldId="944"/>
            <ac:spMk id="9" creationId="{EBD40E3E-6810-BD66-17A6-54FB99CC65D5}"/>
          </ac:spMkLst>
        </pc:spChg>
        <pc:spChg chg="mod">
          <ac:chgData name="Nataliia Chornii (UA)" userId="4e4b8b3d-5f31-49bb-9f80-8a25c04abfff" providerId="ADAL" clId="{EE97D3FE-9ACA-4467-98E5-532EC45D9D1C}" dt="2024-03-11T14:27:00.585" v="24111"/>
          <ac:spMkLst>
            <pc:docMk/>
            <pc:sldMk cId="2143110826" sldId="944"/>
            <ac:spMk id="10" creationId="{56E93E8D-1C75-F314-0F35-BEF8F671E8C3}"/>
          </ac:spMkLst>
        </pc:spChg>
        <pc:spChg chg="del">
          <ac:chgData name="Nataliia Chornii (UA)" userId="4e4b8b3d-5f31-49bb-9f80-8a25c04abfff" providerId="ADAL" clId="{EE97D3FE-9ACA-4467-98E5-532EC45D9D1C}" dt="2024-03-04T09:51:49.881" v="20030" actId="478"/>
          <ac:spMkLst>
            <pc:docMk/>
            <pc:sldMk cId="2143110826" sldId="944"/>
            <ac:spMk id="10" creationId="{6F55AA3F-6103-110B-C367-10711AC49356}"/>
          </ac:spMkLst>
        </pc:spChg>
        <pc:spChg chg="add mod">
          <ac:chgData name="Nataliia Chornii (UA)" userId="4e4b8b3d-5f31-49bb-9f80-8a25c04abfff" providerId="ADAL" clId="{EE97D3FE-9ACA-4467-98E5-532EC45D9D1C}" dt="2024-03-04T12:39:04.755" v="22249" actId="14100"/>
          <ac:spMkLst>
            <pc:docMk/>
            <pc:sldMk cId="2143110826" sldId="944"/>
            <ac:spMk id="13" creationId="{799E30A1-ADE3-D083-090F-C1647AB7B5C5}"/>
          </ac:spMkLst>
        </pc:spChg>
        <pc:spChg chg="add mod">
          <ac:chgData name="Nataliia Chornii (UA)" userId="4e4b8b3d-5f31-49bb-9f80-8a25c04abfff" providerId="ADAL" clId="{EE97D3FE-9ACA-4467-98E5-532EC45D9D1C}" dt="2024-03-04T12:39:10.525" v="22250" actId="1076"/>
          <ac:spMkLst>
            <pc:docMk/>
            <pc:sldMk cId="2143110826" sldId="944"/>
            <ac:spMk id="14" creationId="{292427B9-6E56-4F0D-79C7-17E043506558}"/>
          </ac:spMkLst>
        </pc:spChg>
        <pc:spChg chg="mod">
          <ac:chgData name="Nataliia Chornii (UA)" userId="4e4b8b3d-5f31-49bb-9f80-8a25c04abfff" providerId="ADAL" clId="{EE97D3FE-9ACA-4467-98E5-532EC45D9D1C}" dt="2024-03-04T12:38:54.215" v="22246"/>
          <ac:spMkLst>
            <pc:docMk/>
            <pc:sldMk cId="2143110826" sldId="944"/>
            <ac:spMk id="16" creationId="{C4E3C697-34B5-AF79-CE8B-161F546C2C96}"/>
          </ac:spMkLst>
        </pc:spChg>
        <pc:spChg chg="mod">
          <ac:chgData name="Nataliia Chornii (UA)" userId="4e4b8b3d-5f31-49bb-9f80-8a25c04abfff" providerId="ADAL" clId="{EE97D3FE-9ACA-4467-98E5-532EC45D9D1C}" dt="2024-03-04T12:38:54.215" v="22246"/>
          <ac:spMkLst>
            <pc:docMk/>
            <pc:sldMk cId="2143110826" sldId="944"/>
            <ac:spMk id="17" creationId="{034E459C-1C6F-D20C-CC3C-A54DA127F08F}"/>
          </ac:spMkLst>
        </pc:spChg>
        <pc:spChg chg="mod">
          <ac:chgData name="Nataliia Chornii (UA)" userId="4e4b8b3d-5f31-49bb-9f80-8a25c04abfff" providerId="ADAL" clId="{EE97D3FE-9ACA-4467-98E5-532EC45D9D1C}" dt="2024-03-04T12:38:54.215" v="22246"/>
          <ac:spMkLst>
            <pc:docMk/>
            <pc:sldMk cId="2143110826" sldId="944"/>
            <ac:spMk id="18" creationId="{82F94A97-9D89-A1CA-2D3C-C0AB208BD788}"/>
          </ac:spMkLst>
        </pc:spChg>
        <pc:spChg chg="del">
          <ac:chgData name="Nataliia Chornii (UA)" userId="4e4b8b3d-5f31-49bb-9f80-8a25c04abfff" providerId="ADAL" clId="{EE97D3FE-9ACA-4467-98E5-532EC45D9D1C}" dt="2024-03-04T09:51:49.881" v="20030" actId="478"/>
          <ac:spMkLst>
            <pc:docMk/>
            <pc:sldMk cId="2143110826" sldId="944"/>
            <ac:spMk id="19" creationId="{6540A5E1-A41A-D662-410E-E26837FEC171}"/>
          </ac:spMkLst>
        </pc:spChg>
        <pc:spChg chg="mod">
          <ac:chgData name="Nataliia Chornii (UA)" userId="4e4b8b3d-5f31-49bb-9f80-8a25c04abfff" providerId="ADAL" clId="{EE97D3FE-9ACA-4467-98E5-532EC45D9D1C}" dt="2024-03-11T14:27:00.585" v="24111"/>
          <ac:spMkLst>
            <pc:docMk/>
            <pc:sldMk cId="2143110826" sldId="944"/>
            <ac:spMk id="19" creationId="{C949834F-194F-1DAB-A63F-7FA8295C5D1B}"/>
          </ac:spMkLst>
        </pc:spChg>
        <pc:spChg chg="mod">
          <ac:chgData name="Nataliia Chornii (UA)" userId="4e4b8b3d-5f31-49bb-9f80-8a25c04abfff" providerId="ADAL" clId="{EE97D3FE-9ACA-4467-98E5-532EC45D9D1C}" dt="2024-03-11T14:27:00.585" v="24111"/>
          <ac:spMkLst>
            <pc:docMk/>
            <pc:sldMk cId="2143110826" sldId="944"/>
            <ac:spMk id="20" creationId="{E005B582-F059-6404-9E49-1766590ECB6C}"/>
          </ac:spMkLst>
        </pc:spChg>
        <pc:spChg chg="mod">
          <ac:chgData name="Nataliia Chornii (UA)" userId="4e4b8b3d-5f31-49bb-9f80-8a25c04abfff" providerId="ADAL" clId="{EE97D3FE-9ACA-4467-98E5-532EC45D9D1C}" dt="2024-03-11T14:27:00.585" v="24111"/>
          <ac:spMkLst>
            <pc:docMk/>
            <pc:sldMk cId="2143110826" sldId="944"/>
            <ac:spMk id="21" creationId="{A582AE43-61A9-0413-06DF-4E66A3E74D06}"/>
          </ac:spMkLst>
        </pc:spChg>
        <pc:spChg chg="add mod">
          <ac:chgData name="Nataliia Chornii (UA)" userId="4e4b8b3d-5f31-49bb-9f80-8a25c04abfff" providerId="ADAL" clId="{EE97D3FE-9ACA-4467-98E5-532EC45D9D1C}" dt="2024-03-11T14:34:05.070" v="25038"/>
          <ac:spMkLst>
            <pc:docMk/>
            <pc:sldMk cId="2143110826" sldId="944"/>
            <ac:spMk id="22" creationId="{6192063C-BD57-54A6-422F-DFDD7CA06AEC}"/>
          </ac:spMkLst>
        </pc:spChg>
        <pc:spChg chg="del mod ord">
          <ac:chgData name="Nataliia Chornii (UA)" userId="4e4b8b3d-5f31-49bb-9f80-8a25c04abfff" providerId="ADAL" clId="{EE97D3FE-9ACA-4467-98E5-532EC45D9D1C}" dt="2024-03-04T12:39:00.771" v="22248" actId="478"/>
          <ac:spMkLst>
            <pc:docMk/>
            <pc:sldMk cId="2143110826" sldId="944"/>
            <ac:spMk id="25" creationId="{2B261BF4-92C6-462D-AA95-793AE54DD688}"/>
          </ac:spMkLst>
        </pc:spChg>
        <pc:spChg chg="mod ord">
          <ac:chgData name="Nataliia Chornii (UA)" userId="4e4b8b3d-5f31-49bb-9f80-8a25c04abfff" providerId="ADAL" clId="{EE97D3FE-9ACA-4467-98E5-532EC45D9D1C}" dt="2024-03-04T12:38:44.226" v="22223"/>
          <ac:spMkLst>
            <pc:docMk/>
            <pc:sldMk cId="2143110826" sldId="944"/>
            <ac:spMk id="26" creationId="{5EC1F9AE-82A4-85FE-592B-EF659F76F7EC}"/>
          </ac:spMkLst>
        </pc:spChg>
        <pc:spChg chg="del mod ord">
          <ac:chgData name="Nataliia Chornii (UA)" userId="4e4b8b3d-5f31-49bb-9f80-8a25c04abfff" providerId="ADAL" clId="{EE97D3FE-9ACA-4467-98E5-532EC45D9D1C}" dt="2024-03-04T12:39:00.771" v="22248" actId="478"/>
          <ac:spMkLst>
            <pc:docMk/>
            <pc:sldMk cId="2143110826" sldId="944"/>
            <ac:spMk id="27" creationId="{72D802D4-B169-1594-D931-40179675E33A}"/>
          </ac:spMkLst>
        </pc:spChg>
        <pc:spChg chg="mod ord">
          <ac:chgData name="Nataliia Chornii (UA)" userId="4e4b8b3d-5f31-49bb-9f80-8a25c04abfff" providerId="ADAL" clId="{EE97D3FE-9ACA-4467-98E5-532EC45D9D1C}" dt="2024-03-04T12:38:44.226" v="22227"/>
          <ac:spMkLst>
            <pc:docMk/>
            <pc:sldMk cId="2143110826" sldId="944"/>
            <ac:spMk id="29" creationId="{3915AD89-6428-4A75-0915-328643F1703C}"/>
          </ac:spMkLst>
        </pc:spChg>
        <pc:spChg chg="mod ord">
          <ac:chgData name="Nataliia Chornii (UA)" userId="4e4b8b3d-5f31-49bb-9f80-8a25c04abfff" providerId="ADAL" clId="{EE97D3FE-9ACA-4467-98E5-532EC45D9D1C}" dt="2024-03-04T12:38:44.226" v="22229"/>
          <ac:spMkLst>
            <pc:docMk/>
            <pc:sldMk cId="2143110826" sldId="944"/>
            <ac:spMk id="30" creationId="{373AB206-F1F0-CC72-8C15-85605D9AF2AC}"/>
          </ac:spMkLst>
        </pc:spChg>
        <pc:spChg chg="mod ord">
          <ac:chgData name="Nataliia Chornii (UA)" userId="4e4b8b3d-5f31-49bb-9f80-8a25c04abfff" providerId="ADAL" clId="{EE97D3FE-9ACA-4467-98E5-532EC45D9D1C}" dt="2024-03-04T12:38:44.226" v="22215"/>
          <ac:spMkLst>
            <pc:docMk/>
            <pc:sldMk cId="2143110826" sldId="944"/>
            <ac:spMk id="42" creationId="{50830596-224D-A11D-D251-21B0CA3EB02E}"/>
          </ac:spMkLst>
        </pc:spChg>
        <pc:spChg chg="del mod ord">
          <ac:chgData name="Nataliia Chornii (UA)" userId="4e4b8b3d-5f31-49bb-9f80-8a25c04abfff" providerId="ADAL" clId="{EE97D3FE-9ACA-4467-98E5-532EC45D9D1C}" dt="2024-03-04T12:39:00.771" v="22248" actId="478"/>
          <ac:spMkLst>
            <pc:docMk/>
            <pc:sldMk cId="2143110826" sldId="944"/>
            <ac:spMk id="44" creationId="{37325A5C-F07F-2313-782A-18E3E98D15F0}"/>
          </ac:spMkLst>
        </pc:spChg>
        <pc:spChg chg="del mod ord">
          <ac:chgData name="Nataliia Chornii (UA)" userId="4e4b8b3d-5f31-49bb-9f80-8a25c04abfff" providerId="ADAL" clId="{EE97D3FE-9ACA-4467-98E5-532EC45D9D1C}" dt="2024-03-04T12:39:00.771" v="22248" actId="478"/>
          <ac:spMkLst>
            <pc:docMk/>
            <pc:sldMk cId="2143110826" sldId="944"/>
            <ac:spMk id="45" creationId="{5A4A472A-422C-56F4-A0F5-AE422E82D144}"/>
          </ac:spMkLst>
        </pc:spChg>
        <pc:spChg chg="mod ord">
          <ac:chgData name="Nataliia Chornii (UA)" userId="4e4b8b3d-5f31-49bb-9f80-8a25c04abfff" providerId="ADAL" clId="{EE97D3FE-9ACA-4467-98E5-532EC45D9D1C}" dt="2024-03-04T12:38:44.226" v="22235"/>
          <ac:spMkLst>
            <pc:docMk/>
            <pc:sldMk cId="2143110826" sldId="944"/>
            <ac:spMk id="46" creationId="{09BF84D6-F468-7005-FAB5-AA0B6AE5CFB4}"/>
          </ac:spMkLst>
        </pc:spChg>
        <pc:spChg chg="del mod ord">
          <ac:chgData name="Nataliia Chornii (UA)" userId="4e4b8b3d-5f31-49bb-9f80-8a25c04abfff" providerId="ADAL" clId="{EE97D3FE-9ACA-4467-98E5-532EC45D9D1C}" dt="2024-03-04T12:39:00.771" v="22248" actId="478"/>
          <ac:spMkLst>
            <pc:docMk/>
            <pc:sldMk cId="2143110826" sldId="944"/>
            <ac:spMk id="49" creationId="{DED3BED4-139F-CB4F-0A7B-7B90211550F4}"/>
          </ac:spMkLst>
        </pc:spChg>
        <pc:grpChg chg="add mod">
          <ac:chgData name="Nataliia Chornii (UA)" userId="4e4b8b3d-5f31-49bb-9f80-8a25c04abfff" providerId="ADAL" clId="{EE97D3FE-9ACA-4467-98E5-532EC45D9D1C}" dt="2024-03-11T14:27:00.585" v="24111"/>
          <ac:grpSpMkLst>
            <pc:docMk/>
            <pc:sldMk cId="2143110826" sldId="944"/>
            <ac:grpSpMk id="5" creationId="{3B47246F-6F89-084C-D8A4-3FC2F21CF5AB}"/>
          </ac:grpSpMkLst>
        </pc:grpChg>
        <pc:grpChg chg="add mod">
          <ac:chgData name="Nataliia Chornii (UA)" userId="4e4b8b3d-5f31-49bb-9f80-8a25c04abfff" providerId="ADAL" clId="{EE97D3FE-9ACA-4467-98E5-532EC45D9D1C}" dt="2024-03-04T12:39:10.525" v="22250" actId="1076"/>
          <ac:grpSpMkLst>
            <pc:docMk/>
            <pc:sldMk cId="2143110826" sldId="944"/>
            <ac:grpSpMk id="15" creationId="{32101DD0-0169-5B84-DBC1-4B151DF9F173}"/>
          </ac:grpSpMkLst>
        </pc:grpChg>
        <pc:graphicFrameChg chg="mod">
          <ac:chgData name="Nataliia Chornii (UA)" userId="4e4b8b3d-5f31-49bb-9f80-8a25c04abfff" providerId="ADAL" clId="{EE97D3FE-9ACA-4467-98E5-532EC45D9D1C}" dt="2024-03-04T12:38:44.243" v="22245"/>
          <ac:graphicFrameMkLst>
            <pc:docMk/>
            <pc:sldMk cId="2143110826" sldId="944"/>
            <ac:graphicFrameMk id="12" creationId="{F6E6AF23-7B86-113A-F559-513B41FEC1FE}"/>
          </ac:graphicFrameMkLst>
        </pc:graphicFrameChg>
        <pc:picChg chg="add mod ord modCrop">
          <ac:chgData name="Nataliia Chornii (UA)" userId="4e4b8b3d-5f31-49bb-9f80-8a25c04abfff" providerId="ADAL" clId="{EE97D3FE-9ACA-4467-98E5-532EC45D9D1C}" dt="2024-03-04T12:38:44.226" v="22213"/>
          <ac:picMkLst>
            <pc:docMk/>
            <pc:sldMk cId="2143110826" sldId="944"/>
            <ac:picMk id="11" creationId="{9EDE60FF-A01C-B5B3-CA54-65A5D78E733A}"/>
          </ac:picMkLst>
        </pc:picChg>
        <pc:picChg chg="del mod ord">
          <ac:chgData name="Nataliia Chornii (UA)" userId="4e4b8b3d-5f31-49bb-9f80-8a25c04abfff" providerId="ADAL" clId="{EE97D3FE-9ACA-4467-98E5-532EC45D9D1C}" dt="2024-03-04T12:38:30.302" v="22206" actId="478"/>
          <ac:picMkLst>
            <pc:docMk/>
            <pc:sldMk cId="2143110826" sldId="944"/>
            <ac:picMk id="41" creationId="{7CAE88F2-0719-E8A4-5A3E-39E39CF155A6}"/>
          </ac:picMkLst>
        </pc:pic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3:46.285" v="22456"/>
              <pc2:cmMkLst xmlns:pc2="http://schemas.microsoft.com/office/powerpoint/2019/9/main/command">
                <pc:docMk/>
                <pc:sldMk cId="2143110826" sldId="944"/>
                <pc2:cmMk id="{E4E4028E-C444-4B9A-9707-A02A265366EC}"/>
              </pc2:cmMkLst>
            </pc226:cmChg>
          </p:ext>
        </pc:extLst>
      </pc:sldChg>
      <pc:sldChg chg="addSp delSp modSp mod modCm">
        <pc:chgData name="Nataliia Chornii (UA)" userId="4e4b8b3d-5f31-49bb-9f80-8a25c04abfff" providerId="ADAL" clId="{EE97D3FE-9ACA-4467-98E5-532EC45D9D1C}" dt="2024-03-11T14:34:10.568" v="25040"/>
        <pc:sldMkLst>
          <pc:docMk/>
          <pc:sldMk cId="2603595337" sldId="945"/>
        </pc:sldMkLst>
        <pc:spChg chg="add mod">
          <ac:chgData name="Nataliia Chornii (UA)" userId="4e4b8b3d-5f31-49bb-9f80-8a25c04abfff" providerId="ADAL" clId="{EE97D3FE-9ACA-4467-98E5-532EC45D9D1C}" dt="2024-03-11T14:27:03.935" v="24114"/>
          <ac:spMkLst>
            <pc:docMk/>
            <pc:sldMk cId="2603595337" sldId="945"/>
            <ac:spMk id="2" creationId="{4C2946A7-6CE6-A78A-F248-0C0A646E970B}"/>
          </ac:spMkLst>
        </pc:spChg>
        <pc:spChg chg="add del mod modVis">
          <ac:chgData name="Nataliia Chornii (UA)" userId="4e4b8b3d-5f31-49bb-9f80-8a25c04abfff" providerId="ADAL" clId="{EE97D3FE-9ACA-4467-98E5-532EC45D9D1C}" dt="2024-03-04T09:52:34.380" v="20091"/>
          <ac:spMkLst>
            <pc:docMk/>
            <pc:sldMk cId="2603595337" sldId="945"/>
            <ac:spMk id="2" creationId="{8E7DFB6D-B6F3-B4F0-1121-A2E5F0B55262}"/>
          </ac:spMkLst>
        </pc:spChg>
        <pc:spChg chg="mod ord">
          <ac:chgData name="Nataliia Chornii (UA)" userId="4e4b8b3d-5f31-49bb-9f80-8a25c04abfff" providerId="ADAL" clId="{EE97D3FE-9ACA-4467-98E5-532EC45D9D1C}" dt="2024-03-04T12:55:38.208" v="23197"/>
          <ac:spMkLst>
            <pc:docMk/>
            <pc:sldMk cId="2603595337" sldId="945"/>
            <ac:spMk id="3" creationId="{F4CCF02E-F3C4-C376-8F56-61BD85A2E74B}"/>
          </ac:spMkLst>
        </pc:spChg>
        <pc:spChg chg="mod ord">
          <ac:chgData name="Nataliia Chornii (UA)" userId="4e4b8b3d-5f31-49bb-9f80-8a25c04abfff" providerId="ADAL" clId="{EE97D3FE-9ACA-4467-98E5-532EC45D9D1C}" dt="2024-03-04T12:55:38.208" v="23217"/>
          <ac:spMkLst>
            <pc:docMk/>
            <pc:sldMk cId="2603595337" sldId="945"/>
            <ac:spMk id="4" creationId="{872966CD-924A-B939-E655-A6BAF817DCBF}"/>
          </ac:spMkLst>
        </pc:spChg>
        <pc:spChg chg="add del mod ord">
          <ac:chgData name="Nataliia Chornii (UA)" userId="4e4b8b3d-5f31-49bb-9f80-8a25c04abfff" providerId="ADAL" clId="{EE97D3FE-9ACA-4467-98E5-532EC45D9D1C}" dt="2024-03-11T14:34:10.283" v="25039" actId="478"/>
          <ac:spMkLst>
            <pc:docMk/>
            <pc:sldMk cId="2603595337" sldId="945"/>
            <ac:spMk id="5" creationId="{947D8C6D-59FC-B70D-62E8-4E05ED8582AC}"/>
          </ac:spMkLst>
        </pc:spChg>
        <pc:spChg chg="add mod ord">
          <ac:chgData name="Nataliia Chornii (UA)" userId="4e4b8b3d-5f31-49bb-9f80-8a25c04abfff" providerId="ADAL" clId="{EE97D3FE-9ACA-4467-98E5-532EC45D9D1C}" dt="2024-03-04T12:55:38.208" v="23211"/>
          <ac:spMkLst>
            <pc:docMk/>
            <pc:sldMk cId="2603595337" sldId="945"/>
            <ac:spMk id="6" creationId="{33073C2D-7A64-3891-000E-CBC2D879D3D6}"/>
          </ac:spMkLst>
        </pc:spChg>
        <pc:spChg chg="add mod ord">
          <ac:chgData name="Nataliia Chornii (UA)" userId="4e4b8b3d-5f31-49bb-9f80-8a25c04abfff" providerId="ADAL" clId="{EE97D3FE-9ACA-4467-98E5-532EC45D9D1C}" dt="2024-03-04T12:55:38.208" v="23213"/>
          <ac:spMkLst>
            <pc:docMk/>
            <pc:sldMk cId="2603595337" sldId="945"/>
            <ac:spMk id="7" creationId="{476838B8-1342-3A4D-BDA8-A2B47757767A}"/>
          </ac:spMkLst>
        </pc:spChg>
        <pc:spChg chg="mod ord">
          <ac:chgData name="Nataliia Chornii (UA)" userId="4e4b8b3d-5f31-49bb-9f80-8a25c04abfff" providerId="ADAL" clId="{EE97D3FE-9ACA-4467-98E5-532EC45D9D1C}" dt="2024-03-04T12:55:38.208" v="23207"/>
          <ac:spMkLst>
            <pc:docMk/>
            <pc:sldMk cId="2603595337" sldId="945"/>
            <ac:spMk id="8" creationId="{8F84A1C1-A3B2-78F7-2F05-EA937E442831}"/>
          </ac:spMkLst>
        </pc:spChg>
        <pc:spChg chg="del">
          <ac:chgData name="Nataliia Chornii (UA)" userId="4e4b8b3d-5f31-49bb-9f80-8a25c04abfff" providerId="ADAL" clId="{EE97D3FE-9ACA-4467-98E5-532EC45D9D1C}" dt="2024-03-04T09:52:46.251" v="20106" actId="478"/>
          <ac:spMkLst>
            <pc:docMk/>
            <pc:sldMk cId="2603595337" sldId="945"/>
            <ac:spMk id="10" creationId="{6F55AA3F-6103-110B-C367-10711AC49356}"/>
          </ac:spMkLst>
        </pc:spChg>
        <pc:spChg chg="mod">
          <ac:chgData name="Nataliia Chornii (UA)" userId="4e4b8b3d-5f31-49bb-9f80-8a25c04abfff" providerId="ADAL" clId="{EE97D3FE-9ACA-4467-98E5-532EC45D9D1C}" dt="2024-03-04T12:39:27.719" v="22252"/>
          <ac:spMkLst>
            <pc:docMk/>
            <pc:sldMk cId="2603595337" sldId="945"/>
            <ac:spMk id="11" creationId="{B97EA9FE-6F32-F712-7E51-B2E8E01944AA}"/>
          </ac:spMkLst>
        </pc:spChg>
        <pc:spChg chg="mod">
          <ac:chgData name="Nataliia Chornii (UA)" userId="4e4b8b3d-5f31-49bb-9f80-8a25c04abfff" providerId="ADAL" clId="{EE97D3FE-9ACA-4467-98E5-532EC45D9D1C}" dt="2024-03-04T12:39:27.719" v="22252"/>
          <ac:spMkLst>
            <pc:docMk/>
            <pc:sldMk cId="2603595337" sldId="945"/>
            <ac:spMk id="13" creationId="{CA412EFC-5F90-18DC-6BD2-BA6ECB68F4B4}"/>
          </ac:spMkLst>
        </pc:spChg>
        <pc:spChg chg="mod">
          <ac:chgData name="Nataliia Chornii (UA)" userId="4e4b8b3d-5f31-49bb-9f80-8a25c04abfff" providerId="ADAL" clId="{EE97D3FE-9ACA-4467-98E5-532EC45D9D1C}" dt="2024-03-04T12:39:27.719" v="22252"/>
          <ac:spMkLst>
            <pc:docMk/>
            <pc:sldMk cId="2603595337" sldId="945"/>
            <ac:spMk id="14" creationId="{52E26734-CD51-88AC-27C1-16D226149857}"/>
          </ac:spMkLst>
        </pc:spChg>
        <pc:spChg chg="add del mod modVis">
          <ac:chgData name="Nataliia Chornii (UA)" userId="4e4b8b3d-5f31-49bb-9f80-8a25c04abfff" providerId="ADAL" clId="{EE97D3FE-9ACA-4467-98E5-532EC45D9D1C}" dt="2024-03-04T12:39:54.791" v="22311"/>
          <ac:spMkLst>
            <pc:docMk/>
            <pc:sldMk cId="2603595337" sldId="945"/>
            <ac:spMk id="15" creationId="{293FA15E-F33B-5164-2F95-F4715D8D7172}"/>
          </ac:spMkLst>
        </pc:spChg>
        <pc:spChg chg="mod">
          <ac:chgData name="Nataliia Chornii (UA)" userId="4e4b8b3d-5f31-49bb-9f80-8a25c04abfff" providerId="ADAL" clId="{EE97D3FE-9ACA-4467-98E5-532EC45D9D1C}" dt="2024-03-11T14:27:03.935" v="24114"/>
          <ac:spMkLst>
            <pc:docMk/>
            <pc:sldMk cId="2603595337" sldId="945"/>
            <ac:spMk id="15" creationId="{8626AAF3-EE37-B559-13DA-47AEB3C66E16}"/>
          </ac:spMkLst>
        </pc:spChg>
        <pc:spChg chg="mod">
          <ac:chgData name="Nataliia Chornii (UA)" userId="4e4b8b3d-5f31-49bb-9f80-8a25c04abfff" providerId="ADAL" clId="{EE97D3FE-9ACA-4467-98E5-532EC45D9D1C}" dt="2024-03-11T14:27:03.935" v="24114"/>
          <ac:spMkLst>
            <pc:docMk/>
            <pc:sldMk cId="2603595337" sldId="945"/>
            <ac:spMk id="16" creationId="{487677E6-6A05-EF86-AEA0-9AD7F8B5A731}"/>
          </ac:spMkLst>
        </pc:spChg>
        <pc:spChg chg="add del mod modVis">
          <ac:chgData name="Nataliia Chornii (UA)" userId="4e4b8b3d-5f31-49bb-9f80-8a25c04abfff" providerId="ADAL" clId="{EE97D3FE-9ACA-4467-98E5-532EC45D9D1C}" dt="2024-03-04T12:41:09.467" v="22372"/>
          <ac:spMkLst>
            <pc:docMk/>
            <pc:sldMk cId="2603595337" sldId="945"/>
            <ac:spMk id="18" creationId="{306C8097-DD6C-A92F-16A8-C87D3E59E4E6}"/>
          </ac:spMkLst>
        </pc:spChg>
        <pc:spChg chg="mod">
          <ac:chgData name="Nataliia Chornii (UA)" userId="4e4b8b3d-5f31-49bb-9f80-8a25c04abfff" providerId="ADAL" clId="{EE97D3FE-9ACA-4467-98E5-532EC45D9D1C}" dt="2024-03-11T14:27:03.935" v="24114"/>
          <ac:spMkLst>
            <pc:docMk/>
            <pc:sldMk cId="2603595337" sldId="945"/>
            <ac:spMk id="18" creationId="{719AA84F-CE44-2AF0-0204-74932E375B41}"/>
          </ac:spMkLst>
        </pc:spChg>
        <pc:spChg chg="mod">
          <ac:chgData name="Nataliia Chornii (UA)" userId="4e4b8b3d-5f31-49bb-9f80-8a25c04abfff" providerId="ADAL" clId="{EE97D3FE-9ACA-4467-98E5-532EC45D9D1C}" dt="2024-03-11T14:27:03.935" v="24114"/>
          <ac:spMkLst>
            <pc:docMk/>
            <pc:sldMk cId="2603595337" sldId="945"/>
            <ac:spMk id="19" creationId="{4CB088B6-74E4-B964-527C-CC436014F421}"/>
          </ac:spMkLst>
        </pc:spChg>
        <pc:spChg chg="del">
          <ac:chgData name="Nataliia Chornii (UA)" userId="4e4b8b3d-5f31-49bb-9f80-8a25c04abfff" providerId="ADAL" clId="{EE97D3FE-9ACA-4467-98E5-532EC45D9D1C}" dt="2024-03-04T09:52:46.251" v="20106" actId="478"/>
          <ac:spMkLst>
            <pc:docMk/>
            <pc:sldMk cId="2603595337" sldId="945"/>
            <ac:spMk id="19" creationId="{6540A5E1-A41A-D662-410E-E26837FEC171}"/>
          </ac:spMkLst>
        </pc:spChg>
        <pc:spChg chg="mod">
          <ac:chgData name="Nataliia Chornii (UA)" userId="4e4b8b3d-5f31-49bb-9f80-8a25c04abfff" providerId="ADAL" clId="{EE97D3FE-9ACA-4467-98E5-532EC45D9D1C}" dt="2024-03-11T14:27:03.935" v="24114"/>
          <ac:spMkLst>
            <pc:docMk/>
            <pc:sldMk cId="2603595337" sldId="945"/>
            <ac:spMk id="20" creationId="{84066C92-D081-AF3B-7DE9-E7D3BB477FF7}"/>
          </ac:spMkLst>
        </pc:spChg>
        <pc:spChg chg="add del mod modVis">
          <ac:chgData name="Nataliia Chornii (UA)" userId="4e4b8b3d-5f31-49bb-9f80-8a25c04abfff" providerId="ADAL" clId="{EE97D3FE-9ACA-4467-98E5-532EC45D9D1C}" dt="2024-03-04T12:41:11.511" v="22399"/>
          <ac:spMkLst>
            <pc:docMk/>
            <pc:sldMk cId="2603595337" sldId="945"/>
            <ac:spMk id="20" creationId="{87208DDD-42B5-6A3E-DA13-0890FFA7DFEE}"/>
          </ac:spMkLst>
        </pc:spChg>
        <pc:spChg chg="add del mod modVis">
          <ac:chgData name="Nataliia Chornii (UA)" userId="4e4b8b3d-5f31-49bb-9f80-8a25c04abfff" providerId="ADAL" clId="{EE97D3FE-9ACA-4467-98E5-532EC45D9D1C}" dt="2024-03-04T12:41:12.222" v="22434"/>
          <ac:spMkLst>
            <pc:docMk/>
            <pc:sldMk cId="2603595337" sldId="945"/>
            <ac:spMk id="21" creationId="{235CD11D-C0E0-B646-273F-764088AA7CF8}"/>
          </ac:spMkLst>
        </pc:spChg>
        <pc:spChg chg="mod">
          <ac:chgData name="Nataliia Chornii (UA)" userId="4e4b8b3d-5f31-49bb-9f80-8a25c04abfff" providerId="ADAL" clId="{EE97D3FE-9ACA-4467-98E5-532EC45D9D1C}" dt="2024-03-11T14:27:03.935" v="24114"/>
          <ac:spMkLst>
            <pc:docMk/>
            <pc:sldMk cId="2603595337" sldId="945"/>
            <ac:spMk id="21" creationId="{96BC1103-8FF3-08BA-32E0-C64A13FD8B87}"/>
          </ac:spMkLst>
        </pc:spChg>
        <pc:spChg chg="add mod">
          <ac:chgData name="Nataliia Chornii (UA)" userId="4e4b8b3d-5f31-49bb-9f80-8a25c04abfff" providerId="ADAL" clId="{EE97D3FE-9ACA-4467-98E5-532EC45D9D1C}" dt="2024-03-11T14:34:10.568" v="25040"/>
          <ac:spMkLst>
            <pc:docMk/>
            <pc:sldMk cId="2603595337" sldId="945"/>
            <ac:spMk id="22" creationId="{335F61F5-5C74-1696-932B-44705F59F366}"/>
          </ac:spMkLst>
        </pc:spChg>
        <pc:spChg chg="del mod">
          <ac:chgData name="Nataliia Chornii (UA)" userId="4e4b8b3d-5f31-49bb-9f80-8a25c04abfff" providerId="ADAL" clId="{EE97D3FE-9ACA-4467-98E5-532EC45D9D1C}" dt="2024-03-04T12:39:32.726" v="22254" actId="478"/>
          <ac:spMkLst>
            <pc:docMk/>
            <pc:sldMk cId="2603595337" sldId="945"/>
            <ac:spMk id="25" creationId="{2B261BF4-92C6-462D-AA95-793AE54DD688}"/>
          </ac:spMkLst>
        </pc:spChg>
        <pc:spChg chg="mod ord">
          <ac:chgData name="Nataliia Chornii (UA)" userId="4e4b8b3d-5f31-49bb-9f80-8a25c04abfff" providerId="ADAL" clId="{EE97D3FE-9ACA-4467-98E5-532EC45D9D1C}" dt="2024-03-04T12:55:38.208" v="23199"/>
          <ac:spMkLst>
            <pc:docMk/>
            <pc:sldMk cId="2603595337" sldId="945"/>
            <ac:spMk id="26" creationId="{5EC1F9AE-82A4-85FE-592B-EF659F76F7EC}"/>
          </ac:spMkLst>
        </pc:spChg>
        <pc:spChg chg="del">
          <ac:chgData name="Nataliia Chornii (UA)" userId="4e4b8b3d-5f31-49bb-9f80-8a25c04abfff" providerId="ADAL" clId="{EE97D3FE-9ACA-4467-98E5-532EC45D9D1C}" dt="2024-03-04T12:39:32.726" v="22254" actId="478"/>
          <ac:spMkLst>
            <pc:docMk/>
            <pc:sldMk cId="2603595337" sldId="945"/>
            <ac:spMk id="27" creationId="{72D802D4-B169-1594-D931-40179675E33A}"/>
          </ac:spMkLst>
        </pc:spChg>
        <pc:spChg chg="mod ord">
          <ac:chgData name="Nataliia Chornii (UA)" userId="4e4b8b3d-5f31-49bb-9f80-8a25c04abfff" providerId="ADAL" clId="{EE97D3FE-9ACA-4467-98E5-532EC45D9D1C}" dt="2024-03-04T12:55:38.208" v="23201"/>
          <ac:spMkLst>
            <pc:docMk/>
            <pc:sldMk cId="2603595337" sldId="945"/>
            <ac:spMk id="29" creationId="{3915AD89-6428-4A75-0915-328643F1703C}"/>
          </ac:spMkLst>
        </pc:spChg>
        <pc:spChg chg="mod ord">
          <ac:chgData name="Nataliia Chornii (UA)" userId="4e4b8b3d-5f31-49bb-9f80-8a25c04abfff" providerId="ADAL" clId="{EE97D3FE-9ACA-4467-98E5-532EC45D9D1C}" dt="2024-03-04T12:55:38.208" v="23203"/>
          <ac:spMkLst>
            <pc:docMk/>
            <pc:sldMk cId="2603595337" sldId="945"/>
            <ac:spMk id="30" creationId="{373AB206-F1F0-CC72-8C15-85605D9AF2AC}"/>
          </ac:spMkLst>
        </pc:spChg>
        <pc:spChg chg="mod ord">
          <ac:chgData name="Nataliia Chornii (UA)" userId="4e4b8b3d-5f31-49bb-9f80-8a25c04abfff" providerId="ADAL" clId="{EE97D3FE-9ACA-4467-98E5-532EC45D9D1C}" dt="2024-03-04T12:55:38.208" v="23195"/>
          <ac:spMkLst>
            <pc:docMk/>
            <pc:sldMk cId="2603595337" sldId="945"/>
            <ac:spMk id="42" creationId="{50830596-224D-A11D-D251-21B0CA3EB02E}"/>
          </ac:spMkLst>
        </pc:spChg>
        <pc:spChg chg="del">
          <ac:chgData name="Nataliia Chornii (UA)" userId="4e4b8b3d-5f31-49bb-9f80-8a25c04abfff" providerId="ADAL" clId="{EE97D3FE-9ACA-4467-98E5-532EC45D9D1C}" dt="2024-03-04T12:39:32.726" v="22254" actId="478"/>
          <ac:spMkLst>
            <pc:docMk/>
            <pc:sldMk cId="2603595337" sldId="945"/>
            <ac:spMk id="44" creationId="{37325A5C-F07F-2313-782A-18E3E98D15F0}"/>
          </ac:spMkLst>
        </pc:spChg>
        <pc:spChg chg="del">
          <ac:chgData name="Nataliia Chornii (UA)" userId="4e4b8b3d-5f31-49bb-9f80-8a25c04abfff" providerId="ADAL" clId="{EE97D3FE-9ACA-4467-98E5-532EC45D9D1C}" dt="2024-03-04T12:39:32.726" v="22254" actId="478"/>
          <ac:spMkLst>
            <pc:docMk/>
            <pc:sldMk cId="2603595337" sldId="945"/>
            <ac:spMk id="45" creationId="{5A4A472A-422C-56F4-A0F5-AE422E82D144}"/>
          </ac:spMkLst>
        </pc:spChg>
        <pc:spChg chg="mod ord">
          <ac:chgData name="Nataliia Chornii (UA)" userId="4e4b8b3d-5f31-49bb-9f80-8a25c04abfff" providerId="ADAL" clId="{EE97D3FE-9ACA-4467-98E5-532EC45D9D1C}" dt="2024-03-04T12:55:38.208" v="23205"/>
          <ac:spMkLst>
            <pc:docMk/>
            <pc:sldMk cId="2603595337" sldId="945"/>
            <ac:spMk id="46" creationId="{09BF84D6-F468-7005-FAB5-AA0B6AE5CFB4}"/>
          </ac:spMkLst>
        </pc:spChg>
        <pc:spChg chg="del">
          <ac:chgData name="Nataliia Chornii (UA)" userId="4e4b8b3d-5f31-49bb-9f80-8a25c04abfff" providerId="ADAL" clId="{EE97D3FE-9ACA-4467-98E5-532EC45D9D1C}" dt="2024-03-04T12:39:32.726" v="22254" actId="478"/>
          <ac:spMkLst>
            <pc:docMk/>
            <pc:sldMk cId="2603595337" sldId="945"/>
            <ac:spMk id="49" creationId="{DED3BED4-139F-CB4F-0A7B-7B90211550F4}"/>
          </ac:spMkLst>
        </pc:spChg>
        <pc:grpChg chg="add mod ord">
          <ac:chgData name="Nataliia Chornii (UA)" userId="4e4b8b3d-5f31-49bb-9f80-8a25c04abfff" providerId="ADAL" clId="{EE97D3FE-9ACA-4467-98E5-532EC45D9D1C}" dt="2024-03-04T12:55:38.208" v="23215"/>
          <ac:grpSpMkLst>
            <pc:docMk/>
            <pc:sldMk cId="2603595337" sldId="945"/>
            <ac:grpSpMk id="9" creationId="{05942C02-ABC3-6D55-D5DF-35A9DC4B4128}"/>
          </ac:grpSpMkLst>
        </pc:grpChg>
        <pc:grpChg chg="add mod">
          <ac:chgData name="Nataliia Chornii (UA)" userId="4e4b8b3d-5f31-49bb-9f80-8a25c04abfff" providerId="ADAL" clId="{EE97D3FE-9ACA-4467-98E5-532EC45D9D1C}" dt="2024-03-11T14:27:03.935" v="24114"/>
          <ac:grpSpMkLst>
            <pc:docMk/>
            <pc:sldMk cId="2603595337" sldId="945"/>
            <ac:grpSpMk id="10" creationId="{6B5D52A4-21DD-4358-FD66-F303B98D1CF7}"/>
          </ac:grpSpMkLst>
        </pc:grpChg>
        <pc:graphicFrameChg chg="mod">
          <ac:chgData name="Nataliia Chornii (UA)" userId="4e4b8b3d-5f31-49bb-9f80-8a25c04abfff" providerId="ADAL" clId="{EE97D3FE-9ACA-4467-98E5-532EC45D9D1C}" dt="2024-03-04T12:55:38.208" v="23221"/>
          <ac:graphicFrameMkLst>
            <pc:docMk/>
            <pc:sldMk cId="2603595337" sldId="945"/>
            <ac:graphicFrameMk id="12" creationId="{F6E6AF23-7B86-113A-F559-513B41FEC1FE}"/>
          </ac:graphicFrameMkLst>
        </pc:graphicFrameChg>
        <pc:picChg chg="add mod ord">
          <ac:chgData name="Nataliia Chornii (UA)" userId="4e4b8b3d-5f31-49bb-9f80-8a25c04abfff" providerId="ADAL" clId="{EE97D3FE-9ACA-4467-98E5-532EC45D9D1C}" dt="2024-03-04T12:55:38.208" v="23193"/>
          <ac:picMkLst>
            <pc:docMk/>
            <pc:sldMk cId="2603595337" sldId="945"/>
            <ac:picMk id="17" creationId="{73ED1AF9-9993-177B-EE92-2177C3741411}"/>
          </ac:picMkLst>
        </pc:picChg>
        <pc:picChg chg="del mod ord">
          <ac:chgData name="Nataliia Chornii (UA)" userId="4e4b8b3d-5f31-49bb-9f80-8a25c04abfff" providerId="ADAL" clId="{EE97D3FE-9ACA-4467-98E5-532EC45D9D1C}" dt="2024-03-04T12:39:56.020" v="22314" actId="478"/>
          <ac:picMkLst>
            <pc:docMk/>
            <pc:sldMk cId="2603595337" sldId="945"/>
            <ac:picMk id="41" creationId="{7CAE88F2-0719-E8A4-5A3E-39E39CF155A6}"/>
          </ac:picMkLst>
        </pc:pic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3:49.446" v="22457"/>
              <pc2:cmMkLst xmlns:pc2="http://schemas.microsoft.com/office/powerpoint/2019/9/main/command">
                <pc:docMk/>
                <pc:sldMk cId="2603595337" sldId="945"/>
                <pc2:cmMk id="{D31A62EF-F815-4755-9A6E-9B7E3FAD370D}"/>
              </pc2:cmMkLst>
            </pc226:cmChg>
          </p:ext>
        </pc:extLst>
      </pc:sldChg>
      <pc:sldChg chg="addSp delSp modSp mod modCm">
        <pc:chgData name="Nataliia Chornii (UA)" userId="4e4b8b3d-5f31-49bb-9f80-8a25c04abfff" providerId="ADAL" clId="{EE97D3FE-9ACA-4467-98E5-532EC45D9D1C}" dt="2024-03-11T14:34:21.758" v="25145"/>
        <pc:sldMkLst>
          <pc:docMk/>
          <pc:sldMk cId="3488828484" sldId="946"/>
        </pc:sldMkLst>
        <pc:spChg chg="add mod">
          <ac:chgData name="Nataliia Chornii (UA)" userId="4e4b8b3d-5f31-49bb-9f80-8a25c04abfff" providerId="ADAL" clId="{EE97D3FE-9ACA-4467-98E5-532EC45D9D1C}" dt="2024-03-11T14:27:07.470" v="24117"/>
          <ac:spMkLst>
            <pc:docMk/>
            <pc:sldMk cId="3488828484" sldId="946"/>
            <ac:spMk id="2" creationId="{8119AA81-D51B-6287-E979-F71003D27C65}"/>
          </ac:spMkLst>
        </pc:spChg>
        <pc:spChg chg="add del mod modVis">
          <ac:chgData name="Nataliia Chornii (UA)" userId="4e4b8b3d-5f31-49bb-9f80-8a25c04abfff" providerId="ADAL" clId="{EE97D3FE-9ACA-4467-98E5-532EC45D9D1C}" dt="2024-03-04T12:45:05.473" v="22738"/>
          <ac:spMkLst>
            <pc:docMk/>
            <pc:sldMk cId="3488828484" sldId="946"/>
            <ac:spMk id="2" creationId="{E7A82AF4-B434-559E-C6D6-38053CDB66C2}"/>
          </ac:spMkLst>
        </pc:spChg>
        <pc:spChg chg="mod ord">
          <ac:chgData name="Nataliia Chornii (UA)" userId="4e4b8b3d-5f31-49bb-9f80-8a25c04abfff" providerId="ADAL" clId="{EE97D3FE-9ACA-4467-98E5-532EC45D9D1C}" dt="2024-03-04T12:45:08.529" v="22751"/>
          <ac:spMkLst>
            <pc:docMk/>
            <pc:sldMk cId="3488828484" sldId="946"/>
            <ac:spMk id="3" creationId="{F4CCF02E-F3C4-C376-8F56-61BD85A2E74B}"/>
          </ac:spMkLst>
        </pc:spChg>
        <pc:spChg chg="mod ord">
          <ac:chgData name="Nataliia Chornii (UA)" userId="4e4b8b3d-5f31-49bb-9f80-8a25c04abfff" providerId="ADAL" clId="{EE97D3FE-9ACA-4467-98E5-532EC45D9D1C}" dt="2024-03-04T12:45:08.530" v="22753"/>
          <ac:spMkLst>
            <pc:docMk/>
            <pc:sldMk cId="3488828484" sldId="946"/>
            <ac:spMk id="4" creationId="{872966CD-924A-B939-E655-A6BAF817DCBF}"/>
          </ac:spMkLst>
        </pc:spChg>
        <pc:spChg chg="add mod">
          <ac:chgData name="Nataliia Chornii (UA)" userId="4e4b8b3d-5f31-49bb-9f80-8a25c04abfff" providerId="ADAL" clId="{EE97D3FE-9ACA-4467-98E5-532EC45D9D1C}" dt="2024-03-04T12:47:33.863" v="22819"/>
          <ac:spMkLst>
            <pc:docMk/>
            <pc:sldMk cId="3488828484" sldId="946"/>
            <ac:spMk id="8" creationId="{6FBF7AD7-A09B-9F41-3430-A5D30668AE55}"/>
          </ac:spMkLst>
        </pc:spChg>
        <pc:spChg chg="mod">
          <ac:chgData name="Nataliia Chornii (UA)" userId="4e4b8b3d-5f31-49bb-9f80-8a25c04abfff" providerId="ADAL" clId="{EE97D3FE-9ACA-4467-98E5-532EC45D9D1C}" dt="2024-03-11T14:27:07.470" v="24117"/>
          <ac:spMkLst>
            <pc:docMk/>
            <pc:sldMk cId="3488828484" sldId="946"/>
            <ac:spMk id="9" creationId="{138E77CA-15AE-A5BE-F9CD-B9F34615EEEE}"/>
          </ac:spMkLst>
        </pc:spChg>
        <pc:spChg chg="mod">
          <ac:chgData name="Nataliia Chornii (UA)" userId="4e4b8b3d-5f31-49bb-9f80-8a25c04abfff" providerId="ADAL" clId="{EE97D3FE-9ACA-4467-98E5-532EC45D9D1C}" dt="2024-03-11T14:27:07.470" v="24117"/>
          <ac:spMkLst>
            <pc:docMk/>
            <pc:sldMk cId="3488828484" sldId="946"/>
            <ac:spMk id="10" creationId="{562A3F9A-3726-4F3C-62C4-7B1591D17284}"/>
          </ac:spMkLst>
        </pc:spChg>
        <pc:spChg chg="mod">
          <ac:chgData name="Nataliia Chornii (UA)" userId="4e4b8b3d-5f31-49bb-9f80-8a25c04abfff" providerId="ADAL" clId="{EE97D3FE-9ACA-4467-98E5-532EC45D9D1C}" dt="2024-03-11T14:27:07.470" v="24117"/>
          <ac:spMkLst>
            <pc:docMk/>
            <pc:sldMk cId="3488828484" sldId="946"/>
            <ac:spMk id="11" creationId="{1494F2BC-A9DE-9AB9-E6C6-7C5964DBAEC5}"/>
          </ac:spMkLst>
        </pc:spChg>
        <pc:spChg chg="mod">
          <ac:chgData name="Nataliia Chornii (UA)" userId="4e4b8b3d-5f31-49bb-9f80-8a25c04abfff" providerId="ADAL" clId="{EE97D3FE-9ACA-4467-98E5-532EC45D9D1C}" dt="2024-03-11T14:27:07.470" v="24117"/>
          <ac:spMkLst>
            <pc:docMk/>
            <pc:sldMk cId="3488828484" sldId="946"/>
            <ac:spMk id="13" creationId="{724A6B9E-2A15-82ED-5ECA-5E4D09D34742}"/>
          </ac:spMkLst>
        </pc:spChg>
        <pc:spChg chg="mod">
          <ac:chgData name="Nataliia Chornii (UA)" userId="4e4b8b3d-5f31-49bb-9f80-8a25c04abfff" providerId="ADAL" clId="{EE97D3FE-9ACA-4467-98E5-532EC45D9D1C}" dt="2024-03-11T14:27:07.470" v="24117"/>
          <ac:spMkLst>
            <pc:docMk/>
            <pc:sldMk cId="3488828484" sldId="946"/>
            <ac:spMk id="14" creationId="{F6057FBA-D276-0528-4799-DC958DF34CFC}"/>
          </ac:spMkLst>
        </pc:spChg>
        <pc:spChg chg="mod">
          <ac:chgData name="Nataliia Chornii (UA)" userId="4e4b8b3d-5f31-49bb-9f80-8a25c04abfff" providerId="ADAL" clId="{EE97D3FE-9ACA-4467-98E5-532EC45D9D1C}" dt="2024-03-11T14:27:07.470" v="24117"/>
          <ac:spMkLst>
            <pc:docMk/>
            <pc:sldMk cId="3488828484" sldId="946"/>
            <ac:spMk id="15" creationId="{7250E539-FB31-0BC9-1A68-8D7398F3FF01}"/>
          </ac:spMkLst>
        </pc:spChg>
        <pc:spChg chg="add mod">
          <ac:chgData name="Nataliia Chornii (UA)" userId="4e4b8b3d-5f31-49bb-9f80-8a25c04abfff" providerId="ADAL" clId="{EE97D3FE-9ACA-4467-98E5-532EC45D9D1C}" dt="2024-03-11T14:34:21.758" v="25145"/>
          <ac:spMkLst>
            <pc:docMk/>
            <pc:sldMk cId="3488828484" sldId="946"/>
            <ac:spMk id="16" creationId="{BF1741C3-C6E1-695F-CF3F-D21D1E19FEB8}"/>
          </ac:spMkLst>
        </pc:spChg>
        <pc:spChg chg="mod ord">
          <ac:chgData name="Nataliia Chornii (UA)" userId="4e4b8b3d-5f31-49bb-9f80-8a25c04abfff" providerId="ADAL" clId="{EE97D3FE-9ACA-4467-98E5-532EC45D9D1C}" dt="2024-03-04T12:46:12.595" v="22807" actId="555"/>
          <ac:spMkLst>
            <pc:docMk/>
            <pc:sldMk cId="3488828484" sldId="946"/>
            <ac:spMk id="25" creationId="{2B261BF4-92C6-462D-AA95-793AE54DD688}"/>
          </ac:spMkLst>
        </pc:spChg>
        <pc:spChg chg="mod ord">
          <ac:chgData name="Nataliia Chornii (UA)" userId="4e4b8b3d-5f31-49bb-9f80-8a25c04abfff" providerId="ADAL" clId="{EE97D3FE-9ACA-4467-98E5-532EC45D9D1C}" dt="2024-03-04T12:45:08.530" v="22755"/>
          <ac:spMkLst>
            <pc:docMk/>
            <pc:sldMk cId="3488828484" sldId="946"/>
            <ac:spMk id="26" creationId="{5EC1F9AE-82A4-85FE-592B-EF659F76F7EC}"/>
          </ac:spMkLst>
        </pc:spChg>
        <pc:spChg chg="mod ord">
          <ac:chgData name="Nataliia Chornii (UA)" userId="4e4b8b3d-5f31-49bb-9f80-8a25c04abfff" providerId="ADAL" clId="{EE97D3FE-9ACA-4467-98E5-532EC45D9D1C}" dt="2024-03-04T12:45:08.530" v="22757"/>
          <ac:spMkLst>
            <pc:docMk/>
            <pc:sldMk cId="3488828484" sldId="946"/>
            <ac:spMk id="27" creationId="{72D802D4-B169-1594-D931-40179675E33A}"/>
          </ac:spMkLst>
        </pc:spChg>
        <pc:spChg chg="mod ord">
          <ac:chgData name="Nataliia Chornii (UA)" userId="4e4b8b3d-5f31-49bb-9f80-8a25c04abfff" providerId="ADAL" clId="{EE97D3FE-9ACA-4467-98E5-532EC45D9D1C}" dt="2024-03-04T12:45:08.530" v="22759"/>
          <ac:spMkLst>
            <pc:docMk/>
            <pc:sldMk cId="3488828484" sldId="946"/>
            <ac:spMk id="29" creationId="{3915AD89-6428-4A75-0915-328643F1703C}"/>
          </ac:spMkLst>
        </pc:spChg>
        <pc:spChg chg="mod ord">
          <ac:chgData name="Nataliia Chornii (UA)" userId="4e4b8b3d-5f31-49bb-9f80-8a25c04abfff" providerId="ADAL" clId="{EE97D3FE-9ACA-4467-98E5-532EC45D9D1C}" dt="2024-03-04T12:45:08.530" v="22761"/>
          <ac:spMkLst>
            <pc:docMk/>
            <pc:sldMk cId="3488828484" sldId="946"/>
            <ac:spMk id="30" creationId="{373AB206-F1F0-CC72-8C15-85605D9AF2AC}"/>
          </ac:spMkLst>
        </pc:spChg>
        <pc:spChg chg="mod ord">
          <ac:chgData name="Nataliia Chornii (UA)" userId="4e4b8b3d-5f31-49bb-9f80-8a25c04abfff" providerId="ADAL" clId="{EE97D3FE-9ACA-4467-98E5-532EC45D9D1C}" dt="2024-03-04T12:45:08.514" v="22747"/>
          <ac:spMkLst>
            <pc:docMk/>
            <pc:sldMk cId="3488828484" sldId="946"/>
            <ac:spMk id="42" creationId="{50830596-224D-A11D-D251-21B0CA3EB02E}"/>
          </ac:spMkLst>
        </pc:spChg>
        <pc:spChg chg="mod ord">
          <ac:chgData name="Nataliia Chornii (UA)" userId="4e4b8b3d-5f31-49bb-9f80-8a25c04abfff" providerId="ADAL" clId="{EE97D3FE-9ACA-4467-98E5-532EC45D9D1C}" dt="2024-03-04T12:45:08.530" v="22763"/>
          <ac:spMkLst>
            <pc:docMk/>
            <pc:sldMk cId="3488828484" sldId="946"/>
            <ac:spMk id="44" creationId="{37325A5C-F07F-2313-782A-18E3E98D15F0}"/>
          </ac:spMkLst>
        </pc:spChg>
        <pc:spChg chg="mod ord">
          <ac:chgData name="Nataliia Chornii (UA)" userId="4e4b8b3d-5f31-49bb-9f80-8a25c04abfff" providerId="ADAL" clId="{EE97D3FE-9ACA-4467-98E5-532EC45D9D1C}" dt="2024-03-04T12:45:08.530" v="22765"/>
          <ac:spMkLst>
            <pc:docMk/>
            <pc:sldMk cId="3488828484" sldId="946"/>
            <ac:spMk id="45" creationId="{5A4A472A-422C-56F4-A0F5-AE422E82D144}"/>
          </ac:spMkLst>
        </pc:spChg>
        <pc:spChg chg="mod ord">
          <ac:chgData name="Nataliia Chornii (UA)" userId="4e4b8b3d-5f31-49bb-9f80-8a25c04abfff" providerId="ADAL" clId="{EE97D3FE-9ACA-4467-98E5-532EC45D9D1C}" dt="2024-03-04T12:45:08.530" v="22767"/>
          <ac:spMkLst>
            <pc:docMk/>
            <pc:sldMk cId="3488828484" sldId="946"/>
            <ac:spMk id="46" creationId="{09BF84D6-F468-7005-FAB5-AA0B6AE5CFB4}"/>
          </ac:spMkLst>
        </pc:spChg>
        <pc:spChg chg="mod ord">
          <ac:chgData name="Nataliia Chornii (UA)" userId="4e4b8b3d-5f31-49bb-9f80-8a25c04abfff" providerId="ADAL" clId="{EE97D3FE-9ACA-4467-98E5-532EC45D9D1C}" dt="2024-03-04T12:45:08.530" v="22769"/>
          <ac:spMkLst>
            <pc:docMk/>
            <pc:sldMk cId="3488828484" sldId="946"/>
            <ac:spMk id="49" creationId="{DED3BED4-139F-CB4F-0A7B-7B90211550F4}"/>
          </ac:spMkLst>
        </pc:spChg>
        <pc:spChg chg="mod ord">
          <ac:chgData name="Nataliia Chornii (UA)" userId="4e4b8b3d-5f31-49bb-9f80-8a25c04abfff" providerId="ADAL" clId="{EE97D3FE-9ACA-4467-98E5-532EC45D9D1C}" dt="2024-03-04T12:47:41.806" v="22820" actId="14100"/>
          <ac:spMkLst>
            <pc:docMk/>
            <pc:sldMk cId="3488828484" sldId="946"/>
            <ac:spMk id="50" creationId="{0130363F-7CE7-F3D0-4AB5-F295FAC2DCBC}"/>
          </ac:spMkLst>
        </pc:spChg>
        <pc:spChg chg="mod ord">
          <ac:chgData name="Nataliia Chornii (UA)" userId="4e4b8b3d-5f31-49bb-9f80-8a25c04abfff" providerId="ADAL" clId="{EE97D3FE-9ACA-4467-98E5-532EC45D9D1C}" dt="2024-03-04T12:45:08.530" v="22773"/>
          <ac:spMkLst>
            <pc:docMk/>
            <pc:sldMk cId="3488828484" sldId="946"/>
            <ac:spMk id="51" creationId="{AFEB1935-0849-FFDB-14A2-768E555E2F79}"/>
          </ac:spMkLst>
        </pc:spChg>
        <pc:spChg chg="del mod ord">
          <ac:chgData name="Nataliia Chornii (UA)" userId="4e4b8b3d-5f31-49bb-9f80-8a25c04abfff" providerId="ADAL" clId="{EE97D3FE-9ACA-4467-98E5-532EC45D9D1C}" dt="2024-03-04T12:47:33.513" v="22818" actId="478"/>
          <ac:spMkLst>
            <pc:docMk/>
            <pc:sldMk cId="3488828484" sldId="946"/>
            <ac:spMk id="52" creationId="{C28EBB85-E5E0-FA58-8077-AD15508F23C6}"/>
          </ac:spMkLst>
        </pc:spChg>
        <pc:spChg chg="del mod ord">
          <ac:chgData name="Nataliia Chornii (UA)" userId="4e4b8b3d-5f31-49bb-9f80-8a25c04abfff" providerId="ADAL" clId="{EE97D3FE-9ACA-4467-98E5-532EC45D9D1C}" dt="2024-03-11T14:34:21.488" v="25144" actId="478"/>
          <ac:spMkLst>
            <pc:docMk/>
            <pc:sldMk cId="3488828484" sldId="946"/>
            <ac:spMk id="57" creationId="{E0007A68-F3EF-5218-37FA-972FF8C8BB56}"/>
          </ac:spMkLst>
        </pc:spChg>
        <pc:spChg chg="mod ord">
          <ac:chgData name="Nataliia Chornii (UA)" userId="4e4b8b3d-5f31-49bb-9f80-8a25c04abfff" providerId="ADAL" clId="{EE97D3FE-9ACA-4467-98E5-532EC45D9D1C}" dt="2024-03-04T12:46:15.573" v="22808" actId="164"/>
          <ac:spMkLst>
            <pc:docMk/>
            <pc:sldMk cId="3488828484" sldId="946"/>
            <ac:spMk id="93" creationId="{5A55EC81-0AD5-CE05-4AAF-6599399D9BD3}"/>
          </ac:spMkLst>
        </pc:spChg>
        <pc:spChg chg="mod ord">
          <ac:chgData name="Nataliia Chornii (UA)" userId="4e4b8b3d-5f31-49bb-9f80-8a25c04abfff" providerId="ADAL" clId="{EE97D3FE-9ACA-4467-98E5-532EC45D9D1C}" dt="2024-03-04T12:46:15.573" v="22808" actId="164"/>
          <ac:spMkLst>
            <pc:docMk/>
            <pc:sldMk cId="3488828484" sldId="946"/>
            <ac:spMk id="94" creationId="{2945AFC3-C832-6045-1DDE-A189FFBEDD95}"/>
          </ac:spMkLst>
        </pc:spChg>
        <pc:spChg chg="mod ord">
          <ac:chgData name="Nataliia Chornii (UA)" userId="4e4b8b3d-5f31-49bb-9f80-8a25c04abfff" providerId="ADAL" clId="{EE97D3FE-9ACA-4467-98E5-532EC45D9D1C}" dt="2024-03-04T12:46:15.573" v="22808" actId="164"/>
          <ac:spMkLst>
            <pc:docMk/>
            <pc:sldMk cId="3488828484" sldId="946"/>
            <ac:spMk id="96" creationId="{2A913932-8BE1-F1EB-2C97-BB1A5EF0C629}"/>
          </ac:spMkLst>
        </pc:spChg>
        <pc:spChg chg="mod ord">
          <ac:chgData name="Nataliia Chornii (UA)" userId="4e4b8b3d-5f31-49bb-9f80-8a25c04abfff" providerId="ADAL" clId="{EE97D3FE-9ACA-4467-98E5-532EC45D9D1C}" dt="2024-03-04T12:46:12.595" v="22807" actId="555"/>
          <ac:spMkLst>
            <pc:docMk/>
            <pc:sldMk cId="3488828484" sldId="946"/>
            <ac:spMk id="105" creationId="{C73B42A3-EA68-B90F-A6C9-5F7FF93DD187}"/>
          </ac:spMkLst>
        </pc:spChg>
        <pc:grpChg chg="add mod">
          <ac:chgData name="Nataliia Chornii (UA)" userId="4e4b8b3d-5f31-49bb-9f80-8a25c04abfff" providerId="ADAL" clId="{EE97D3FE-9ACA-4467-98E5-532EC45D9D1C}" dt="2024-03-11T14:27:07.470" v="24117"/>
          <ac:grpSpMkLst>
            <pc:docMk/>
            <pc:sldMk cId="3488828484" sldId="946"/>
            <ac:grpSpMk id="6" creationId="{62E297C8-1F34-0629-6AFB-E8CB4F61BFA0}"/>
          </ac:grpSpMkLst>
        </pc:grpChg>
        <pc:grpChg chg="add mod">
          <ac:chgData name="Nataliia Chornii (UA)" userId="4e4b8b3d-5f31-49bb-9f80-8a25c04abfff" providerId="ADAL" clId="{EE97D3FE-9ACA-4467-98E5-532EC45D9D1C}" dt="2024-03-04T12:46:17.503" v="22809" actId="465"/>
          <ac:grpSpMkLst>
            <pc:docMk/>
            <pc:sldMk cId="3488828484" sldId="946"/>
            <ac:grpSpMk id="7" creationId="{0C7C54A4-AC5D-5A5E-2CED-7EC3CEA9DE86}"/>
          </ac:grpSpMkLst>
        </pc:grpChg>
        <pc:graphicFrameChg chg="mod">
          <ac:chgData name="Nataliia Chornii (UA)" userId="4e4b8b3d-5f31-49bb-9f80-8a25c04abfff" providerId="ADAL" clId="{EE97D3FE-9ACA-4467-98E5-532EC45D9D1C}" dt="2024-03-04T12:45:08.545" v="22793"/>
          <ac:graphicFrameMkLst>
            <pc:docMk/>
            <pc:sldMk cId="3488828484" sldId="946"/>
            <ac:graphicFrameMk id="12" creationId="{F6E6AF23-7B86-113A-F559-513B41FEC1FE}"/>
          </ac:graphicFrameMkLst>
        </pc:graphicFrameChg>
        <pc:picChg chg="add mod ord">
          <ac:chgData name="Nataliia Chornii (UA)" userId="4e4b8b3d-5f31-49bb-9f80-8a25c04abfff" providerId="ADAL" clId="{EE97D3FE-9ACA-4467-98E5-532EC45D9D1C}" dt="2024-03-04T12:45:08.514" v="22745"/>
          <ac:picMkLst>
            <pc:docMk/>
            <pc:sldMk cId="3488828484" sldId="946"/>
            <ac:picMk id="5" creationId="{6C899CEF-87FE-63E9-4F7C-FA60BC973504}"/>
          </ac:picMkLst>
        </pc:picChg>
        <pc:picChg chg="del mod ord">
          <ac:chgData name="Nataliia Chornii (UA)" userId="4e4b8b3d-5f31-49bb-9f80-8a25c04abfff" providerId="ADAL" clId="{EE97D3FE-9ACA-4467-98E5-532EC45D9D1C}" dt="2024-03-04T12:45:06.104" v="22741" actId="478"/>
          <ac:picMkLst>
            <pc:docMk/>
            <pc:sldMk cId="3488828484" sldId="946"/>
            <ac:picMk id="41" creationId="{7CAE88F2-0719-E8A4-5A3E-39E39CF155A6}"/>
          </ac:picMkLst>
        </pc:picChg>
        <pc:cxnChg chg="mod ord">
          <ac:chgData name="Nataliia Chornii (UA)" userId="4e4b8b3d-5f31-49bb-9f80-8a25c04abfff" providerId="ADAL" clId="{EE97D3FE-9ACA-4467-98E5-532EC45D9D1C}" dt="2024-03-04T12:45:08.530" v="22777"/>
          <ac:cxnSpMkLst>
            <pc:docMk/>
            <pc:sldMk cId="3488828484" sldId="946"/>
            <ac:cxnSpMk id="53" creationId="{F358E754-064A-5B8C-B2FC-4E612BA07893}"/>
          </ac:cxnSpMkLst>
        </pc:cxnChg>
        <pc:cxnChg chg="mod ord">
          <ac:chgData name="Nataliia Chornii (UA)" userId="4e4b8b3d-5f31-49bb-9f80-8a25c04abfff" providerId="ADAL" clId="{EE97D3FE-9ACA-4467-98E5-532EC45D9D1C}" dt="2024-03-04T12:46:15.573" v="22808" actId="164"/>
          <ac:cxnSpMkLst>
            <pc:docMk/>
            <pc:sldMk cId="3488828484" sldId="946"/>
            <ac:cxnSpMk id="95" creationId="{D4EEEA95-3B5D-59D7-CC7D-E49C940EDFA8}"/>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55:42.492" v="23222"/>
              <pc2:cmMkLst xmlns:pc2="http://schemas.microsoft.com/office/powerpoint/2019/9/main/command">
                <pc:docMk/>
                <pc:sldMk cId="3488828484" sldId="946"/>
                <pc2:cmMk id="{9B0D3FA9-9E12-42E0-8291-A58BCC6F688A}"/>
              </pc2:cmMkLst>
            </pc226:cmChg>
          </p:ext>
        </pc:extLst>
      </pc:sldChg>
      <pc:sldChg chg="addSp delSp modSp mod modCm">
        <pc:chgData name="Nataliia Chornii (UA)" userId="4e4b8b3d-5f31-49bb-9f80-8a25c04abfff" providerId="ADAL" clId="{EE97D3FE-9ACA-4467-98E5-532EC45D9D1C}" dt="2024-03-11T14:33:32.416" v="24592"/>
        <pc:sldMkLst>
          <pc:docMk/>
          <pc:sldMk cId="3911462717" sldId="947"/>
        </pc:sldMkLst>
        <pc:spChg chg="add mod ord">
          <ac:chgData name="Nataliia Chornii (UA)" userId="4e4b8b3d-5f31-49bb-9f80-8a25c04abfff" providerId="ADAL" clId="{EE97D3FE-9ACA-4467-98E5-532EC45D9D1C}" dt="2024-03-11T14:33:30.376" v="24584"/>
          <ac:spMkLst>
            <pc:docMk/>
            <pc:sldMk cId="3911462717" sldId="947"/>
            <ac:spMk id="2" creationId="{24AE5FB6-090E-5A56-2889-6CE30C616472}"/>
          </ac:spMkLst>
        </pc:spChg>
        <pc:spChg chg="add del mod modVis">
          <ac:chgData name="Nataliia Chornii (UA)" userId="4e4b8b3d-5f31-49bb-9f80-8a25c04abfff" providerId="ADAL" clId="{EE97D3FE-9ACA-4467-98E5-532EC45D9D1C}" dt="2024-03-04T09:51:15.458" v="19955"/>
          <ac:spMkLst>
            <pc:docMk/>
            <pc:sldMk cId="3911462717" sldId="947"/>
            <ac:spMk id="2" creationId="{4EAA36D2-D6FE-FC3B-991A-BB6F7BA811E9}"/>
          </ac:spMkLst>
        </pc:spChg>
        <pc:spChg chg="mod ord">
          <ac:chgData name="Nataliia Chornii (UA)" userId="4e4b8b3d-5f31-49bb-9f80-8a25c04abfff" providerId="ADAL" clId="{EE97D3FE-9ACA-4467-98E5-532EC45D9D1C}" dt="2024-03-11T14:33:30.376" v="24562"/>
          <ac:spMkLst>
            <pc:docMk/>
            <pc:sldMk cId="3911462717" sldId="947"/>
            <ac:spMk id="3" creationId="{F4CCF02E-F3C4-C376-8F56-61BD85A2E74B}"/>
          </ac:spMkLst>
        </pc:spChg>
        <pc:spChg chg="mod ord">
          <ac:chgData name="Nataliia Chornii (UA)" userId="4e4b8b3d-5f31-49bb-9f80-8a25c04abfff" providerId="ADAL" clId="{EE97D3FE-9ACA-4467-98E5-532EC45D9D1C}" dt="2024-03-11T14:33:30.376" v="24564"/>
          <ac:spMkLst>
            <pc:docMk/>
            <pc:sldMk cId="3911462717" sldId="947"/>
            <ac:spMk id="4" creationId="{872966CD-924A-B939-E655-A6BAF817DCBF}"/>
          </ac:spMkLst>
        </pc:spChg>
        <pc:spChg chg="add del mod ord">
          <ac:chgData name="Nataliia Chornii (UA)" userId="4e4b8b3d-5f31-49bb-9f80-8a25c04abfff" providerId="ADAL" clId="{EE97D3FE-9ACA-4467-98E5-532EC45D9D1C}" dt="2024-03-11T14:33:32.113" v="24591" actId="478"/>
          <ac:spMkLst>
            <pc:docMk/>
            <pc:sldMk cId="3911462717" sldId="947"/>
            <ac:spMk id="5" creationId="{B8117B57-8E39-5418-6527-0CB9323D2C76}"/>
          </ac:spMkLst>
        </pc:spChg>
        <pc:spChg chg="add del mod modVis">
          <ac:chgData name="Nataliia Chornii (UA)" userId="4e4b8b3d-5f31-49bb-9f80-8a25c04abfff" providerId="ADAL" clId="{EE97D3FE-9ACA-4467-98E5-532EC45D9D1C}" dt="2024-03-04T12:36:31.479" v="22057"/>
          <ac:spMkLst>
            <pc:docMk/>
            <pc:sldMk cId="3911462717" sldId="947"/>
            <ac:spMk id="6" creationId="{CE999CED-9B2B-0949-798B-4444E0828165}"/>
          </ac:spMkLst>
        </pc:spChg>
        <pc:spChg chg="del mod ord">
          <ac:chgData name="Nataliia Chornii (UA)" userId="4e4b8b3d-5f31-49bb-9f80-8a25c04abfff" providerId="ADAL" clId="{EE97D3FE-9ACA-4467-98E5-532EC45D9D1C}" dt="2024-03-04T12:37:10.343" v="22108" actId="478"/>
          <ac:spMkLst>
            <pc:docMk/>
            <pc:sldMk cId="3911462717" sldId="947"/>
            <ac:spMk id="8" creationId="{8F84A1C1-A3B2-78F7-2F05-EA937E442831}"/>
          </ac:spMkLst>
        </pc:spChg>
        <pc:spChg chg="mod">
          <ac:chgData name="Nataliia Chornii (UA)" userId="4e4b8b3d-5f31-49bb-9f80-8a25c04abfff" providerId="ADAL" clId="{EE97D3FE-9ACA-4467-98E5-532EC45D9D1C}" dt="2024-03-11T14:26:45.247" v="24104"/>
          <ac:spMkLst>
            <pc:docMk/>
            <pc:sldMk cId="3911462717" sldId="947"/>
            <ac:spMk id="8" creationId="{9ADB23DA-EF2A-717B-1AF0-280F3D4A6B56}"/>
          </ac:spMkLst>
        </pc:spChg>
        <pc:spChg chg="add mod ord">
          <ac:chgData name="Nataliia Chornii (UA)" userId="4e4b8b3d-5f31-49bb-9f80-8a25c04abfff" providerId="ADAL" clId="{EE97D3FE-9ACA-4467-98E5-532EC45D9D1C}" dt="2024-03-11T14:33:30.365" v="24554"/>
          <ac:spMkLst>
            <pc:docMk/>
            <pc:sldMk cId="3911462717" sldId="947"/>
            <ac:spMk id="9" creationId="{3C02F18C-4E74-90B5-EC0B-78FCC94453E3}"/>
          </ac:spMkLst>
        </pc:spChg>
        <pc:spChg chg="del">
          <ac:chgData name="Nataliia Chornii (UA)" userId="4e4b8b3d-5f31-49bb-9f80-8a25c04abfff" providerId="ADAL" clId="{EE97D3FE-9ACA-4467-98E5-532EC45D9D1C}" dt="2024-03-04T09:51:33.149" v="19973" actId="478"/>
          <ac:spMkLst>
            <pc:docMk/>
            <pc:sldMk cId="3911462717" sldId="947"/>
            <ac:spMk id="10" creationId="{6F55AA3F-6103-110B-C367-10711AC49356}"/>
          </ac:spMkLst>
        </pc:spChg>
        <pc:spChg chg="mod">
          <ac:chgData name="Nataliia Chornii (UA)" userId="4e4b8b3d-5f31-49bb-9f80-8a25c04abfff" providerId="ADAL" clId="{EE97D3FE-9ACA-4467-98E5-532EC45D9D1C}" dt="2024-03-11T14:26:45.247" v="24104"/>
          <ac:spMkLst>
            <pc:docMk/>
            <pc:sldMk cId="3911462717" sldId="947"/>
            <ac:spMk id="10" creationId="{C7F0FF19-9E2A-12BE-3039-9BFCB0246A00}"/>
          </ac:spMkLst>
        </pc:spChg>
        <pc:spChg chg="add mod ord">
          <ac:chgData name="Nataliia Chornii (UA)" userId="4e4b8b3d-5f31-49bb-9f80-8a25c04abfff" providerId="ADAL" clId="{EE97D3FE-9ACA-4467-98E5-532EC45D9D1C}" dt="2024-03-11T14:33:30.365" v="24556"/>
          <ac:spMkLst>
            <pc:docMk/>
            <pc:sldMk cId="3911462717" sldId="947"/>
            <ac:spMk id="11" creationId="{07889E6A-8E21-2803-30A1-A645AF04340F}"/>
          </ac:spMkLst>
        </pc:spChg>
        <pc:spChg chg="add mod ord">
          <ac:chgData name="Nataliia Chornii (UA)" userId="4e4b8b3d-5f31-49bb-9f80-8a25c04abfff" providerId="ADAL" clId="{EE97D3FE-9ACA-4467-98E5-532EC45D9D1C}" dt="2024-03-11T14:33:30.375" v="24558"/>
          <ac:spMkLst>
            <pc:docMk/>
            <pc:sldMk cId="3911462717" sldId="947"/>
            <ac:spMk id="13" creationId="{10ECE187-B3A4-BDE3-A3F3-430688A0658E}"/>
          </ac:spMkLst>
        </pc:spChg>
        <pc:spChg chg="mod">
          <ac:chgData name="Nataliia Chornii (UA)" userId="4e4b8b3d-5f31-49bb-9f80-8a25c04abfff" providerId="ADAL" clId="{EE97D3FE-9ACA-4467-98E5-532EC45D9D1C}" dt="2024-03-04T12:37:17.533" v="22110"/>
          <ac:spMkLst>
            <pc:docMk/>
            <pc:sldMk cId="3911462717" sldId="947"/>
            <ac:spMk id="15" creationId="{4CB45765-8E44-820A-9E40-C91FDDCB9B97}"/>
          </ac:spMkLst>
        </pc:spChg>
        <pc:spChg chg="mod">
          <ac:chgData name="Nataliia Chornii (UA)" userId="4e4b8b3d-5f31-49bb-9f80-8a25c04abfff" providerId="ADAL" clId="{EE97D3FE-9ACA-4467-98E5-532EC45D9D1C}" dt="2024-03-04T12:37:17.533" v="22110"/>
          <ac:spMkLst>
            <pc:docMk/>
            <pc:sldMk cId="3911462717" sldId="947"/>
            <ac:spMk id="16" creationId="{52A415CE-22D9-E6CE-20F0-E3F689A0DFF5}"/>
          </ac:spMkLst>
        </pc:spChg>
        <pc:spChg chg="mod">
          <ac:chgData name="Nataliia Chornii (UA)" userId="4e4b8b3d-5f31-49bb-9f80-8a25c04abfff" providerId="ADAL" clId="{EE97D3FE-9ACA-4467-98E5-532EC45D9D1C}" dt="2024-03-04T12:37:17.533" v="22110"/>
          <ac:spMkLst>
            <pc:docMk/>
            <pc:sldMk cId="3911462717" sldId="947"/>
            <ac:spMk id="17" creationId="{37C289FF-B8DD-FBCD-F62C-1CC8FAE65FA8}"/>
          </ac:spMkLst>
        </pc:spChg>
        <pc:spChg chg="mod ord">
          <ac:chgData name="Nataliia Chornii (UA)" userId="4e4b8b3d-5f31-49bb-9f80-8a25c04abfff" providerId="ADAL" clId="{EE97D3FE-9ACA-4467-98E5-532EC45D9D1C}" dt="2024-03-11T14:33:30.365" v="24552"/>
          <ac:spMkLst>
            <pc:docMk/>
            <pc:sldMk cId="3911462717" sldId="947"/>
            <ac:spMk id="19" creationId="{2ACC2107-8F44-193D-2F4F-9A72038EFDD4}"/>
          </ac:spMkLst>
        </pc:spChg>
        <pc:spChg chg="del">
          <ac:chgData name="Nataliia Chornii (UA)" userId="4e4b8b3d-5f31-49bb-9f80-8a25c04abfff" providerId="ADAL" clId="{EE97D3FE-9ACA-4467-98E5-532EC45D9D1C}" dt="2024-03-04T09:51:33.149" v="19973" actId="478"/>
          <ac:spMkLst>
            <pc:docMk/>
            <pc:sldMk cId="3911462717" sldId="947"/>
            <ac:spMk id="19" creationId="{6540A5E1-A41A-D662-410E-E26837FEC171}"/>
          </ac:spMkLst>
        </pc:spChg>
        <pc:spChg chg="mod">
          <ac:chgData name="Nataliia Chornii (UA)" userId="4e4b8b3d-5f31-49bb-9f80-8a25c04abfff" providerId="ADAL" clId="{EE97D3FE-9ACA-4467-98E5-532EC45D9D1C}" dt="2024-03-11T14:26:45.247" v="24104"/>
          <ac:spMkLst>
            <pc:docMk/>
            <pc:sldMk cId="3911462717" sldId="947"/>
            <ac:spMk id="20" creationId="{C131FADB-5FB3-430D-4F8B-578C5A96D9AC}"/>
          </ac:spMkLst>
        </pc:spChg>
        <pc:spChg chg="mod">
          <ac:chgData name="Nataliia Chornii (UA)" userId="4e4b8b3d-5f31-49bb-9f80-8a25c04abfff" providerId="ADAL" clId="{EE97D3FE-9ACA-4467-98E5-532EC45D9D1C}" dt="2024-03-11T14:26:45.247" v="24104"/>
          <ac:spMkLst>
            <pc:docMk/>
            <pc:sldMk cId="3911462717" sldId="947"/>
            <ac:spMk id="21" creationId="{69AA4119-A621-A50A-526F-B8D198302189}"/>
          </ac:spMkLst>
        </pc:spChg>
        <pc:spChg chg="mod">
          <ac:chgData name="Nataliia Chornii (UA)" userId="4e4b8b3d-5f31-49bb-9f80-8a25c04abfff" providerId="ADAL" clId="{EE97D3FE-9ACA-4467-98E5-532EC45D9D1C}" dt="2024-03-11T14:26:45.247" v="24104"/>
          <ac:spMkLst>
            <pc:docMk/>
            <pc:sldMk cId="3911462717" sldId="947"/>
            <ac:spMk id="22" creationId="{003222FA-A026-7A44-5307-411F81B97D40}"/>
          </ac:spMkLst>
        </pc:spChg>
        <pc:spChg chg="mod">
          <ac:chgData name="Nataliia Chornii (UA)" userId="4e4b8b3d-5f31-49bb-9f80-8a25c04abfff" providerId="ADAL" clId="{EE97D3FE-9ACA-4467-98E5-532EC45D9D1C}" dt="2024-03-11T14:26:45.247" v="24104"/>
          <ac:spMkLst>
            <pc:docMk/>
            <pc:sldMk cId="3911462717" sldId="947"/>
            <ac:spMk id="23" creationId="{646A3182-E526-CD7C-45F2-518CAB65907B}"/>
          </ac:spMkLst>
        </pc:spChg>
        <pc:spChg chg="add del mod modVis">
          <ac:chgData name="Nataliia Chornii (UA)" userId="4e4b8b3d-5f31-49bb-9f80-8a25c04abfff" providerId="ADAL" clId="{EE97D3FE-9ACA-4467-98E5-532EC45D9D1C}" dt="2024-03-11T14:33:28.926" v="24545"/>
          <ac:spMkLst>
            <pc:docMk/>
            <pc:sldMk cId="3911462717" sldId="947"/>
            <ac:spMk id="24" creationId="{FBC9200D-7227-76CA-8B31-780E2222D831}"/>
          </ac:spMkLst>
        </pc:spChg>
        <pc:spChg chg="del mod ord">
          <ac:chgData name="Nataliia Chornii (UA)" userId="4e4b8b3d-5f31-49bb-9f80-8a25c04abfff" providerId="ADAL" clId="{EE97D3FE-9ACA-4467-98E5-532EC45D9D1C}" dt="2024-03-04T12:37:09.712" v="22107" actId="478"/>
          <ac:spMkLst>
            <pc:docMk/>
            <pc:sldMk cId="3911462717" sldId="947"/>
            <ac:spMk id="25" creationId="{2B261BF4-92C6-462D-AA95-793AE54DD688}"/>
          </ac:spMkLst>
        </pc:spChg>
        <pc:spChg chg="add mod">
          <ac:chgData name="Nataliia Chornii (UA)" userId="4e4b8b3d-5f31-49bb-9f80-8a25c04abfff" providerId="ADAL" clId="{EE97D3FE-9ACA-4467-98E5-532EC45D9D1C}" dt="2024-03-11T14:33:32.416" v="24592"/>
          <ac:spMkLst>
            <pc:docMk/>
            <pc:sldMk cId="3911462717" sldId="947"/>
            <ac:spMk id="25" creationId="{B46CCEA3-3CEB-754E-E543-3FDE1CED38B6}"/>
          </ac:spMkLst>
        </pc:spChg>
        <pc:spChg chg="mod ord">
          <ac:chgData name="Nataliia Chornii (UA)" userId="4e4b8b3d-5f31-49bb-9f80-8a25c04abfff" providerId="ADAL" clId="{EE97D3FE-9ACA-4467-98E5-532EC45D9D1C}" dt="2024-03-11T14:33:30.376" v="24566"/>
          <ac:spMkLst>
            <pc:docMk/>
            <pc:sldMk cId="3911462717" sldId="947"/>
            <ac:spMk id="26" creationId="{5EC1F9AE-82A4-85FE-592B-EF659F76F7EC}"/>
          </ac:spMkLst>
        </pc:spChg>
        <pc:spChg chg="del mod ord">
          <ac:chgData name="Nataliia Chornii (UA)" userId="4e4b8b3d-5f31-49bb-9f80-8a25c04abfff" providerId="ADAL" clId="{EE97D3FE-9ACA-4467-98E5-532EC45D9D1C}" dt="2024-03-04T12:37:09.712" v="22107" actId="478"/>
          <ac:spMkLst>
            <pc:docMk/>
            <pc:sldMk cId="3911462717" sldId="947"/>
            <ac:spMk id="27" creationId="{72D802D4-B169-1594-D931-40179675E33A}"/>
          </ac:spMkLst>
        </pc:spChg>
        <pc:spChg chg="mod ord">
          <ac:chgData name="Nataliia Chornii (UA)" userId="4e4b8b3d-5f31-49bb-9f80-8a25c04abfff" providerId="ADAL" clId="{EE97D3FE-9ACA-4467-98E5-532EC45D9D1C}" dt="2024-03-11T14:33:30.376" v="24568"/>
          <ac:spMkLst>
            <pc:docMk/>
            <pc:sldMk cId="3911462717" sldId="947"/>
            <ac:spMk id="29" creationId="{3915AD89-6428-4A75-0915-328643F1703C}"/>
          </ac:spMkLst>
        </pc:spChg>
        <pc:spChg chg="mod ord">
          <ac:chgData name="Nataliia Chornii (UA)" userId="4e4b8b3d-5f31-49bb-9f80-8a25c04abfff" providerId="ADAL" clId="{EE97D3FE-9ACA-4467-98E5-532EC45D9D1C}" dt="2024-03-11T14:33:30.376" v="24570"/>
          <ac:spMkLst>
            <pc:docMk/>
            <pc:sldMk cId="3911462717" sldId="947"/>
            <ac:spMk id="30" creationId="{373AB206-F1F0-CC72-8C15-85605D9AF2AC}"/>
          </ac:spMkLst>
        </pc:spChg>
        <pc:spChg chg="mod ord">
          <ac:chgData name="Nataliia Chornii (UA)" userId="4e4b8b3d-5f31-49bb-9f80-8a25c04abfff" providerId="ADAL" clId="{EE97D3FE-9ACA-4467-98E5-532EC45D9D1C}" dt="2024-03-04T12:37:18.747" v="22123"/>
          <ac:spMkLst>
            <pc:docMk/>
            <pc:sldMk cId="3911462717" sldId="947"/>
            <ac:spMk id="42" creationId="{50830596-224D-A11D-D251-21B0CA3EB02E}"/>
          </ac:spMkLst>
        </pc:spChg>
        <pc:spChg chg="del mod ord">
          <ac:chgData name="Nataliia Chornii (UA)" userId="4e4b8b3d-5f31-49bb-9f80-8a25c04abfff" providerId="ADAL" clId="{EE97D3FE-9ACA-4467-98E5-532EC45D9D1C}" dt="2024-03-04T12:37:09.712" v="22107" actId="478"/>
          <ac:spMkLst>
            <pc:docMk/>
            <pc:sldMk cId="3911462717" sldId="947"/>
            <ac:spMk id="44" creationId="{37325A5C-F07F-2313-782A-18E3E98D15F0}"/>
          </ac:spMkLst>
        </pc:spChg>
        <pc:spChg chg="del mod ord">
          <ac:chgData name="Nataliia Chornii (UA)" userId="4e4b8b3d-5f31-49bb-9f80-8a25c04abfff" providerId="ADAL" clId="{EE97D3FE-9ACA-4467-98E5-532EC45D9D1C}" dt="2024-03-04T12:37:09.712" v="22107" actId="478"/>
          <ac:spMkLst>
            <pc:docMk/>
            <pc:sldMk cId="3911462717" sldId="947"/>
            <ac:spMk id="45" creationId="{5A4A472A-422C-56F4-A0F5-AE422E82D144}"/>
          </ac:spMkLst>
        </pc:spChg>
        <pc:spChg chg="mod ord">
          <ac:chgData name="Nataliia Chornii (UA)" userId="4e4b8b3d-5f31-49bb-9f80-8a25c04abfff" providerId="ADAL" clId="{EE97D3FE-9ACA-4467-98E5-532EC45D9D1C}" dt="2024-03-11T14:33:30.376" v="24572"/>
          <ac:spMkLst>
            <pc:docMk/>
            <pc:sldMk cId="3911462717" sldId="947"/>
            <ac:spMk id="46" creationId="{09BF84D6-F468-7005-FAB5-AA0B6AE5CFB4}"/>
          </ac:spMkLst>
        </pc:spChg>
        <pc:spChg chg="del mod ord">
          <ac:chgData name="Nataliia Chornii (UA)" userId="4e4b8b3d-5f31-49bb-9f80-8a25c04abfff" providerId="ADAL" clId="{EE97D3FE-9ACA-4467-98E5-532EC45D9D1C}" dt="2024-03-04T12:37:09.712" v="22107" actId="478"/>
          <ac:spMkLst>
            <pc:docMk/>
            <pc:sldMk cId="3911462717" sldId="947"/>
            <ac:spMk id="49" creationId="{DED3BED4-139F-CB4F-0A7B-7B90211550F4}"/>
          </ac:spMkLst>
        </pc:spChg>
        <pc:spChg chg="mod ord">
          <ac:chgData name="Nataliia Chornii (UA)" userId="4e4b8b3d-5f31-49bb-9f80-8a25c04abfff" providerId="ADAL" clId="{EE97D3FE-9ACA-4467-98E5-532EC45D9D1C}" dt="2024-03-11T14:33:30.376" v="24574"/>
          <ac:spMkLst>
            <pc:docMk/>
            <pc:sldMk cId="3911462717" sldId="947"/>
            <ac:spMk id="50" creationId="{0130363F-7CE7-F3D0-4AB5-F295FAC2DCBC}"/>
          </ac:spMkLst>
        </pc:spChg>
        <pc:spChg chg="mod ord">
          <ac:chgData name="Nataliia Chornii (UA)" userId="4e4b8b3d-5f31-49bb-9f80-8a25c04abfff" providerId="ADAL" clId="{EE97D3FE-9ACA-4467-98E5-532EC45D9D1C}" dt="2024-03-11T14:33:30.376" v="24576"/>
          <ac:spMkLst>
            <pc:docMk/>
            <pc:sldMk cId="3911462717" sldId="947"/>
            <ac:spMk id="51" creationId="{AFEB1935-0849-FFDB-14A2-768E555E2F79}"/>
          </ac:spMkLst>
        </pc:spChg>
        <pc:spChg chg="mod ord">
          <ac:chgData name="Nataliia Chornii (UA)" userId="4e4b8b3d-5f31-49bb-9f80-8a25c04abfff" providerId="ADAL" clId="{EE97D3FE-9ACA-4467-98E5-532EC45D9D1C}" dt="2024-03-11T14:33:30.376" v="24578"/>
          <ac:spMkLst>
            <pc:docMk/>
            <pc:sldMk cId="3911462717" sldId="947"/>
            <ac:spMk id="52" creationId="{C28EBB85-E5E0-FA58-8077-AD15508F23C6}"/>
          </ac:spMkLst>
        </pc:spChg>
        <pc:grpChg chg="add mod ord">
          <ac:chgData name="Nataliia Chornii (UA)" userId="4e4b8b3d-5f31-49bb-9f80-8a25c04abfff" providerId="ADAL" clId="{EE97D3FE-9ACA-4467-98E5-532EC45D9D1C}" dt="2024-03-11T14:33:30.376" v="24586"/>
          <ac:grpSpMkLst>
            <pc:docMk/>
            <pc:sldMk cId="3911462717" sldId="947"/>
            <ac:grpSpMk id="6" creationId="{9D6FD2AF-19F3-66C4-F8C2-5CDFD4721E92}"/>
          </ac:grpSpMkLst>
        </pc:grpChg>
        <pc:grpChg chg="add mod ord">
          <ac:chgData name="Nataliia Chornii (UA)" userId="4e4b8b3d-5f31-49bb-9f80-8a25c04abfff" providerId="ADAL" clId="{EE97D3FE-9ACA-4467-98E5-532EC45D9D1C}" dt="2024-03-11T14:33:30.376" v="24560"/>
          <ac:grpSpMkLst>
            <pc:docMk/>
            <pc:sldMk cId="3911462717" sldId="947"/>
            <ac:grpSpMk id="14" creationId="{267418C2-6F99-A659-AB11-419EED1354F6}"/>
          </ac:grpSpMkLst>
        </pc:grpChg>
        <pc:graphicFrameChg chg="mod">
          <ac:chgData name="Nataliia Chornii (UA)" userId="4e4b8b3d-5f31-49bb-9f80-8a25c04abfff" providerId="ADAL" clId="{EE97D3FE-9ACA-4467-98E5-532EC45D9D1C}" dt="2024-03-11T14:33:30.376" v="24590"/>
          <ac:graphicFrameMkLst>
            <pc:docMk/>
            <pc:sldMk cId="3911462717" sldId="947"/>
            <ac:graphicFrameMk id="12" creationId="{F6E6AF23-7B86-113A-F559-513B41FEC1FE}"/>
          </ac:graphicFrameMkLst>
        </pc:graphicFrameChg>
        <pc:picChg chg="add mod ord">
          <ac:chgData name="Nataliia Chornii (UA)" userId="4e4b8b3d-5f31-49bb-9f80-8a25c04abfff" providerId="ADAL" clId="{EE97D3FE-9ACA-4467-98E5-532EC45D9D1C}" dt="2024-03-04T12:37:18.747" v="22121"/>
          <ac:picMkLst>
            <pc:docMk/>
            <pc:sldMk cId="3911462717" sldId="947"/>
            <ac:picMk id="7" creationId="{69E92208-2175-97C9-FE3E-BD01D2A19E7C}"/>
          </ac:picMkLst>
        </pc:picChg>
        <pc:picChg chg="mod ord">
          <ac:chgData name="Nataliia Chornii (UA)" userId="4e4b8b3d-5f31-49bb-9f80-8a25c04abfff" providerId="ADAL" clId="{EE97D3FE-9ACA-4467-98E5-532EC45D9D1C}" dt="2024-03-11T14:33:30.365" v="24550"/>
          <ac:picMkLst>
            <pc:docMk/>
            <pc:sldMk cId="3911462717" sldId="947"/>
            <ac:picMk id="18" creationId="{31E2A41D-B0CE-CD93-AA46-61D03886A5D4}"/>
          </ac:picMkLst>
        </pc:picChg>
        <pc:picChg chg="del mod ord">
          <ac:chgData name="Nataliia Chornii (UA)" userId="4e4b8b3d-5f31-49bb-9f80-8a25c04abfff" providerId="ADAL" clId="{EE97D3FE-9ACA-4467-98E5-532EC45D9D1C}" dt="2024-03-04T12:36:32.364" v="22060" actId="478"/>
          <ac:picMkLst>
            <pc:docMk/>
            <pc:sldMk cId="3911462717" sldId="947"/>
            <ac:picMk id="41" creationId="{7CAE88F2-0719-E8A4-5A3E-39E39CF155A6}"/>
          </ac:picMkLst>
        </pc:picChg>
        <pc:cxnChg chg="mod ord">
          <ac:chgData name="Nataliia Chornii (UA)" userId="4e4b8b3d-5f31-49bb-9f80-8a25c04abfff" providerId="ADAL" clId="{EE97D3FE-9ACA-4467-98E5-532EC45D9D1C}" dt="2024-03-11T14:33:30.376" v="24580"/>
          <ac:cxnSpMkLst>
            <pc:docMk/>
            <pc:sldMk cId="3911462717" sldId="947"/>
            <ac:cxnSpMk id="53" creationId="{F358E754-064A-5B8C-B2FC-4E612BA07893}"/>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37:10.343" v="22109" actId="2056"/>
              <pc2:cmMkLst xmlns:pc2="http://schemas.microsoft.com/office/powerpoint/2019/9/main/command">
                <pc:docMk/>
                <pc:sldMk cId="3911462717" sldId="947"/>
                <pc2:cmMk id="{1428E94F-96AA-42F8-9E12-E7A740490D75}"/>
              </pc2:cmMkLst>
            </pc226:cmChg>
            <pc226:cmChg xmlns:pc226="http://schemas.microsoft.com/office/powerpoint/2022/06/main/command" chg="mod">
              <pc226:chgData name="Nataliia Chornii (UA)" userId="4e4b8b3d-5f31-49bb-9f80-8a25c04abfff" providerId="ADAL" clId="{EE97D3FE-9ACA-4467-98E5-532EC45D9D1C}" dt="2024-03-04T12:43:43.349" v="22455"/>
              <pc2:cmMkLst xmlns:pc2="http://schemas.microsoft.com/office/powerpoint/2019/9/main/command">
                <pc:docMk/>
                <pc:sldMk cId="3911462717" sldId="947"/>
                <pc2:cmMk id="{D2F35169-2A6E-4E13-94B9-C14E9BF125FE}"/>
              </pc2:cmMkLst>
            </pc226:cmChg>
          </p:ext>
        </pc:extLst>
      </pc:sldChg>
      <pc:sldChg chg="addSp delSp modSp mod">
        <pc:chgData name="Nataliia Chornii (UA)" userId="4e4b8b3d-5f31-49bb-9f80-8a25c04abfff" providerId="ADAL" clId="{EE97D3FE-9ACA-4467-98E5-532EC45D9D1C}" dt="2024-03-11T14:29:16.145" v="24225" actId="3064"/>
        <pc:sldMkLst>
          <pc:docMk/>
          <pc:sldMk cId="2283029669" sldId="948"/>
        </pc:sldMkLst>
        <pc:spChg chg="add mod">
          <ac:chgData name="Nataliia Chornii (UA)" userId="4e4b8b3d-5f31-49bb-9f80-8a25c04abfff" providerId="ADAL" clId="{EE97D3FE-9ACA-4467-98E5-532EC45D9D1C}" dt="2024-03-11T14:25:46.526" v="24081"/>
          <ac:spMkLst>
            <pc:docMk/>
            <pc:sldMk cId="2283029669" sldId="948"/>
            <ac:spMk id="3" creationId="{DEB29C57-B3A6-0F16-06E0-A838D8AD6848}"/>
          </ac:spMkLst>
        </pc:spChg>
        <pc:spChg chg="add del mod">
          <ac:chgData name="Nataliia Chornii (UA)" userId="4e4b8b3d-5f31-49bb-9f80-8a25c04abfff" providerId="ADAL" clId="{EE97D3FE-9ACA-4467-98E5-532EC45D9D1C}" dt="2024-03-04T08:45:08.814" v="17471" actId="478"/>
          <ac:spMkLst>
            <pc:docMk/>
            <pc:sldMk cId="2283029669" sldId="948"/>
            <ac:spMk id="5" creationId="{54E9F46C-C337-CDFD-9999-38FB836E6C22}"/>
          </ac:spMkLst>
        </pc:spChg>
        <pc:spChg chg="mod">
          <ac:chgData name="Nataliia Chornii (UA)" userId="4e4b8b3d-5f31-49bb-9f80-8a25c04abfff" providerId="ADAL" clId="{EE97D3FE-9ACA-4467-98E5-532EC45D9D1C}" dt="2024-03-11T14:25:46.526" v="24081"/>
          <ac:spMkLst>
            <pc:docMk/>
            <pc:sldMk cId="2283029669" sldId="948"/>
            <ac:spMk id="8" creationId="{9AB39B80-FB13-C108-9FCE-6A09DE2A0B5B}"/>
          </ac:spMkLst>
        </pc:spChg>
        <pc:spChg chg="mod">
          <ac:chgData name="Nataliia Chornii (UA)" userId="4e4b8b3d-5f31-49bb-9f80-8a25c04abfff" providerId="ADAL" clId="{EE97D3FE-9ACA-4467-98E5-532EC45D9D1C}" dt="2024-03-11T14:25:46.526" v="24081"/>
          <ac:spMkLst>
            <pc:docMk/>
            <pc:sldMk cId="2283029669" sldId="948"/>
            <ac:spMk id="10" creationId="{AA558F08-C79B-9E0D-0BB9-38AC90A156BC}"/>
          </ac:spMkLst>
        </pc:spChg>
        <pc:spChg chg="mod">
          <ac:chgData name="Nataliia Chornii (UA)" userId="4e4b8b3d-5f31-49bb-9f80-8a25c04abfff" providerId="ADAL" clId="{EE97D3FE-9ACA-4467-98E5-532EC45D9D1C}" dt="2024-03-11T14:29:06.957" v="24211" actId="948"/>
          <ac:spMkLst>
            <pc:docMk/>
            <pc:sldMk cId="2283029669" sldId="948"/>
            <ac:spMk id="16" creationId="{B71E2857-B3F3-7914-9BA0-B8B78513021C}"/>
          </ac:spMkLst>
        </pc:spChg>
        <pc:spChg chg="mod">
          <ac:chgData name="Nataliia Chornii (UA)" userId="4e4b8b3d-5f31-49bb-9f80-8a25c04abfff" providerId="ADAL" clId="{EE97D3FE-9ACA-4467-98E5-532EC45D9D1C}" dt="2024-03-11T14:25:46.526" v="24081"/>
          <ac:spMkLst>
            <pc:docMk/>
            <pc:sldMk cId="2283029669" sldId="948"/>
            <ac:spMk id="18" creationId="{C90B21C6-CC72-EE27-D43C-90B75D8A3304}"/>
          </ac:spMkLst>
        </pc:spChg>
        <pc:spChg chg="del mod">
          <ac:chgData name="Nataliia Chornii (UA)" userId="4e4b8b3d-5f31-49bb-9f80-8a25c04abfff" providerId="ADAL" clId="{EE97D3FE-9ACA-4467-98E5-532EC45D9D1C}" dt="2024-03-04T09:16:05.605" v="18560" actId="478"/>
          <ac:spMkLst>
            <pc:docMk/>
            <pc:sldMk cId="2283029669" sldId="948"/>
            <ac:spMk id="18" creationId="{D51AA6A0-2863-BFDE-A808-1CE0E6EC7241}"/>
          </ac:spMkLst>
        </pc:spChg>
        <pc:spChg chg="add del mod modVis">
          <ac:chgData name="Nataliia Chornii (UA)" userId="4e4b8b3d-5f31-49bb-9f80-8a25c04abfff" providerId="ADAL" clId="{EE97D3FE-9ACA-4467-98E5-532EC45D9D1C}" dt="2024-03-04T09:49:31.752" v="19867"/>
          <ac:spMkLst>
            <pc:docMk/>
            <pc:sldMk cId="2283029669" sldId="948"/>
            <ac:spMk id="19" creationId="{19EE2867-B312-C47A-5FD1-7343AAC3CE5A}"/>
          </ac:spMkLst>
        </pc:spChg>
        <pc:spChg chg="mod">
          <ac:chgData name="Nataliia Chornii (UA)" userId="4e4b8b3d-5f31-49bb-9f80-8a25c04abfff" providerId="ADAL" clId="{EE97D3FE-9ACA-4467-98E5-532EC45D9D1C}" dt="2024-03-11T14:25:46.526" v="24081"/>
          <ac:spMkLst>
            <pc:docMk/>
            <pc:sldMk cId="2283029669" sldId="948"/>
            <ac:spMk id="19" creationId="{AB312CB2-1A52-F735-8EA4-317EA8C56F3D}"/>
          </ac:spMkLst>
        </pc:spChg>
        <pc:spChg chg="mod">
          <ac:chgData name="Nataliia Chornii (UA)" userId="4e4b8b3d-5f31-49bb-9f80-8a25c04abfff" providerId="ADAL" clId="{EE97D3FE-9ACA-4467-98E5-532EC45D9D1C}" dt="2024-03-11T14:25:46.526" v="24081"/>
          <ac:spMkLst>
            <pc:docMk/>
            <pc:sldMk cId="2283029669" sldId="948"/>
            <ac:spMk id="22" creationId="{F708EE9F-7490-D53C-2407-B8890BFC5C47}"/>
          </ac:spMkLst>
        </pc:spChg>
        <pc:spChg chg="mod">
          <ac:chgData name="Nataliia Chornii (UA)" userId="4e4b8b3d-5f31-49bb-9f80-8a25c04abfff" providerId="ADAL" clId="{EE97D3FE-9ACA-4467-98E5-532EC45D9D1C}" dt="2024-03-11T14:25:46.526" v="24081"/>
          <ac:spMkLst>
            <pc:docMk/>
            <pc:sldMk cId="2283029669" sldId="948"/>
            <ac:spMk id="24" creationId="{FF99211D-77E2-53B2-627D-825A663153BA}"/>
          </ac:spMkLst>
        </pc:spChg>
        <pc:spChg chg="add del mod">
          <ac:chgData name="Nataliia Chornii (UA)" userId="4e4b8b3d-5f31-49bb-9f80-8a25c04abfff" providerId="ADAL" clId="{EE97D3FE-9ACA-4467-98E5-532EC45D9D1C}" dt="2024-03-11T14:29:00.850" v="24178"/>
          <ac:spMkLst>
            <pc:docMk/>
            <pc:sldMk cId="2283029669" sldId="948"/>
            <ac:spMk id="28" creationId="{E9936484-16E9-E542-7E6D-FA0BB2C427A1}"/>
          </ac:spMkLst>
        </pc:spChg>
        <pc:spChg chg="add del mod">
          <ac:chgData name="Nataliia Chornii (UA)" userId="4e4b8b3d-5f31-49bb-9f80-8a25c04abfff" providerId="ADAL" clId="{EE97D3FE-9ACA-4467-98E5-532EC45D9D1C}" dt="2024-03-11T14:29:11.229" v="24222" actId="478"/>
          <ac:spMkLst>
            <pc:docMk/>
            <pc:sldMk cId="2283029669" sldId="948"/>
            <ac:spMk id="31" creationId="{ECBE7280-30C2-6F23-F5F0-C1ED3E4EB2A3}"/>
          </ac:spMkLst>
        </pc:spChg>
        <pc:spChg chg="add del mod modVis">
          <ac:chgData name="Nataliia Chornii (UA)" userId="4e4b8b3d-5f31-49bb-9f80-8a25c04abfff" providerId="ADAL" clId="{EE97D3FE-9ACA-4467-98E5-532EC45D9D1C}" dt="2024-03-11T14:29:06.123" v="24208"/>
          <ac:spMkLst>
            <pc:docMk/>
            <pc:sldMk cId="2283029669" sldId="948"/>
            <ac:spMk id="32" creationId="{5BE12966-50CB-A3EA-41E7-175D7964A043}"/>
          </ac:spMkLst>
        </pc:spChg>
        <pc:spChg chg="mod">
          <ac:chgData name="Nataliia Chornii (UA)" userId="4e4b8b3d-5f31-49bb-9f80-8a25c04abfff" providerId="ADAL" clId="{EE97D3FE-9ACA-4467-98E5-532EC45D9D1C}" dt="2024-03-11T14:29:16.145" v="24225" actId="3064"/>
          <ac:spMkLst>
            <pc:docMk/>
            <pc:sldMk cId="2283029669" sldId="948"/>
            <ac:spMk id="57" creationId="{E0007A68-F3EF-5218-37FA-972FF8C8BB56}"/>
          </ac:spMkLst>
        </pc:spChg>
        <pc:grpChg chg="add mod">
          <ac:chgData name="Nataliia Chornii (UA)" userId="4e4b8b3d-5f31-49bb-9f80-8a25c04abfff" providerId="ADAL" clId="{EE97D3FE-9ACA-4467-98E5-532EC45D9D1C}" dt="2024-03-11T14:25:46.526" v="24081"/>
          <ac:grpSpMkLst>
            <pc:docMk/>
            <pc:sldMk cId="2283029669" sldId="948"/>
            <ac:grpSpMk id="5" creationId="{D6D9967E-4934-823C-73A7-1C53EB9D1479}"/>
          </ac:grpSpMkLst>
        </pc:grpChg>
        <pc:graphicFrameChg chg="mod">
          <ac:chgData name="Nataliia Chornii (UA)" userId="4e4b8b3d-5f31-49bb-9f80-8a25c04abfff" providerId="ADAL" clId="{EE97D3FE-9ACA-4467-98E5-532EC45D9D1C}" dt="2024-03-11T14:29:06.957" v="24219"/>
          <ac:graphicFrameMkLst>
            <pc:docMk/>
            <pc:sldMk cId="2283029669" sldId="948"/>
            <ac:graphicFrameMk id="12" creationId="{F6E6AF23-7B86-113A-F559-513B41FEC1FE}"/>
          </ac:graphicFrameMkLst>
        </pc:graphicFrameChg>
      </pc:sldChg>
      <pc:sldChg chg="addSp delSp modSp mod modCm">
        <pc:chgData name="Nataliia Chornii (UA)" userId="4e4b8b3d-5f31-49bb-9f80-8a25c04abfff" providerId="ADAL" clId="{EE97D3FE-9ACA-4467-98E5-532EC45D9D1C}" dt="2024-03-11T14:34:23.778" v="25147"/>
        <pc:sldMkLst>
          <pc:docMk/>
          <pc:sldMk cId="3348140347" sldId="949"/>
        </pc:sldMkLst>
        <pc:spChg chg="del">
          <ac:chgData name="Nataliia Chornii (UA)" userId="4e4b8b3d-5f31-49bb-9f80-8a25c04abfff" providerId="ADAL" clId="{EE97D3FE-9ACA-4467-98E5-532EC45D9D1C}" dt="2024-03-04T12:44:08.079" v="22459" actId="478"/>
          <ac:spMkLst>
            <pc:docMk/>
            <pc:sldMk cId="3348140347" sldId="949"/>
            <ac:spMk id="2" creationId="{D4E26663-5B37-5DAA-CC19-B616D98179BA}"/>
          </ac:spMkLst>
        </pc:spChg>
        <pc:spChg chg="add mod">
          <ac:chgData name="Nataliia Chornii (UA)" userId="4e4b8b3d-5f31-49bb-9f80-8a25c04abfff" providerId="ADAL" clId="{EE97D3FE-9ACA-4467-98E5-532EC45D9D1C}" dt="2024-03-11T14:27:08.995" v="24118"/>
          <ac:spMkLst>
            <pc:docMk/>
            <pc:sldMk cId="3348140347" sldId="949"/>
            <ac:spMk id="2" creationId="{F69F0BF9-AAD3-9A06-76E6-3497DDEAE858}"/>
          </ac:spMkLst>
        </pc:spChg>
        <pc:spChg chg="mod ord">
          <ac:chgData name="Nataliia Chornii (UA)" userId="4e4b8b3d-5f31-49bb-9f80-8a25c04abfff" providerId="ADAL" clId="{EE97D3FE-9ACA-4467-98E5-532EC45D9D1C}" dt="2024-03-04T12:45:02.004" v="22666"/>
          <ac:spMkLst>
            <pc:docMk/>
            <pc:sldMk cId="3348140347" sldId="949"/>
            <ac:spMk id="3" creationId="{F4CCF02E-F3C4-C376-8F56-61BD85A2E74B}"/>
          </ac:spMkLst>
        </pc:spChg>
        <pc:spChg chg="mod ord">
          <ac:chgData name="Nataliia Chornii (UA)" userId="4e4b8b3d-5f31-49bb-9f80-8a25c04abfff" providerId="ADAL" clId="{EE97D3FE-9ACA-4467-98E5-532EC45D9D1C}" dt="2024-03-04T12:45:02.004" v="22666"/>
          <ac:spMkLst>
            <pc:docMk/>
            <pc:sldMk cId="3348140347" sldId="949"/>
            <ac:spMk id="4" creationId="{872966CD-924A-B939-E655-A6BAF817DCBF}"/>
          </ac:spMkLst>
        </pc:spChg>
        <pc:spChg chg="add del mod modVis">
          <ac:chgData name="Nataliia Chornii (UA)" userId="4e4b8b3d-5f31-49bb-9f80-8a25c04abfff" providerId="ADAL" clId="{EE97D3FE-9ACA-4467-98E5-532EC45D9D1C}" dt="2024-03-04T12:44:37.756" v="22529"/>
          <ac:spMkLst>
            <pc:docMk/>
            <pc:sldMk cId="3348140347" sldId="949"/>
            <ac:spMk id="5" creationId="{224F9A81-FC62-6027-9139-E1F90310582C}"/>
          </ac:spMkLst>
        </pc:spChg>
        <pc:spChg chg="mod">
          <ac:chgData name="Nataliia Chornii (UA)" userId="4e4b8b3d-5f31-49bb-9f80-8a25c04abfff" providerId="ADAL" clId="{EE97D3FE-9ACA-4467-98E5-532EC45D9D1C}" dt="2024-03-11T14:27:08.995" v="24118"/>
          <ac:spMkLst>
            <pc:docMk/>
            <pc:sldMk cId="3348140347" sldId="949"/>
            <ac:spMk id="6" creationId="{FC125066-8A61-DC86-A174-109347BF8DA3}"/>
          </ac:spMkLst>
        </pc:spChg>
        <pc:spChg chg="mod">
          <ac:chgData name="Nataliia Chornii (UA)" userId="4e4b8b3d-5f31-49bb-9f80-8a25c04abfff" providerId="ADAL" clId="{EE97D3FE-9ACA-4467-98E5-532EC45D9D1C}" dt="2024-03-11T14:27:08.995" v="24118"/>
          <ac:spMkLst>
            <pc:docMk/>
            <pc:sldMk cId="3348140347" sldId="949"/>
            <ac:spMk id="8" creationId="{926FFAB9-EC68-28FC-623B-90DBD1D46E4D}"/>
          </ac:spMkLst>
        </pc:spChg>
        <pc:spChg chg="mod">
          <ac:chgData name="Nataliia Chornii (UA)" userId="4e4b8b3d-5f31-49bb-9f80-8a25c04abfff" providerId="ADAL" clId="{EE97D3FE-9ACA-4467-98E5-532EC45D9D1C}" dt="2024-03-11T14:27:08.995" v="24118"/>
          <ac:spMkLst>
            <pc:docMk/>
            <pc:sldMk cId="3348140347" sldId="949"/>
            <ac:spMk id="9" creationId="{8A01913B-6832-DB99-A933-4C73FD3C2545}"/>
          </ac:spMkLst>
        </pc:spChg>
        <pc:spChg chg="mod">
          <ac:chgData name="Nataliia Chornii (UA)" userId="4e4b8b3d-5f31-49bb-9f80-8a25c04abfff" providerId="ADAL" clId="{EE97D3FE-9ACA-4467-98E5-532EC45D9D1C}" dt="2024-03-04T12:46:52.267" v="22810"/>
          <ac:spMkLst>
            <pc:docMk/>
            <pc:sldMk cId="3348140347" sldId="949"/>
            <ac:spMk id="9" creationId="{E54B7E55-B130-5B76-9C30-FB942F9A2E7E}"/>
          </ac:spMkLst>
        </pc:spChg>
        <pc:spChg chg="mod">
          <ac:chgData name="Nataliia Chornii (UA)" userId="4e4b8b3d-5f31-49bb-9f80-8a25c04abfff" providerId="ADAL" clId="{EE97D3FE-9ACA-4467-98E5-532EC45D9D1C}" dt="2024-03-04T12:46:52.267" v="22810"/>
          <ac:spMkLst>
            <pc:docMk/>
            <pc:sldMk cId="3348140347" sldId="949"/>
            <ac:spMk id="10" creationId="{3050E39F-8175-9CDA-7CF6-0BDE0935DB3A}"/>
          </ac:spMkLst>
        </pc:spChg>
        <pc:spChg chg="mod">
          <ac:chgData name="Nataliia Chornii (UA)" userId="4e4b8b3d-5f31-49bb-9f80-8a25c04abfff" providerId="ADAL" clId="{EE97D3FE-9ACA-4467-98E5-532EC45D9D1C}" dt="2024-03-11T14:27:08.995" v="24118"/>
          <ac:spMkLst>
            <pc:docMk/>
            <pc:sldMk cId="3348140347" sldId="949"/>
            <ac:spMk id="10" creationId="{A583EFCF-EE05-96D6-8CAD-99FB76975FA4}"/>
          </ac:spMkLst>
        </pc:spChg>
        <pc:spChg chg="mod">
          <ac:chgData name="Nataliia Chornii (UA)" userId="4e4b8b3d-5f31-49bb-9f80-8a25c04abfff" providerId="ADAL" clId="{EE97D3FE-9ACA-4467-98E5-532EC45D9D1C}" dt="2024-03-11T14:27:08.995" v="24118"/>
          <ac:spMkLst>
            <pc:docMk/>
            <pc:sldMk cId="3348140347" sldId="949"/>
            <ac:spMk id="11" creationId="{FE070BB9-5F9C-B94C-D3CB-FE9C4544CF63}"/>
          </ac:spMkLst>
        </pc:spChg>
        <pc:spChg chg="mod">
          <ac:chgData name="Nataliia Chornii (UA)" userId="4e4b8b3d-5f31-49bb-9f80-8a25c04abfff" providerId="ADAL" clId="{EE97D3FE-9ACA-4467-98E5-532EC45D9D1C}" dt="2024-03-11T14:27:08.995" v="24118"/>
          <ac:spMkLst>
            <pc:docMk/>
            <pc:sldMk cId="3348140347" sldId="949"/>
            <ac:spMk id="13" creationId="{3CD3D153-F6CF-B29C-5F22-C316424BBA70}"/>
          </ac:spMkLst>
        </pc:spChg>
        <pc:spChg chg="mod">
          <ac:chgData name="Nataliia Chornii (UA)" userId="4e4b8b3d-5f31-49bb-9f80-8a25c04abfff" providerId="ADAL" clId="{EE97D3FE-9ACA-4467-98E5-532EC45D9D1C}" dt="2024-03-04T12:46:52.267" v="22810"/>
          <ac:spMkLst>
            <pc:docMk/>
            <pc:sldMk cId="3348140347" sldId="949"/>
            <ac:spMk id="13" creationId="{FD55B7BA-AF6C-1D49-5F72-AAD2675639EE}"/>
          </ac:spMkLst>
        </pc:spChg>
        <pc:spChg chg="add mod">
          <ac:chgData name="Nataliia Chornii (UA)" userId="4e4b8b3d-5f31-49bb-9f80-8a25c04abfff" providerId="ADAL" clId="{EE97D3FE-9ACA-4467-98E5-532EC45D9D1C}" dt="2024-03-11T14:34:23.778" v="25147"/>
          <ac:spMkLst>
            <pc:docMk/>
            <pc:sldMk cId="3348140347" sldId="949"/>
            <ac:spMk id="14" creationId="{AD929018-A929-271D-5396-EDF420D00373}"/>
          </ac:spMkLst>
        </pc:spChg>
        <pc:spChg chg="add del mod">
          <ac:chgData name="Nataliia Chornii (UA)" userId="4e4b8b3d-5f31-49bb-9f80-8a25c04abfff" providerId="ADAL" clId="{EE97D3FE-9ACA-4467-98E5-532EC45D9D1C}" dt="2024-03-04T12:46:52.913" v="22811"/>
          <ac:spMkLst>
            <pc:docMk/>
            <pc:sldMk cId="3348140347" sldId="949"/>
            <ac:spMk id="14" creationId="{D359B4D6-6BE2-73C5-87E4-5219F03286BA}"/>
          </ac:spMkLst>
        </pc:spChg>
        <pc:spChg chg="mod">
          <ac:chgData name="Nataliia Chornii (UA)" userId="4e4b8b3d-5f31-49bb-9f80-8a25c04abfff" providerId="ADAL" clId="{EE97D3FE-9ACA-4467-98E5-532EC45D9D1C}" dt="2024-03-04T12:46:55.091" v="22813"/>
          <ac:spMkLst>
            <pc:docMk/>
            <pc:sldMk cId="3348140347" sldId="949"/>
            <ac:spMk id="16" creationId="{4046BDB3-E253-8BFD-2151-3E03E762683F}"/>
          </ac:spMkLst>
        </pc:spChg>
        <pc:spChg chg="mod">
          <ac:chgData name="Nataliia Chornii (UA)" userId="4e4b8b3d-5f31-49bb-9f80-8a25c04abfff" providerId="ADAL" clId="{EE97D3FE-9ACA-4467-98E5-532EC45D9D1C}" dt="2024-03-04T12:46:55.091" v="22813"/>
          <ac:spMkLst>
            <pc:docMk/>
            <pc:sldMk cId="3348140347" sldId="949"/>
            <ac:spMk id="17" creationId="{2BFEA0FA-7858-44EE-3DCB-707FD55F7536}"/>
          </ac:spMkLst>
        </pc:spChg>
        <pc:spChg chg="mod">
          <ac:chgData name="Nataliia Chornii (UA)" userId="4e4b8b3d-5f31-49bb-9f80-8a25c04abfff" providerId="ADAL" clId="{EE97D3FE-9ACA-4467-98E5-532EC45D9D1C}" dt="2024-03-04T12:46:55.091" v="22813"/>
          <ac:spMkLst>
            <pc:docMk/>
            <pc:sldMk cId="3348140347" sldId="949"/>
            <ac:spMk id="19" creationId="{33EBC432-067D-3BCB-9AA9-3595C9D40E3B}"/>
          </ac:spMkLst>
        </pc:spChg>
        <pc:spChg chg="add mod">
          <ac:chgData name="Nataliia Chornii (UA)" userId="4e4b8b3d-5f31-49bb-9f80-8a25c04abfff" providerId="ADAL" clId="{EE97D3FE-9ACA-4467-98E5-532EC45D9D1C}" dt="2024-03-04T12:46:57.816" v="22814"/>
          <ac:spMkLst>
            <pc:docMk/>
            <pc:sldMk cId="3348140347" sldId="949"/>
            <ac:spMk id="20" creationId="{04029E51-5EF1-9C93-D407-F81D35CB5DE0}"/>
          </ac:spMkLst>
        </pc:spChg>
        <pc:spChg chg="mod ord">
          <ac:chgData name="Nataliia Chornii (UA)" userId="4e4b8b3d-5f31-49bb-9f80-8a25c04abfff" providerId="ADAL" clId="{EE97D3FE-9ACA-4467-98E5-532EC45D9D1C}" dt="2024-03-04T12:45:02.004" v="22666"/>
          <ac:spMkLst>
            <pc:docMk/>
            <pc:sldMk cId="3348140347" sldId="949"/>
            <ac:spMk id="25" creationId="{2B261BF4-92C6-462D-AA95-793AE54DD688}"/>
          </ac:spMkLst>
        </pc:spChg>
        <pc:spChg chg="mod ord">
          <ac:chgData name="Nataliia Chornii (UA)" userId="4e4b8b3d-5f31-49bb-9f80-8a25c04abfff" providerId="ADAL" clId="{EE97D3FE-9ACA-4467-98E5-532EC45D9D1C}" dt="2024-03-04T12:45:02.004" v="22666"/>
          <ac:spMkLst>
            <pc:docMk/>
            <pc:sldMk cId="3348140347" sldId="949"/>
            <ac:spMk id="26" creationId="{5EC1F9AE-82A4-85FE-592B-EF659F76F7EC}"/>
          </ac:spMkLst>
        </pc:spChg>
        <pc:spChg chg="mod ord">
          <ac:chgData name="Nataliia Chornii (UA)" userId="4e4b8b3d-5f31-49bb-9f80-8a25c04abfff" providerId="ADAL" clId="{EE97D3FE-9ACA-4467-98E5-532EC45D9D1C}" dt="2024-03-04T12:45:02.004" v="22666"/>
          <ac:spMkLst>
            <pc:docMk/>
            <pc:sldMk cId="3348140347" sldId="949"/>
            <ac:spMk id="27" creationId="{72D802D4-B169-1594-D931-40179675E33A}"/>
          </ac:spMkLst>
        </pc:spChg>
        <pc:spChg chg="mod ord">
          <ac:chgData name="Nataliia Chornii (UA)" userId="4e4b8b3d-5f31-49bb-9f80-8a25c04abfff" providerId="ADAL" clId="{EE97D3FE-9ACA-4467-98E5-532EC45D9D1C}" dt="2024-03-04T12:45:02.004" v="22666"/>
          <ac:spMkLst>
            <pc:docMk/>
            <pc:sldMk cId="3348140347" sldId="949"/>
            <ac:spMk id="29" creationId="{3915AD89-6428-4A75-0915-328643F1703C}"/>
          </ac:spMkLst>
        </pc:spChg>
        <pc:spChg chg="mod ord">
          <ac:chgData name="Nataliia Chornii (UA)" userId="4e4b8b3d-5f31-49bb-9f80-8a25c04abfff" providerId="ADAL" clId="{EE97D3FE-9ACA-4467-98E5-532EC45D9D1C}" dt="2024-03-04T12:45:02.004" v="22666"/>
          <ac:spMkLst>
            <pc:docMk/>
            <pc:sldMk cId="3348140347" sldId="949"/>
            <ac:spMk id="30" creationId="{373AB206-F1F0-CC72-8C15-85605D9AF2AC}"/>
          </ac:spMkLst>
        </pc:spChg>
        <pc:spChg chg="mod ord">
          <ac:chgData name="Nataliia Chornii (UA)" userId="4e4b8b3d-5f31-49bb-9f80-8a25c04abfff" providerId="ADAL" clId="{EE97D3FE-9ACA-4467-98E5-532EC45D9D1C}" dt="2024-03-04T12:45:02.004" v="22666"/>
          <ac:spMkLst>
            <pc:docMk/>
            <pc:sldMk cId="3348140347" sldId="949"/>
            <ac:spMk id="42" creationId="{50830596-224D-A11D-D251-21B0CA3EB02E}"/>
          </ac:spMkLst>
        </pc:spChg>
        <pc:spChg chg="mod ord">
          <ac:chgData name="Nataliia Chornii (UA)" userId="4e4b8b3d-5f31-49bb-9f80-8a25c04abfff" providerId="ADAL" clId="{EE97D3FE-9ACA-4467-98E5-532EC45D9D1C}" dt="2024-03-04T12:45:02.004" v="22666"/>
          <ac:spMkLst>
            <pc:docMk/>
            <pc:sldMk cId="3348140347" sldId="949"/>
            <ac:spMk id="44" creationId="{37325A5C-F07F-2313-782A-18E3E98D15F0}"/>
          </ac:spMkLst>
        </pc:spChg>
        <pc:spChg chg="mod ord">
          <ac:chgData name="Nataliia Chornii (UA)" userId="4e4b8b3d-5f31-49bb-9f80-8a25c04abfff" providerId="ADAL" clId="{EE97D3FE-9ACA-4467-98E5-532EC45D9D1C}" dt="2024-03-04T12:45:02.004" v="22666"/>
          <ac:spMkLst>
            <pc:docMk/>
            <pc:sldMk cId="3348140347" sldId="949"/>
            <ac:spMk id="45" creationId="{5A4A472A-422C-56F4-A0F5-AE422E82D144}"/>
          </ac:spMkLst>
        </pc:spChg>
        <pc:spChg chg="mod ord">
          <ac:chgData name="Nataliia Chornii (UA)" userId="4e4b8b3d-5f31-49bb-9f80-8a25c04abfff" providerId="ADAL" clId="{EE97D3FE-9ACA-4467-98E5-532EC45D9D1C}" dt="2024-03-04T12:45:02.004" v="22666"/>
          <ac:spMkLst>
            <pc:docMk/>
            <pc:sldMk cId="3348140347" sldId="949"/>
            <ac:spMk id="46" creationId="{09BF84D6-F468-7005-FAB5-AA0B6AE5CFB4}"/>
          </ac:spMkLst>
        </pc:spChg>
        <pc:spChg chg="mod ord">
          <ac:chgData name="Nataliia Chornii (UA)" userId="4e4b8b3d-5f31-49bb-9f80-8a25c04abfff" providerId="ADAL" clId="{EE97D3FE-9ACA-4467-98E5-532EC45D9D1C}" dt="2024-03-04T12:45:02.004" v="22666"/>
          <ac:spMkLst>
            <pc:docMk/>
            <pc:sldMk cId="3348140347" sldId="949"/>
            <ac:spMk id="49" creationId="{DED3BED4-139F-CB4F-0A7B-7B90211550F4}"/>
          </ac:spMkLst>
        </pc:spChg>
        <pc:spChg chg="mod ord">
          <ac:chgData name="Nataliia Chornii (UA)" userId="4e4b8b3d-5f31-49bb-9f80-8a25c04abfff" providerId="ADAL" clId="{EE97D3FE-9ACA-4467-98E5-532EC45D9D1C}" dt="2024-03-04T12:45:02.004" v="22666"/>
          <ac:spMkLst>
            <pc:docMk/>
            <pc:sldMk cId="3348140347" sldId="949"/>
            <ac:spMk id="50" creationId="{0130363F-7CE7-F3D0-4AB5-F295FAC2DCBC}"/>
          </ac:spMkLst>
        </pc:spChg>
        <pc:spChg chg="mod ord">
          <ac:chgData name="Nataliia Chornii (UA)" userId="4e4b8b3d-5f31-49bb-9f80-8a25c04abfff" providerId="ADAL" clId="{EE97D3FE-9ACA-4467-98E5-532EC45D9D1C}" dt="2024-03-04T12:45:02.004" v="22666"/>
          <ac:spMkLst>
            <pc:docMk/>
            <pc:sldMk cId="3348140347" sldId="949"/>
            <ac:spMk id="51" creationId="{AFEB1935-0849-FFDB-14A2-768E555E2F79}"/>
          </ac:spMkLst>
        </pc:spChg>
        <pc:spChg chg="mod ord">
          <ac:chgData name="Nataliia Chornii (UA)" userId="4e4b8b3d-5f31-49bb-9f80-8a25c04abfff" providerId="ADAL" clId="{EE97D3FE-9ACA-4467-98E5-532EC45D9D1C}" dt="2024-03-04T12:45:02.004" v="22666"/>
          <ac:spMkLst>
            <pc:docMk/>
            <pc:sldMk cId="3348140347" sldId="949"/>
            <ac:spMk id="52" creationId="{C28EBB85-E5E0-FA58-8077-AD15508F23C6}"/>
          </ac:spMkLst>
        </pc:spChg>
        <pc:spChg chg="del mod ord">
          <ac:chgData name="Nataliia Chornii (UA)" userId="4e4b8b3d-5f31-49bb-9f80-8a25c04abfff" providerId="ADAL" clId="{EE97D3FE-9ACA-4467-98E5-532EC45D9D1C}" dt="2024-03-11T14:34:23.493" v="25146" actId="478"/>
          <ac:spMkLst>
            <pc:docMk/>
            <pc:sldMk cId="3348140347" sldId="949"/>
            <ac:spMk id="57" creationId="{E0007A68-F3EF-5218-37FA-972FF8C8BB56}"/>
          </ac:spMkLst>
        </pc:spChg>
        <pc:spChg chg="del mod ord">
          <ac:chgData name="Nataliia Chornii (UA)" userId="4e4b8b3d-5f31-49bb-9f80-8a25c04abfff" providerId="ADAL" clId="{EE97D3FE-9ACA-4467-98E5-532EC45D9D1C}" dt="2024-03-04T12:47:00.038" v="22815" actId="478"/>
          <ac:spMkLst>
            <pc:docMk/>
            <pc:sldMk cId="3348140347" sldId="949"/>
            <ac:spMk id="93" creationId="{5A55EC81-0AD5-CE05-4AAF-6599399D9BD3}"/>
          </ac:spMkLst>
        </pc:spChg>
        <pc:spChg chg="del mod ord">
          <ac:chgData name="Nataliia Chornii (UA)" userId="4e4b8b3d-5f31-49bb-9f80-8a25c04abfff" providerId="ADAL" clId="{EE97D3FE-9ACA-4467-98E5-532EC45D9D1C}" dt="2024-03-04T12:47:00.038" v="22815" actId="478"/>
          <ac:spMkLst>
            <pc:docMk/>
            <pc:sldMk cId="3348140347" sldId="949"/>
            <ac:spMk id="94" creationId="{2945AFC3-C832-6045-1DDE-A189FFBEDD95}"/>
          </ac:spMkLst>
        </pc:spChg>
        <pc:spChg chg="del mod ord">
          <ac:chgData name="Nataliia Chornii (UA)" userId="4e4b8b3d-5f31-49bb-9f80-8a25c04abfff" providerId="ADAL" clId="{EE97D3FE-9ACA-4467-98E5-532EC45D9D1C}" dt="2024-03-04T12:47:00.038" v="22815" actId="478"/>
          <ac:spMkLst>
            <pc:docMk/>
            <pc:sldMk cId="3348140347" sldId="949"/>
            <ac:spMk id="96" creationId="{2A913932-8BE1-F1EB-2C97-BB1A5EF0C629}"/>
          </ac:spMkLst>
        </pc:spChg>
        <pc:spChg chg="del mod ord">
          <ac:chgData name="Nataliia Chornii (UA)" userId="4e4b8b3d-5f31-49bb-9f80-8a25c04abfff" providerId="ADAL" clId="{EE97D3FE-9ACA-4467-98E5-532EC45D9D1C}" dt="2024-03-04T12:47:00.038" v="22815" actId="478"/>
          <ac:spMkLst>
            <pc:docMk/>
            <pc:sldMk cId="3348140347" sldId="949"/>
            <ac:spMk id="105" creationId="{C73B42A3-EA68-B90F-A6C9-5F7FF93DD187}"/>
          </ac:spMkLst>
        </pc:spChg>
        <pc:grpChg chg="add mod">
          <ac:chgData name="Nataliia Chornii (UA)" userId="4e4b8b3d-5f31-49bb-9f80-8a25c04abfff" providerId="ADAL" clId="{EE97D3FE-9ACA-4467-98E5-532EC45D9D1C}" dt="2024-03-11T14:27:08.995" v="24118"/>
          <ac:grpSpMkLst>
            <pc:docMk/>
            <pc:sldMk cId="3348140347" sldId="949"/>
            <ac:grpSpMk id="5" creationId="{9B2150F9-9046-4A7E-FAB3-7BDBCD9D3E8B}"/>
          </ac:grpSpMkLst>
        </pc:grpChg>
        <pc:grpChg chg="add del mod">
          <ac:chgData name="Nataliia Chornii (UA)" userId="4e4b8b3d-5f31-49bb-9f80-8a25c04abfff" providerId="ADAL" clId="{EE97D3FE-9ACA-4467-98E5-532EC45D9D1C}" dt="2024-03-04T12:46:52.913" v="22811"/>
          <ac:grpSpMkLst>
            <pc:docMk/>
            <pc:sldMk cId="3348140347" sldId="949"/>
            <ac:grpSpMk id="8" creationId="{8A9FF5B4-5E38-1357-EE25-73C9F5C682A9}"/>
          </ac:grpSpMkLst>
        </pc:grpChg>
        <pc:grpChg chg="add mod">
          <ac:chgData name="Nataliia Chornii (UA)" userId="4e4b8b3d-5f31-49bb-9f80-8a25c04abfff" providerId="ADAL" clId="{EE97D3FE-9ACA-4467-98E5-532EC45D9D1C}" dt="2024-03-04T12:46:55.091" v="22813"/>
          <ac:grpSpMkLst>
            <pc:docMk/>
            <pc:sldMk cId="3348140347" sldId="949"/>
            <ac:grpSpMk id="15" creationId="{764141E3-6172-5063-0EBA-FCD008CF118B}"/>
          </ac:grpSpMkLst>
        </pc:grpChg>
        <pc:graphicFrameChg chg="mod">
          <ac:chgData name="Nataliia Chornii (UA)" userId="4e4b8b3d-5f31-49bb-9f80-8a25c04abfff" providerId="ADAL" clId="{EE97D3FE-9ACA-4467-98E5-532EC45D9D1C}" dt="2024-03-04T12:45:02.020" v="22668"/>
          <ac:graphicFrameMkLst>
            <pc:docMk/>
            <pc:sldMk cId="3348140347" sldId="949"/>
            <ac:graphicFrameMk id="12" creationId="{F6E6AF23-7B86-113A-F559-513B41FEC1FE}"/>
          </ac:graphicFrameMkLst>
        </pc:graphicFrameChg>
        <pc:picChg chg="add mod ord modCrop">
          <ac:chgData name="Nataliia Chornii (UA)" userId="4e4b8b3d-5f31-49bb-9f80-8a25c04abfff" providerId="ADAL" clId="{EE97D3FE-9ACA-4467-98E5-532EC45D9D1C}" dt="2024-03-04T12:45:02.004" v="22666"/>
          <ac:picMkLst>
            <pc:docMk/>
            <pc:sldMk cId="3348140347" sldId="949"/>
            <ac:picMk id="7" creationId="{682B30C0-2899-633D-5FC2-D8B001DCB0F0}"/>
          </ac:picMkLst>
        </pc:picChg>
        <pc:picChg chg="del mod ord">
          <ac:chgData name="Nataliia Chornii (UA)" userId="4e4b8b3d-5f31-49bb-9f80-8a25c04abfff" providerId="ADAL" clId="{EE97D3FE-9ACA-4467-98E5-532EC45D9D1C}" dt="2024-03-04T12:44:38.908" v="22532" actId="478"/>
          <ac:picMkLst>
            <pc:docMk/>
            <pc:sldMk cId="3348140347" sldId="949"/>
            <ac:picMk id="41" creationId="{7CAE88F2-0719-E8A4-5A3E-39E39CF155A6}"/>
          </ac:picMkLst>
        </pc:picChg>
        <pc:cxnChg chg="mod">
          <ac:chgData name="Nataliia Chornii (UA)" userId="4e4b8b3d-5f31-49bb-9f80-8a25c04abfff" providerId="ADAL" clId="{EE97D3FE-9ACA-4467-98E5-532EC45D9D1C}" dt="2024-03-04T12:46:52.267" v="22810"/>
          <ac:cxnSpMkLst>
            <pc:docMk/>
            <pc:sldMk cId="3348140347" sldId="949"/>
            <ac:cxnSpMk id="11" creationId="{B8269F3D-B1AF-33C5-9172-1739E9FF221C}"/>
          </ac:cxnSpMkLst>
        </pc:cxnChg>
        <pc:cxnChg chg="mod">
          <ac:chgData name="Nataliia Chornii (UA)" userId="4e4b8b3d-5f31-49bb-9f80-8a25c04abfff" providerId="ADAL" clId="{EE97D3FE-9ACA-4467-98E5-532EC45D9D1C}" dt="2024-03-04T12:46:55.091" v="22813"/>
          <ac:cxnSpMkLst>
            <pc:docMk/>
            <pc:sldMk cId="3348140347" sldId="949"/>
            <ac:cxnSpMk id="18" creationId="{CD669445-24C9-E4F7-38D8-E8D2515193DB}"/>
          </ac:cxnSpMkLst>
        </pc:cxnChg>
        <pc:cxnChg chg="mod ord">
          <ac:chgData name="Nataliia Chornii (UA)" userId="4e4b8b3d-5f31-49bb-9f80-8a25c04abfff" providerId="ADAL" clId="{EE97D3FE-9ACA-4467-98E5-532EC45D9D1C}" dt="2024-03-04T12:45:02.004" v="22666"/>
          <ac:cxnSpMkLst>
            <pc:docMk/>
            <pc:sldMk cId="3348140347" sldId="949"/>
            <ac:cxnSpMk id="53" creationId="{F358E754-064A-5B8C-B2FC-4E612BA07893}"/>
          </ac:cxnSpMkLst>
        </pc:cxnChg>
        <pc:cxnChg chg="del mod ord">
          <ac:chgData name="Nataliia Chornii (UA)" userId="4e4b8b3d-5f31-49bb-9f80-8a25c04abfff" providerId="ADAL" clId="{EE97D3FE-9ACA-4467-98E5-532EC45D9D1C}" dt="2024-03-04T12:47:00.038" v="22815" actId="478"/>
          <ac:cxnSpMkLst>
            <pc:docMk/>
            <pc:sldMk cId="3348140347" sldId="949"/>
            <ac:cxnSpMk id="95" creationId="{D4EEEA95-3B5D-59D7-CC7D-E49C940EDFA8}"/>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55:48.419" v="23223"/>
              <pc2:cmMkLst xmlns:pc2="http://schemas.microsoft.com/office/powerpoint/2019/9/main/command">
                <pc:docMk/>
                <pc:sldMk cId="3348140347" sldId="949"/>
                <pc2:cmMk id="{1510FCDF-9D49-464C-8CED-B27D3E158178}"/>
              </pc2:cmMkLst>
            </pc226:cmChg>
          </p:ext>
        </pc:extLst>
      </pc:sldChg>
      <pc:sldChg chg="addSp delSp modSp mod modCm">
        <pc:chgData name="Nataliia Chornii (UA)" userId="4e4b8b3d-5f31-49bb-9f80-8a25c04abfff" providerId="ADAL" clId="{EE97D3FE-9ACA-4467-98E5-532EC45D9D1C}" dt="2024-03-11T14:34:26.888" v="25149"/>
        <pc:sldMkLst>
          <pc:docMk/>
          <pc:sldMk cId="201777098" sldId="950"/>
        </pc:sldMkLst>
        <pc:spChg chg="add mod ord">
          <ac:chgData name="Nataliia Chornii (UA)" userId="4e4b8b3d-5f31-49bb-9f80-8a25c04abfff" providerId="ADAL" clId="{EE97D3FE-9ACA-4467-98E5-532EC45D9D1C}" dt="2024-03-04T12:53:57.774" v="23155"/>
          <ac:spMkLst>
            <pc:docMk/>
            <pc:sldMk cId="201777098" sldId="950"/>
            <ac:spMk id="2" creationId="{C3F516C4-CBBA-ADF7-B862-CB2C85E36114}"/>
          </ac:spMkLst>
        </pc:spChg>
        <pc:spChg chg="mod ord">
          <ac:chgData name="Nataliia Chornii (UA)" userId="4e4b8b3d-5f31-49bb-9f80-8a25c04abfff" providerId="ADAL" clId="{EE97D3FE-9ACA-4467-98E5-532EC45D9D1C}" dt="2024-03-04T12:53:57.758" v="23133"/>
          <ac:spMkLst>
            <pc:docMk/>
            <pc:sldMk cId="201777098" sldId="950"/>
            <ac:spMk id="3" creationId="{F4CCF02E-F3C4-C376-8F56-61BD85A2E74B}"/>
          </ac:spMkLst>
        </pc:spChg>
        <pc:spChg chg="mod ord">
          <ac:chgData name="Nataliia Chornii (UA)" userId="4e4b8b3d-5f31-49bb-9f80-8a25c04abfff" providerId="ADAL" clId="{EE97D3FE-9ACA-4467-98E5-532EC45D9D1C}" dt="2024-03-04T12:53:57.758" v="23135"/>
          <ac:spMkLst>
            <pc:docMk/>
            <pc:sldMk cId="201777098" sldId="950"/>
            <ac:spMk id="4" creationId="{872966CD-924A-B939-E655-A6BAF817DCBF}"/>
          </ac:spMkLst>
        </pc:spChg>
        <pc:spChg chg="add mod">
          <ac:chgData name="Nataliia Chornii (UA)" userId="4e4b8b3d-5f31-49bb-9f80-8a25c04abfff" providerId="ADAL" clId="{EE97D3FE-9ACA-4467-98E5-532EC45D9D1C}" dt="2024-03-11T14:27:11.034" v="24119"/>
          <ac:spMkLst>
            <pc:docMk/>
            <pc:sldMk cId="201777098" sldId="950"/>
            <ac:spMk id="5" creationId="{CE8DF088-308E-1DA3-B78E-2A403A65AD68}"/>
          </ac:spMkLst>
        </pc:spChg>
        <pc:spChg chg="mod ord topLvl">
          <ac:chgData name="Nataliia Chornii (UA)" userId="4e4b8b3d-5f31-49bb-9f80-8a25c04abfff" providerId="ADAL" clId="{EE97D3FE-9ACA-4467-98E5-532EC45D9D1C}" dt="2024-03-04T12:54:27.507" v="23186" actId="2085"/>
          <ac:spMkLst>
            <pc:docMk/>
            <pc:sldMk cId="201777098" sldId="950"/>
            <ac:spMk id="6" creationId="{2B4ED087-A352-17EE-A9D6-33782A1F4144}"/>
          </ac:spMkLst>
        </pc:spChg>
        <pc:spChg chg="mod ord topLvl">
          <ac:chgData name="Nataliia Chornii (UA)" userId="4e4b8b3d-5f31-49bb-9f80-8a25c04abfff" providerId="ADAL" clId="{EE97D3FE-9ACA-4467-98E5-532EC45D9D1C}" dt="2024-03-04T12:53:57.774" v="23159"/>
          <ac:spMkLst>
            <pc:docMk/>
            <pc:sldMk cId="201777098" sldId="950"/>
            <ac:spMk id="7" creationId="{2FBFC548-6771-3663-E6BE-BB4CC33B41A9}"/>
          </ac:spMkLst>
        </pc:spChg>
        <pc:spChg chg="mod ord topLvl">
          <ac:chgData name="Nataliia Chornii (UA)" userId="4e4b8b3d-5f31-49bb-9f80-8a25c04abfff" providerId="ADAL" clId="{EE97D3FE-9ACA-4467-98E5-532EC45D9D1C}" dt="2024-03-04T12:53:57.774" v="23163"/>
          <ac:spMkLst>
            <pc:docMk/>
            <pc:sldMk cId="201777098" sldId="950"/>
            <ac:spMk id="9" creationId="{5A200844-DA1F-317B-8566-3C4F0705FD2A}"/>
          </ac:spMkLst>
        </pc:spChg>
        <pc:spChg chg="add mod ord">
          <ac:chgData name="Nataliia Chornii (UA)" userId="4e4b8b3d-5f31-49bb-9f80-8a25c04abfff" providerId="ADAL" clId="{EE97D3FE-9ACA-4467-98E5-532EC45D9D1C}" dt="2024-03-04T12:53:57.774" v="23165"/>
          <ac:spMkLst>
            <pc:docMk/>
            <pc:sldMk cId="201777098" sldId="950"/>
            <ac:spMk id="10" creationId="{117540F8-A58D-7804-1B3D-347E9F3DB635}"/>
          </ac:spMkLst>
        </pc:spChg>
        <pc:spChg chg="add mod ord">
          <ac:chgData name="Nataliia Chornii (UA)" userId="4e4b8b3d-5f31-49bb-9f80-8a25c04abfff" providerId="ADAL" clId="{EE97D3FE-9ACA-4467-98E5-532EC45D9D1C}" dt="2024-03-04T12:53:57.774" v="23167"/>
          <ac:spMkLst>
            <pc:docMk/>
            <pc:sldMk cId="201777098" sldId="950"/>
            <ac:spMk id="11" creationId="{FC6ECF3B-7D0F-5ED4-1023-D069420F907E}"/>
          </ac:spMkLst>
        </pc:spChg>
        <pc:spChg chg="add mod ord">
          <ac:chgData name="Nataliia Chornii (UA)" userId="4e4b8b3d-5f31-49bb-9f80-8a25c04abfff" providerId="ADAL" clId="{EE97D3FE-9ACA-4467-98E5-532EC45D9D1C}" dt="2024-03-04T12:53:57.774" v="23169"/>
          <ac:spMkLst>
            <pc:docMk/>
            <pc:sldMk cId="201777098" sldId="950"/>
            <ac:spMk id="13" creationId="{AF9D086A-BD99-812E-3B8D-AC1D9F9FB376}"/>
          </ac:spMkLst>
        </pc:spChg>
        <pc:spChg chg="add mod ord">
          <ac:chgData name="Nataliia Chornii (UA)" userId="4e4b8b3d-5f31-49bb-9f80-8a25c04abfff" providerId="ADAL" clId="{EE97D3FE-9ACA-4467-98E5-532EC45D9D1C}" dt="2024-03-04T12:53:57.774" v="23171"/>
          <ac:spMkLst>
            <pc:docMk/>
            <pc:sldMk cId="201777098" sldId="950"/>
            <ac:spMk id="14" creationId="{1501B85D-102B-8D13-E6E4-D12AFF7DE72F}"/>
          </ac:spMkLst>
        </pc:spChg>
        <pc:spChg chg="add del mod modVis">
          <ac:chgData name="Nataliia Chornii (UA)" userId="4e4b8b3d-5f31-49bb-9f80-8a25c04abfff" providerId="ADAL" clId="{EE97D3FE-9ACA-4467-98E5-532EC45D9D1C}" dt="2024-03-04T12:53:54.902" v="23122"/>
          <ac:spMkLst>
            <pc:docMk/>
            <pc:sldMk cId="201777098" sldId="950"/>
            <ac:spMk id="15" creationId="{2E6257F4-43CE-49B8-05C8-F908F6AB6A02}"/>
          </ac:spMkLst>
        </pc:spChg>
        <pc:spChg chg="mod">
          <ac:chgData name="Nataliia Chornii (UA)" userId="4e4b8b3d-5f31-49bb-9f80-8a25c04abfff" providerId="ADAL" clId="{EE97D3FE-9ACA-4467-98E5-532EC45D9D1C}" dt="2024-03-11T14:27:11.034" v="24119"/>
          <ac:spMkLst>
            <pc:docMk/>
            <pc:sldMk cId="201777098" sldId="950"/>
            <ac:spMk id="17" creationId="{1889F15A-DA59-A9D9-DF1F-334FE2211C43}"/>
          </ac:spMkLst>
        </pc:spChg>
        <pc:spChg chg="mod">
          <ac:chgData name="Nataliia Chornii (UA)" userId="4e4b8b3d-5f31-49bb-9f80-8a25c04abfff" providerId="ADAL" clId="{EE97D3FE-9ACA-4467-98E5-532EC45D9D1C}" dt="2024-03-11T14:27:11.034" v="24119"/>
          <ac:spMkLst>
            <pc:docMk/>
            <pc:sldMk cId="201777098" sldId="950"/>
            <ac:spMk id="18" creationId="{2924EE46-A484-D451-F0A7-9D39A14CB568}"/>
          </ac:spMkLst>
        </pc:spChg>
        <pc:spChg chg="mod">
          <ac:chgData name="Nataliia Chornii (UA)" userId="4e4b8b3d-5f31-49bb-9f80-8a25c04abfff" providerId="ADAL" clId="{EE97D3FE-9ACA-4467-98E5-532EC45D9D1C}" dt="2024-03-11T14:27:11.034" v="24119"/>
          <ac:spMkLst>
            <pc:docMk/>
            <pc:sldMk cId="201777098" sldId="950"/>
            <ac:spMk id="19" creationId="{B05C9408-E38C-6863-5B54-A480778741CA}"/>
          </ac:spMkLst>
        </pc:spChg>
        <pc:spChg chg="mod">
          <ac:chgData name="Nataliia Chornii (UA)" userId="4e4b8b3d-5f31-49bb-9f80-8a25c04abfff" providerId="ADAL" clId="{EE97D3FE-9ACA-4467-98E5-532EC45D9D1C}" dt="2024-03-11T14:27:11.034" v="24119"/>
          <ac:spMkLst>
            <pc:docMk/>
            <pc:sldMk cId="201777098" sldId="950"/>
            <ac:spMk id="20" creationId="{F5F47851-D1F9-EA0E-80E0-BF00A2251A20}"/>
          </ac:spMkLst>
        </pc:spChg>
        <pc:spChg chg="mod">
          <ac:chgData name="Nataliia Chornii (UA)" userId="4e4b8b3d-5f31-49bb-9f80-8a25c04abfff" providerId="ADAL" clId="{EE97D3FE-9ACA-4467-98E5-532EC45D9D1C}" dt="2024-03-11T14:27:11.034" v="24119"/>
          <ac:spMkLst>
            <pc:docMk/>
            <pc:sldMk cId="201777098" sldId="950"/>
            <ac:spMk id="21" creationId="{4F623CF2-4F3A-7353-2DDD-FF50A42166A7}"/>
          </ac:spMkLst>
        </pc:spChg>
        <pc:spChg chg="mod">
          <ac:chgData name="Nataliia Chornii (UA)" userId="4e4b8b3d-5f31-49bb-9f80-8a25c04abfff" providerId="ADAL" clId="{EE97D3FE-9ACA-4467-98E5-532EC45D9D1C}" dt="2024-03-11T14:27:11.034" v="24119"/>
          <ac:spMkLst>
            <pc:docMk/>
            <pc:sldMk cId="201777098" sldId="950"/>
            <ac:spMk id="22" creationId="{2CFF9DA3-3FF8-7B5B-0BE9-6857086301F4}"/>
          </ac:spMkLst>
        </pc:spChg>
        <pc:spChg chg="add mod">
          <ac:chgData name="Nataliia Chornii (UA)" userId="4e4b8b3d-5f31-49bb-9f80-8a25c04abfff" providerId="ADAL" clId="{EE97D3FE-9ACA-4467-98E5-532EC45D9D1C}" dt="2024-03-11T14:34:26.888" v="25149"/>
          <ac:spMkLst>
            <pc:docMk/>
            <pc:sldMk cId="201777098" sldId="950"/>
            <ac:spMk id="23" creationId="{94DCF25A-EB68-95E6-AB63-22311838CB2F}"/>
          </ac:spMkLst>
        </pc:spChg>
        <pc:spChg chg="mod ord">
          <ac:chgData name="Nataliia Chornii (UA)" userId="4e4b8b3d-5f31-49bb-9f80-8a25c04abfff" providerId="ADAL" clId="{EE97D3FE-9ACA-4467-98E5-532EC45D9D1C}" dt="2024-03-04T12:53:57.758" v="23137"/>
          <ac:spMkLst>
            <pc:docMk/>
            <pc:sldMk cId="201777098" sldId="950"/>
            <ac:spMk id="26" creationId="{5EC1F9AE-82A4-85FE-592B-EF659F76F7EC}"/>
          </ac:spMkLst>
        </pc:spChg>
        <pc:spChg chg="mod ord">
          <ac:chgData name="Nataliia Chornii (UA)" userId="4e4b8b3d-5f31-49bb-9f80-8a25c04abfff" providerId="ADAL" clId="{EE97D3FE-9ACA-4467-98E5-532EC45D9D1C}" dt="2024-03-04T12:53:57.758" v="23139"/>
          <ac:spMkLst>
            <pc:docMk/>
            <pc:sldMk cId="201777098" sldId="950"/>
            <ac:spMk id="29" creationId="{3915AD89-6428-4A75-0915-328643F1703C}"/>
          </ac:spMkLst>
        </pc:spChg>
        <pc:spChg chg="mod ord">
          <ac:chgData name="Nataliia Chornii (UA)" userId="4e4b8b3d-5f31-49bb-9f80-8a25c04abfff" providerId="ADAL" clId="{EE97D3FE-9ACA-4467-98E5-532EC45D9D1C}" dt="2024-03-04T12:53:57.758" v="23141"/>
          <ac:spMkLst>
            <pc:docMk/>
            <pc:sldMk cId="201777098" sldId="950"/>
            <ac:spMk id="30" creationId="{373AB206-F1F0-CC72-8C15-85605D9AF2AC}"/>
          </ac:spMkLst>
        </pc:spChg>
        <pc:spChg chg="mod ord">
          <ac:chgData name="Nataliia Chornii (UA)" userId="4e4b8b3d-5f31-49bb-9f80-8a25c04abfff" providerId="ADAL" clId="{EE97D3FE-9ACA-4467-98E5-532EC45D9D1C}" dt="2024-03-04T12:53:57.758" v="23131"/>
          <ac:spMkLst>
            <pc:docMk/>
            <pc:sldMk cId="201777098" sldId="950"/>
            <ac:spMk id="42" creationId="{50830596-224D-A11D-D251-21B0CA3EB02E}"/>
          </ac:spMkLst>
        </pc:spChg>
        <pc:spChg chg="mod ord">
          <ac:chgData name="Nataliia Chornii (UA)" userId="4e4b8b3d-5f31-49bb-9f80-8a25c04abfff" providerId="ADAL" clId="{EE97D3FE-9ACA-4467-98E5-532EC45D9D1C}" dt="2024-03-04T12:53:57.758" v="23143"/>
          <ac:spMkLst>
            <pc:docMk/>
            <pc:sldMk cId="201777098" sldId="950"/>
            <ac:spMk id="46" creationId="{09BF84D6-F468-7005-FAB5-AA0B6AE5CFB4}"/>
          </ac:spMkLst>
        </pc:spChg>
        <pc:spChg chg="mod ord">
          <ac:chgData name="Nataliia Chornii (UA)" userId="4e4b8b3d-5f31-49bb-9f80-8a25c04abfff" providerId="ADAL" clId="{EE97D3FE-9ACA-4467-98E5-532EC45D9D1C}" dt="2024-03-04T12:53:57.758" v="23145"/>
          <ac:spMkLst>
            <pc:docMk/>
            <pc:sldMk cId="201777098" sldId="950"/>
            <ac:spMk id="50" creationId="{0130363F-7CE7-F3D0-4AB5-F295FAC2DCBC}"/>
          </ac:spMkLst>
        </pc:spChg>
        <pc:spChg chg="mod ord">
          <ac:chgData name="Nataliia Chornii (UA)" userId="4e4b8b3d-5f31-49bb-9f80-8a25c04abfff" providerId="ADAL" clId="{EE97D3FE-9ACA-4467-98E5-532EC45D9D1C}" dt="2024-03-04T12:53:57.758" v="23147"/>
          <ac:spMkLst>
            <pc:docMk/>
            <pc:sldMk cId="201777098" sldId="950"/>
            <ac:spMk id="51" creationId="{AFEB1935-0849-FFDB-14A2-768E555E2F79}"/>
          </ac:spMkLst>
        </pc:spChg>
        <pc:spChg chg="del">
          <ac:chgData name="Nataliia Chornii (UA)" userId="4e4b8b3d-5f31-49bb-9f80-8a25c04abfff" providerId="ADAL" clId="{EE97D3FE-9ACA-4467-98E5-532EC45D9D1C}" dt="2024-03-04T12:47:28.605" v="22816" actId="478"/>
          <ac:spMkLst>
            <pc:docMk/>
            <pc:sldMk cId="201777098" sldId="950"/>
            <ac:spMk id="52" creationId="{C28EBB85-E5E0-FA58-8077-AD15508F23C6}"/>
          </ac:spMkLst>
        </pc:spChg>
        <pc:spChg chg="del mod ord">
          <ac:chgData name="Nataliia Chornii (UA)" userId="4e4b8b3d-5f31-49bb-9f80-8a25c04abfff" providerId="ADAL" clId="{EE97D3FE-9ACA-4467-98E5-532EC45D9D1C}" dt="2024-03-11T14:34:26.619" v="25148" actId="478"/>
          <ac:spMkLst>
            <pc:docMk/>
            <pc:sldMk cId="201777098" sldId="950"/>
            <ac:spMk id="57" creationId="{E0007A68-F3EF-5218-37FA-972FF8C8BB56}"/>
          </ac:spMkLst>
        </pc:spChg>
        <pc:spChg chg="del mod">
          <ac:chgData name="Nataliia Chornii (UA)" userId="4e4b8b3d-5f31-49bb-9f80-8a25c04abfff" providerId="ADAL" clId="{EE97D3FE-9ACA-4467-98E5-532EC45D9D1C}" dt="2024-03-04T12:48:16.081" v="22824" actId="478"/>
          <ac:spMkLst>
            <pc:docMk/>
            <pc:sldMk cId="201777098" sldId="950"/>
            <ac:spMk id="93" creationId="{5A55EC81-0AD5-CE05-4AAF-6599399D9BD3}"/>
          </ac:spMkLst>
        </pc:spChg>
        <pc:spChg chg="del mod">
          <ac:chgData name="Nataliia Chornii (UA)" userId="4e4b8b3d-5f31-49bb-9f80-8a25c04abfff" providerId="ADAL" clId="{EE97D3FE-9ACA-4467-98E5-532EC45D9D1C}" dt="2024-03-04T12:48:16.081" v="22824" actId="478"/>
          <ac:spMkLst>
            <pc:docMk/>
            <pc:sldMk cId="201777098" sldId="950"/>
            <ac:spMk id="94" creationId="{2945AFC3-C832-6045-1DDE-A189FFBEDD95}"/>
          </ac:spMkLst>
        </pc:spChg>
        <pc:spChg chg="del mod">
          <ac:chgData name="Nataliia Chornii (UA)" userId="4e4b8b3d-5f31-49bb-9f80-8a25c04abfff" providerId="ADAL" clId="{EE97D3FE-9ACA-4467-98E5-532EC45D9D1C}" dt="2024-03-04T12:48:16.081" v="22824" actId="478"/>
          <ac:spMkLst>
            <pc:docMk/>
            <pc:sldMk cId="201777098" sldId="950"/>
            <ac:spMk id="96" creationId="{2A913932-8BE1-F1EB-2C97-BB1A5EF0C629}"/>
          </ac:spMkLst>
        </pc:spChg>
        <pc:spChg chg="mod ord">
          <ac:chgData name="Nataliia Chornii (UA)" userId="4e4b8b3d-5f31-49bb-9f80-8a25c04abfff" providerId="ADAL" clId="{EE97D3FE-9ACA-4467-98E5-532EC45D9D1C}" dt="2024-03-04T12:53:57.773" v="23153"/>
          <ac:spMkLst>
            <pc:docMk/>
            <pc:sldMk cId="201777098" sldId="950"/>
            <ac:spMk id="105" creationId="{C73B42A3-EA68-B90F-A6C9-5F7FF93DD187}"/>
          </ac:spMkLst>
        </pc:spChg>
        <pc:grpChg chg="add del mod">
          <ac:chgData name="Nataliia Chornii (UA)" userId="4e4b8b3d-5f31-49bb-9f80-8a25c04abfff" providerId="ADAL" clId="{EE97D3FE-9ACA-4467-98E5-532EC45D9D1C}" dt="2024-03-04T12:48:56.553" v="22834" actId="165"/>
          <ac:grpSpMkLst>
            <pc:docMk/>
            <pc:sldMk cId="201777098" sldId="950"/>
            <ac:grpSpMk id="5" creationId="{A273AF08-2E69-90DB-2FBF-EBBD18BA5289}"/>
          </ac:grpSpMkLst>
        </pc:grpChg>
        <pc:grpChg chg="add mod">
          <ac:chgData name="Nataliia Chornii (UA)" userId="4e4b8b3d-5f31-49bb-9f80-8a25c04abfff" providerId="ADAL" clId="{EE97D3FE-9ACA-4467-98E5-532EC45D9D1C}" dt="2024-03-11T14:27:11.034" v="24119"/>
          <ac:grpSpMkLst>
            <pc:docMk/>
            <pc:sldMk cId="201777098" sldId="950"/>
            <ac:grpSpMk id="15" creationId="{66E7844D-92A5-7B2C-98C9-930334E05087}"/>
          </ac:grpSpMkLst>
        </pc:grpChg>
        <pc:graphicFrameChg chg="mod">
          <ac:chgData name="Nataliia Chornii (UA)" userId="4e4b8b3d-5f31-49bb-9f80-8a25c04abfff" providerId="ADAL" clId="{EE97D3FE-9ACA-4467-98E5-532EC45D9D1C}" dt="2024-03-04T12:53:57.774" v="23175"/>
          <ac:graphicFrameMkLst>
            <pc:docMk/>
            <pc:sldMk cId="201777098" sldId="950"/>
            <ac:graphicFrameMk id="12" creationId="{F6E6AF23-7B86-113A-F559-513B41FEC1FE}"/>
          </ac:graphicFrameMkLst>
        </pc:graphicFrameChg>
        <pc:picChg chg="add mod ord">
          <ac:chgData name="Nataliia Chornii (UA)" userId="4e4b8b3d-5f31-49bb-9f80-8a25c04abfff" providerId="ADAL" clId="{EE97D3FE-9ACA-4467-98E5-532EC45D9D1C}" dt="2024-03-04T12:54:02.964" v="23179" actId="554"/>
          <ac:picMkLst>
            <pc:docMk/>
            <pc:sldMk cId="201777098" sldId="950"/>
            <ac:picMk id="16" creationId="{ED29780A-B6AD-A143-BFF4-CA656A9FBED7}"/>
          </ac:picMkLst>
        </pc:picChg>
        <pc:picChg chg="del mod ord">
          <ac:chgData name="Nataliia Chornii (UA)" userId="4e4b8b3d-5f31-49bb-9f80-8a25c04abfff" providerId="ADAL" clId="{EE97D3FE-9ACA-4467-98E5-532EC45D9D1C}" dt="2024-03-04T12:53:56.022" v="23125" actId="478"/>
          <ac:picMkLst>
            <pc:docMk/>
            <pc:sldMk cId="201777098" sldId="950"/>
            <ac:picMk id="41" creationId="{7CAE88F2-0719-E8A4-5A3E-39E39CF155A6}"/>
          </ac:picMkLst>
        </pc:picChg>
        <pc:cxnChg chg="mod ord topLvl">
          <ac:chgData name="Nataliia Chornii (UA)" userId="4e4b8b3d-5f31-49bb-9f80-8a25c04abfff" providerId="ADAL" clId="{EE97D3FE-9ACA-4467-98E5-532EC45D9D1C}" dt="2024-03-04T12:53:57.774" v="23161"/>
          <ac:cxnSpMkLst>
            <pc:docMk/>
            <pc:sldMk cId="201777098" sldId="950"/>
            <ac:cxnSpMk id="8" creationId="{EE51AD4F-3E95-E56F-5B86-5C86629EA0F7}"/>
          </ac:cxnSpMkLst>
        </pc:cxnChg>
        <pc:cxnChg chg="mod ord">
          <ac:chgData name="Nataliia Chornii (UA)" userId="4e4b8b3d-5f31-49bb-9f80-8a25c04abfff" providerId="ADAL" clId="{EE97D3FE-9ACA-4467-98E5-532EC45D9D1C}" dt="2024-03-04T12:53:57.758" v="23149"/>
          <ac:cxnSpMkLst>
            <pc:docMk/>
            <pc:sldMk cId="201777098" sldId="950"/>
            <ac:cxnSpMk id="53" creationId="{F358E754-064A-5B8C-B2FC-4E612BA07893}"/>
          </ac:cxnSpMkLst>
        </pc:cxnChg>
        <pc:cxnChg chg="del mod">
          <ac:chgData name="Nataliia Chornii (UA)" userId="4e4b8b3d-5f31-49bb-9f80-8a25c04abfff" providerId="ADAL" clId="{EE97D3FE-9ACA-4467-98E5-532EC45D9D1C}" dt="2024-03-04T12:48:16.081" v="22824" actId="478"/>
          <ac:cxnSpMkLst>
            <pc:docMk/>
            <pc:sldMk cId="201777098" sldId="950"/>
            <ac:cxnSpMk id="95" creationId="{D4EEEA95-3B5D-59D7-CC7D-E49C940EDFA8}"/>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55:56.657" v="23225"/>
              <pc2:cmMkLst xmlns:pc2="http://schemas.microsoft.com/office/powerpoint/2019/9/main/command">
                <pc:docMk/>
                <pc:sldMk cId="201777098" sldId="950"/>
                <pc2:cmMk id="{1A5476BB-88AF-4870-A72B-D1F544EA1421}"/>
              </pc2:cmMkLst>
            </pc226:cmChg>
            <pc226:cmChg xmlns:pc226="http://schemas.microsoft.com/office/powerpoint/2022/06/main/command" chg="mod">
              <pc226:chgData name="Nataliia Chornii (UA)" userId="4e4b8b3d-5f31-49bb-9f80-8a25c04abfff" providerId="ADAL" clId="{EE97D3FE-9ACA-4467-98E5-532EC45D9D1C}" dt="2024-03-04T12:55:54.862" v="23224"/>
              <pc2:cmMkLst xmlns:pc2="http://schemas.microsoft.com/office/powerpoint/2019/9/main/command">
                <pc:docMk/>
                <pc:sldMk cId="201777098" sldId="950"/>
                <pc2:cmMk id="{5E0D50F5-D5CA-4BCD-9B39-6846677F7D43}"/>
              </pc2:cmMkLst>
            </pc226:cmChg>
          </p:ext>
        </pc:extLst>
      </pc:sldChg>
      <pc:sldChg chg="addSp delSp modSp mod modCm">
        <pc:chgData name="Nataliia Chornii (UA)" userId="4e4b8b3d-5f31-49bb-9f80-8a25c04abfff" providerId="ADAL" clId="{EE97D3FE-9ACA-4467-98E5-532EC45D9D1C}" dt="2024-03-11T14:34:29.595" v="25151"/>
        <pc:sldMkLst>
          <pc:docMk/>
          <pc:sldMk cId="3919877977" sldId="951"/>
        </pc:sldMkLst>
        <pc:spChg chg="del">
          <ac:chgData name="Nataliia Chornii (UA)" userId="4e4b8b3d-5f31-49bb-9f80-8a25c04abfff" providerId="ADAL" clId="{EE97D3FE-9ACA-4467-98E5-532EC45D9D1C}" dt="2024-03-04T12:51:58.489" v="22884" actId="478"/>
          <ac:spMkLst>
            <pc:docMk/>
            <pc:sldMk cId="3919877977" sldId="951"/>
            <ac:spMk id="2" creationId="{CF385B03-2F15-6430-B726-C2FB4A14829D}"/>
          </ac:spMkLst>
        </pc:spChg>
        <pc:spChg chg="add mod">
          <ac:chgData name="Nataliia Chornii (UA)" userId="4e4b8b3d-5f31-49bb-9f80-8a25c04abfff" providerId="ADAL" clId="{EE97D3FE-9ACA-4467-98E5-532EC45D9D1C}" dt="2024-03-11T14:27:11.696" v="24120"/>
          <ac:spMkLst>
            <pc:docMk/>
            <pc:sldMk cId="3919877977" sldId="951"/>
            <ac:spMk id="2" creationId="{E492D44C-9EB1-E1BE-49A6-AA9E42D367F6}"/>
          </ac:spMkLst>
        </pc:spChg>
        <pc:spChg chg="mod ord">
          <ac:chgData name="Nataliia Chornii (UA)" userId="4e4b8b3d-5f31-49bb-9f80-8a25c04abfff" providerId="ADAL" clId="{EE97D3FE-9ACA-4467-98E5-532EC45D9D1C}" dt="2024-03-04T12:53:49.625" v="23012"/>
          <ac:spMkLst>
            <pc:docMk/>
            <pc:sldMk cId="3919877977" sldId="951"/>
            <ac:spMk id="3" creationId="{F4CCF02E-F3C4-C376-8F56-61BD85A2E74B}"/>
          </ac:spMkLst>
        </pc:spChg>
        <pc:spChg chg="mod ord">
          <ac:chgData name="Nataliia Chornii (UA)" userId="4e4b8b3d-5f31-49bb-9f80-8a25c04abfff" providerId="ADAL" clId="{EE97D3FE-9ACA-4467-98E5-532EC45D9D1C}" dt="2024-03-04T12:53:49.625" v="23014"/>
          <ac:spMkLst>
            <pc:docMk/>
            <pc:sldMk cId="3919877977" sldId="951"/>
            <ac:spMk id="4" creationId="{872966CD-924A-B939-E655-A6BAF817DCBF}"/>
          </ac:spMkLst>
        </pc:spChg>
        <pc:spChg chg="del">
          <ac:chgData name="Nataliia Chornii (UA)" userId="4e4b8b3d-5f31-49bb-9f80-8a25c04abfff" providerId="ADAL" clId="{EE97D3FE-9ACA-4467-98E5-532EC45D9D1C}" dt="2024-03-04T12:52:01.732" v="22885" actId="478"/>
          <ac:spMkLst>
            <pc:docMk/>
            <pc:sldMk cId="3919877977" sldId="951"/>
            <ac:spMk id="5" creationId="{72E4C008-5160-4BC9-7D87-A59459C11EBD}"/>
          </ac:spMkLst>
        </pc:spChg>
        <pc:spChg chg="add mod ord">
          <ac:chgData name="Nataliia Chornii (UA)" userId="4e4b8b3d-5f31-49bb-9f80-8a25c04abfff" providerId="ADAL" clId="{EE97D3FE-9ACA-4467-98E5-532EC45D9D1C}" dt="2024-03-04T12:53:49.640" v="23034"/>
          <ac:spMkLst>
            <pc:docMk/>
            <pc:sldMk cId="3919877977" sldId="951"/>
            <ac:spMk id="6" creationId="{62728F32-3767-7BB1-A1AA-732F46C6F49C}"/>
          </ac:spMkLst>
        </pc:spChg>
        <pc:spChg chg="add mod ord">
          <ac:chgData name="Nataliia Chornii (UA)" userId="4e4b8b3d-5f31-49bb-9f80-8a25c04abfff" providerId="ADAL" clId="{EE97D3FE-9ACA-4467-98E5-532EC45D9D1C}" dt="2024-03-04T12:54:37.734" v="23189" actId="207"/>
          <ac:spMkLst>
            <pc:docMk/>
            <pc:sldMk cId="3919877977" sldId="951"/>
            <ac:spMk id="7" creationId="{3C600D06-FF5B-2816-46DE-CA4BA0C2E86C}"/>
          </ac:spMkLst>
        </pc:spChg>
        <pc:spChg chg="add mod ord">
          <ac:chgData name="Nataliia Chornii (UA)" userId="4e4b8b3d-5f31-49bb-9f80-8a25c04abfff" providerId="ADAL" clId="{EE97D3FE-9ACA-4467-98E5-532EC45D9D1C}" dt="2024-03-04T12:53:49.640" v="23038"/>
          <ac:spMkLst>
            <pc:docMk/>
            <pc:sldMk cId="3919877977" sldId="951"/>
            <ac:spMk id="8" creationId="{D88A73CD-70CA-96A4-662F-043BC695E8F3}"/>
          </ac:spMkLst>
        </pc:spChg>
        <pc:spChg chg="add mod ord">
          <ac:chgData name="Nataliia Chornii (UA)" userId="4e4b8b3d-5f31-49bb-9f80-8a25c04abfff" providerId="ADAL" clId="{EE97D3FE-9ACA-4467-98E5-532EC45D9D1C}" dt="2024-03-04T12:53:49.640" v="23042"/>
          <ac:spMkLst>
            <pc:docMk/>
            <pc:sldMk cId="3919877977" sldId="951"/>
            <ac:spMk id="10" creationId="{6E0B64FC-825F-7837-CF20-747348150A56}"/>
          </ac:spMkLst>
        </pc:spChg>
        <pc:spChg chg="add mod ord">
          <ac:chgData name="Nataliia Chornii (UA)" userId="4e4b8b3d-5f31-49bb-9f80-8a25c04abfff" providerId="ADAL" clId="{EE97D3FE-9ACA-4467-98E5-532EC45D9D1C}" dt="2024-03-04T12:53:49.640" v="23044"/>
          <ac:spMkLst>
            <pc:docMk/>
            <pc:sldMk cId="3919877977" sldId="951"/>
            <ac:spMk id="11" creationId="{C93782D8-0364-2222-6021-338ED123DDD0}"/>
          </ac:spMkLst>
        </pc:spChg>
        <pc:spChg chg="add mod ord">
          <ac:chgData name="Nataliia Chornii (UA)" userId="4e4b8b3d-5f31-49bb-9f80-8a25c04abfff" providerId="ADAL" clId="{EE97D3FE-9ACA-4467-98E5-532EC45D9D1C}" dt="2024-03-04T12:53:49.640" v="23046"/>
          <ac:spMkLst>
            <pc:docMk/>
            <pc:sldMk cId="3919877977" sldId="951"/>
            <ac:spMk id="13" creationId="{1AEE3B88-C1AD-8375-A6B6-5CB9D691A21C}"/>
          </ac:spMkLst>
        </pc:spChg>
        <pc:spChg chg="add mod ord">
          <ac:chgData name="Nataliia Chornii (UA)" userId="4e4b8b3d-5f31-49bb-9f80-8a25c04abfff" providerId="ADAL" clId="{EE97D3FE-9ACA-4467-98E5-532EC45D9D1C}" dt="2024-03-04T12:53:49.640" v="23048"/>
          <ac:spMkLst>
            <pc:docMk/>
            <pc:sldMk cId="3919877977" sldId="951"/>
            <ac:spMk id="14" creationId="{AF52A9B6-90D7-144E-F3A0-1E131F7C0871}"/>
          </ac:spMkLst>
        </pc:spChg>
        <pc:spChg chg="add mod ord">
          <ac:chgData name="Nataliia Chornii (UA)" userId="4e4b8b3d-5f31-49bb-9f80-8a25c04abfff" providerId="ADAL" clId="{EE97D3FE-9ACA-4467-98E5-532EC45D9D1C}" dt="2024-03-04T12:53:49.640" v="23050"/>
          <ac:spMkLst>
            <pc:docMk/>
            <pc:sldMk cId="3919877977" sldId="951"/>
            <ac:spMk id="15" creationId="{AA2E0D70-A771-9CC6-1822-E814A9D83B94}"/>
          </ac:spMkLst>
        </pc:spChg>
        <pc:spChg chg="add del mod modVis">
          <ac:chgData name="Nataliia Chornii (UA)" userId="4e4b8b3d-5f31-49bb-9f80-8a25c04abfff" providerId="ADAL" clId="{EE97D3FE-9ACA-4467-98E5-532EC45D9D1C}" dt="2024-03-04T12:53:33.296" v="22998"/>
          <ac:spMkLst>
            <pc:docMk/>
            <pc:sldMk cId="3919877977" sldId="951"/>
            <ac:spMk id="16" creationId="{13A16514-1C20-721C-0056-95FF3B55A557}"/>
          </ac:spMkLst>
        </pc:spChg>
        <pc:spChg chg="mod">
          <ac:chgData name="Nataliia Chornii (UA)" userId="4e4b8b3d-5f31-49bb-9f80-8a25c04abfff" providerId="ADAL" clId="{EE97D3FE-9ACA-4467-98E5-532EC45D9D1C}" dt="2024-03-11T14:27:11.696" v="24120"/>
          <ac:spMkLst>
            <pc:docMk/>
            <pc:sldMk cId="3919877977" sldId="951"/>
            <ac:spMk id="16" creationId="{86F30ECA-9C87-D5F9-15DE-E7DC6A505E84}"/>
          </ac:spMkLst>
        </pc:spChg>
        <pc:spChg chg="mod">
          <ac:chgData name="Nataliia Chornii (UA)" userId="4e4b8b3d-5f31-49bb-9f80-8a25c04abfff" providerId="ADAL" clId="{EE97D3FE-9ACA-4467-98E5-532EC45D9D1C}" dt="2024-03-11T14:27:11.696" v="24120"/>
          <ac:spMkLst>
            <pc:docMk/>
            <pc:sldMk cId="3919877977" sldId="951"/>
            <ac:spMk id="17" creationId="{551829AB-FC10-F18C-CB30-3B30105C957F}"/>
          </ac:spMkLst>
        </pc:spChg>
        <pc:spChg chg="mod">
          <ac:chgData name="Nataliia Chornii (UA)" userId="4e4b8b3d-5f31-49bb-9f80-8a25c04abfff" providerId="ADAL" clId="{EE97D3FE-9ACA-4467-98E5-532EC45D9D1C}" dt="2024-03-11T14:27:11.696" v="24120"/>
          <ac:spMkLst>
            <pc:docMk/>
            <pc:sldMk cId="3919877977" sldId="951"/>
            <ac:spMk id="19" creationId="{1D3DC874-8B31-603E-4768-A1D5A8C7B6A3}"/>
          </ac:spMkLst>
        </pc:spChg>
        <pc:spChg chg="mod">
          <ac:chgData name="Nataliia Chornii (UA)" userId="4e4b8b3d-5f31-49bb-9f80-8a25c04abfff" providerId="ADAL" clId="{EE97D3FE-9ACA-4467-98E5-532EC45D9D1C}" dt="2024-03-11T14:27:11.696" v="24120"/>
          <ac:spMkLst>
            <pc:docMk/>
            <pc:sldMk cId="3919877977" sldId="951"/>
            <ac:spMk id="20" creationId="{0BFBFB3F-EAD2-D4B0-1A2D-EEA41DFB9B7B}"/>
          </ac:spMkLst>
        </pc:spChg>
        <pc:spChg chg="mod">
          <ac:chgData name="Nataliia Chornii (UA)" userId="4e4b8b3d-5f31-49bb-9f80-8a25c04abfff" providerId="ADAL" clId="{EE97D3FE-9ACA-4467-98E5-532EC45D9D1C}" dt="2024-03-11T14:27:11.696" v="24120"/>
          <ac:spMkLst>
            <pc:docMk/>
            <pc:sldMk cId="3919877977" sldId="951"/>
            <ac:spMk id="21" creationId="{BA171E70-0346-8B50-1237-51ECE4494916}"/>
          </ac:spMkLst>
        </pc:spChg>
        <pc:spChg chg="mod">
          <ac:chgData name="Nataliia Chornii (UA)" userId="4e4b8b3d-5f31-49bb-9f80-8a25c04abfff" providerId="ADAL" clId="{EE97D3FE-9ACA-4467-98E5-532EC45D9D1C}" dt="2024-03-11T14:27:11.696" v="24120"/>
          <ac:spMkLst>
            <pc:docMk/>
            <pc:sldMk cId="3919877977" sldId="951"/>
            <ac:spMk id="22" creationId="{7FAB8F80-B871-C741-31E6-E9D4387DFB1B}"/>
          </ac:spMkLst>
        </pc:spChg>
        <pc:spChg chg="add mod">
          <ac:chgData name="Nataliia Chornii (UA)" userId="4e4b8b3d-5f31-49bb-9f80-8a25c04abfff" providerId="ADAL" clId="{EE97D3FE-9ACA-4467-98E5-532EC45D9D1C}" dt="2024-03-11T14:34:29.595" v="25151"/>
          <ac:spMkLst>
            <pc:docMk/>
            <pc:sldMk cId="3919877977" sldId="951"/>
            <ac:spMk id="23" creationId="{95383AC2-E6E4-297E-D172-824689503DD1}"/>
          </ac:spMkLst>
        </pc:spChg>
        <pc:spChg chg="mod ord">
          <ac:chgData name="Nataliia Chornii (UA)" userId="4e4b8b3d-5f31-49bb-9f80-8a25c04abfff" providerId="ADAL" clId="{EE97D3FE-9ACA-4467-98E5-532EC45D9D1C}" dt="2024-03-04T12:53:49.625" v="23016"/>
          <ac:spMkLst>
            <pc:docMk/>
            <pc:sldMk cId="3919877977" sldId="951"/>
            <ac:spMk id="26" creationId="{5EC1F9AE-82A4-85FE-592B-EF659F76F7EC}"/>
          </ac:spMkLst>
        </pc:spChg>
        <pc:spChg chg="mod ord">
          <ac:chgData name="Nataliia Chornii (UA)" userId="4e4b8b3d-5f31-49bb-9f80-8a25c04abfff" providerId="ADAL" clId="{EE97D3FE-9ACA-4467-98E5-532EC45D9D1C}" dt="2024-03-04T12:53:49.625" v="23018"/>
          <ac:spMkLst>
            <pc:docMk/>
            <pc:sldMk cId="3919877977" sldId="951"/>
            <ac:spMk id="29" creationId="{3915AD89-6428-4A75-0915-328643F1703C}"/>
          </ac:spMkLst>
        </pc:spChg>
        <pc:spChg chg="mod ord">
          <ac:chgData name="Nataliia Chornii (UA)" userId="4e4b8b3d-5f31-49bb-9f80-8a25c04abfff" providerId="ADAL" clId="{EE97D3FE-9ACA-4467-98E5-532EC45D9D1C}" dt="2024-03-04T12:53:49.625" v="23020"/>
          <ac:spMkLst>
            <pc:docMk/>
            <pc:sldMk cId="3919877977" sldId="951"/>
            <ac:spMk id="30" creationId="{373AB206-F1F0-CC72-8C15-85605D9AF2AC}"/>
          </ac:spMkLst>
        </pc:spChg>
        <pc:spChg chg="mod ord">
          <ac:chgData name="Nataliia Chornii (UA)" userId="4e4b8b3d-5f31-49bb-9f80-8a25c04abfff" providerId="ADAL" clId="{EE97D3FE-9ACA-4467-98E5-532EC45D9D1C}" dt="2024-03-04T12:53:49.625" v="23010"/>
          <ac:spMkLst>
            <pc:docMk/>
            <pc:sldMk cId="3919877977" sldId="951"/>
            <ac:spMk id="42" creationId="{50830596-224D-A11D-D251-21B0CA3EB02E}"/>
          </ac:spMkLst>
        </pc:spChg>
        <pc:spChg chg="mod ord">
          <ac:chgData name="Nataliia Chornii (UA)" userId="4e4b8b3d-5f31-49bb-9f80-8a25c04abfff" providerId="ADAL" clId="{EE97D3FE-9ACA-4467-98E5-532EC45D9D1C}" dt="2024-03-04T12:53:49.625" v="23022"/>
          <ac:spMkLst>
            <pc:docMk/>
            <pc:sldMk cId="3919877977" sldId="951"/>
            <ac:spMk id="46" creationId="{09BF84D6-F468-7005-FAB5-AA0B6AE5CFB4}"/>
          </ac:spMkLst>
        </pc:spChg>
        <pc:spChg chg="mod ord">
          <ac:chgData name="Nataliia Chornii (UA)" userId="4e4b8b3d-5f31-49bb-9f80-8a25c04abfff" providerId="ADAL" clId="{EE97D3FE-9ACA-4467-98E5-532EC45D9D1C}" dt="2024-03-04T12:53:49.625" v="23024"/>
          <ac:spMkLst>
            <pc:docMk/>
            <pc:sldMk cId="3919877977" sldId="951"/>
            <ac:spMk id="50" creationId="{0130363F-7CE7-F3D0-4AB5-F295FAC2DCBC}"/>
          </ac:spMkLst>
        </pc:spChg>
        <pc:spChg chg="mod ord">
          <ac:chgData name="Nataliia Chornii (UA)" userId="4e4b8b3d-5f31-49bb-9f80-8a25c04abfff" providerId="ADAL" clId="{EE97D3FE-9ACA-4467-98E5-532EC45D9D1C}" dt="2024-03-04T12:53:49.625" v="23026"/>
          <ac:spMkLst>
            <pc:docMk/>
            <pc:sldMk cId="3919877977" sldId="951"/>
            <ac:spMk id="51" creationId="{AFEB1935-0849-FFDB-14A2-768E555E2F79}"/>
          </ac:spMkLst>
        </pc:spChg>
        <pc:spChg chg="mod ord">
          <ac:chgData name="Nataliia Chornii (UA)" userId="4e4b8b3d-5f31-49bb-9f80-8a25c04abfff" providerId="ADAL" clId="{EE97D3FE-9ACA-4467-98E5-532EC45D9D1C}" dt="2024-03-04T12:53:49.625" v="23028"/>
          <ac:spMkLst>
            <pc:docMk/>
            <pc:sldMk cId="3919877977" sldId="951"/>
            <ac:spMk id="52" creationId="{C28EBB85-E5E0-FA58-8077-AD15508F23C6}"/>
          </ac:spMkLst>
        </pc:spChg>
        <pc:spChg chg="del mod ord">
          <ac:chgData name="Nataliia Chornii (UA)" userId="4e4b8b3d-5f31-49bb-9f80-8a25c04abfff" providerId="ADAL" clId="{EE97D3FE-9ACA-4467-98E5-532EC45D9D1C}" dt="2024-03-11T14:34:29.310" v="25150" actId="478"/>
          <ac:spMkLst>
            <pc:docMk/>
            <pc:sldMk cId="3919877977" sldId="951"/>
            <ac:spMk id="57" creationId="{E0007A68-F3EF-5218-37FA-972FF8C8BB56}"/>
          </ac:spMkLst>
        </pc:spChg>
        <pc:spChg chg="del">
          <ac:chgData name="Nataliia Chornii (UA)" userId="4e4b8b3d-5f31-49bb-9f80-8a25c04abfff" providerId="ADAL" clId="{EE97D3FE-9ACA-4467-98E5-532EC45D9D1C}" dt="2024-03-04T12:52:01.732" v="22885" actId="478"/>
          <ac:spMkLst>
            <pc:docMk/>
            <pc:sldMk cId="3919877977" sldId="951"/>
            <ac:spMk id="93" creationId="{5A55EC81-0AD5-CE05-4AAF-6599399D9BD3}"/>
          </ac:spMkLst>
        </pc:spChg>
        <pc:spChg chg="del">
          <ac:chgData name="Nataliia Chornii (UA)" userId="4e4b8b3d-5f31-49bb-9f80-8a25c04abfff" providerId="ADAL" clId="{EE97D3FE-9ACA-4467-98E5-532EC45D9D1C}" dt="2024-03-04T12:52:01.732" v="22885" actId="478"/>
          <ac:spMkLst>
            <pc:docMk/>
            <pc:sldMk cId="3919877977" sldId="951"/>
            <ac:spMk id="94" creationId="{2945AFC3-C832-6045-1DDE-A189FFBEDD95}"/>
          </ac:spMkLst>
        </pc:spChg>
        <pc:spChg chg="del">
          <ac:chgData name="Nataliia Chornii (UA)" userId="4e4b8b3d-5f31-49bb-9f80-8a25c04abfff" providerId="ADAL" clId="{EE97D3FE-9ACA-4467-98E5-532EC45D9D1C}" dt="2024-03-04T12:52:01.732" v="22885" actId="478"/>
          <ac:spMkLst>
            <pc:docMk/>
            <pc:sldMk cId="3919877977" sldId="951"/>
            <ac:spMk id="96" creationId="{2A913932-8BE1-F1EB-2C97-BB1A5EF0C629}"/>
          </ac:spMkLst>
        </pc:spChg>
        <pc:grpChg chg="add mod">
          <ac:chgData name="Nataliia Chornii (UA)" userId="4e4b8b3d-5f31-49bb-9f80-8a25c04abfff" providerId="ADAL" clId="{EE97D3FE-9ACA-4467-98E5-532EC45D9D1C}" dt="2024-03-11T14:27:11.696" v="24120"/>
          <ac:grpSpMkLst>
            <pc:docMk/>
            <pc:sldMk cId="3919877977" sldId="951"/>
            <ac:grpSpMk id="5" creationId="{56FF85DA-9373-A5FA-2C2E-6634AFBCBE5B}"/>
          </ac:grpSpMkLst>
        </pc:grpChg>
        <pc:graphicFrameChg chg="mod">
          <ac:chgData name="Nataliia Chornii (UA)" userId="4e4b8b3d-5f31-49bb-9f80-8a25c04abfff" providerId="ADAL" clId="{EE97D3FE-9ACA-4467-98E5-532EC45D9D1C}" dt="2024-03-04T12:53:49.656" v="23054"/>
          <ac:graphicFrameMkLst>
            <pc:docMk/>
            <pc:sldMk cId="3919877977" sldId="951"/>
            <ac:graphicFrameMk id="12" creationId="{F6E6AF23-7B86-113A-F559-513B41FEC1FE}"/>
          </ac:graphicFrameMkLst>
        </pc:graphicFrameChg>
        <pc:picChg chg="add mod ord modCrop">
          <ac:chgData name="Nataliia Chornii (UA)" userId="4e4b8b3d-5f31-49bb-9f80-8a25c04abfff" providerId="ADAL" clId="{EE97D3FE-9ACA-4467-98E5-532EC45D9D1C}" dt="2024-03-04T12:53:49.616" v="23008"/>
          <ac:picMkLst>
            <pc:docMk/>
            <pc:sldMk cId="3919877977" sldId="951"/>
            <ac:picMk id="18" creationId="{688D19D4-A1EC-5D3C-165E-57F5334AF028}"/>
          </ac:picMkLst>
        </pc:picChg>
        <pc:picChg chg="del mod ord">
          <ac:chgData name="Nataliia Chornii (UA)" userId="4e4b8b3d-5f31-49bb-9f80-8a25c04abfff" providerId="ADAL" clId="{EE97D3FE-9ACA-4467-98E5-532EC45D9D1C}" dt="2024-03-04T12:53:34.213" v="23001" actId="478"/>
          <ac:picMkLst>
            <pc:docMk/>
            <pc:sldMk cId="3919877977" sldId="951"/>
            <ac:picMk id="41" creationId="{7CAE88F2-0719-E8A4-5A3E-39E39CF155A6}"/>
          </ac:picMkLst>
        </pc:picChg>
        <pc:cxnChg chg="add mod ord">
          <ac:chgData name="Nataliia Chornii (UA)" userId="4e4b8b3d-5f31-49bb-9f80-8a25c04abfff" providerId="ADAL" clId="{EE97D3FE-9ACA-4467-98E5-532EC45D9D1C}" dt="2024-03-04T12:53:49.640" v="23040"/>
          <ac:cxnSpMkLst>
            <pc:docMk/>
            <pc:sldMk cId="3919877977" sldId="951"/>
            <ac:cxnSpMk id="9" creationId="{D9A54F18-198C-7FBD-ED61-4B1E7FFFC657}"/>
          </ac:cxnSpMkLst>
        </pc:cxnChg>
        <pc:cxnChg chg="mod ord">
          <ac:chgData name="Nataliia Chornii (UA)" userId="4e4b8b3d-5f31-49bb-9f80-8a25c04abfff" providerId="ADAL" clId="{EE97D3FE-9ACA-4467-98E5-532EC45D9D1C}" dt="2024-03-04T12:53:49.625" v="23030"/>
          <ac:cxnSpMkLst>
            <pc:docMk/>
            <pc:sldMk cId="3919877977" sldId="951"/>
            <ac:cxnSpMk id="53" creationId="{F358E754-064A-5B8C-B2FC-4E612BA07893}"/>
          </ac:cxnSpMkLst>
        </pc:cxnChg>
        <pc:cxnChg chg="del">
          <ac:chgData name="Nataliia Chornii (UA)" userId="4e4b8b3d-5f31-49bb-9f80-8a25c04abfff" providerId="ADAL" clId="{EE97D3FE-9ACA-4467-98E5-532EC45D9D1C}" dt="2024-03-04T12:52:01.732" v="22885" actId="478"/>
          <ac:cxnSpMkLst>
            <pc:docMk/>
            <pc:sldMk cId="3919877977" sldId="951"/>
            <ac:cxnSpMk id="95" creationId="{D4EEEA95-3B5D-59D7-CC7D-E49C940EDFA8}"/>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55:59.133" v="23226"/>
              <pc2:cmMkLst xmlns:pc2="http://schemas.microsoft.com/office/powerpoint/2019/9/main/command">
                <pc:docMk/>
                <pc:sldMk cId="3919877977" sldId="951"/>
                <pc2:cmMk id="{DEEB522C-7CB1-41CA-8DF4-0025ECCCD571}"/>
              </pc2:cmMkLst>
            </pc226:cmChg>
            <pc226:cmChg xmlns:pc226="http://schemas.microsoft.com/office/powerpoint/2022/06/main/command" chg="mod">
              <pc226:chgData name="Nataliia Chornii (UA)" userId="4e4b8b3d-5f31-49bb-9f80-8a25c04abfff" providerId="ADAL" clId="{EE97D3FE-9ACA-4467-98E5-532EC45D9D1C}" dt="2024-03-04T12:56:00.230" v="23227"/>
              <pc2:cmMkLst xmlns:pc2="http://schemas.microsoft.com/office/powerpoint/2019/9/main/command">
                <pc:docMk/>
                <pc:sldMk cId="3919877977" sldId="951"/>
                <pc2:cmMk id="{85CB2ACB-F07F-45B5-89ED-DD3C5C9375B3}"/>
              </pc2:cmMkLst>
            </pc226:cmChg>
          </p:ext>
        </pc:extLst>
      </pc:sldChg>
      <pc:sldChg chg="addSp delSp modSp mod modCm">
        <pc:chgData name="Nataliia Chornii (UA)" userId="4e4b8b3d-5f31-49bb-9f80-8a25c04abfff" providerId="ADAL" clId="{EE97D3FE-9ACA-4467-98E5-532EC45D9D1C}" dt="2024-03-11T14:27:51.677" v="24134" actId="164"/>
        <pc:sldMkLst>
          <pc:docMk/>
          <pc:sldMk cId="1713450018" sldId="952"/>
        </pc:sldMkLst>
        <pc:spChg chg="add mod">
          <ac:chgData name="Nataliia Chornii (UA)" userId="4e4b8b3d-5f31-49bb-9f80-8a25c04abfff" providerId="ADAL" clId="{EE97D3FE-9ACA-4467-98E5-532EC45D9D1C}" dt="2024-03-11T14:27:13.849" v="24121"/>
          <ac:spMkLst>
            <pc:docMk/>
            <pc:sldMk cId="1713450018" sldId="952"/>
            <ac:spMk id="2" creationId="{8AECEEF7-147C-69E9-7E85-66789CF569A3}"/>
          </ac:spMkLst>
        </pc:spChg>
        <pc:spChg chg="mod topLvl">
          <ac:chgData name="Nataliia Chornii (UA)" userId="4e4b8b3d-5f31-49bb-9f80-8a25c04abfff" providerId="ADAL" clId="{EE97D3FE-9ACA-4467-98E5-532EC45D9D1C}" dt="2024-03-11T14:27:51.677" v="24134" actId="164"/>
          <ac:spMkLst>
            <pc:docMk/>
            <pc:sldMk cId="1713450018" sldId="952"/>
            <ac:spMk id="4" creationId="{94F88B90-71DF-CB0B-C0DB-103040ABD828}"/>
          </ac:spMkLst>
        </pc:spChg>
        <pc:spChg chg="mod topLvl">
          <ac:chgData name="Nataliia Chornii (UA)" userId="4e4b8b3d-5f31-49bb-9f80-8a25c04abfff" providerId="ADAL" clId="{EE97D3FE-9ACA-4467-98E5-532EC45D9D1C}" dt="2024-03-11T14:27:51.677" v="24134" actId="164"/>
          <ac:spMkLst>
            <pc:docMk/>
            <pc:sldMk cId="1713450018" sldId="952"/>
            <ac:spMk id="5" creationId="{9D24C125-C618-6790-4D00-61A80DDD6B9D}"/>
          </ac:spMkLst>
        </pc:spChg>
        <pc:spChg chg="mod topLvl">
          <ac:chgData name="Nataliia Chornii (UA)" userId="4e4b8b3d-5f31-49bb-9f80-8a25c04abfff" providerId="ADAL" clId="{EE97D3FE-9ACA-4467-98E5-532EC45D9D1C}" dt="2024-03-11T14:27:51.677" v="24134" actId="164"/>
          <ac:spMkLst>
            <pc:docMk/>
            <pc:sldMk cId="1713450018" sldId="952"/>
            <ac:spMk id="8" creationId="{7644DD63-5811-99E1-647A-595A8918858E}"/>
          </ac:spMkLst>
        </pc:spChg>
        <pc:spChg chg="mod topLvl">
          <ac:chgData name="Nataliia Chornii (UA)" userId="4e4b8b3d-5f31-49bb-9f80-8a25c04abfff" providerId="ADAL" clId="{EE97D3FE-9ACA-4467-98E5-532EC45D9D1C}" dt="2024-03-11T14:27:51.677" v="24134" actId="164"/>
          <ac:spMkLst>
            <pc:docMk/>
            <pc:sldMk cId="1713450018" sldId="952"/>
            <ac:spMk id="9" creationId="{DBDE7AC3-D08B-9A3D-1C99-C78111D41ABC}"/>
          </ac:spMkLst>
        </pc:spChg>
        <pc:spChg chg="mod">
          <ac:chgData name="Nataliia Chornii (UA)" userId="4e4b8b3d-5f31-49bb-9f80-8a25c04abfff" providerId="ADAL" clId="{EE97D3FE-9ACA-4467-98E5-532EC45D9D1C}" dt="2024-03-04T09:46:57.644" v="19813" actId="207"/>
          <ac:spMkLst>
            <pc:docMk/>
            <pc:sldMk cId="1713450018" sldId="952"/>
            <ac:spMk id="11" creationId="{E0158CBF-80D1-8041-5978-AE6FC3BEB22F}"/>
          </ac:spMkLst>
        </pc:spChg>
        <pc:spChg chg="mod topLvl">
          <ac:chgData name="Nataliia Chornii (UA)" userId="4e4b8b3d-5f31-49bb-9f80-8a25c04abfff" providerId="ADAL" clId="{EE97D3FE-9ACA-4467-98E5-532EC45D9D1C}" dt="2024-03-11T14:27:51.677" v="24134" actId="164"/>
          <ac:spMkLst>
            <pc:docMk/>
            <pc:sldMk cId="1713450018" sldId="952"/>
            <ac:spMk id="12" creationId="{D5A08CA3-F120-5E05-B055-BFCCCC1962A8}"/>
          </ac:spMkLst>
        </pc:spChg>
        <pc:spChg chg="mod topLvl">
          <ac:chgData name="Nataliia Chornii (UA)" userId="4e4b8b3d-5f31-49bb-9f80-8a25c04abfff" providerId="ADAL" clId="{EE97D3FE-9ACA-4467-98E5-532EC45D9D1C}" dt="2024-03-11T14:27:51.677" v="24134" actId="164"/>
          <ac:spMkLst>
            <pc:docMk/>
            <pc:sldMk cId="1713450018" sldId="952"/>
            <ac:spMk id="13" creationId="{861DE81F-8637-BBE0-7241-48E15C38E7A7}"/>
          </ac:spMkLst>
        </pc:spChg>
        <pc:grpChg chg="add del mod">
          <ac:chgData name="Nataliia Chornii (UA)" userId="4e4b8b3d-5f31-49bb-9f80-8a25c04abfff" providerId="ADAL" clId="{EE97D3FE-9ACA-4467-98E5-532EC45D9D1C}" dt="2024-03-11T14:27:20.649" v="24122" actId="165"/>
          <ac:grpSpMkLst>
            <pc:docMk/>
            <pc:sldMk cId="1713450018" sldId="952"/>
            <ac:grpSpMk id="3" creationId="{7382DFA6-7E76-6A81-337C-3814754C7C92}"/>
          </ac:grpSpMkLst>
        </pc:grpChg>
        <pc:grpChg chg="add del mod">
          <ac:chgData name="Nataliia Chornii (UA)" userId="4e4b8b3d-5f31-49bb-9f80-8a25c04abfff" providerId="ADAL" clId="{EE97D3FE-9ACA-4467-98E5-532EC45D9D1C}" dt="2024-03-11T14:27:35.094" v="24127" actId="165"/>
          <ac:grpSpMkLst>
            <pc:docMk/>
            <pc:sldMk cId="1713450018" sldId="952"/>
            <ac:grpSpMk id="14" creationId="{75D4CBEC-926B-30EB-35BB-F642785F365D}"/>
          </ac:grpSpMkLst>
        </pc:grpChg>
        <pc:grpChg chg="add mod">
          <ac:chgData name="Nataliia Chornii (UA)" userId="4e4b8b3d-5f31-49bb-9f80-8a25c04abfff" providerId="ADAL" clId="{EE97D3FE-9ACA-4467-98E5-532EC45D9D1C}" dt="2024-03-11T14:27:51.677" v="24134" actId="164"/>
          <ac:grpSpMkLst>
            <pc:docMk/>
            <pc:sldMk cId="1713450018" sldId="952"/>
            <ac:grpSpMk id="15" creationId="{388FE7B1-ADE2-6B6B-234C-B8C1E1FB8F5A}"/>
          </ac:grpSpMkLst>
        </pc:grpChg>
        <pc:graphicFrameChg chg="mod modGraphic">
          <ac:chgData name="Nataliia Chornii (UA)" userId="4e4b8b3d-5f31-49bb-9f80-8a25c04abfff" providerId="ADAL" clId="{EE97D3FE-9ACA-4467-98E5-532EC45D9D1C}" dt="2024-03-04T09:48:30.686" v="19842" actId="572"/>
          <ac:graphicFrameMkLst>
            <pc:docMk/>
            <pc:sldMk cId="1713450018" sldId="952"/>
            <ac:graphicFrameMk id="10" creationId="{DD430830-1913-0D22-CCB5-64EB0C593545}"/>
          </ac:graphicFrameMkLst>
        </pc:graphicFrame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56:07.499" v="23229"/>
              <pc2:cmMkLst xmlns:pc2="http://schemas.microsoft.com/office/powerpoint/2019/9/main/command">
                <pc:docMk/>
                <pc:sldMk cId="1713450018" sldId="952"/>
                <pc2:cmMk id="{8A22812F-5AB0-4E9E-AD91-0EE4F777EC6D}"/>
              </pc2:cmMkLst>
            </pc226:cmChg>
          </p:ext>
        </pc:extLst>
      </pc:sldChg>
      <pc:sldChg chg="addSp delSp modSp mod modCm">
        <pc:chgData name="Nataliia Chornii (UA)" userId="4e4b8b3d-5f31-49bb-9f80-8a25c04abfff" providerId="ADAL" clId="{EE97D3FE-9ACA-4467-98E5-532EC45D9D1C}" dt="2024-03-04T12:56:03.661" v="23228"/>
        <pc:sldMkLst>
          <pc:docMk/>
          <pc:sldMk cId="2937916867" sldId="953"/>
        </pc:sldMkLst>
        <pc:spChg chg="mod ord">
          <ac:chgData name="Nataliia Chornii (UA)" userId="4e4b8b3d-5f31-49bb-9f80-8a25c04abfff" providerId="ADAL" clId="{EE97D3FE-9ACA-4467-98E5-532EC45D9D1C}" dt="2024-03-04T12:53:01.705" v="22914"/>
          <ac:spMkLst>
            <pc:docMk/>
            <pc:sldMk cId="2937916867" sldId="953"/>
            <ac:spMk id="2" creationId="{00000000-0000-0000-0000-000000000000}"/>
          </ac:spMkLst>
        </pc:spChg>
        <pc:spChg chg="add del mod">
          <ac:chgData name="Nataliia Chornii (UA)" userId="4e4b8b3d-5f31-49bb-9f80-8a25c04abfff" providerId="ADAL" clId="{EE97D3FE-9ACA-4467-98E5-532EC45D9D1C}" dt="2024-03-04T12:53:00.701" v="22888" actId="931"/>
          <ac:spMkLst>
            <pc:docMk/>
            <pc:sldMk cId="2937916867" sldId="953"/>
            <ac:spMk id="4" creationId="{3197C095-DB78-0537-8CA7-44FDC7DEFBE2}"/>
          </ac:spMkLst>
        </pc:spChg>
        <pc:spChg chg="add del mod modVis">
          <ac:chgData name="Nataliia Chornii (UA)" userId="4e4b8b3d-5f31-49bb-9f80-8a25c04abfff" providerId="ADAL" clId="{EE97D3FE-9ACA-4467-98E5-532EC45D9D1C}" dt="2024-03-04T12:53:01.710" v="22928"/>
          <ac:spMkLst>
            <pc:docMk/>
            <pc:sldMk cId="2937916867" sldId="953"/>
            <ac:spMk id="7" creationId="{35D73A45-5ADE-3F1C-9538-A0B2877C9E84}"/>
          </ac:spMkLst>
        </pc:spChg>
        <pc:spChg chg="mod ord">
          <ac:chgData name="Nataliia Chornii (UA)" userId="4e4b8b3d-5f31-49bb-9f80-8a25c04abfff" providerId="ADAL" clId="{EE97D3FE-9ACA-4467-98E5-532EC45D9D1C}" dt="2024-03-04T12:53:01.705" v="22912"/>
          <ac:spMkLst>
            <pc:docMk/>
            <pc:sldMk cId="2937916867" sldId="953"/>
            <ac:spMk id="20" creationId="{DA4789A9-B8AF-52BF-5DEF-333466FE31C0}"/>
          </ac:spMkLst>
        </pc:spChg>
        <pc:spChg chg="mod ord">
          <ac:chgData name="Nataliia Chornii (UA)" userId="4e4b8b3d-5f31-49bb-9f80-8a25c04abfff" providerId="ADAL" clId="{EE97D3FE-9ACA-4467-98E5-532EC45D9D1C}" dt="2024-03-04T12:53:01.705" v="22916"/>
          <ac:spMkLst>
            <pc:docMk/>
            <pc:sldMk cId="2937916867" sldId="953"/>
            <ac:spMk id="22" creationId="{DA09306E-3C26-7BF8-5FB5-F7E3D80F89C9}"/>
          </ac:spMkLst>
        </pc:spChg>
        <pc:spChg chg="mod ord">
          <ac:chgData name="Nataliia Chornii (UA)" userId="4e4b8b3d-5f31-49bb-9f80-8a25c04abfff" providerId="ADAL" clId="{EE97D3FE-9ACA-4467-98E5-532EC45D9D1C}" dt="2024-03-04T12:53:01.705" v="22918"/>
          <ac:spMkLst>
            <pc:docMk/>
            <pc:sldMk cId="2937916867" sldId="953"/>
            <ac:spMk id="23" creationId="{B97F3C75-3AEC-3E9F-4D71-CA8C30F9835E}"/>
          </ac:spMkLst>
        </pc:spChg>
        <pc:spChg chg="mod ord">
          <ac:chgData name="Nataliia Chornii (UA)" userId="4e4b8b3d-5f31-49bb-9f80-8a25c04abfff" providerId="ADAL" clId="{EE97D3FE-9ACA-4467-98E5-532EC45D9D1C}" dt="2024-03-04T12:53:01.705" v="22920"/>
          <ac:spMkLst>
            <pc:docMk/>
            <pc:sldMk cId="2937916867" sldId="953"/>
            <ac:spMk id="24" creationId="{E15793DA-AFC4-2E3B-FDAA-EF33B0365B71}"/>
          </ac:spMkLst>
        </pc:spChg>
        <pc:spChg chg="mod ord">
          <ac:chgData name="Nataliia Chornii (UA)" userId="4e4b8b3d-5f31-49bb-9f80-8a25c04abfff" providerId="ADAL" clId="{EE97D3FE-9ACA-4467-98E5-532EC45D9D1C}" dt="2024-03-04T12:53:01.710" v="22922"/>
          <ac:spMkLst>
            <pc:docMk/>
            <pc:sldMk cId="2937916867" sldId="953"/>
            <ac:spMk id="25" creationId="{BFEDB8CC-ED47-80DF-F3C0-E0FEEBA29F85}"/>
          </ac:spMkLst>
        </pc:spChg>
        <pc:spChg chg="mod ord">
          <ac:chgData name="Nataliia Chornii (UA)" userId="4e4b8b3d-5f31-49bb-9f80-8a25c04abfff" providerId="ADAL" clId="{EE97D3FE-9ACA-4467-98E5-532EC45D9D1C}" dt="2024-03-04T12:53:01.710" v="22924"/>
          <ac:spMkLst>
            <pc:docMk/>
            <pc:sldMk cId="2937916867" sldId="953"/>
            <ac:spMk id="26" creationId="{05E5DEE3-D3C2-1E81-B086-939B3E36E0E1}"/>
          </ac:spMkLst>
        </pc:spChg>
        <pc:graphicFrameChg chg="mod">
          <ac:chgData name="Nataliia Chornii (UA)" userId="4e4b8b3d-5f31-49bb-9f80-8a25c04abfff" providerId="ADAL" clId="{EE97D3FE-9ACA-4467-98E5-532EC45D9D1C}" dt="2024-03-04T12:53:01.715" v="22930"/>
          <ac:graphicFrameMkLst>
            <pc:docMk/>
            <pc:sldMk cId="2937916867" sldId="953"/>
            <ac:graphicFrameMk id="16" creationId="{8B5F8EBF-52CC-2EDB-41E8-3667D4E9C17E}"/>
          </ac:graphicFrameMkLst>
        </pc:graphicFrameChg>
        <pc:picChg chg="add mod ord">
          <ac:chgData name="Nataliia Chornii (UA)" userId="4e4b8b3d-5f31-49bb-9f80-8a25c04abfff" providerId="ADAL" clId="{EE97D3FE-9ACA-4467-98E5-532EC45D9D1C}" dt="2024-03-04T12:53:01.705" v="22910"/>
          <ac:picMkLst>
            <pc:docMk/>
            <pc:sldMk cId="2937916867" sldId="953"/>
            <ac:picMk id="6" creationId="{B93D0FA8-7084-38F8-C9F0-6E8EA50695F6}"/>
          </ac:picMkLst>
        </pc:picChg>
        <pc:picChg chg="del">
          <ac:chgData name="Nataliia Chornii (UA)" userId="4e4b8b3d-5f31-49bb-9f80-8a25c04abfff" providerId="ADAL" clId="{EE97D3FE-9ACA-4467-98E5-532EC45D9D1C}" dt="2024-03-04T12:52:44.363" v="22887" actId="478"/>
          <ac:picMkLst>
            <pc:docMk/>
            <pc:sldMk cId="2937916867" sldId="953"/>
            <ac:picMk id="13" creationId="{E7EEA787-A341-92D1-60ED-BDC23F0EF401}"/>
          </ac:picMkLst>
        </pc:pic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56:03.661" v="23228"/>
              <pc2:cmMkLst xmlns:pc2="http://schemas.microsoft.com/office/powerpoint/2019/9/main/command">
                <pc:docMk/>
                <pc:sldMk cId="2937916867" sldId="953"/>
                <pc2:cmMk id="{C1EC82F6-EF9F-4CA6-8F57-9EF24A3D4FCA}"/>
              </pc2:cmMkLst>
            </pc226:cmChg>
          </p:ext>
        </pc:extLst>
      </pc:sldChg>
      <pc:sldChg chg="addSp delSp modSp mod">
        <pc:chgData name="Nataliia Chornii (UA)" userId="4e4b8b3d-5f31-49bb-9f80-8a25c04abfff" providerId="ADAL" clId="{EE97D3FE-9ACA-4467-98E5-532EC45D9D1C}" dt="2024-03-11T14:25:37.526" v="24079" actId="164"/>
        <pc:sldMkLst>
          <pc:docMk/>
          <pc:sldMk cId="3292995886" sldId="954"/>
        </pc:sldMkLst>
        <pc:spChg chg="add mod">
          <ac:chgData name="Nataliia Chornii (UA)" userId="4e4b8b3d-5f31-49bb-9f80-8a25c04abfff" providerId="ADAL" clId="{EE97D3FE-9ACA-4467-98E5-532EC45D9D1C}" dt="2024-03-11T14:24:14.102" v="24056"/>
          <ac:spMkLst>
            <pc:docMk/>
            <pc:sldMk cId="3292995886" sldId="954"/>
            <ac:spMk id="3" creationId="{D62443EF-1EFB-C495-F9E8-EE05C6033CA3}"/>
          </ac:spMkLst>
        </pc:spChg>
        <pc:spChg chg="mod topLvl">
          <ac:chgData name="Nataliia Chornii (UA)" userId="4e4b8b3d-5f31-49bb-9f80-8a25c04abfff" providerId="ADAL" clId="{EE97D3FE-9ACA-4467-98E5-532EC45D9D1C}" dt="2024-03-11T14:25:37.526" v="24079" actId="164"/>
          <ac:spMkLst>
            <pc:docMk/>
            <pc:sldMk cId="3292995886" sldId="954"/>
            <ac:spMk id="5" creationId="{8A63010A-ECC5-CF16-9026-675C22212CDD}"/>
          </ac:spMkLst>
        </pc:spChg>
        <pc:spChg chg="mod topLvl">
          <ac:chgData name="Nataliia Chornii (UA)" userId="4e4b8b3d-5f31-49bb-9f80-8a25c04abfff" providerId="ADAL" clId="{EE97D3FE-9ACA-4467-98E5-532EC45D9D1C}" dt="2024-03-11T14:25:37.526" v="24079" actId="164"/>
          <ac:spMkLst>
            <pc:docMk/>
            <pc:sldMk cId="3292995886" sldId="954"/>
            <ac:spMk id="6" creationId="{8BA343BD-9605-1DC6-DA98-2F9D3AC08DE4}"/>
          </ac:spMkLst>
        </pc:spChg>
        <pc:spChg chg="mod topLvl">
          <ac:chgData name="Nataliia Chornii (UA)" userId="4e4b8b3d-5f31-49bb-9f80-8a25c04abfff" providerId="ADAL" clId="{EE97D3FE-9ACA-4467-98E5-532EC45D9D1C}" dt="2024-03-11T14:25:37.526" v="24079" actId="164"/>
          <ac:spMkLst>
            <pc:docMk/>
            <pc:sldMk cId="3292995886" sldId="954"/>
            <ac:spMk id="7" creationId="{3D8E8461-D203-C9FB-A585-EB1E1E7F2337}"/>
          </ac:spMkLst>
        </pc:spChg>
        <pc:spChg chg="mod topLvl">
          <ac:chgData name="Nataliia Chornii (UA)" userId="4e4b8b3d-5f31-49bb-9f80-8a25c04abfff" providerId="ADAL" clId="{EE97D3FE-9ACA-4467-98E5-532EC45D9D1C}" dt="2024-03-11T14:25:37.526" v="24079" actId="164"/>
          <ac:spMkLst>
            <pc:docMk/>
            <pc:sldMk cId="3292995886" sldId="954"/>
            <ac:spMk id="8" creationId="{4C91119E-C842-62DC-C140-5B1BA09FD901}"/>
          </ac:spMkLst>
        </pc:spChg>
        <pc:spChg chg="mod topLvl">
          <ac:chgData name="Nataliia Chornii (UA)" userId="4e4b8b3d-5f31-49bb-9f80-8a25c04abfff" providerId="ADAL" clId="{EE97D3FE-9ACA-4467-98E5-532EC45D9D1C}" dt="2024-03-11T14:25:37.526" v="24079" actId="164"/>
          <ac:spMkLst>
            <pc:docMk/>
            <pc:sldMk cId="3292995886" sldId="954"/>
            <ac:spMk id="10" creationId="{C567299E-DFD6-0AB6-D527-CB736DD459CE}"/>
          </ac:spMkLst>
        </pc:spChg>
        <pc:spChg chg="mod topLvl">
          <ac:chgData name="Nataliia Chornii (UA)" userId="4e4b8b3d-5f31-49bb-9f80-8a25c04abfff" providerId="ADAL" clId="{EE97D3FE-9ACA-4467-98E5-532EC45D9D1C}" dt="2024-03-11T14:25:37.526" v="24079" actId="164"/>
          <ac:spMkLst>
            <pc:docMk/>
            <pc:sldMk cId="3292995886" sldId="954"/>
            <ac:spMk id="11" creationId="{8058A796-545C-68C0-9520-000E351FC181}"/>
          </ac:spMkLst>
        </pc:spChg>
        <pc:grpChg chg="add del mod">
          <ac:chgData name="Nataliia Chornii (UA)" userId="4e4b8b3d-5f31-49bb-9f80-8a25c04abfff" providerId="ADAL" clId="{EE97D3FE-9ACA-4467-98E5-532EC45D9D1C}" dt="2024-03-11T14:24:44.398" v="24061" actId="165"/>
          <ac:grpSpMkLst>
            <pc:docMk/>
            <pc:sldMk cId="3292995886" sldId="954"/>
            <ac:grpSpMk id="4" creationId="{1053257F-36B4-12CC-8C6F-E5183D808744}"/>
          </ac:grpSpMkLst>
        </pc:grpChg>
        <pc:grpChg chg="add del mod">
          <ac:chgData name="Nataliia Chornii (UA)" userId="4e4b8b3d-5f31-49bb-9f80-8a25c04abfff" providerId="ADAL" clId="{EE97D3FE-9ACA-4467-98E5-532EC45D9D1C}" dt="2024-03-11T14:25:33.394" v="24077" actId="165"/>
          <ac:grpSpMkLst>
            <pc:docMk/>
            <pc:sldMk cId="3292995886" sldId="954"/>
            <ac:grpSpMk id="12" creationId="{D208A9CC-E406-1E60-AF42-1AFC964ADFB1}"/>
          </ac:grpSpMkLst>
        </pc:grpChg>
        <pc:grpChg chg="add mod">
          <ac:chgData name="Nataliia Chornii (UA)" userId="4e4b8b3d-5f31-49bb-9f80-8a25c04abfff" providerId="ADAL" clId="{EE97D3FE-9ACA-4467-98E5-532EC45D9D1C}" dt="2024-03-11T14:25:37.526" v="24079" actId="164"/>
          <ac:grpSpMkLst>
            <pc:docMk/>
            <pc:sldMk cId="3292995886" sldId="954"/>
            <ac:grpSpMk id="22" creationId="{029284BD-D69B-333C-611F-3BAFCA29827D}"/>
          </ac:grpSpMkLst>
        </pc:grpChg>
      </pc:sldChg>
      <pc:sldChg chg="addSp delSp modSp mod">
        <pc:chgData name="Nataliia Chornii (UA)" userId="4e4b8b3d-5f31-49bb-9f80-8a25c04abfff" providerId="ADAL" clId="{EE97D3FE-9ACA-4467-98E5-532EC45D9D1C}" dt="2024-03-11T14:30:40.474" v="24267"/>
        <pc:sldMkLst>
          <pc:docMk/>
          <pc:sldMk cId="1412199469" sldId="955"/>
        </pc:sldMkLst>
        <pc:spChg chg="add mod">
          <ac:chgData name="Nataliia Chornii (UA)" userId="4e4b8b3d-5f31-49bb-9f80-8a25c04abfff" providerId="ADAL" clId="{EE97D3FE-9ACA-4467-98E5-532EC45D9D1C}" dt="2024-03-11T14:26:22.813" v="24095"/>
          <ac:spMkLst>
            <pc:docMk/>
            <pc:sldMk cId="1412199469" sldId="955"/>
            <ac:spMk id="2" creationId="{F6C265BC-6B33-2568-4CB2-CB3E90787181}"/>
          </ac:spMkLst>
        </pc:spChg>
        <pc:spChg chg="del">
          <ac:chgData name="Nataliia Chornii (UA)" userId="4e4b8b3d-5f31-49bb-9f80-8a25c04abfff" providerId="ADAL" clId="{EE97D3FE-9ACA-4467-98E5-532EC45D9D1C}" dt="2024-03-11T14:30:39.809" v="24266" actId="478"/>
          <ac:spMkLst>
            <pc:docMk/>
            <pc:sldMk cId="1412199469" sldId="955"/>
            <ac:spMk id="23" creationId="{F0F92295-EBAE-39D7-7494-D9035179A285}"/>
          </ac:spMkLst>
        </pc:spChg>
        <pc:spChg chg="mod">
          <ac:chgData name="Nataliia Chornii (UA)" userId="4e4b8b3d-5f31-49bb-9f80-8a25c04abfff" providerId="ADAL" clId="{EE97D3FE-9ACA-4467-98E5-532EC45D9D1C}" dt="2024-03-11T14:26:22.813" v="24095"/>
          <ac:spMkLst>
            <pc:docMk/>
            <pc:sldMk cId="1412199469" sldId="955"/>
            <ac:spMk id="24" creationId="{171043E3-E4B5-EACB-B9FB-3B1B8A5877B0}"/>
          </ac:spMkLst>
        </pc:spChg>
        <pc:spChg chg="mod">
          <ac:chgData name="Nataliia Chornii (UA)" userId="4e4b8b3d-5f31-49bb-9f80-8a25c04abfff" providerId="ADAL" clId="{EE97D3FE-9ACA-4467-98E5-532EC45D9D1C}" dt="2024-03-11T14:26:22.813" v="24095"/>
          <ac:spMkLst>
            <pc:docMk/>
            <pc:sldMk cId="1412199469" sldId="955"/>
            <ac:spMk id="27" creationId="{45FB2097-C638-B1B0-9ABF-F91EAC8E9F96}"/>
          </ac:spMkLst>
        </pc:spChg>
        <pc:spChg chg="mod">
          <ac:chgData name="Nataliia Chornii (UA)" userId="4e4b8b3d-5f31-49bb-9f80-8a25c04abfff" providerId="ADAL" clId="{EE97D3FE-9ACA-4467-98E5-532EC45D9D1C}" dt="2024-03-11T14:26:22.813" v="24095"/>
          <ac:spMkLst>
            <pc:docMk/>
            <pc:sldMk cId="1412199469" sldId="955"/>
            <ac:spMk id="28" creationId="{3168BB31-8384-7D1C-CD53-3279D50C00AF}"/>
          </ac:spMkLst>
        </pc:spChg>
        <pc:spChg chg="mod">
          <ac:chgData name="Nataliia Chornii (UA)" userId="4e4b8b3d-5f31-49bb-9f80-8a25c04abfff" providerId="ADAL" clId="{EE97D3FE-9ACA-4467-98E5-532EC45D9D1C}" dt="2024-03-11T14:26:22.813" v="24095"/>
          <ac:spMkLst>
            <pc:docMk/>
            <pc:sldMk cId="1412199469" sldId="955"/>
            <ac:spMk id="29" creationId="{CA51E370-AA15-BAB0-B285-AD33EDE3A3B6}"/>
          </ac:spMkLst>
        </pc:spChg>
        <pc:spChg chg="mod">
          <ac:chgData name="Nataliia Chornii (UA)" userId="4e4b8b3d-5f31-49bb-9f80-8a25c04abfff" providerId="ADAL" clId="{EE97D3FE-9ACA-4467-98E5-532EC45D9D1C}" dt="2024-03-11T14:26:22.813" v="24095"/>
          <ac:spMkLst>
            <pc:docMk/>
            <pc:sldMk cId="1412199469" sldId="955"/>
            <ac:spMk id="30" creationId="{C300C3F9-D20F-A10A-D074-05BA8AB079D3}"/>
          </ac:spMkLst>
        </pc:spChg>
        <pc:spChg chg="mod">
          <ac:chgData name="Nataliia Chornii (UA)" userId="4e4b8b3d-5f31-49bb-9f80-8a25c04abfff" providerId="ADAL" clId="{EE97D3FE-9ACA-4467-98E5-532EC45D9D1C}" dt="2024-03-11T14:26:22.813" v="24095"/>
          <ac:spMkLst>
            <pc:docMk/>
            <pc:sldMk cId="1412199469" sldId="955"/>
            <ac:spMk id="31" creationId="{62FC0606-5D1E-CD74-F074-D5D6ADFAFBA6}"/>
          </ac:spMkLst>
        </pc:spChg>
        <pc:spChg chg="add mod">
          <ac:chgData name="Nataliia Chornii (UA)" userId="4e4b8b3d-5f31-49bb-9f80-8a25c04abfff" providerId="ADAL" clId="{EE97D3FE-9ACA-4467-98E5-532EC45D9D1C}" dt="2024-03-11T14:30:40.474" v="24267"/>
          <ac:spMkLst>
            <pc:docMk/>
            <pc:sldMk cId="1412199469" sldId="955"/>
            <ac:spMk id="32" creationId="{7738C859-5BA4-360E-3066-83149ED83084}"/>
          </ac:spMkLst>
        </pc:spChg>
        <pc:grpChg chg="add mod">
          <ac:chgData name="Nataliia Chornii (UA)" userId="4e4b8b3d-5f31-49bb-9f80-8a25c04abfff" providerId="ADAL" clId="{EE97D3FE-9ACA-4467-98E5-532EC45D9D1C}" dt="2024-03-11T14:26:22.813" v="24095"/>
          <ac:grpSpMkLst>
            <pc:docMk/>
            <pc:sldMk cId="1412199469" sldId="955"/>
            <ac:grpSpMk id="19" creationId="{3F22BA96-AA18-CEC1-EBBB-A746583F03FD}"/>
          </ac:grpSpMkLst>
        </pc:grpChg>
      </pc:sldChg>
      <pc:sldChg chg="addSp delSp modSp mod">
        <pc:chgData name="Nataliia Chornii (UA)" userId="4e4b8b3d-5f31-49bb-9f80-8a25c04abfff" providerId="ADAL" clId="{EE97D3FE-9ACA-4467-98E5-532EC45D9D1C}" dt="2024-03-11T14:33:38.085" v="24701"/>
        <pc:sldMkLst>
          <pc:docMk/>
          <pc:sldMk cId="24755804" sldId="956"/>
        </pc:sldMkLst>
        <pc:spChg chg="mod ord">
          <ac:chgData name="Nataliia Chornii (UA)" userId="4e4b8b3d-5f31-49bb-9f80-8a25c04abfff" providerId="ADAL" clId="{EE97D3FE-9ACA-4467-98E5-532EC45D9D1C}" dt="2024-03-11T14:33:36.470" v="24683"/>
          <ac:spMkLst>
            <pc:docMk/>
            <pc:sldMk cId="24755804" sldId="956"/>
            <ac:spMk id="2" creationId="{5F735A8C-4418-CDE7-FDAD-A62BB616594E}"/>
          </ac:spMkLst>
        </pc:spChg>
        <pc:spChg chg="mod ord">
          <ac:chgData name="Nataliia Chornii (UA)" userId="4e4b8b3d-5f31-49bb-9f80-8a25c04abfff" providerId="ADAL" clId="{EE97D3FE-9ACA-4467-98E5-532EC45D9D1C}" dt="2024-03-11T14:33:36.469" v="24663"/>
          <ac:spMkLst>
            <pc:docMk/>
            <pc:sldMk cId="24755804" sldId="956"/>
            <ac:spMk id="3" creationId="{F4CCF02E-F3C4-C376-8F56-61BD85A2E74B}"/>
          </ac:spMkLst>
        </pc:spChg>
        <pc:spChg chg="mod ord">
          <ac:chgData name="Nataliia Chornii (UA)" userId="4e4b8b3d-5f31-49bb-9f80-8a25c04abfff" providerId="ADAL" clId="{EE97D3FE-9ACA-4467-98E5-532EC45D9D1C}" dt="2024-03-11T14:33:36.470" v="24665"/>
          <ac:spMkLst>
            <pc:docMk/>
            <pc:sldMk cId="24755804" sldId="956"/>
            <ac:spMk id="4" creationId="{872966CD-924A-B939-E655-A6BAF817DCBF}"/>
          </ac:spMkLst>
        </pc:spChg>
        <pc:spChg chg="add mod ord">
          <ac:chgData name="Nataliia Chornii (UA)" userId="4e4b8b3d-5f31-49bb-9f80-8a25c04abfff" providerId="ADAL" clId="{EE97D3FE-9ACA-4467-98E5-532EC45D9D1C}" dt="2024-03-11T14:33:36.470" v="24693"/>
          <ac:spMkLst>
            <pc:docMk/>
            <pc:sldMk cId="24755804" sldId="956"/>
            <ac:spMk id="5" creationId="{EB967AEA-19FF-FABD-FC4E-FAD41244D157}"/>
          </ac:spMkLst>
        </pc:spChg>
        <pc:spChg chg="del mod ord">
          <ac:chgData name="Nataliia Chornii (UA)" userId="4e4b8b3d-5f31-49bb-9f80-8a25c04abfff" providerId="ADAL" clId="{EE97D3FE-9ACA-4467-98E5-532EC45D9D1C}" dt="2024-03-11T14:33:37.738" v="24700" actId="478"/>
          <ac:spMkLst>
            <pc:docMk/>
            <pc:sldMk cId="24755804" sldId="956"/>
            <ac:spMk id="6" creationId="{898887DF-9190-F283-B120-8AE08B7645FA}"/>
          </ac:spMkLst>
        </pc:spChg>
        <pc:spChg chg="mod ord">
          <ac:chgData name="Nataliia Chornii (UA)" userId="4e4b8b3d-5f31-49bb-9f80-8a25c04abfff" providerId="ADAL" clId="{EE97D3FE-9ACA-4467-98E5-532EC45D9D1C}" dt="2024-03-11T14:33:36.470" v="24681"/>
          <ac:spMkLst>
            <pc:docMk/>
            <pc:sldMk cId="24755804" sldId="956"/>
            <ac:spMk id="8" creationId="{8F84A1C1-A3B2-78F7-2F05-EA937E442831}"/>
          </ac:spMkLst>
        </pc:spChg>
        <pc:spChg chg="mod ord">
          <ac:chgData name="Nataliia Chornii (UA)" userId="4e4b8b3d-5f31-49bb-9f80-8a25c04abfff" providerId="ADAL" clId="{EE97D3FE-9ACA-4467-98E5-532EC45D9D1C}" dt="2024-03-11T14:33:36.454" v="24661"/>
          <ac:spMkLst>
            <pc:docMk/>
            <pc:sldMk cId="24755804" sldId="956"/>
            <ac:spMk id="11" creationId="{89FDF566-1B64-38B3-9A69-C39598C84744}"/>
          </ac:spMkLst>
        </pc:spChg>
        <pc:spChg chg="mod">
          <ac:chgData name="Nataliia Chornii (UA)" userId="4e4b8b3d-5f31-49bb-9f80-8a25c04abfff" providerId="ADAL" clId="{EE97D3FE-9ACA-4467-98E5-532EC45D9D1C}" dt="2024-03-11T14:26:47.450" v="24105"/>
          <ac:spMkLst>
            <pc:docMk/>
            <pc:sldMk cId="24755804" sldId="956"/>
            <ac:spMk id="13" creationId="{C5C55D63-2BDF-6990-83F2-F376B7A915CD}"/>
          </ac:spMkLst>
        </pc:spChg>
        <pc:spChg chg="mod">
          <ac:chgData name="Nataliia Chornii (UA)" userId="4e4b8b3d-5f31-49bb-9f80-8a25c04abfff" providerId="ADAL" clId="{EE97D3FE-9ACA-4467-98E5-532EC45D9D1C}" dt="2024-03-11T14:26:47.450" v="24105"/>
          <ac:spMkLst>
            <pc:docMk/>
            <pc:sldMk cId="24755804" sldId="956"/>
            <ac:spMk id="14" creationId="{6B10FD2F-1F55-88C6-48BD-B7AEE8D1DC67}"/>
          </ac:spMkLst>
        </pc:spChg>
        <pc:spChg chg="mod">
          <ac:chgData name="Nataliia Chornii (UA)" userId="4e4b8b3d-5f31-49bb-9f80-8a25c04abfff" providerId="ADAL" clId="{EE97D3FE-9ACA-4467-98E5-532EC45D9D1C}" dt="2024-03-11T14:26:47.450" v="24105"/>
          <ac:spMkLst>
            <pc:docMk/>
            <pc:sldMk cId="24755804" sldId="956"/>
            <ac:spMk id="15" creationId="{7E7549B9-4B82-B733-6067-DA5892CF79EA}"/>
          </ac:spMkLst>
        </pc:spChg>
        <pc:spChg chg="mod">
          <ac:chgData name="Nataliia Chornii (UA)" userId="4e4b8b3d-5f31-49bb-9f80-8a25c04abfff" providerId="ADAL" clId="{EE97D3FE-9ACA-4467-98E5-532EC45D9D1C}" dt="2024-03-11T14:26:47.450" v="24105"/>
          <ac:spMkLst>
            <pc:docMk/>
            <pc:sldMk cId="24755804" sldId="956"/>
            <ac:spMk id="16" creationId="{163C93EC-5D17-2A67-6EEF-5C95B1508F8E}"/>
          </ac:spMkLst>
        </pc:spChg>
        <pc:spChg chg="mod">
          <ac:chgData name="Nataliia Chornii (UA)" userId="4e4b8b3d-5f31-49bb-9f80-8a25c04abfff" providerId="ADAL" clId="{EE97D3FE-9ACA-4467-98E5-532EC45D9D1C}" dt="2024-03-11T14:26:47.450" v="24105"/>
          <ac:spMkLst>
            <pc:docMk/>
            <pc:sldMk cId="24755804" sldId="956"/>
            <ac:spMk id="17" creationId="{ECB1AFC2-D66B-F6F2-D322-F06394AFF7E5}"/>
          </ac:spMkLst>
        </pc:spChg>
        <pc:spChg chg="mod">
          <ac:chgData name="Nataliia Chornii (UA)" userId="4e4b8b3d-5f31-49bb-9f80-8a25c04abfff" providerId="ADAL" clId="{EE97D3FE-9ACA-4467-98E5-532EC45D9D1C}" dt="2024-03-11T14:26:47.450" v="24105"/>
          <ac:spMkLst>
            <pc:docMk/>
            <pc:sldMk cId="24755804" sldId="956"/>
            <ac:spMk id="18" creationId="{03B776A4-E78E-176B-CCA4-A970D046AFAE}"/>
          </ac:spMkLst>
        </pc:spChg>
        <pc:spChg chg="add del mod modVis">
          <ac:chgData name="Nataliia Chornii (UA)" userId="4e4b8b3d-5f31-49bb-9f80-8a25c04abfff" providerId="ADAL" clId="{EE97D3FE-9ACA-4467-98E5-532EC45D9D1C}" dt="2024-03-11T14:33:35.010" v="24654"/>
          <ac:spMkLst>
            <pc:docMk/>
            <pc:sldMk cId="24755804" sldId="956"/>
            <ac:spMk id="19" creationId="{48B45808-B628-EA29-7665-FFE8F9170EAB}"/>
          </ac:spMkLst>
        </pc:spChg>
        <pc:spChg chg="add mod">
          <ac:chgData name="Nataliia Chornii (UA)" userId="4e4b8b3d-5f31-49bb-9f80-8a25c04abfff" providerId="ADAL" clId="{EE97D3FE-9ACA-4467-98E5-532EC45D9D1C}" dt="2024-03-11T14:33:38.085" v="24701"/>
          <ac:spMkLst>
            <pc:docMk/>
            <pc:sldMk cId="24755804" sldId="956"/>
            <ac:spMk id="20" creationId="{DAF7F8EF-041D-E2B0-1814-689C1C236934}"/>
          </ac:spMkLst>
        </pc:spChg>
        <pc:spChg chg="mod ord">
          <ac:chgData name="Nataliia Chornii (UA)" userId="4e4b8b3d-5f31-49bb-9f80-8a25c04abfff" providerId="ADAL" clId="{EE97D3FE-9ACA-4467-98E5-532EC45D9D1C}" dt="2024-03-11T14:33:36.470" v="24687"/>
          <ac:spMkLst>
            <pc:docMk/>
            <pc:sldMk cId="24755804" sldId="956"/>
            <ac:spMk id="25" creationId="{2B261BF4-92C6-462D-AA95-793AE54DD688}"/>
          </ac:spMkLst>
        </pc:spChg>
        <pc:spChg chg="mod ord">
          <ac:chgData name="Nataliia Chornii (UA)" userId="4e4b8b3d-5f31-49bb-9f80-8a25c04abfff" providerId="ADAL" clId="{EE97D3FE-9ACA-4467-98E5-532EC45D9D1C}" dt="2024-03-11T14:33:36.470" v="24667"/>
          <ac:spMkLst>
            <pc:docMk/>
            <pc:sldMk cId="24755804" sldId="956"/>
            <ac:spMk id="26" creationId="{5EC1F9AE-82A4-85FE-592B-EF659F76F7EC}"/>
          </ac:spMkLst>
        </pc:spChg>
        <pc:spChg chg="mod ord">
          <ac:chgData name="Nataliia Chornii (UA)" userId="4e4b8b3d-5f31-49bb-9f80-8a25c04abfff" providerId="ADAL" clId="{EE97D3FE-9ACA-4467-98E5-532EC45D9D1C}" dt="2024-03-11T14:33:36.470" v="24689"/>
          <ac:spMkLst>
            <pc:docMk/>
            <pc:sldMk cId="24755804" sldId="956"/>
            <ac:spMk id="27" creationId="{72D802D4-B169-1594-D931-40179675E33A}"/>
          </ac:spMkLst>
        </pc:spChg>
        <pc:spChg chg="mod ord">
          <ac:chgData name="Nataliia Chornii (UA)" userId="4e4b8b3d-5f31-49bb-9f80-8a25c04abfff" providerId="ADAL" clId="{EE97D3FE-9ACA-4467-98E5-532EC45D9D1C}" dt="2024-03-11T14:33:36.470" v="24669"/>
          <ac:spMkLst>
            <pc:docMk/>
            <pc:sldMk cId="24755804" sldId="956"/>
            <ac:spMk id="29" creationId="{3915AD89-6428-4A75-0915-328643F1703C}"/>
          </ac:spMkLst>
        </pc:spChg>
        <pc:spChg chg="mod ord">
          <ac:chgData name="Nataliia Chornii (UA)" userId="4e4b8b3d-5f31-49bb-9f80-8a25c04abfff" providerId="ADAL" clId="{EE97D3FE-9ACA-4467-98E5-532EC45D9D1C}" dt="2024-03-11T14:33:36.470" v="24671"/>
          <ac:spMkLst>
            <pc:docMk/>
            <pc:sldMk cId="24755804" sldId="956"/>
            <ac:spMk id="30" creationId="{373AB206-F1F0-CC72-8C15-85605D9AF2AC}"/>
          </ac:spMkLst>
        </pc:spChg>
        <pc:spChg chg="mod ord">
          <ac:chgData name="Nataliia Chornii (UA)" userId="4e4b8b3d-5f31-49bb-9f80-8a25c04abfff" providerId="ADAL" clId="{EE97D3FE-9ACA-4467-98E5-532EC45D9D1C}" dt="2024-03-11T14:33:36.470" v="24673"/>
          <ac:spMkLst>
            <pc:docMk/>
            <pc:sldMk cId="24755804" sldId="956"/>
            <ac:spMk id="46" creationId="{09BF84D6-F468-7005-FAB5-AA0B6AE5CFB4}"/>
          </ac:spMkLst>
        </pc:spChg>
        <pc:spChg chg="mod ord">
          <ac:chgData name="Nataliia Chornii (UA)" userId="4e4b8b3d-5f31-49bb-9f80-8a25c04abfff" providerId="ADAL" clId="{EE97D3FE-9ACA-4467-98E5-532EC45D9D1C}" dt="2024-03-11T14:33:36.470" v="24675"/>
          <ac:spMkLst>
            <pc:docMk/>
            <pc:sldMk cId="24755804" sldId="956"/>
            <ac:spMk id="50" creationId="{0130363F-7CE7-F3D0-4AB5-F295FAC2DCBC}"/>
          </ac:spMkLst>
        </pc:spChg>
        <pc:spChg chg="mod ord">
          <ac:chgData name="Nataliia Chornii (UA)" userId="4e4b8b3d-5f31-49bb-9f80-8a25c04abfff" providerId="ADAL" clId="{EE97D3FE-9ACA-4467-98E5-532EC45D9D1C}" dt="2024-03-11T14:33:36.470" v="24677"/>
          <ac:spMkLst>
            <pc:docMk/>
            <pc:sldMk cId="24755804" sldId="956"/>
            <ac:spMk id="51" creationId="{AFEB1935-0849-FFDB-14A2-768E555E2F79}"/>
          </ac:spMkLst>
        </pc:spChg>
        <pc:grpChg chg="add mod ord">
          <ac:chgData name="Nataliia Chornii (UA)" userId="4e4b8b3d-5f31-49bb-9f80-8a25c04abfff" providerId="ADAL" clId="{EE97D3FE-9ACA-4467-98E5-532EC45D9D1C}" dt="2024-03-11T14:33:36.470" v="24695"/>
          <ac:grpSpMkLst>
            <pc:docMk/>
            <pc:sldMk cId="24755804" sldId="956"/>
            <ac:grpSpMk id="7" creationId="{0196DADC-F39A-B6C7-D01E-40DB0D85FF5D}"/>
          </ac:grpSpMkLst>
        </pc:grpChg>
        <pc:grpChg chg="mod ord">
          <ac:chgData name="Nataliia Chornii (UA)" userId="4e4b8b3d-5f31-49bb-9f80-8a25c04abfff" providerId="ADAL" clId="{EE97D3FE-9ACA-4467-98E5-532EC45D9D1C}" dt="2024-03-11T14:33:36.470" v="24691"/>
          <ac:grpSpMkLst>
            <pc:docMk/>
            <pc:sldMk cId="24755804" sldId="956"/>
            <ac:grpSpMk id="9" creationId="{CD2C3658-A1D3-3144-1ED5-F2F246D99B5F}"/>
          </ac:grpSpMkLst>
        </pc:grpChg>
        <pc:graphicFrameChg chg="mod">
          <ac:chgData name="Nataliia Chornii (UA)" userId="4e4b8b3d-5f31-49bb-9f80-8a25c04abfff" providerId="ADAL" clId="{EE97D3FE-9ACA-4467-98E5-532EC45D9D1C}" dt="2024-03-11T14:33:36.479" v="24699"/>
          <ac:graphicFrameMkLst>
            <pc:docMk/>
            <pc:sldMk cId="24755804" sldId="956"/>
            <ac:graphicFrameMk id="12" creationId="{F6E6AF23-7B86-113A-F559-513B41FEC1FE}"/>
          </ac:graphicFrameMkLst>
        </pc:graphicFrameChg>
        <pc:picChg chg="mod ord">
          <ac:chgData name="Nataliia Chornii (UA)" userId="4e4b8b3d-5f31-49bb-9f80-8a25c04abfff" providerId="ADAL" clId="{EE97D3FE-9ACA-4467-98E5-532EC45D9D1C}" dt="2024-03-11T14:33:36.454" v="24659"/>
          <ac:picMkLst>
            <pc:docMk/>
            <pc:sldMk cId="24755804" sldId="956"/>
            <ac:picMk id="10" creationId="{EE57AF4E-090E-E7F7-6C50-64DE044BD3DA}"/>
          </ac:picMkLst>
        </pc:picChg>
        <pc:cxnChg chg="mod ord">
          <ac:chgData name="Nataliia Chornii (UA)" userId="4e4b8b3d-5f31-49bb-9f80-8a25c04abfff" providerId="ADAL" clId="{EE97D3FE-9ACA-4467-98E5-532EC45D9D1C}" dt="2024-03-11T14:33:36.470" v="24679"/>
          <ac:cxnSpMkLst>
            <pc:docMk/>
            <pc:sldMk cId="24755804" sldId="956"/>
            <ac:cxnSpMk id="53" creationId="{F358E754-064A-5B8C-B2FC-4E612BA07893}"/>
          </ac:cxnSpMkLst>
        </pc:cxnChg>
      </pc:sldChg>
      <pc:sldChg chg="addSp delSp modSp mod">
        <pc:chgData name="Nataliia Chornii (UA)" userId="4e4b8b3d-5f31-49bb-9f80-8a25c04abfff" providerId="ADAL" clId="{EE97D3FE-9ACA-4467-98E5-532EC45D9D1C}" dt="2024-03-11T14:33:44.246" v="24814" actId="478"/>
        <pc:sldMkLst>
          <pc:docMk/>
          <pc:sldMk cId="1014935855" sldId="957"/>
        </pc:sldMkLst>
        <pc:spChg chg="mod ord">
          <ac:chgData name="Nataliia Chornii (UA)" userId="4e4b8b3d-5f31-49bb-9f80-8a25c04abfff" providerId="ADAL" clId="{EE97D3FE-9ACA-4467-98E5-532EC45D9D1C}" dt="2024-03-11T14:33:42.722" v="24783"/>
          <ac:spMkLst>
            <pc:docMk/>
            <pc:sldMk cId="1014935855" sldId="957"/>
            <ac:spMk id="3" creationId="{F4CCF02E-F3C4-C376-8F56-61BD85A2E74B}"/>
          </ac:spMkLst>
        </pc:spChg>
        <pc:spChg chg="mod ord">
          <ac:chgData name="Nataliia Chornii (UA)" userId="4e4b8b3d-5f31-49bb-9f80-8a25c04abfff" providerId="ADAL" clId="{EE97D3FE-9ACA-4467-98E5-532EC45D9D1C}" dt="2024-03-11T14:33:42.722" v="24785"/>
          <ac:spMkLst>
            <pc:docMk/>
            <pc:sldMk cId="1014935855" sldId="957"/>
            <ac:spMk id="4" creationId="{872966CD-924A-B939-E655-A6BAF817DCBF}"/>
          </ac:spMkLst>
        </pc:spChg>
        <pc:spChg chg="del mod ord">
          <ac:chgData name="Nataliia Chornii (UA)" userId="4e4b8b3d-5f31-49bb-9f80-8a25c04abfff" providerId="ADAL" clId="{EE97D3FE-9ACA-4467-98E5-532EC45D9D1C}" dt="2024-03-11T14:33:44.246" v="24814" actId="478"/>
          <ac:spMkLst>
            <pc:docMk/>
            <pc:sldMk cId="1014935855" sldId="957"/>
            <ac:spMk id="5" creationId="{B8117B57-8E39-5418-6527-0CB9323D2C76}"/>
          </ac:spMkLst>
        </pc:spChg>
        <pc:spChg chg="mod ord">
          <ac:chgData name="Nataliia Chornii (UA)" userId="4e4b8b3d-5f31-49bb-9f80-8a25c04abfff" providerId="ADAL" clId="{EE97D3FE-9ACA-4467-98E5-532EC45D9D1C}" dt="2024-03-11T14:33:42.722" v="24773"/>
          <ac:spMkLst>
            <pc:docMk/>
            <pc:sldMk cId="1014935855" sldId="957"/>
            <ac:spMk id="6" creationId="{80C532BC-476D-9778-B917-A847740102DC}"/>
          </ac:spMkLst>
        </pc:spChg>
        <pc:spChg chg="add mod ord">
          <ac:chgData name="Nataliia Chornii (UA)" userId="4e4b8b3d-5f31-49bb-9f80-8a25c04abfff" providerId="ADAL" clId="{EE97D3FE-9ACA-4467-98E5-532EC45D9D1C}" dt="2024-03-11T14:33:42.738" v="24805"/>
          <ac:spMkLst>
            <pc:docMk/>
            <pc:sldMk cId="1014935855" sldId="957"/>
            <ac:spMk id="7" creationId="{52BC4D71-F2F1-6EE7-1A91-341C54041D00}"/>
          </ac:spMkLst>
        </pc:spChg>
        <pc:spChg chg="mod ord">
          <ac:chgData name="Nataliia Chornii (UA)" userId="4e4b8b3d-5f31-49bb-9f80-8a25c04abfff" providerId="ADAL" clId="{EE97D3FE-9ACA-4467-98E5-532EC45D9D1C}" dt="2024-03-11T14:33:42.722" v="24775"/>
          <ac:spMkLst>
            <pc:docMk/>
            <pc:sldMk cId="1014935855" sldId="957"/>
            <ac:spMk id="9" creationId="{3C02F18C-4E74-90B5-EC0B-78FCC94453E3}"/>
          </ac:spMkLst>
        </pc:spChg>
        <pc:spChg chg="mod">
          <ac:chgData name="Nataliia Chornii (UA)" userId="4e4b8b3d-5f31-49bb-9f80-8a25c04abfff" providerId="ADAL" clId="{EE97D3FE-9ACA-4467-98E5-532EC45D9D1C}" dt="2024-03-11T14:26:49.970" v="24106"/>
          <ac:spMkLst>
            <pc:docMk/>
            <pc:sldMk cId="1014935855" sldId="957"/>
            <ac:spMk id="10" creationId="{A5189F27-5CCD-D422-E2FA-4EF6104C198E}"/>
          </ac:spMkLst>
        </pc:spChg>
        <pc:spChg chg="mod ord">
          <ac:chgData name="Nataliia Chornii (UA)" userId="4e4b8b3d-5f31-49bb-9f80-8a25c04abfff" providerId="ADAL" clId="{EE97D3FE-9ACA-4467-98E5-532EC45D9D1C}" dt="2024-03-11T14:33:42.722" v="24777"/>
          <ac:spMkLst>
            <pc:docMk/>
            <pc:sldMk cId="1014935855" sldId="957"/>
            <ac:spMk id="11" creationId="{07889E6A-8E21-2803-30A1-A645AF04340F}"/>
          </ac:spMkLst>
        </pc:spChg>
        <pc:spChg chg="mod ord">
          <ac:chgData name="Nataliia Chornii (UA)" userId="4e4b8b3d-5f31-49bb-9f80-8a25c04abfff" providerId="ADAL" clId="{EE97D3FE-9ACA-4467-98E5-532EC45D9D1C}" dt="2024-03-11T14:33:42.722" v="24779"/>
          <ac:spMkLst>
            <pc:docMk/>
            <pc:sldMk cId="1014935855" sldId="957"/>
            <ac:spMk id="13" creationId="{10ECE187-B3A4-BDE3-A3F3-430688A0658E}"/>
          </ac:spMkLst>
        </pc:spChg>
        <pc:spChg chg="mod">
          <ac:chgData name="Nataliia Chornii (UA)" userId="4e4b8b3d-5f31-49bb-9f80-8a25c04abfff" providerId="ADAL" clId="{EE97D3FE-9ACA-4467-98E5-532EC45D9D1C}" dt="2024-03-11T14:26:49.970" v="24106"/>
          <ac:spMkLst>
            <pc:docMk/>
            <pc:sldMk cId="1014935855" sldId="957"/>
            <ac:spMk id="18" creationId="{C2BA82FA-1C18-E853-1C97-835E8014C5A6}"/>
          </ac:spMkLst>
        </pc:spChg>
        <pc:spChg chg="mod">
          <ac:chgData name="Nataliia Chornii (UA)" userId="4e4b8b3d-5f31-49bb-9f80-8a25c04abfff" providerId="ADAL" clId="{EE97D3FE-9ACA-4467-98E5-532EC45D9D1C}" dt="2024-03-11T14:26:49.970" v="24106"/>
          <ac:spMkLst>
            <pc:docMk/>
            <pc:sldMk cId="1014935855" sldId="957"/>
            <ac:spMk id="19" creationId="{294FD576-28F4-9578-C2DF-A98374D6CB5D}"/>
          </ac:spMkLst>
        </pc:spChg>
        <pc:spChg chg="mod">
          <ac:chgData name="Nataliia Chornii (UA)" userId="4e4b8b3d-5f31-49bb-9f80-8a25c04abfff" providerId="ADAL" clId="{EE97D3FE-9ACA-4467-98E5-532EC45D9D1C}" dt="2024-03-11T14:26:49.970" v="24106"/>
          <ac:spMkLst>
            <pc:docMk/>
            <pc:sldMk cId="1014935855" sldId="957"/>
            <ac:spMk id="20" creationId="{A1892344-96BB-5A94-B3E1-3CC639ED7468}"/>
          </ac:spMkLst>
        </pc:spChg>
        <pc:spChg chg="mod">
          <ac:chgData name="Nataliia Chornii (UA)" userId="4e4b8b3d-5f31-49bb-9f80-8a25c04abfff" providerId="ADAL" clId="{EE97D3FE-9ACA-4467-98E5-532EC45D9D1C}" dt="2024-03-11T14:26:49.970" v="24106"/>
          <ac:spMkLst>
            <pc:docMk/>
            <pc:sldMk cId="1014935855" sldId="957"/>
            <ac:spMk id="21" creationId="{3F28C445-7B06-2A08-3105-BEE19937A6D2}"/>
          </ac:spMkLst>
        </pc:spChg>
        <pc:spChg chg="mod">
          <ac:chgData name="Nataliia Chornii (UA)" userId="4e4b8b3d-5f31-49bb-9f80-8a25c04abfff" providerId="ADAL" clId="{EE97D3FE-9ACA-4467-98E5-532EC45D9D1C}" dt="2024-03-11T14:26:49.970" v="24106"/>
          <ac:spMkLst>
            <pc:docMk/>
            <pc:sldMk cId="1014935855" sldId="957"/>
            <ac:spMk id="22" creationId="{5BD0DED3-3A83-722A-0873-64B438E3AD64}"/>
          </ac:spMkLst>
        </pc:spChg>
        <pc:spChg chg="add mod ord">
          <ac:chgData name="Nataliia Chornii (UA)" userId="4e4b8b3d-5f31-49bb-9f80-8a25c04abfff" providerId="ADAL" clId="{EE97D3FE-9ACA-4467-98E5-532EC45D9D1C}" dt="2024-03-11T14:33:42.738" v="24809"/>
          <ac:spMkLst>
            <pc:docMk/>
            <pc:sldMk cId="1014935855" sldId="957"/>
            <ac:spMk id="23" creationId="{C5787DE7-5F93-66E6-BE33-976C1166E265}"/>
          </ac:spMkLst>
        </pc:spChg>
        <pc:spChg chg="add del mod modVis">
          <ac:chgData name="Nataliia Chornii (UA)" userId="4e4b8b3d-5f31-49bb-9f80-8a25c04abfff" providerId="ADAL" clId="{EE97D3FE-9ACA-4467-98E5-532EC45D9D1C}" dt="2024-03-11T14:33:41.499" v="24766"/>
          <ac:spMkLst>
            <pc:docMk/>
            <pc:sldMk cId="1014935855" sldId="957"/>
            <ac:spMk id="24" creationId="{2CB30EA1-5352-4363-E89B-39AAE87F2A78}"/>
          </ac:spMkLst>
        </pc:spChg>
        <pc:spChg chg="mod ord">
          <ac:chgData name="Nataliia Chornii (UA)" userId="4e4b8b3d-5f31-49bb-9f80-8a25c04abfff" providerId="ADAL" clId="{EE97D3FE-9ACA-4467-98E5-532EC45D9D1C}" dt="2024-03-11T14:33:42.722" v="24787"/>
          <ac:spMkLst>
            <pc:docMk/>
            <pc:sldMk cId="1014935855" sldId="957"/>
            <ac:spMk id="26" creationId="{5EC1F9AE-82A4-85FE-592B-EF659F76F7EC}"/>
          </ac:spMkLst>
        </pc:spChg>
        <pc:spChg chg="mod ord">
          <ac:chgData name="Nataliia Chornii (UA)" userId="4e4b8b3d-5f31-49bb-9f80-8a25c04abfff" providerId="ADAL" clId="{EE97D3FE-9ACA-4467-98E5-532EC45D9D1C}" dt="2024-03-11T14:33:42.722" v="24789"/>
          <ac:spMkLst>
            <pc:docMk/>
            <pc:sldMk cId="1014935855" sldId="957"/>
            <ac:spMk id="29" creationId="{3915AD89-6428-4A75-0915-328643F1703C}"/>
          </ac:spMkLst>
        </pc:spChg>
        <pc:spChg chg="mod ord">
          <ac:chgData name="Nataliia Chornii (UA)" userId="4e4b8b3d-5f31-49bb-9f80-8a25c04abfff" providerId="ADAL" clId="{EE97D3FE-9ACA-4467-98E5-532EC45D9D1C}" dt="2024-03-11T14:33:42.722" v="24791"/>
          <ac:spMkLst>
            <pc:docMk/>
            <pc:sldMk cId="1014935855" sldId="957"/>
            <ac:spMk id="30" creationId="{373AB206-F1F0-CC72-8C15-85605D9AF2AC}"/>
          </ac:spMkLst>
        </pc:spChg>
        <pc:spChg chg="mod ord">
          <ac:chgData name="Nataliia Chornii (UA)" userId="4e4b8b3d-5f31-49bb-9f80-8a25c04abfff" providerId="ADAL" clId="{EE97D3FE-9ACA-4467-98E5-532EC45D9D1C}" dt="2024-03-11T14:33:42.722" v="24793"/>
          <ac:spMkLst>
            <pc:docMk/>
            <pc:sldMk cId="1014935855" sldId="957"/>
            <ac:spMk id="46" creationId="{09BF84D6-F468-7005-FAB5-AA0B6AE5CFB4}"/>
          </ac:spMkLst>
        </pc:spChg>
        <pc:spChg chg="mod ord">
          <ac:chgData name="Nataliia Chornii (UA)" userId="4e4b8b3d-5f31-49bb-9f80-8a25c04abfff" providerId="ADAL" clId="{EE97D3FE-9ACA-4467-98E5-532EC45D9D1C}" dt="2024-03-11T14:33:42.722" v="24795"/>
          <ac:spMkLst>
            <pc:docMk/>
            <pc:sldMk cId="1014935855" sldId="957"/>
            <ac:spMk id="50" creationId="{0130363F-7CE7-F3D0-4AB5-F295FAC2DCBC}"/>
          </ac:spMkLst>
        </pc:spChg>
        <pc:spChg chg="mod ord">
          <ac:chgData name="Nataliia Chornii (UA)" userId="4e4b8b3d-5f31-49bb-9f80-8a25c04abfff" providerId="ADAL" clId="{EE97D3FE-9ACA-4467-98E5-532EC45D9D1C}" dt="2024-03-11T14:33:42.722" v="24797"/>
          <ac:spMkLst>
            <pc:docMk/>
            <pc:sldMk cId="1014935855" sldId="957"/>
            <ac:spMk id="51" creationId="{AFEB1935-0849-FFDB-14A2-768E555E2F79}"/>
          </ac:spMkLst>
        </pc:spChg>
        <pc:spChg chg="mod ord">
          <ac:chgData name="Nataliia Chornii (UA)" userId="4e4b8b3d-5f31-49bb-9f80-8a25c04abfff" providerId="ADAL" clId="{EE97D3FE-9ACA-4467-98E5-532EC45D9D1C}" dt="2024-03-11T14:33:42.738" v="24799"/>
          <ac:spMkLst>
            <pc:docMk/>
            <pc:sldMk cId="1014935855" sldId="957"/>
            <ac:spMk id="52" creationId="{C28EBB85-E5E0-FA58-8077-AD15508F23C6}"/>
          </ac:spMkLst>
        </pc:spChg>
        <pc:grpChg chg="add mod ord">
          <ac:chgData name="Nataliia Chornii (UA)" userId="4e4b8b3d-5f31-49bb-9f80-8a25c04abfff" providerId="ADAL" clId="{EE97D3FE-9ACA-4467-98E5-532EC45D9D1C}" dt="2024-03-11T14:33:42.738" v="24807"/>
          <ac:grpSpMkLst>
            <pc:docMk/>
            <pc:sldMk cId="1014935855" sldId="957"/>
            <ac:grpSpMk id="8" creationId="{DDD6AFB3-8EF6-9547-44ED-BE6CD5B6B7FE}"/>
          </ac:grpSpMkLst>
        </pc:grpChg>
        <pc:grpChg chg="mod ord">
          <ac:chgData name="Nataliia Chornii (UA)" userId="4e4b8b3d-5f31-49bb-9f80-8a25c04abfff" providerId="ADAL" clId="{EE97D3FE-9ACA-4467-98E5-532EC45D9D1C}" dt="2024-03-11T14:33:42.722" v="24781"/>
          <ac:grpSpMkLst>
            <pc:docMk/>
            <pc:sldMk cId="1014935855" sldId="957"/>
            <ac:grpSpMk id="14" creationId="{267418C2-6F99-A659-AB11-419EED1354F6}"/>
          </ac:grpSpMkLst>
        </pc:grpChg>
        <pc:graphicFrameChg chg="mod">
          <ac:chgData name="Nataliia Chornii (UA)" userId="4e4b8b3d-5f31-49bb-9f80-8a25c04abfff" providerId="ADAL" clId="{EE97D3FE-9ACA-4467-98E5-532EC45D9D1C}" dt="2024-03-11T14:33:42.745" v="24813"/>
          <ac:graphicFrameMkLst>
            <pc:docMk/>
            <pc:sldMk cId="1014935855" sldId="957"/>
            <ac:graphicFrameMk id="12" creationId="{F6E6AF23-7B86-113A-F559-513B41FEC1FE}"/>
          </ac:graphicFrameMkLst>
        </pc:graphicFrameChg>
        <pc:picChg chg="mod ord">
          <ac:chgData name="Nataliia Chornii (UA)" userId="4e4b8b3d-5f31-49bb-9f80-8a25c04abfff" providerId="ADAL" clId="{EE97D3FE-9ACA-4467-98E5-532EC45D9D1C}" dt="2024-03-11T14:33:42.722" v="24771"/>
          <ac:picMkLst>
            <pc:docMk/>
            <pc:sldMk cId="1014935855" sldId="957"/>
            <ac:picMk id="2" creationId="{ABCB9BD2-DAB8-36B6-7DEC-39F0A71CD913}"/>
          </ac:picMkLst>
        </pc:picChg>
        <pc:cxnChg chg="mod ord">
          <ac:chgData name="Nataliia Chornii (UA)" userId="4e4b8b3d-5f31-49bb-9f80-8a25c04abfff" providerId="ADAL" clId="{EE97D3FE-9ACA-4467-98E5-532EC45D9D1C}" dt="2024-03-11T14:33:42.738" v="24801"/>
          <ac:cxnSpMkLst>
            <pc:docMk/>
            <pc:sldMk cId="1014935855" sldId="957"/>
            <ac:cxnSpMk id="53" creationId="{F358E754-064A-5B8C-B2FC-4E612BA07893}"/>
          </ac:cxnSpMkLst>
        </pc:cxnChg>
      </pc:sldChg>
      <pc:sldChg chg="addSp delSp modSp mod">
        <pc:chgData name="Nataliia Chornii (UA)" userId="4e4b8b3d-5f31-49bb-9f80-8a25c04abfff" providerId="ADAL" clId="{EE97D3FE-9ACA-4467-98E5-532EC45D9D1C}" dt="2024-03-11T14:33:51.089" v="24923"/>
        <pc:sldMkLst>
          <pc:docMk/>
          <pc:sldMk cId="2086181770" sldId="958"/>
        </pc:sldMkLst>
        <pc:spChg chg="mod ord">
          <ac:chgData name="Nataliia Chornii (UA)" userId="4e4b8b3d-5f31-49bb-9f80-8a25c04abfff" providerId="ADAL" clId="{EE97D3FE-9ACA-4467-98E5-532EC45D9D1C}" dt="2024-03-11T14:33:49.495" v="24905"/>
          <ac:spMkLst>
            <pc:docMk/>
            <pc:sldMk cId="2086181770" sldId="958"/>
            <ac:spMk id="2" creationId="{5F735A8C-4418-CDE7-FDAD-A62BB616594E}"/>
          </ac:spMkLst>
        </pc:spChg>
        <pc:spChg chg="mod ord">
          <ac:chgData name="Nataliia Chornii (UA)" userId="4e4b8b3d-5f31-49bb-9f80-8a25c04abfff" providerId="ADAL" clId="{EE97D3FE-9ACA-4467-98E5-532EC45D9D1C}" dt="2024-03-11T14:33:49.480" v="24885"/>
          <ac:spMkLst>
            <pc:docMk/>
            <pc:sldMk cId="2086181770" sldId="958"/>
            <ac:spMk id="3" creationId="{F4CCF02E-F3C4-C376-8F56-61BD85A2E74B}"/>
          </ac:spMkLst>
        </pc:spChg>
        <pc:spChg chg="mod ord">
          <ac:chgData name="Nataliia Chornii (UA)" userId="4e4b8b3d-5f31-49bb-9f80-8a25c04abfff" providerId="ADAL" clId="{EE97D3FE-9ACA-4467-98E5-532EC45D9D1C}" dt="2024-03-11T14:33:49.480" v="24887"/>
          <ac:spMkLst>
            <pc:docMk/>
            <pc:sldMk cId="2086181770" sldId="958"/>
            <ac:spMk id="4" creationId="{872966CD-924A-B939-E655-A6BAF817DCBF}"/>
          </ac:spMkLst>
        </pc:spChg>
        <pc:spChg chg="add mod ord">
          <ac:chgData name="Nataliia Chornii (UA)" userId="4e4b8b3d-5f31-49bb-9f80-8a25c04abfff" providerId="ADAL" clId="{EE97D3FE-9ACA-4467-98E5-532EC45D9D1C}" dt="2024-03-11T14:33:49.504" v="24915"/>
          <ac:spMkLst>
            <pc:docMk/>
            <pc:sldMk cId="2086181770" sldId="958"/>
            <ac:spMk id="5" creationId="{E40C5ACA-5384-71DE-2343-65194914043F}"/>
          </ac:spMkLst>
        </pc:spChg>
        <pc:spChg chg="del mod ord">
          <ac:chgData name="Nataliia Chornii (UA)" userId="4e4b8b3d-5f31-49bb-9f80-8a25c04abfff" providerId="ADAL" clId="{EE97D3FE-9ACA-4467-98E5-532EC45D9D1C}" dt="2024-03-11T14:33:50.742" v="24922" actId="478"/>
          <ac:spMkLst>
            <pc:docMk/>
            <pc:sldMk cId="2086181770" sldId="958"/>
            <ac:spMk id="6" creationId="{898887DF-9190-F283-B120-8AE08B7645FA}"/>
          </ac:spMkLst>
        </pc:spChg>
        <pc:spChg chg="mod ord">
          <ac:chgData name="Nataliia Chornii (UA)" userId="4e4b8b3d-5f31-49bb-9f80-8a25c04abfff" providerId="ADAL" clId="{EE97D3FE-9ACA-4467-98E5-532EC45D9D1C}" dt="2024-03-11T14:33:49.495" v="24903"/>
          <ac:spMkLst>
            <pc:docMk/>
            <pc:sldMk cId="2086181770" sldId="958"/>
            <ac:spMk id="8" creationId="{8F84A1C1-A3B2-78F7-2F05-EA937E442831}"/>
          </ac:spMkLst>
        </pc:spChg>
        <pc:spChg chg="mod ord">
          <ac:chgData name="Nataliia Chornii (UA)" userId="4e4b8b3d-5f31-49bb-9f80-8a25c04abfff" providerId="ADAL" clId="{EE97D3FE-9ACA-4467-98E5-532EC45D9D1C}" dt="2024-03-11T14:33:49.480" v="24883"/>
          <ac:spMkLst>
            <pc:docMk/>
            <pc:sldMk cId="2086181770" sldId="958"/>
            <ac:spMk id="11" creationId="{CE7FEFF2-D72E-88B1-AAE6-2517F20F72F1}"/>
          </ac:spMkLst>
        </pc:spChg>
        <pc:spChg chg="mod">
          <ac:chgData name="Nataliia Chornii (UA)" userId="4e4b8b3d-5f31-49bb-9f80-8a25c04abfff" providerId="ADAL" clId="{EE97D3FE-9ACA-4467-98E5-532EC45D9D1C}" dt="2024-03-11T14:26:51.683" v="24107"/>
          <ac:spMkLst>
            <pc:docMk/>
            <pc:sldMk cId="2086181770" sldId="958"/>
            <ac:spMk id="13" creationId="{61E27173-E4B9-5640-7E28-FCC86F574B35}"/>
          </ac:spMkLst>
        </pc:spChg>
        <pc:spChg chg="mod">
          <ac:chgData name="Nataliia Chornii (UA)" userId="4e4b8b3d-5f31-49bb-9f80-8a25c04abfff" providerId="ADAL" clId="{EE97D3FE-9ACA-4467-98E5-532EC45D9D1C}" dt="2024-03-11T14:26:51.683" v="24107"/>
          <ac:spMkLst>
            <pc:docMk/>
            <pc:sldMk cId="2086181770" sldId="958"/>
            <ac:spMk id="14" creationId="{50753EDC-5F7A-4991-F4E9-3BDAFAE1B672}"/>
          </ac:spMkLst>
        </pc:spChg>
        <pc:spChg chg="mod">
          <ac:chgData name="Nataliia Chornii (UA)" userId="4e4b8b3d-5f31-49bb-9f80-8a25c04abfff" providerId="ADAL" clId="{EE97D3FE-9ACA-4467-98E5-532EC45D9D1C}" dt="2024-03-11T14:26:51.683" v="24107"/>
          <ac:spMkLst>
            <pc:docMk/>
            <pc:sldMk cId="2086181770" sldId="958"/>
            <ac:spMk id="15" creationId="{4E7B6F43-B9F8-E3C8-CF50-CA6C79F38111}"/>
          </ac:spMkLst>
        </pc:spChg>
        <pc:spChg chg="mod">
          <ac:chgData name="Nataliia Chornii (UA)" userId="4e4b8b3d-5f31-49bb-9f80-8a25c04abfff" providerId="ADAL" clId="{EE97D3FE-9ACA-4467-98E5-532EC45D9D1C}" dt="2024-03-11T14:26:51.683" v="24107"/>
          <ac:spMkLst>
            <pc:docMk/>
            <pc:sldMk cId="2086181770" sldId="958"/>
            <ac:spMk id="16" creationId="{A7CE6C7B-4C8F-46CD-34FA-DF92AC748D84}"/>
          </ac:spMkLst>
        </pc:spChg>
        <pc:spChg chg="mod">
          <ac:chgData name="Nataliia Chornii (UA)" userId="4e4b8b3d-5f31-49bb-9f80-8a25c04abfff" providerId="ADAL" clId="{EE97D3FE-9ACA-4467-98E5-532EC45D9D1C}" dt="2024-03-11T14:26:51.683" v="24107"/>
          <ac:spMkLst>
            <pc:docMk/>
            <pc:sldMk cId="2086181770" sldId="958"/>
            <ac:spMk id="17" creationId="{E274B8A1-335F-6CEB-41FD-943952A24DDB}"/>
          </ac:spMkLst>
        </pc:spChg>
        <pc:spChg chg="mod">
          <ac:chgData name="Nataliia Chornii (UA)" userId="4e4b8b3d-5f31-49bb-9f80-8a25c04abfff" providerId="ADAL" clId="{EE97D3FE-9ACA-4467-98E5-532EC45D9D1C}" dt="2024-03-11T14:26:51.683" v="24107"/>
          <ac:spMkLst>
            <pc:docMk/>
            <pc:sldMk cId="2086181770" sldId="958"/>
            <ac:spMk id="18" creationId="{802E5086-368B-8C88-D27D-7B52400C906B}"/>
          </ac:spMkLst>
        </pc:spChg>
        <pc:spChg chg="add del mod modVis">
          <ac:chgData name="Nataliia Chornii (UA)" userId="4e4b8b3d-5f31-49bb-9f80-8a25c04abfff" providerId="ADAL" clId="{EE97D3FE-9ACA-4467-98E5-532EC45D9D1C}" dt="2024-03-11T14:33:48.403" v="24876"/>
          <ac:spMkLst>
            <pc:docMk/>
            <pc:sldMk cId="2086181770" sldId="958"/>
            <ac:spMk id="19" creationId="{3DC4826F-4B1C-4087-C0C5-75AC12872459}"/>
          </ac:spMkLst>
        </pc:spChg>
        <pc:spChg chg="add mod">
          <ac:chgData name="Nataliia Chornii (UA)" userId="4e4b8b3d-5f31-49bb-9f80-8a25c04abfff" providerId="ADAL" clId="{EE97D3FE-9ACA-4467-98E5-532EC45D9D1C}" dt="2024-03-11T14:33:51.089" v="24923"/>
          <ac:spMkLst>
            <pc:docMk/>
            <pc:sldMk cId="2086181770" sldId="958"/>
            <ac:spMk id="20" creationId="{6333FECD-7692-A146-C706-AAFB965FFFCA}"/>
          </ac:spMkLst>
        </pc:spChg>
        <pc:spChg chg="mod ord">
          <ac:chgData name="Nataliia Chornii (UA)" userId="4e4b8b3d-5f31-49bb-9f80-8a25c04abfff" providerId="ADAL" clId="{EE97D3FE-9ACA-4467-98E5-532EC45D9D1C}" dt="2024-03-11T14:33:49.495" v="24909"/>
          <ac:spMkLst>
            <pc:docMk/>
            <pc:sldMk cId="2086181770" sldId="958"/>
            <ac:spMk id="25" creationId="{2B261BF4-92C6-462D-AA95-793AE54DD688}"/>
          </ac:spMkLst>
        </pc:spChg>
        <pc:spChg chg="mod ord">
          <ac:chgData name="Nataliia Chornii (UA)" userId="4e4b8b3d-5f31-49bb-9f80-8a25c04abfff" providerId="ADAL" clId="{EE97D3FE-9ACA-4467-98E5-532EC45D9D1C}" dt="2024-03-11T14:33:49.480" v="24889"/>
          <ac:spMkLst>
            <pc:docMk/>
            <pc:sldMk cId="2086181770" sldId="958"/>
            <ac:spMk id="26" creationId="{5EC1F9AE-82A4-85FE-592B-EF659F76F7EC}"/>
          </ac:spMkLst>
        </pc:spChg>
        <pc:spChg chg="mod ord">
          <ac:chgData name="Nataliia Chornii (UA)" userId="4e4b8b3d-5f31-49bb-9f80-8a25c04abfff" providerId="ADAL" clId="{EE97D3FE-9ACA-4467-98E5-532EC45D9D1C}" dt="2024-03-11T14:33:49.495" v="24911"/>
          <ac:spMkLst>
            <pc:docMk/>
            <pc:sldMk cId="2086181770" sldId="958"/>
            <ac:spMk id="27" creationId="{72D802D4-B169-1594-D931-40179675E33A}"/>
          </ac:spMkLst>
        </pc:spChg>
        <pc:spChg chg="mod ord">
          <ac:chgData name="Nataliia Chornii (UA)" userId="4e4b8b3d-5f31-49bb-9f80-8a25c04abfff" providerId="ADAL" clId="{EE97D3FE-9ACA-4467-98E5-532EC45D9D1C}" dt="2024-03-11T14:33:49.480" v="24891"/>
          <ac:spMkLst>
            <pc:docMk/>
            <pc:sldMk cId="2086181770" sldId="958"/>
            <ac:spMk id="29" creationId="{3915AD89-6428-4A75-0915-328643F1703C}"/>
          </ac:spMkLst>
        </pc:spChg>
        <pc:spChg chg="mod ord">
          <ac:chgData name="Nataliia Chornii (UA)" userId="4e4b8b3d-5f31-49bb-9f80-8a25c04abfff" providerId="ADAL" clId="{EE97D3FE-9ACA-4467-98E5-532EC45D9D1C}" dt="2024-03-11T14:33:49.480" v="24893"/>
          <ac:spMkLst>
            <pc:docMk/>
            <pc:sldMk cId="2086181770" sldId="958"/>
            <ac:spMk id="30" creationId="{373AB206-F1F0-CC72-8C15-85605D9AF2AC}"/>
          </ac:spMkLst>
        </pc:spChg>
        <pc:spChg chg="mod ord">
          <ac:chgData name="Nataliia Chornii (UA)" userId="4e4b8b3d-5f31-49bb-9f80-8a25c04abfff" providerId="ADAL" clId="{EE97D3FE-9ACA-4467-98E5-532EC45D9D1C}" dt="2024-03-11T14:33:49.480" v="24895"/>
          <ac:spMkLst>
            <pc:docMk/>
            <pc:sldMk cId="2086181770" sldId="958"/>
            <ac:spMk id="46" creationId="{09BF84D6-F468-7005-FAB5-AA0B6AE5CFB4}"/>
          </ac:spMkLst>
        </pc:spChg>
        <pc:spChg chg="mod ord">
          <ac:chgData name="Nataliia Chornii (UA)" userId="4e4b8b3d-5f31-49bb-9f80-8a25c04abfff" providerId="ADAL" clId="{EE97D3FE-9ACA-4467-98E5-532EC45D9D1C}" dt="2024-03-11T14:33:49.480" v="24897"/>
          <ac:spMkLst>
            <pc:docMk/>
            <pc:sldMk cId="2086181770" sldId="958"/>
            <ac:spMk id="50" creationId="{0130363F-7CE7-F3D0-4AB5-F295FAC2DCBC}"/>
          </ac:spMkLst>
        </pc:spChg>
        <pc:spChg chg="mod ord">
          <ac:chgData name="Nataliia Chornii (UA)" userId="4e4b8b3d-5f31-49bb-9f80-8a25c04abfff" providerId="ADAL" clId="{EE97D3FE-9ACA-4467-98E5-532EC45D9D1C}" dt="2024-03-11T14:33:49.480" v="24899"/>
          <ac:spMkLst>
            <pc:docMk/>
            <pc:sldMk cId="2086181770" sldId="958"/>
            <ac:spMk id="51" creationId="{AFEB1935-0849-FFDB-14A2-768E555E2F79}"/>
          </ac:spMkLst>
        </pc:spChg>
        <pc:grpChg chg="add mod ord">
          <ac:chgData name="Nataliia Chornii (UA)" userId="4e4b8b3d-5f31-49bb-9f80-8a25c04abfff" providerId="ADAL" clId="{EE97D3FE-9ACA-4467-98E5-532EC45D9D1C}" dt="2024-03-11T14:33:49.504" v="24917"/>
          <ac:grpSpMkLst>
            <pc:docMk/>
            <pc:sldMk cId="2086181770" sldId="958"/>
            <ac:grpSpMk id="7" creationId="{B0CBCEE2-89E5-5463-67D9-02E554CFD44D}"/>
          </ac:grpSpMkLst>
        </pc:grpChg>
        <pc:grpChg chg="mod ord">
          <ac:chgData name="Nataliia Chornii (UA)" userId="4e4b8b3d-5f31-49bb-9f80-8a25c04abfff" providerId="ADAL" clId="{EE97D3FE-9ACA-4467-98E5-532EC45D9D1C}" dt="2024-03-11T14:33:49.495" v="24913"/>
          <ac:grpSpMkLst>
            <pc:docMk/>
            <pc:sldMk cId="2086181770" sldId="958"/>
            <ac:grpSpMk id="9" creationId="{CD2C3658-A1D3-3144-1ED5-F2F246D99B5F}"/>
          </ac:grpSpMkLst>
        </pc:grpChg>
        <pc:graphicFrameChg chg="mod">
          <ac:chgData name="Nataliia Chornii (UA)" userId="4e4b8b3d-5f31-49bb-9f80-8a25c04abfff" providerId="ADAL" clId="{EE97D3FE-9ACA-4467-98E5-532EC45D9D1C}" dt="2024-03-11T14:33:49.504" v="24921"/>
          <ac:graphicFrameMkLst>
            <pc:docMk/>
            <pc:sldMk cId="2086181770" sldId="958"/>
            <ac:graphicFrameMk id="12" creationId="{F6E6AF23-7B86-113A-F559-513B41FEC1FE}"/>
          </ac:graphicFrameMkLst>
        </pc:graphicFrameChg>
        <pc:picChg chg="mod ord">
          <ac:chgData name="Nataliia Chornii (UA)" userId="4e4b8b3d-5f31-49bb-9f80-8a25c04abfff" providerId="ADAL" clId="{EE97D3FE-9ACA-4467-98E5-532EC45D9D1C}" dt="2024-03-11T14:33:49.480" v="24881"/>
          <ac:picMkLst>
            <pc:docMk/>
            <pc:sldMk cId="2086181770" sldId="958"/>
            <ac:picMk id="10" creationId="{D9A9EE0A-E32C-EBE9-ADDC-CF7317F21A73}"/>
          </ac:picMkLst>
        </pc:picChg>
        <pc:cxnChg chg="mod ord">
          <ac:chgData name="Nataliia Chornii (UA)" userId="4e4b8b3d-5f31-49bb-9f80-8a25c04abfff" providerId="ADAL" clId="{EE97D3FE-9ACA-4467-98E5-532EC45D9D1C}" dt="2024-03-11T14:33:49.495" v="24901"/>
          <ac:cxnSpMkLst>
            <pc:docMk/>
            <pc:sldMk cId="2086181770" sldId="958"/>
            <ac:cxnSpMk id="53" creationId="{F358E754-064A-5B8C-B2FC-4E612BA07893}"/>
          </ac:cxnSpMkLst>
        </pc:cxnChg>
      </pc:sldChg>
      <pc:sldChg chg="addSp delSp modSp mod">
        <pc:chgData name="Nataliia Chornii (UA)" userId="4e4b8b3d-5f31-49bb-9f80-8a25c04abfff" providerId="ADAL" clId="{EE97D3FE-9ACA-4467-98E5-532EC45D9D1C}" dt="2024-03-11T14:33:56.888" v="25032"/>
        <pc:sldMkLst>
          <pc:docMk/>
          <pc:sldMk cId="1391244758" sldId="959"/>
        </pc:sldMkLst>
        <pc:spChg chg="mod ord">
          <ac:chgData name="Nataliia Chornii (UA)" userId="4e4b8b3d-5f31-49bb-9f80-8a25c04abfff" providerId="ADAL" clId="{EE97D3FE-9ACA-4467-98E5-532EC45D9D1C}" dt="2024-03-11T14:33:55.434" v="25002"/>
          <ac:spMkLst>
            <pc:docMk/>
            <pc:sldMk cId="1391244758" sldId="959"/>
            <ac:spMk id="3" creationId="{F4CCF02E-F3C4-C376-8F56-61BD85A2E74B}"/>
          </ac:spMkLst>
        </pc:spChg>
        <pc:spChg chg="mod ord">
          <ac:chgData name="Nataliia Chornii (UA)" userId="4e4b8b3d-5f31-49bb-9f80-8a25c04abfff" providerId="ADAL" clId="{EE97D3FE-9ACA-4467-98E5-532EC45D9D1C}" dt="2024-03-11T14:33:55.434" v="25004"/>
          <ac:spMkLst>
            <pc:docMk/>
            <pc:sldMk cId="1391244758" sldId="959"/>
            <ac:spMk id="4" creationId="{872966CD-924A-B939-E655-A6BAF817DCBF}"/>
          </ac:spMkLst>
        </pc:spChg>
        <pc:spChg chg="del mod ord">
          <ac:chgData name="Nataliia Chornii (UA)" userId="4e4b8b3d-5f31-49bb-9f80-8a25c04abfff" providerId="ADAL" clId="{EE97D3FE-9ACA-4467-98E5-532EC45D9D1C}" dt="2024-03-11T14:33:56.634" v="25031" actId="478"/>
          <ac:spMkLst>
            <pc:docMk/>
            <pc:sldMk cId="1391244758" sldId="959"/>
            <ac:spMk id="5" creationId="{B8117B57-8E39-5418-6527-0CB9323D2C76}"/>
          </ac:spMkLst>
        </pc:spChg>
        <pc:spChg chg="mod ord">
          <ac:chgData name="Nataliia Chornii (UA)" userId="4e4b8b3d-5f31-49bb-9f80-8a25c04abfff" providerId="ADAL" clId="{EE97D3FE-9ACA-4467-98E5-532EC45D9D1C}" dt="2024-03-11T14:33:55.419" v="24992"/>
          <ac:spMkLst>
            <pc:docMk/>
            <pc:sldMk cId="1391244758" sldId="959"/>
            <ac:spMk id="6" creationId="{686D4B80-56E5-D13D-8003-B763DAD4E3DD}"/>
          </ac:spMkLst>
        </pc:spChg>
        <pc:spChg chg="add mod ord">
          <ac:chgData name="Nataliia Chornii (UA)" userId="4e4b8b3d-5f31-49bb-9f80-8a25c04abfff" providerId="ADAL" clId="{EE97D3FE-9ACA-4467-98E5-532EC45D9D1C}" dt="2024-03-11T14:33:55.434" v="25024"/>
          <ac:spMkLst>
            <pc:docMk/>
            <pc:sldMk cId="1391244758" sldId="959"/>
            <ac:spMk id="7" creationId="{D16DAC3B-2FEB-8CE6-A6A0-456D7076AE0B}"/>
          </ac:spMkLst>
        </pc:spChg>
        <pc:spChg chg="mod ord">
          <ac:chgData name="Nataliia Chornii (UA)" userId="4e4b8b3d-5f31-49bb-9f80-8a25c04abfff" providerId="ADAL" clId="{EE97D3FE-9ACA-4467-98E5-532EC45D9D1C}" dt="2024-03-11T14:33:55.419" v="24994"/>
          <ac:spMkLst>
            <pc:docMk/>
            <pc:sldMk cId="1391244758" sldId="959"/>
            <ac:spMk id="9" creationId="{3C02F18C-4E74-90B5-EC0B-78FCC94453E3}"/>
          </ac:spMkLst>
        </pc:spChg>
        <pc:spChg chg="mod">
          <ac:chgData name="Nataliia Chornii (UA)" userId="4e4b8b3d-5f31-49bb-9f80-8a25c04abfff" providerId="ADAL" clId="{EE97D3FE-9ACA-4467-98E5-532EC45D9D1C}" dt="2024-03-11T14:26:55.097" v="24108"/>
          <ac:spMkLst>
            <pc:docMk/>
            <pc:sldMk cId="1391244758" sldId="959"/>
            <ac:spMk id="10" creationId="{AAE9C59C-D2A9-9C9C-556A-DDD841BB90DE}"/>
          </ac:spMkLst>
        </pc:spChg>
        <pc:spChg chg="mod ord">
          <ac:chgData name="Nataliia Chornii (UA)" userId="4e4b8b3d-5f31-49bb-9f80-8a25c04abfff" providerId="ADAL" clId="{EE97D3FE-9ACA-4467-98E5-532EC45D9D1C}" dt="2024-03-11T14:33:55.434" v="24996"/>
          <ac:spMkLst>
            <pc:docMk/>
            <pc:sldMk cId="1391244758" sldId="959"/>
            <ac:spMk id="11" creationId="{07889E6A-8E21-2803-30A1-A645AF04340F}"/>
          </ac:spMkLst>
        </pc:spChg>
        <pc:spChg chg="mod ord">
          <ac:chgData name="Nataliia Chornii (UA)" userId="4e4b8b3d-5f31-49bb-9f80-8a25c04abfff" providerId="ADAL" clId="{EE97D3FE-9ACA-4467-98E5-532EC45D9D1C}" dt="2024-03-11T14:33:55.434" v="24998"/>
          <ac:spMkLst>
            <pc:docMk/>
            <pc:sldMk cId="1391244758" sldId="959"/>
            <ac:spMk id="13" creationId="{10ECE187-B3A4-BDE3-A3F3-430688A0658E}"/>
          </ac:spMkLst>
        </pc:spChg>
        <pc:spChg chg="mod">
          <ac:chgData name="Nataliia Chornii (UA)" userId="4e4b8b3d-5f31-49bb-9f80-8a25c04abfff" providerId="ADAL" clId="{EE97D3FE-9ACA-4467-98E5-532EC45D9D1C}" dt="2024-03-11T14:26:55.097" v="24108"/>
          <ac:spMkLst>
            <pc:docMk/>
            <pc:sldMk cId="1391244758" sldId="959"/>
            <ac:spMk id="18" creationId="{EE01F724-7DB4-2CE5-D10E-BF62231C363C}"/>
          </ac:spMkLst>
        </pc:spChg>
        <pc:spChg chg="mod">
          <ac:chgData name="Nataliia Chornii (UA)" userId="4e4b8b3d-5f31-49bb-9f80-8a25c04abfff" providerId="ADAL" clId="{EE97D3FE-9ACA-4467-98E5-532EC45D9D1C}" dt="2024-03-11T14:26:55.097" v="24108"/>
          <ac:spMkLst>
            <pc:docMk/>
            <pc:sldMk cId="1391244758" sldId="959"/>
            <ac:spMk id="19" creationId="{A1F381BE-BA6F-371F-5802-E84D50347214}"/>
          </ac:spMkLst>
        </pc:spChg>
        <pc:spChg chg="mod">
          <ac:chgData name="Nataliia Chornii (UA)" userId="4e4b8b3d-5f31-49bb-9f80-8a25c04abfff" providerId="ADAL" clId="{EE97D3FE-9ACA-4467-98E5-532EC45D9D1C}" dt="2024-03-11T14:26:55.097" v="24108"/>
          <ac:spMkLst>
            <pc:docMk/>
            <pc:sldMk cId="1391244758" sldId="959"/>
            <ac:spMk id="20" creationId="{8DF79D8B-B0EA-E424-CFD0-22F6BC836886}"/>
          </ac:spMkLst>
        </pc:spChg>
        <pc:spChg chg="mod">
          <ac:chgData name="Nataliia Chornii (UA)" userId="4e4b8b3d-5f31-49bb-9f80-8a25c04abfff" providerId="ADAL" clId="{EE97D3FE-9ACA-4467-98E5-532EC45D9D1C}" dt="2024-03-11T14:26:55.097" v="24108"/>
          <ac:spMkLst>
            <pc:docMk/>
            <pc:sldMk cId="1391244758" sldId="959"/>
            <ac:spMk id="21" creationId="{94917998-2A5A-ABD2-65C0-77CC9667A646}"/>
          </ac:spMkLst>
        </pc:spChg>
        <pc:spChg chg="mod">
          <ac:chgData name="Nataliia Chornii (UA)" userId="4e4b8b3d-5f31-49bb-9f80-8a25c04abfff" providerId="ADAL" clId="{EE97D3FE-9ACA-4467-98E5-532EC45D9D1C}" dt="2024-03-11T14:26:55.097" v="24108"/>
          <ac:spMkLst>
            <pc:docMk/>
            <pc:sldMk cId="1391244758" sldId="959"/>
            <ac:spMk id="22" creationId="{E1DF04ED-9B92-007B-B2FF-87BFCB941F41}"/>
          </ac:spMkLst>
        </pc:spChg>
        <pc:spChg chg="add del mod modVis">
          <ac:chgData name="Nataliia Chornii (UA)" userId="4e4b8b3d-5f31-49bb-9f80-8a25c04abfff" providerId="ADAL" clId="{EE97D3FE-9ACA-4467-98E5-532EC45D9D1C}" dt="2024-03-11T14:33:54.235" v="24985"/>
          <ac:spMkLst>
            <pc:docMk/>
            <pc:sldMk cId="1391244758" sldId="959"/>
            <ac:spMk id="23" creationId="{6107B0CE-B2C4-7C58-4146-5B0B711AEF57}"/>
          </ac:spMkLst>
        </pc:spChg>
        <pc:spChg chg="add mod">
          <ac:chgData name="Nataliia Chornii (UA)" userId="4e4b8b3d-5f31-49bb-9f80-8a25c04abfff" providerId="ADAL" clId="{EE97D3FE-9ACA-4467-98E5-532EC45D9D1C}" dt="2024-03-11T14:33:56.888" v="25032"/>
          <ac:spMkLst>
            <pc:docMk/>
            <pc:sldMk cId="1391244758" sldId="959"/>
            <ac:spMk id="24" creationId="{C19B2E0E-E082-B9BF-D864-14155504C2E7}"/>
          </ac:spMkLst>
        </pc:spChg>
        <pc:spChg chg="mod ord">
          <ac:chgData name="Nataliia Chornii (UA)" userId="4e4b8b3d-5f31-49bb-9f80-8a25c04abfff" providerId="ADAL" clId="{EE97D3FE-9ACA-4467-98E5-532EC45D9D1C}" dt="2024-03-11T14:33:55.434" v="25006"/>
          <ac:spMkLst>
            <pc:docMk/>
            <pc:sldMk cId="1391244758" sldId="959"/>
            <ac:spMk id="26" creationId="{5EC1F9AE-82A4-85FE-592B-EF659F76F7EC}"/>
          </ac:spMkLst>
        </pc:spChg>
        <pc:spChg chg="mod ord">
          <ac:chgData name="Nataliia Chornii (UA)" userId="4e4b8b3d-5f31-49bb-9f80-8a25c04abfff" providerId="ADAL" clId="{EE97D3FE-9ACA-4467-98E5-532EC45D9D1C}" dt="2024-03-11T14:33:55.434" v="25008"/>
          <ac:spMkLst>
            <pc:docMk/>
            <pc:sldMk cId="1391244758" sldId="959"/>
            <ac:spMk id="29" creationId="{3915AD89-6428-4A75-0915-328643F1703C}"/>
          </ac:spMkLst>
        </pc:spChg>
        <pc:spChg chg="mod ord">
          <ac:chgData name="Nataliia Chornii (UA)" userId="4e4b8b3d-5f31-49bb-9f80-8a25c04abfff" providerId="ADAL" clId="{EE97D3FE-9ACA-4467-98E5-532EC45D9D1C}" dt="2024-03-11T14:33:55.434" v="25010"/>
          <ac:spMkLst>
            <pc:docMk/>
            <pc:sldMk cId="1391244758" sldId="959"/>
            <ac:spMk id="30" creationId="{373AB206-F1F0-CC72-8C15-85605D9AF2AC}"/>
          </ac:spMkLst>
        </pc:spChg>
        <pc:spChg chg="mod ord">
          <ac:chgData name="Nataliia Chornii (UA)" userId="4e4b8b3d-5f31-49bb-9f80-8a25c04abfff" providerId="ADAL" clId="{EE97D3FE-9ACA-4467-98E5-532EC45D9D1C}" dt="2024-03-11T14:33:55.434" v="25012"/>
          <ac:spMkLst>
            <pc:docMk/>
            <pc:sldMk cId="1391244758" sldId="959"/>
            <ac:spMk id="46" creationId="{09BF84D6-F468-7005-FAB5-AA0B6AE5CFB4}"/>
          </ac:spMkLst>
        </pc:spChg>
        <pc:spChg chg="mod ord">
          <ac:chgData name="Nataliia Chornii (UA)" userId="4e4b8b3d-5f31-49bb-9f80-8a25c04abfff" providerId="ADAL" clId="{EE97D3FE-9ACA-4467-98E5-532EC45D9D1C}" dt="2024-03-11T14:33:55.434" v="25014"/>
          <ac:spMkLst>
            <pc:docMk/>
            <pc:sldMk cId="1391244758" sldId="959"/>
            <ac:spMk id="50" creationId="{0130363F-7CE7-F3D0-4AB5-F295FAC2DCBC}"/>
          </ac:spMkLst>
        </pc:spChg>
        <pc:spChg chg="mod ord">
          <ac:chgData name="Nataliia Chornii (UA)" userId="4e4b8b3d-5f31-49bb-9f80-8a25c04abfff" providerId="ADAL" clId="{EE97D3FE-9ACA-4467-98E5-532EC45D9D1C}" dt="2024-03-11T14:33:55.434" v="25016"/>
          <ac:spMkLst>
            <pc:docMk/>
            <pc:sldMk cId="1391244758" sldId="959"/>
            <ac:spMk id="51" creationId="{AFEB1935-0849-FFDB-14A2-768E555E2F79}"/>
          </ac:spMkLst>
        </pc:spChg>
        <pc:spChg chg="mod ord">
          <ac:chgData name="Nataliia Chornii (UA)" userId="4e4b8b3d-5f31-49bb-9f80-8a25c04abfff" providerId="ADAL" clId="{EE97D3FE-9ACA-4467-98E5-532EC45D9D1C}" dt="2024-03-11T14:33:55.434" v="25018"/>
          <ac:spMkLst>
            <pc:docMk/>
            <pc:sldMk cId="1391244758" sldId="959"/>
            <ac:spMk id="52" creationId="{C28EBB85-E5E0-FA58-8077-AD15508F23C6}"/>
          </ac:spMkLst>
        </pc:spChg>
        <pc:grpChg chg="add mod ord">
          <ac:chgData name="Nataliia Chornii (UA)" userId="4e4b8b3d-5f31-49bb-9f80-8a25c04abfff" providerId="ADAL" clId="{EE97D3FE-9ACA-4467-98E5-532EC45D9D1C}" dt="2024-03-11T14:33:55.434" v="25026"/>
          <ac:grpSpMkLst>
            <pc:docMk/>
            <pc:sldMk cId="1391244758" sldId="959"/>
            <ac:grpSpMk id="8" creationId="{5214FC1D-6E62-20B2-7FC0-F3923E5A3169}"/>
          </ac:grpSpMkLst>
        </pc:grpChg>
        <pc:grpChg chg="mod ord">
          <ac:chgData name="Nataliia Chornii (UA)" userId="4e4b8b3d-5f31-49bb-9f80-8a25c04abfff" providerId="ADAL" clId="{EE97D3FE-9ACA-4467-98E5-532EC45D9D1C}" dt="2024-03-11T14:33:55.434" v="25000"/>
          <ac:grpSpMkLst>
            <pc:docMk/>
            <pc:sldMk cId="1391244758" sldId="959"/>
            <ac:grpSpMk id="14" creationId="{267418C2-6F99-A659-AB11-419EED1354F6}"/>
          </ac:grpSpMkLst>
        </pc:grpChg>
        <pc:graphicFrameChg chg="mod">
          <ac:chgData name="Nataliia Chornii (UA)" userId="4e4b8b3d-5f31-49bb-9f80-8a25c04abfff" providerId="ADAL" clId="{EE97D3FE-9ACA-4467-98E5-532EC45D9D1C}" dt="2024-03-11T14:33:55.434" v="25030"/>
          <ac:graphicFrameMkLst>
            <pc:docMk/>
            <pc:sldMk cId="1391244758" sldId="959"/>
            <ac:graphicFrameMk id="12" creationId="{F6E6AF23-7B86-113A-F559-513B41FEC1FE}"/>
          </ac:graphicFrameMkLst>
        </pc:graphicFrameChg>
        <pc:picChg chg="mod ord">
          <ac:chgData name="Nataliia Chornii (UA)" userId="4e4b8b3d-5f31-49bb-9f80-8a25c04abfff" providerId="ADAL" clId="{EE97D3FE-9ACA-4467-98E5-532EC45D9D1C}" dt="2024-03-11T14:33:55.419" v="24990"/>
          <ac:picMkLst>
            <pc:docMk/>
            <pc:sldMk cId="1391244758" sldId="959"/>
            <ac:picMk id="2" creationId="{6B4CC937-6B70-65C0-140B-A0FD867D01D0}"/>
          </ac:picMkLst>
        </pc:picChg>
        <pc:cxnChg chg="mod ord">
          <ac:chgData name="Nataliia Chornii (UA)" userId="4e4b8b3d-5f31-49bb-9f80-8a25c04abfff" providerId="ADAL" clId="{EE97D3FE-9ACA-4467-98E5-532EC45D9D1C}" dt="2024-03-11T14:33:55.434" v="25020"/>
          <ac:cxnSpMkLst>
            <pc:docMk/>
            <pc:sldMk cId="1391244758" sldId="959"/>
            <ac:cxnSpMk id="53" creationId="{F358E754-064A-5B8C-B2FC-4E612BA07893}"/>
          </ac:cxnSpMkLst>
        </pc:cxnChg>
      </pc:sldChg>
      <pc:sldChg chg="addSp modSp">
        <pc:chgData name="Nataliia Chornii (UA)" userId="4e4b8b3d-5f31-49bb-9f80-8a25c04abfff" providerId="ADAL" clId="{EE97D3FE-9ACA-4467-98E5-532EC45D9D1C}" dt="2024-03-11T14:27:01.422" v="24112"/>
        <pc:sldMkLst>
          <pc:docMk/>
          <pc:sldMk cId="425128272" sldId="960"/>
        </pc:sldMkLst>
        <pc:spChg chg="add mod">
          <ac:chgData name="Nataliia Chornii (UA)" userId="4e4b8b3d-5f31-49bb-9f80-8a25c04abfff" providerId="ADAL" clId="{EE97D3FE-9ACA-4467-98E5-532EC45D9D1C}" dt="2024-03-11T14:27:01.422" v="24112"/>
          <ac:spMkLst>
            <pc:docMk/>
            <pc:sldMk cId="425128272" sldId="960"/>
            <ac:spMk id="2" creationId="{34F1EF69-F6E7-494E-E505-1BE8F9572B6E}"/>
          </ac:spMkLst>
        </pc:spChg>
        <pc:spChg chg="mod">
          <ac:chgData name="Nataliia Chornii (UA)" userId="4e4b8b3d-5f31-49bb-9f80-8a25c04abfff" providerId="ADAL" clId="{EE97D3FE-9ACA-4467-98E5-532EC45D9D1C}" dt="2024-03-11T14:27:01.422" v="24112"/>
          <ac:spMkLst>
            <pc:docMk/>
            <pc:sldMk cId="425128272" sldId="960"/>
            <ac:spMk id="10" creationId="{D24E2EFC-DBF8-80BD-7A73-E7830A295D96}"/>
          </ac:spMkLst>
        </pc:spChg>
        <pc:spChg chg="mod">
          <ac:chgData name="Nataliia Chornii (UA)" userId="4e4b8b3d-5f31-49bb-9f80-8a25c04abfff" providerId="ADAL" clId="{EE97D3FE-9ACA-4467-98E5-532EC45D9D1C}" dt="2024-03-11T14:27:01.422" v="24112"/>
          <ac:spMkLst>
            <pc:docMk/>
            <pc:sldMk cId="425128272" sldId="960"/>
            <ac:spMk id="11" creationId="{F3858D78-7EEE-7BDB-4A73-ED77EC155DB3}"/>
          </ac:spMkLst>
        </pc:spChg>
        <pc:spChg chg="mod">
          <ac:chgData name="Nataliia Chornii (UA)" userId="4e4b8b3d-5f31-49bb-9f80-8a25c04abfff" providerId="ADAL" clId="{EE97D3FE-9ACA-4467-98E5-532EC45D9D1C}" dt="2024-03-11T14:27:01.422" v="24112"/>
          <ac:spMkLst>
            <pc:docMk/>
            <pc:sldMk cId="425128272" sldId="960"/>
            <ac:spMk id="19" creationId="{005CCC69-798B-83D0-A5D9-47C6D719FFF2}"/>
          </ac:spMkLst>
        </pc:spChg>
        <pc:spChg chg="mod">
          <ac:chgData name="Nataliia Chornii (UA)" userId="4e4b8b3d-5f31-49bb-9f80-8a25c04abfff" providerId="ADAL" clId="{EE97D3FE-9ACA-4467-98E5-532EC45D9D1C}" dt="2024-03-11T14:27:01.422" v="24112"/>
          <ac:spMkLst>
            <pc:docMk/>
            <pc:sldMk cId="425128272" sldId="960"/>
            <ac:spMk id="20" creationId="{E31D8150-D0F6-F3CA-6BEF-3723E8367E00}"/>
          </ac:spMkLst>
        </pc:spChg>
        <pc:spChg chg="mod">
          <ac:chgData name="Nataliia Chornii (UA)" userId="4e4b8b3d-5f31-49bb-9f80-8a25c04abfff" providerId="ADAL" clId="{EE97D3FE-9ACA-4467-98E5-532EC45D9D1C}" dt="2024-03-11T14:27:01.422" v="24112"/>
          <ac:spMkLst>
            <pc:docMk/>
            <pc:sldMk cId="425128272" sldId="960"/>
            <ac:spMk id="21" creationId="{4AC05396-05F2-394E-8234-8A1A8985F99B}"/>
          </ac:spMkLst>
        </pc:spChg>
        <pc:spChg chg="mod">
          <ac:chgData name="Nataliia Chornii (UA)" userId="4e4b8b3d-5f31-49bb-9f80-8a25c04abfff" providerId="ADAL" clId="{EE97D3FE-9ACA-4467-98E5-532EC45D9D1C}" dt="2024-03-11T14:27:01.422" v="24112"/>
          <ac:spMkLst>
            <pc:docMk/>
            <pc:sldMk cId="425128272" sldId="960"/>
            <ac:spMk id="22" creationId="{CAA41518-0319-20F5-F41A-DB450457D328}"/>
          </ac:spMkLst>
        </pc:spChg>
        <pc:grpChg chg="add mod">
          <ac:chgData name="Nataliia Chornii (UA)" userId="4e4b8b3d-5f31-49bb-9f80-8a25c04abfff" providerId="ADAL" clId="{EE97D3FE-9ACA-4467-98E5-532EC45D9D1C}" dt="2024-03-11T14:27:01.422" v="24112"/>
          <ac:grpSpMkLst>
            <pc:docMk/>
            <pc:sldMk cId="425128272" sldId="960"/>
            <ac:grpSpMk id="9" creationId="{17CB9501-EA3A-2E37-3C33-CDC8718984BE}"/>
          </ac:grpSpMkLst>
        </pc:grpChg>
      </pc:sldChg>
      <pc:sldChg chg="addSp delSp modSp mod">
        <pc:chgData name="Nataliia Chornii (UA)" userId="4e4b8b3d-5f31-49bb-9f80-8a25c04abfff" providerId="ADAL" clId="{EE97D3FE-9ACA-4467-98E5-532EC45D9D1C}" dt="2024-03-11T14:34:13.205" v="25042"/>
        <pc:sldMkLst>
          <pc:docMk/>
          <pc:sldMk cId="1511441995" sldId="962"/>
        </pc:sldMkLst>
        <pc:spChg chg="add mod">
          <ac:chgData name="Nataliia Chornii (UA)" userId="4e4b8b3d-5f31-49bb-9f80-8a25c04abfff" providerId="ADAL" clId="{EE97D3FE-9ACA-4467-98E5-532EC45D9D1C}" dt="2024-03-11T14:27:05.304" v="24115"/>
          <ac:spMkLst>
            <pc:docMk/>
            <pc:sldMk cId="1511441995" sldId="962"/>
            <ac:spMk id="2" creationId="{9ED375F9-589E-9477-7DB1-419EB3F66E7A}"/>
          </ac:spMkLst>
        </pc:spChg>
        <pc:spChg chg="del">
          <ac:chgData name="Nataliia Chornii (UA)" userId="4e4b8b3d-5f31-49bb-9f80-8a25c04abfff" providerId="ADAL" clId="{EE97D3FE-9ACA-4467-98E5-532EC45D9D1C}" dt="2024-03-11T14:34:12.905" v="25041" actId="478"/>
          <ac:spMkLst>
            <pc:docMk/>
            <pc:sldMk cId="1511441995" sldId="962"/>
            <ac:spMk id="5" creationId="{947D8C6D-59FC-B70D-62E8-4E05ED8582AC}"/>
          </ac:spMkLst>
        </pc:spChg>
        <pc:spChg chg="mod">
          <ac:chgData name="Nataliia Chornii (UA)" userId="4e4b8b3d-5f31-49bb-9f80-8a25c04abfff" providerId="ADAL" clId="{EE97D3FE-9ACA-4467-98E5-532EC45D9D1C}" dt="2024-03-11T14:27:05.304" v="24115"/>
          <ac:spMkLst>
            <pc:docMk/>
            <pc:sldMk cId="1511441995" sldId="962"/>
            <ac:spMk id="17" creationId="{922BC5E5-3FB0-E47B-7549-BE5E7E1D15D1}"/>
          </ac:spMkLst>
        </pc:spChg>
        <pc:spChg chg="mod">
          <ac:chgData name="Nataliia Chornii (UA)" userId="4e4b8b3d-5f31-49bb-9f80-8a25c04abfff" providerId="ADAL" clId="{EE97D3FE-9ACA-4467-98E5-532EC45D9D1C}" dt="2024-03-11T14:27:05.304" v="24115"/>
          <ac:spMkLst>
            <pc:docMk/>
            <pc:sldMk cId="1511441995" sldId="962"/>
            <ac:spMk id="18" creationId="{38640C57-A76B-3971-AE8C-809D394D520A}"/>
          </ac:spMkLst>
        </pc:spChg>
        <pc:spChg chg="mod">
          <ac:chgData name="Nataliia Chornii (UA)" userId="4e4b8b3d-5f31-49bb-9f80-8a25c04abfff" providerId="ADAL" clId="{EE97D3FE-9ACA-4467-98E5-532EC45D9D1C}" dt="2024-03-11T14:27:05.304" v="24115"/>
          <ac:spMkLst>
            <pc:docMk/>
            <pc:sldMk cId="1511441995" sldId="962"/>
            <ac:spMk id="19" creationId="{81139A95-8BF4-A27C-F1E4-4ABFBBBDA6AE}"/>
          </ac:spMkLst>
        </pc:spChg>
        <pc:spChg chg="mod">
          <ac:chgData name="Nataliia Chornii (UA)" userId="4e4b8b3d-5f31-49bb-9f80-8a25c04abfff" providerId="ADAL" clId="{EE97D3FE-9ACA-4467-98E5-532EC45D9D1C}" dt="2024-03-11T14:27:05.304" v="24115"/>
          <ac:spMkLst>
            <pc:docMk/>
            <pc:sldMk cId="1511441995" sldId="962"/>
            <ac:spMk id="20" creationId="{125E0E1D-724F-29DE-F261-51B822C30A40}"/>
          </ac:spMkLst>
        </pc:spChg>
        <pc:spChg chg="mod">
          <ac:chgData name="Nataliia Chornii (UA)" userId="4e4b8b3d-5f31-49bb-9f80-8a25c04abfff" providerId="ADAL" clId="{EE97D3FE-9ACA-4467-98E5-532EC45D9D1C}" dt="2024-03-11T14:27:05.304" v="24115"/>
          <ac:spMkLst>
            <pc:docMk/>
            <pc:sldMk cId="1511441995" sldId="962"/>
            <ac:spMk id="21" creationId="{06B65D18-136A-22A3-7156-7AFF2713E707}"/>
          </ac:spMkLst>
        </pc:spChg>
        <pc:spChg chg="mod">
          <ac:chgData name="Nataliia Chornii (UA)" userId="4e4b8b3d-5f31-49bb-9f80-8a25c04abfff" providerId="ADAL" clId="{EE97D3FE-9ACA-4467-98E5-532EC45D9D1C}" dt="2024-03-11T14:27:05.304" v="24115"/>
          <ac:spMkLst>
            <pc:docMk/>
            <pc:sldMk cId="1511441995" sldId="962"/>
            <ac:spMk id="22" creationId="{8B327FFC-81B8-D86F-F0E8-8B5B17B3C0FB}"/>
          </ac:spMkLst>
        </pc:spChg>
        <pc:spChg chg="add mod">
          <ac:chgData name="Nataliia Chornii (UA)" userId="4e4b8b3d-5f31-49bb-9f80-8a25c04abfff" providerId="ADAL" clId="{EE97D3FE-9ACA-4467-98E5-532EC45D9D1C}" dt="2024-03-11T14:34:13.205" v="25042"/>
          <ac:spMkLst>
            <pc:docMk/>
            <pc:sldMk cId="1511441995" sldId="962"/>
            <ac:spMk id="23" creationId="{1E3D942D-5153-F87A-E502-6A801E765CCA}"/>
          </ac:spMkLst>
        </pc:spChg>
        <pc:grpChg chg="add mod">
          <ac:chgData name="Nataliia Chornii (UA)" userId="4e4b8b3d-5f31-49bb-9f80-8a25c04abfff" providerId="ADAL" clId="{EE97D3FE-9ACA-4467-98E5-532EC45D9D1C}" dt="2024-03-11T14:27:05.304" v="24115"/>
          <ac:grpSpMkLst>
            <pc:docMk/>
            <pc:sldMk cId="1511441995" sldId="962"/>
            <ac:grpSpMk id="16" creationId="{7F93A433-E642-8CCA-5948-57184688ECEE}"/>
          </ac:grpSpMkLst>
        </pc:grpChg>
      </pc:sldChg>
      <pc:sldChg chg="addSp delSp modSp mod">
        <pc:chgData name="Nataliia Chornii (UA)" userId="4e4b8b3d-5f31-49bb-9f80-8a25c04abfff" providerId="ADAL" clId="{EE97D3FE-9ACA-4467-98E5-532EC45D9D1C}" dt="2024-03-11T14:34:00.729" v="25034"/>
        <pc:sldMkLst>
          <pc:docMk/>
          <pc:sldMk cId="4141191697" sldId="963"/>
        </pc:sldMkLst>
        <pc:spChg chg="del">
          <ac:chgData name="Nataliia Chornii (UA)" userId="4e4b8b3d-5f31-49bb-9f80-8a25c04abfff" providerId="ADAL" clId="{EE97D3FE-9ACA-4467-98E5-532EC45D9D1C}" dt="2024-03-11T14:34:00.411" v="25033" actId="478"/>
          <ac:spMkLst>
            <pc:docMk/>
            <pc:sldMk cId="4141191697" sldId="963"/>
            <ac:spMk id="6" creationId="{898887DF-9190-F283-B120-8AE08B7645FA}"/>
          </ac:spMkLst>
        </pc:spChg>
        <pc:spChg chg="add mod">
          <ac:chgData name="Nataliia Chornii (UA)" userId="4e4b8b3d-5f31-49bb-9f80-8a25c04abfff" providerId="ADAL" clId="{EE97D3FE-9ACA-4467-98E5-532EC45D9D1C}" dt="2024-03-11T14:26:57.250" v="24109"/>
          <ac:spMkLst>
            <pc:docMk/>
            <pc:sldMk cId="4141191697" sldId="963"/>
            <ac:spMk id="10" creationId="{8CC33394-EBA6-F8B3-884F-79BAB196D95C}"/>
          </ac:spMkLst>
        </pc:spChg>
        <pc:spChg chg="mod">
          <ac:chgData name="Nataliia Chornii (UA)" userId="4e4b8b3d-5f31-49bb-9f80-8a25c04abfff" providerId="ADAL" clId="{EE97D3FE-9ACA-4467-98E5-532EC45D9D1C}" dt="2024-03-11T14:26:57.250" v="24109"/>
          <ac:spMkLst>
            <pc:docMk/>
            <pc:sldMk cId="4141191697" sldId="963"/>
            <ac:spMk id="13" creationId="{57753D9C-E521-C04C-D589-23E0C0A31E9A}"/>
          </ac:spMkLst>
        </pc:spChg>
        <pc:spChg chg="mod">
          <ac:chgData name="Nataliia Chornii (UA)" userId="4e4b8b3d-5f31-49bb-9f80-8a25c04abfff" providerId="ADAL" clId="{EE97D3FE-9ACA-4467-98E5-532EC45D9D1C}" dt="2024-03-11T14:26:57.250" v="24109"/>
          <ac:spMkLst>
            <pc:docMk/>
            <pc:sldMk cId="4141191697" sldId="963"/>
            <ac:spMk id="14" creationId="{4E9225F2-95E0-C0B8-9027-B3D18F0D73C1}"/>
          </ac:spMkLst>
        </pc:spChg>
        <pc:spChg chg="mod">
          <ac:chgData name="Nataliia Chornii (UA)" userId="4e4b8b3d-5f31-49bb-9f80-8a25c04abfff" providerId="ADAL" clId="{EE97D3FE-9ACA-4467-98E5-532EC45D9D1C}" dt="2024-03-11T14:26:57.250" v="24109"/>
          <ac:spMkLst>
            <pc:docMk/>
            <pc:sldMk cId="4141191697" sldId="963"/>
            <ac:spMk id="15" creationId="{13C1D357-1582-C632-7499-0D4A7C272BEE}"/>
          </ac:spMkLst>
        </pc:spChg>
        <pc:spChg chg="mod">
          <ac:chgData name="Nataliia Chornii (UA)" userId="4e4b8b3d-5f31-49bb-9f80-8a25c04abfff" providerId="ADAL" clId="{EE97D3FE-9ACA-4467-98E5-532EC45D9D1C}" dt="2024-03-11T14:26:57.250" v="24109"/>
          <ac:spMkLst>
            <pc:docMk/>
            <pc:sldMk cId="4141191697" sldId="963"/>
            <ac:spMk id="16" creationId="{BF6544D2-05A9-61AE-E32B-B62FE805F9D4}"/>
          </ac:spMkLst>
        </pc:spChg>
        <pc:spChg chg="mod">
          <ac:chgData name="Nataliia Chornii (UA)" userId="4e4b8b3d-5f31-49bb-9f80-8a25c04abfff" providerId="ADAL" clId="{EE97D3FE-9ACA-4467-98E5-532EC45D9D1C}" dt="2024-03-11T14:26:57.250" v="24109"/>
          <ac:spMkLst>
            <pc:docMk/>
            <pc:sldMk cId="4141191697" sldId="963"/>
            <ac:spMk id="17" creationId="{F6CA5E7C-DD3F-76C1-D98D-CF8162FA09CB}"/>
          </ac:spMkLst>
        </pc:spChg>
        <pc:spChg chg="mod">
          <ac:chgData name="Nataliia Chornii (UA)" userId="4e4b8b3d-5f31-49bb-9f80-8a25c04abfff" providerId="ADAL" clId="{EE97D3FE-9ACA-4467-98E5-532EC45D9D1C}" dt="2024-03-11T14:26:57.250" v="24109"/>
          <ac:spMkLst>
            <pc:docMk/>
            <pc:sldMk cId="4141191697" sldId="963"/>
            <ac:spMk id="18" creationId="{646D6257-1366-8C73-AC02-64C83373E213}"/>
          </ac:spMkLst>
        </pc:spChg>
        <pc:spChg chg="add mod">
          <ac:chgData name="Nataliia Chornii (UA)" userId="4e4b8b3d-5f31-49bb-9f80-8a25c04abfff" providerId="ADAL" clId="{EE97D3FE-9ACA-4467-98E5-532EC45D9D1C}" dt="2024-03-11T14:34:00.729" v="25034"/>
          <ac:spMkLst>
            <pc:docMk/>
            <pc:sldMk cId="4141191697" sldId="963"/>
            <ac:spMk id="19" creationId="{FABB8E7C-60CE-09CB-AEBF-C00E7EB1273A}"/>
          </ac:spMkLst>
        </pc:spChg>
        <pc:grpChg chg="add mod">
          <ac:chgData name="Nataliia Chornii (UA)" userId="4e4b8b3d-5f31-49bb-9f80-8a25c04abfff" providerId="ADAL" clId="{EE97D3FE-9ACA-4467-98E5-532EC45D9D1C}" dt="2024-03-11T14:26:57.250" v="24109"/>
          <ac:grpSpMkLst>
            <pc:docMk/>
            <pc:sldMk cId="4141191697" sldId="963"/>
            <ac:grpSpMk id="11" creationId="{7ED52A36-420B-20FB-FC71-B6C4A5EF3012}"/>
          </ac:grpSpMkLst>
        </pc:grpChg>
      </pc:sldChg>
      <pc:sldChg chg="addSp delSp modSp mod">
        <pc:chgData name="Nataliia Chornii (UA)" userId="4e4b8b3d-5f31-49bb-9f80-8a25c04abfff" providerId="ADAL" clId="{EE97D3FE-9ACA-4467-98E5-532EC45D9D1C}" dt="2024-03-11T14:34:03.053" v="25036"/>
        <pc:sldMkLst>
          <pc:docMk/>
          <pc:sldMk cId="1785961526" sldId="964"/>
        </pc:sldMkLst>
        <pc:spChg chg="add mod">
          <ac:chgData name="Nataliia Chornii (UA)" userId="4e4b8b3d-5f31-49bb-9f80-8a25c04abfff" providerId="ADAL" clId="{EE97D3FE-9ACA-4467-98E5-532EC45D9D1C}" dt="2024-03-11T14:26:58.957" v="24110"/>
          <ac:spMkLst>
            <pc:docMk/>
            <pc:sldMk cId="1785961526" sldId="964"/>
            <ac:spMk id="2" creationId="{704047AB-6DDC-C2CE-C1C1-09F2077282B4}"/>
          </ac:spMkLst>
        </pc:spChg>
        <pc:spChg chg="del">
          <ac:chgData name="Nataliia Chornii (UA)" userId="4e4b8b3d-5f31-49bb-9f80-8a25c04abfff" providerId="ADAL" clId="{EE97D3FE-9ACA-4467-98E5-532EC45D9D1C}" dt="2024-03-11T14:34:02.779" v="25035" actId="478"/>
          <ac:spMkLst>
            <pc:docMk/>
            <pc:sldMk cId="1785961526" sldId="964"/>
            <ac:spMk id="5" creationId="{B8117B57-8E39-5418-6527-0CB9323D2C76}"/>
          </ac:spMkLst>
        </pc:spChg>
        <pc:spChg chg="mod">
          <ac:chgData name="Nataliia Chornii (UA)" userId="4e4b8b3d-5f31-49bb-9f80-8a25c04abfff" providerId="ADAL" clId="{EE97D3FE-9ACA-4467-98E5-532EC45D9D1C}" dt="2024-03-11T14:26:58.957" v="24110"/>
          <ac:spMkLst>
            <pc:docMk/>
            <pc:sldMk cId="1785961526" sldId="964"/>
            <ac:spMk id="7" creationId="{BD8D9E96-1678-DA49-7F47-1AFEC753B178}"/>
          </ac:spMkLst>
        </pc:spChg>
        <pc:spChg chg="mod">
          <ac:chgData name="Nataliia Chornii (UA)" userId="4e4b8b3d-5f31-49bb-9f80-8a25c04abfff" providerId="ADAL" clId="{EE97D3FE-9ACA-4467-98E5-532EC45D9D1C}" dt="2024-03-11T14:26:58.957" v="24110"/>
          <ac:spMkLst>
            <pc:docMk/>
            <pc:sldMk cId="1785961526" sldId="964"/>
            <ac:spMk id="18" creationId="{0172CD59-9744-ADB4-4863-BCE92525D495}"/>
          </ac:spMkLst>
        </pc:spChg>
        <pc:spChg chg="mod">
          <ac:chgData name="Nataliia Chornii (UA)" userId="4e4b8b3d-5f31-49bb-9f80-8a25c04abfff" providerId="ADAL" clId="{EE97D3FE-9ACA-4467-98E5-532EC45D9D1C}" dt="2024-03-11T14:26:58.957" v="24110"/>
          <ac:spMkLst>
            <pc:docMk/>
            <pc:sldMk cId="1785961526" sldId="964"/>
            <ac:spMk id="19" creationId="{4358BCB3-A5E1-2361-0A2E-610449D7A130}"/>
          </ac:spMkLst>
        </pc:spChg>
        <pc:spChg chg="mod">
          <ac:chgData name="Nataliia Chornii (UA)" userId="4e4b8b3d-5f31-49bb-9f80-8a25c04abfff" providerId="ADAL" clId="{EE97D3FE-9ACA-4467-98E5-532EC45D9D1C}" dt="2024-03-11T14:26:58.957" v="24110"/>
          <ac:spMkLst>
            <pc:docMk/>
            <pc:sldMk cId="1785961526" sldId="964"/>
            <ac:spMk id="20" creationId="{D0DF8A67-8EFA-417A-F7A3-93C07FDC1EA0}"/>
          </ac:spMkLst>
        </pc:spChg>
        <pc:spChg chg="mod">
          <ac:chgData name="Nataliia Chornii (UA)" userId="4e4b8b3d-5f31-49bb-9f80-8a25c04abfff" providerId="ADAL" clId="{EE97D3FE-9ACA-4467-98E5-532EC45D9D1C}" dt="2024-03-11T14:26:58.957" v="24110"/>
          <ac:spMkLst>
            <pc:docMk/>
            <pc:sldMk cId="1785961526" sldId="964"/>
            <ac:spMk id="21" creationId="{87C700E6-6609-64CB-CE3B-B58C928BE19D}"/>
          </ac:spMkLst>
        </pc:spChg>
        <pc:spChg chg="mod">
          <ac:chgData name="Nataliia Chornii (UA)" userId="4e4b8b3d-5f31-49bb-9f80-8a25c04abfff" providerId="ADAL" clId="{EE97D3FE-9ACA-4467-98E5-532EC45D9D1C}" dt="2024-03-11T14:26:58.957" v="24110"/>
          <ac:spMkLst>
            <pc:docMk/>
            <pc:sldMk cId="1785961526" sldId="964"/>
            <ac:spMk id="22" creationId="{96B88103-10B2-C35E-D127-6A8408C199E9}"/>
          </ac:spMkLst>
        </pc:spChg>
        <pc:spChg chg="add mod">
          <ac:chgData name="Nataliia Chornii (UA)" userId="4e4b8b3d-5f31-49bb-9f80-8a25c04abfff" providerId="ADAL" clId="{EE97D3FE-9ACA-4467-98E5-532EC45D9D1C}" dt="2024-03-11T14:34:03.053" v="25036"/>
          <ac:spMkLst>
            <pc:docMk/>
            <pc:sldMk cId="1785961526" sldId="964"/>
            <ac:spMk id="23" creationId="{DC3639F2-FAC5-DA12-818F-826192DCE10F}"/>
          </ac:spMkLst>
        </pc:spChg>
        <pc:grpChg chg="add mod">
          <ac:chgData name="Nataliia Chornii (UA)" userId="4e4b8b3d-5f31-49bb-9f80-8a25c04abfff" providerId="ADAL" clId="{EE97D3FE-9ACA-4467-98E5-532EC45D9D1C}" dt="2024-03-11T14:26:58.957" v="24110"/>
          <ac:grpSpMkLst>
            <pc:docMk/>
            <pc:sldMk cId="1785961526" sldId="964"/>
            <ac:grpSpMk id="6" creationId="{F8DC2B36-F945-99C2-8710-1BD7F3813485}"/>
          </ac:grpSpMkLst>
        </pc:grpChg>
      </pc:sldChg>
      <pc:sldChg chg="addSp modSp">
        <pc:chgData name="Nataliia Chornii (UA)" userId="4e4b8b3d-5f31-49bb-9f80-8a25c04abfff" providerId="ADAL" clId="{EE97D3FE-9ACA-4467-98E5-532EC45D9D1C}" dt="2024-03-11T14:27:02.939" v="24113"/>
        <pc:sldMkLst>
          <pc:docMk/>
          <pc:sldMk cId="3788013194" sldId="965"/>
        </pc:sldMkLst>
        <pc:spChg chg="add mod">
          <ac:chgData name="Nataliia Chornii (UA)" userId="4e4b8b3d-5f31-49bb-9f80-8a25c04abfff" providerId="ADAL" clId="{EE97D3FE-9ACA-4467-98E5-532EC45D9D1C}" dt="2024-03-11T14:27:02.939" v="24113"/>
          <ac:spMkLst>
            <pc:docMk/>
            <pc:sldMk cId="3788013194" sldId="965"/>
            <ac:spMk id="2" creationId="{6E1B2AB8-E92F-2ADE-A05F-E56CA9F1158F}"/>
          </ac:spMkLst>
        </pc:spChg>
        <pc:spChg chg="mod">
          <ac:chgData name="Nataliia Chornii (UA)" userId="4e4b8b3d-5f31-49bb-9f80-8a25c04abfff" providerId="ADAL" clId="{EE97D3FE-9ACA-4467-98E5-532EC45D9D1C}" dt="2024-03-11T14:27:02.939" v="24113"/>
          <ac:spMkLst>
            <pc:docMk/>
            <pc:sldMk cId="3788013194" sldId="965"/>
            <ac:spMk id="7" creationId="{9371B167-13F8-0144-D5B3-F6CA02B823A2}"/>
          </ac:spMkLst>
        </pc:spChg>
        <pc:spChg chg="mod">
          <ac:chgData name="Nataliia Chornii (UA)" userId="4e4b8b3d-5f31-49bb-9f80-8a25c04abfff" providerId="ADAL" clId="{EE97D3FE-9ACA-4467-98E5-532EC45D9D1C}" dt="2024-03-11T14:27:02.939" v="24113"/>
          <ac:spMkLst>
            <pc:docMk/>
            <pc:sldMk cId="3788013194" sldId="965"/>
            <ac:spMk id="11" creationId="{4D2C03E9-93F6-A54E-B9D1-B5D6D13B4246}"/>
          </ac:spMkLst>
        </pc:spChg>
        <pc:spChg chg="mod">
          <ac:chgData name="Nataliia Chornii (UA)" userId="4e4b8b3d-5f31-49bb-9f80-8a25c04abfff" providerId="ADAL" clId="{EE97D3FE-9ACA-4467-98E5-532EC45D9D1C}" dt="2024-03-11T14:27:02.939" v="24113"/>
          <ac:spMkLst>
            <pc:docMk/>
            <pc:sldMk cId="3788013194" sldId="965"/>
            <ac:spMk id="19" creationId="{CE213EF1-65DE-20EE-674C-AEB98D23CC87}"/>
          </ac:spMkLst>
        </pc:spChg>
        <pc:spChg chg="mod">
          <ac:chgData name="Nataliia Chornii (UA)" userId="4e4b8b3d-5f31-49bb-9f80-8a25c04abfff" providerId="ADAL" clId="{EE97D3FE-9ACA-4467-98E5-532EC45D9D1C}" dt="2024-03-11T14:27:02.939" v="24113"/>
          <ac:spMkLst>
            <pc:docMk/>
            <pc:sldMk cId="3788013194" sldId="965"/>
            <ac:spMk id="20" creationId="{3E964793-09F0-23AC-C002-9E307253A793}"/>
          </ac:spMkLst>
        </pc:spChg>
        <pc:spChg chg="mod">
          <ac:chgData name="Nataliia Chornii (UA)" userId="4e4b8b3d-5f31-49bb-9f80-8a25c04abfff" providerId="ADAL" clId="{EE97D3FE-9ACA-4467-98E5-532EC45D9D1C}" dt="2024-03-11T14:27:02.939" v="24113"/>
          <ac:spMkLst>
            <pc:docMk/>
            <pc:sldMk cId="3788013194" sldId="965"/>
            <ac:spMk id="21" creationId="{FEEF6356-A07A-0AB0-E82A-984191E6DCD4}"/>
          </ac:spMkLst>
        </pc:spChg>
        <pc:spChg chg="mod">
          <ac:chgData name="Nataliia Chornii (UA)" userId="4e4b8b3d-5f31-49bb-9f80-8a25c04abfff" providerId="ADAL" clId="{EE97D3FE-9ACA-4467-98E5-532EC45D9D1C}" dt="2024-03-11T14:27:02.939" v="24113"/>
          <ac:spMkLst>
            <pc:docMk/>
            <pc:sldMk cId="3788013194" sldId="965"/>
            <ac:spMk id="22" creationId="{1E6CAF6B-F5CC-C0EA-7422-32B7C4BDFD3C}"/>
          </ac:spMkLst>
        </pc:spChg>
        <pc:grpChg chg="add mod">
          <ac:chgData name="Nataliia Chornii (UA)" userId="4e4b8b3d-5f31-49bb-9f80-8a25c04abfff" providerId="ADAL" clId="{EE97D3FE-9ACA-4467-98E5-532EC45D9D1C}" dt="2024-03-11T14:27:02.939" v="24113"/>
          <ac:grpSpMkLst>
            <pc:docMk/>
            <pc:sldMk cId="3788013194" sldId="965"/>
            <ac:grpSpMk id="5" creationId="{B36BD8E9-DD4C-1920-C794-714187D9809E}"/>
          </ac:grpSpMkLst>
        </pc:grpChg>
      </pc:sldChg>
      <pc:sldChg chg="addSp delSp modSp mod">
        <pc:chgData name="Nataliia Chornii (UA)" userId="4e4b8b3d-5f31-49bb-9f80-8a25c04abfff" providerId="ADAL" clId="{EE97D3FE-9ACA-4467-98E5-532EC45D9D1C}" dt="2024-03-11T14:34:19.375" v="25143"/>
        <pc:sldMkLst>
          <pc:docMk/>
          <pc:sldMk cId="1812328710" sldId="966"/>
        </pc:sldMkLst>
        <pc:spChg chg="add mod ord">
          <ac:chgData name="Nataliia Chornii (UA)" userId="4e4b8b3d-5f31-49bb-9f80-8a25c04abfff" providerId="ADAL" clId="{EE97D3FE-9ACA-4467-98E5-532EC45D9D1C}" dt="2024-03-11T14:34:17.528" v="25135"/>
          <ac:spMkLst>
            <pc:docMk/>
            <pc:sldMk cId="1812328710" sldId="966"/>
            <ac:spMk id="2" creationId="{A6597E2B-AA27-A19B-A670-2C44E00740B8}"/>
          </ac:spMkLst>
        </pc:spChg>
        <pc:spChg chg="mod ord">
          <ac:chgData name="Nataliia Chornii (UA)" userId="4e4b8b3d-5f31-49bb-9f80-8a25c04abfff" providerId="ADAL" clId="{EE97D3FE-9ACA-4467-98E5-532EC45D9D1C}" dt="2024-03-11T14:34:17.528" v="25113"/>
          <ac:spMkLst>
            <pc:docMk/>
            <pc:sldMk cId="1812328710" sldId="966"/>
            <ac:spMk id="3" creationId="{F4CCF02E-F3C4-C376-8F56-61BD85A2E74B}"/>
          </ac:spMkLst>
        </pc:spChg>
        <pc:spChg chg="mod ord">
          <ac:chgData name="Nataliia Chornii (UA)" userId="4e4b8b3d-5f31-49bb-9f80-8a25c04abfff" providerId="ADAL" clId="{EE97D3FE-9ACA-4467-98E5-532EC45D9D1C}" dt="2024-03-11T14:34:17.528" v="25133"/>
          <ac:spMkLst>
            <pc:docMk/>
            <pc:sldMk cId="1812328710" sldId="966"/>
            <ac:spMk id="4" creationId="{872966CD-924A-B939-E655-A6BAF817DCBF}"/>
          </ac:spMkLst>
        </pc:spChg>
        <pc:spChg chg="del mod ord">
          <ac:chgData name="Nataliia Chornii (UA)" userId="4e4b8b3d-5f31-49bb-9f80-8a25c04abfff" providerId="ADAL" clId="{EE97D3FE-9ACA-4467-98E5-532EC45D9D1C}" dt="2024-03-11T14:34:19.107" v="25142" actId="478"/>
          <ac:spMkLst>
            <pc:docMk/>
            <pc:sldMk cId="1812328710" sldId="966"/>
            <ac:spMk id="5" creationId="{947D8C6D-59FC-B70D-62E8-4E05ED8582AC}"/>
          </ac:spMkLst>
        </pc:spChg>
        <pc:spChg chg="mod ord">
          <ac:chgData name="Nataliia Chornii (UA)" userId="4e4b8b3d-5f31-49bb-9f80-8a25c04abfff" providerId="ADAL" clId="{EE97D3FE-9ACA-4467-98E5-532EC45D9D1C}" dt="2024-03-11T14:34:17.528" v="25127"/>
          <ac:spMkLst>
            <pc:docMk/>
            <pc:sldMk cId="1812328710" sldId="966"/>
            <ac:spMk id="6" creationId="{33073C2D-7A64-3891-000E-CBC2D879D3D6}"/>
          </ac:spMkLst>
        </pc:spChg>
        <pc:spChg chg="mod ord">
          <ac:chgData name="Nataliia Chornii (UA)" userId="4e4b8b3d-5f31-49bb-9f80-8a25c04abfff" providerId="ADAL" clId="{EE97D3FE-9ACA-4467-98E5-532EC45D9D1C}" dt="2024-03-11T14:34:17.528" v="25129"/>
          <ac:spMkLst>
            <pc:docMk/>
            <pc:sldMk cId="1812328710" sldId="966"/>
            <ac:spMk id="7" creationId="{476838B8-1342-3A4D-BDA8-A2B47757767A}"/>
          </ac:spMkLst>
        </pc:spChg>
        <pc:spChg chg="mod ord">
          <ac:chgData name="Nataliia Chornii (UA)" userId="4e4b8b3d-5f31-49bb-9f80-8a25c04abfff" providerId="ADAL" clId="{EE97D3FE-9ACA-4467-98E5-532EC45D9D1C}" dt="2024-03-11T14:34:17.528" v="25123"/>
          <ac:spMkLst>
            <pc:docMk/>
            <pc:sldMk cId="1812328710" sldId="966"/>
            <ac:spMk id="8" creationId="{8F84A1C1-A3B2-78F7-2F05-EA937E442831}"/>
          </ac:spMkLst>
        </pc:spChg>
        <pc:spChg chg="mod">
          <ac:chgData name="Nataliia Chornii (UA)" userId="4e4b8b3d-5f31-49bb-9f80-8a25c04abfff" providerId="ADAL" clId="{EE97D3FE-9ACA-4467-98E5-532EC45D9D1C}" dt="2024-03-11T14:27:06.800" v="24116"/>
          <ac:spMkLst>
            <pc:docMk/>
            <pc:sldMk cId="1812328710" sldId="966"/>
            <ac:spMk id="15" creationId="{B7305523-7F8F-88A6-B858-3A81F582633A}"/>
          </ac:spMkLst>
        </pc:spChg>
        <pc:spChg chg="mod ord">
          <ac:chgData name="Nataliia Chornii (UA)" userId="4e4b8b3d-5f31-49bb-9f80-8a25c04abfff" providerId="ADAL" clId="{EE97D3FE-9ACA-4467-98E5-532EC45D9D1C}" dt="2024-03-11T14:34:17.528" v="25111"/>
          <ac:spMkLst>
            <pc:docMk/>
            <pc:sldMk cId="1812328710" sldId="966"/>
            <ac:spMk id="17" creationId="{CFE25C31-2E0D-B821-CD9F-08F679B602F1}"/>
          </ac:spMkLst>
        </pc:spChg>
        <pc:spChg chg="mod">
          <ac:chgData name="Nataliia Chornii (UA)" userId="4e4b8b3d-5f31-49bb-9f80-8a25c04abfff" providerId="ADAL" clId="{EE97D3FE-9ACA-4467-98E5-532EC45D9D1C}" dt="2024-03-11T14:27:06.800" v="24116"/>
          <ac:spMkLst>
            <pc:docMk/>
            <pc:sldMk cId="1812328710" sldId="966"/>
            <ac:spMk id="18" creationId="{6D9E12E9-E4BD-F3AA-9F14-5502D01D7518}"/>
          </ac:spMkLst>
        </pc:spChg>
        <pc:spChg chg="mod">
          <ac:chgData name="Nataliia Chornii (UA)" userId="4e4b8b3d-5f31-49bb-9f80-8a25c04abfff" providerId="ADAL" clId="{EE97D3FE-9ACA-4467-98E5-532EC45D9D1C}" dt="2024-03-11T14:27:06.800" v="24116"/>
          <ac:spMkLst>
            <pc:docMk/>
            <pc:sldMk cId="1812328710" sldId="966"/>
            <ac:spMk id="19" creationId="{334E5C37-3488-A6B5-154B-9D1B71CE077E}"/>
          </ac:spMkLst>
        </pc:spChg>
        <pc:spChg chg="mod">
          <ac:chgData name="Nataliia Chornii (UA)" userId="4e4b8b3d-5f31-49bb-9f80-8a25c04abfff" providerId="ADAL" clId="{EE97D3FE-9ACA-4467-98E5-532EC45D9D1C}" dt="2024-03-11T14:27:06.800" v="24116"/>
          <ac:spMkLst>
            <pc:docMk/>
            <pc:sldMk cId="1812328710" sldId="966"/>
            <ac:spMk id="20" creationId="{97E592A4-626F-8146-5FE6-292A74E4348A}"/>
          </ac:spMkLst>
        </pc:spChg>
        <pc:spChg chg="mod">
          <ac:chgData name="Nataliia Chornii (UA)" userId="4e4b8b3d-5f31-49bb-9f80-8a25c04abfff" providerId="ADAL" clId="{EE97D3FE-9ACA-4467-98E5-532EC45D9D1C}" dt="2024-03-11T14:27:06.800" v="24116"/>
          <ac:spMkLst>
            <pc:docMk/>
            <pc:sldMk cId="1812328710" sldId="966"/>
            <ac:spMk id="21" creationId="{DE854132-859D-89D8-5838-D73F792C8775}"/>
          </ac:spMkLst>
        </pc:spChg>
        <pc:spChg chg="mod">
          <ac:chgData name="Nataliia Chornii (UA)" userId="4e4b8b3d-5f31-49bb-9f80-8a25c04abfff" providerId="ADAL" clId="{EE97D3FE-9ACA-4467-98E5-532EC45D9D1C}" dt="2024-03-11T14:27:06.800" v="24116"/>
          <ac:spMkLst>
            <pc:docMk/>
            <pc:sldMk cId="1812328710" sldId="966"/>
            <ac:spMk id="22" creationId="{5A0211A2-232F-6C31-8031-AA40CC3F34A9}"/>
          </ac:spMkLst>
        </pc:spChg>
        <pc:spChg chg="add del mod modVis">
          <ac:chgData name="Nataliia Chornii (UA)" userId="4e4b8b3d-5f31-49bb-9f80-8a25c04abfff" providerId="ADAL" clId="{EE97D3FE-9ACA-4467-98E5-532EC45D9D1C}" dt="2024-03-11T14:34:16.190" v="25104"/>
          <ac:spMkLst>
            <pc:docMk/>
            <pc:sldMk cId="1812328710" sldId="966"/>
            <ac:spMk id="23" creationId="{E133FAC6-5856-394F-55E7-40F24B395F89}"/>
          </ac:spMkLst>
        </pc:spChg>
        <pc:spChg chg="add mod">
          <ac:chgData name="Nataliia Chornii (UA)" userId="4e4b8b3d-5f31-49bb-9f80-8a25c04abfff" providerId="ADAL" clId="{EE97D3FE-9ACA-4467-98E5-532EC45D9D1C}" dt="2024-03-11T14:34:19.375" v="25143"/>
          <ac:spMkLst>
            <pc:docMk/>
            <pc:sldMk cId="1812328710" sldId="966"/>
            <ac:spMk id="24" creationId="{E52BCA88-182C-349F-08F3-199990769806}"/>
          </ac:spMkLst>
        </pc:spChg>
        <pc:spChg chg="mod ord">
          <ac:chgData name="Nataliia Chornii (UA)" userId="4e4b8b3d-5f31-49bb-9f80-8a25c04abfff" providerId="ADAL" clId="{EE97D3FE-9ACA-4467-98E5-532EC45D9D1C}" dt="2024-03-11T14:34:17.528" v="25115"/>
          <ac:spMkLst>
            <pc:docMk/>
            <pc:sldMk cId="1812328710" sldId="966"/>
            <ac:spMk id="26" creationId="{5EC1F9AE-82A4-85FE-592B-EF659F76F7EC}"/>
          </ac:spMkLst>
        </pc:spChg>
        <pc:spChg chg="mod ord">
          <ac:chgData name="Nataliia Chornii (UA)" userId="4e4b8b3d-5f31-49bb-9f80-8a25c04abfff" providerId="ADAL" clId="{EE97D3FE-9ACA-4467-98E5-532EC45D9D1C}" dt="2024-03-11T14:34:17.528" v="25117"/>
          <ac:spMkLst>
            <pc:docMk/>
            <pc:sldMk cId="1812328710" sldId="966"/>
            <ac:spMk id="29" creationId="{3915AD89-6428-4A75-0915-328643F1703C}"/>
          </ac:spMkLst>
        </pc:spChg>
        <pc:spChg chg="mod ord">
          <ac:chgData name="Nataliia Chornii (UA)" userId="4e4b8b3d-5f31-49bb-9f80-8a25c04abfff" providerId="ADAL" clId="{EE97D3FE-9ACA-4467-98E5-532EC45D9D1C}" dt="2024-03-11T14:34:17.528" v="25119"/>
          <ac:spMkLst>
            <pc:docMk/>
            <pc:sldMk cId="1812328710" sldId="966"/>
            <ac:spMk id="30" creationId="{373AB206-F1F0-CC72-8C15-85605D9AF2AC}"/>
          </ac:spMkLst>
        </pc:spChg>
        <pc:spChg chg="mod ord">
          <ac:chgData name="Nataliia Chornii (UA)" userId="4e4b8b3d-5f31-49bb-9f80-8a25c04abfff" providerId="ADAL" clId="{EE97D3FE-9ACA-4467-98E5-532EC45D9D1C}" dt="2024-03-11T14:34:17.528" v="25121"/>
          <ac:spMkLst>
            <pc:docMk/>
            <pc:sldMk cId="1812328710" sldId="966"/>
            <ac:spMk id="46" creationId="{09BF84D6-F468-7005-FAB5-AA0B6AE5CFB4}"/>
          </ac:spMkLst>
        </pc:spChg>
        <pc:grpChg chg="mod ord">
          <ac:chgData name="Nataliia Chornii (UA)" userId="4e4b8b3d-5f31-49bb-9f80-8a25c04abfff" providerId="ADAL" clId="{EE97D3FE-9ACA-4467-98E5-532EC45D9D1C}" dt="2024-03-11T14:34:17.528" v="25131"/>
          <ac:grpSpMkLst>
            <pc:docMk/>
            <pc:sldMk cId="1812328710" sldId="966"/>
            <ac:grpSpMk id="9" creationId="{05942C02-ABC3-6D55-D5DF-35A9DC4B4128}"/>
          </ac:grpSpMkLst>
        </pc:grpChg>
        <pc:grpChg chg="add mod ord">
          <ac:chgData name="Nataliia Chornii (UA)" userId="4e4b8b3d-5f31-49bb-9f80-8a25c04abfff" providerId="ADAL" clId="{EE97D3FE-9ACA-4467-98E5-532EC45D9D1C}" dt="2024-03-11T14:34:17.528" v="25137"/>
          <ac:grpSpMkLst>
            <pc:docMk/>
            <pc:sldMk cId="1812328710" sldId="966"/>
            <ac:grpSpMk id="10" creationId="{34AFC9CC-F4B6-1952-9C33-4822476B3794}"/>
          </ac:grpSpMkLst>
        </pc:grpChg>
        <pc:graphicFrameChg chg="mod">
          <ac:chgData name="Nataliia Chornii (UA)" userId="4e4b8b3d-5f31-49bb-9f80-8a25c04abfff" providerId="ADAL" clId="{EE97D3FE-9ACA-4467-98E5-532EC45D9D1C}" dt="2024-03-11T14:34:17.543" v="25141"/>
          <ac:graphicFrameMkLst>
            <pc:docMk/>
            <pc:sldMk cId="1812328710" sldId="966"/>
            <ac:graphicFrameMk id="12" creationId="{F6E6AF23-7B86-113A-F559-513B41FEC1FE}"/>
          </ac:graphicFrameMkLst>
        </pc:graphicFrameChg>
        <pc:picChg chg="mod ord">
          <ac:chgData name="Nataliia Chornii (UA)" userId="4e4b8b3d-5f31-49bb-9f80-8a25c04abfff" providerId="ADAL" clId="{EE97D3FE-9ACA-4467-98E5-532EC45D9D1C}" dt="2024-03-11T14:34:17.528" v="25109"/>
          <ac:picMkLst>
            <pc:docMk/>
            <pc:sldMk cId="1812328710" sldId="966"/>
            <ac:picMk id="16" creationId="{BEC14796-3D14-4E06-C7DF-C8049A12DCC1}"/>
          </ac:picMkLst>
        </pc:picChg>
      </pc:sldChg>
      <pc:sldChg chg="addSp delSp modSp add del mod">
        <pc:chgData name="Nataliia Chornii (UA)" userId="4e4b8b3d-5f31-49bb-9f80-8a25c04abfff" providerId="ADAL" clId="{EE97D3FE-9ACA-4467-98E5-532EC45D9D1C}" dt="2024-03-11T14:20:37.047" v="23956" actId="47"/>
        <pc:sldMkLst>
          <pc:docMk/>
          <pc:sldMk cId="4154961774" sldId="967"/>
        </pc:sldMkLst>
        <pc:spChg chg="mod">
          <ac:chgData name="Nataliia Chornii (UA)" userId="4e4b8b3d-5f31-49bb-9f80-8a25c04abfff" providerId="ADAL" clId="{EE97D3FE-9ACA-4467-98E5-532EC45D9D1C}" dt="2024-03-11T14:10:21.018" v="23552" actId="948"/>
          <ac:spMkLst>
            <pc:docMk/>
            <pc:sldMk cId="4154961774" sldId="967"/>
            <ac:spMk id="3" creationId="{AAFE076C-9B8C-9BB3-8680-7E4B60DEC21C}"/>
          </ac:spMkLst>
        </pc:spChg>
        <pc:spChg chg="mod topLvl">
          <ac:chgData name="Nataliia Chornii (UA)" userId="4e4b8b3d-5f31-49bb-9f80-8a25c04abfff" providerId="ADAL" clId="{EE97D3FE-9ACA-4467-98E5-532EC45D9D1C}" dt="2024-03-11T14:13:39.281" v="23609" actId="3064"/>
          <ac:spMkLst>
            <pc:docMk/>
            <pc:sldMk cId="4154961774" sldId="967"/>
            <ac:spMk id="28" creationId="{5064B5A9-52F3-41A2-AF96-FFD5338C92F3}"/>
          </ac:spMkLst>
        </pc:spChg>
        <pc:spChg chg="add del mod modVis">
          <ac:chgData name="Nataliia Chornii (UA)" userId="4e4b8b3d-5f31-49bb-9f80-8a25c04abfff" providerId="ADAL" clId="{EE97D3FE-9ACA-4467-98E5-532EC45D9D1C}" dt="2024-03-11T14:10:16.887" v="23549"/>
          <ac:spMkLst>
            <pc:docMk/>
            <pc:sldMk cId="4154961774" sldId="967"/>
            <ac:spMk id="29" creationId="{2676FAF9-D54E-6A41-7649-EB7321605EA3}"/>
          </ac:spMkLst>
        </pc:spChg>
        <pc:spChg chg="add mod">
          <ac:chgData name="Nataliia Chornii (UA)" userId="4e4b8b3d-5f31-49bb-9f80-8a25c04abfff" providerId="ADAL" clId="{EE97D3FE-9ACA-4467-98E5-532EC45D9D1C}" dt="2024-03-11T14:13:37.379" v="23607" actId="207"/>
          <ac:spMkLst>
            <pc:docMk/>
            <pc:sldMk cId="4154961774" sldId="967"/>
            <ac:spMk id="31" creationId="{C45681CB-7BD2-584D-F298-47BD07E13A81}"/>
          </ac:spMkLst>
        </pc:spChg>
        <pc:spChg chg="add del mod">
          <ac:chgData name="Nataliia Chornii (UA)" userId="4e4b8b3d-5f31-49bb-9f80-8a25c04abfff" providerId="ADAL" clId="{EE97D3FE-9ACA-4467-98E5-532EC45D9D1C}" dt="2024-03-11T14:13:37.379" v="23607" actId="207"/>
          <ac:spMkLst>
            <pc:docMk/>
            <pc:sldMk cId="4154961774" sldId="967"/>
            <ac:spMk id="32" creationId="{6B5545EF-0636-5117-5CB3-190D22484886}"/>
          </ac:spMkLst>
        </pc:spChg>
        <pc:spChg chg="mod topLvl">
          <ac:chgData name="Nataliia Chornii (UA)" userId="4e4b8b3d-5f31-49bb-9f80-8a25c04abfff" providerId="ADAL" clId="{EE97D3FE-9ACA-4467-98E5-532EC45D9D1C}" dt="2024-03-11T14:13:39.281" v="23609" actId="3064"/>
          <ac:spMkLst>
            <pc:docMk/>
            <pc:sldMk cId="4154961774" sldId="967"/>
            <ac:spMk id="39" creationId="{FD0FA554-773D-9959-6DCA-0B871496783A}"/>
          </ac:spMkLst>
        </pc:spChg>
        <pc:grpChg chg="add del mod">
          <ac:chgData name="Nataliia Chornii (UA)" userId="4e4b8b3d-5f31-49bb-9f80-8a25c04abfff" providerId="ADAL" clId="{EE97D3FE-9ACA-4467-98E5-532EC45D9D1C}" dt="2024-03-11T14:11:10.836" v="23574" actId="165"/>
          <ac:grpSpMkLst>
            <pc:docMk/>
            <pc:sldMk cId="4154961774" sldId="967"/>
            <ac:grpSpMk id="30" creationId="{73017B6D-5795-BC42-F941-CAD67D4ED9CF}"/>
          </ac:grpSpMkLst>
        </pc:grpChg>
        <pc:graphicFrameChg chg="mod">
          <ac:chgData name="Nataliia Chornii (UA)" userId="4e4b8b3d-5f31-49bb-9f80-8a25c04abfff" providerId="ADAL" clId="{EE97D3FE-9ACA-4467-98E5-532EC45D9D1C}" dt="2024-03-11T14:20:31.094" v="23955"/>
          <ac:graphicFrameMkLst>
            <pc:docMk/>
            <pc:sldMk cId="4154961774" sldId="967"/>
            <ac:graphicFrameMk id="13" creationId="{DC2DF85F-5191-4C4E-A171-D5D7BF03C769}"/>
          </ac:graphicFrameMkLst>
        </pc:graphicFrameChg>
      </pc:sldChg>
      <pc:sldMasterChg chg="addSp delSp modSp mod delSldLayout modSldLayout">
        <pc:chgData name="Nataliia Chornii (UA)" userId="4e4b8b3d-5f31-49bb-9f80-8a25c04abfff" providerId="ADAL" clId="{EE97D3FE-9ACA-4467-98E5-532EC45D9D1C}" dt="2024-03-04T13:02:22.040" v="23305" actId="2696"/>
        <pc:sldMasterMkLst>
          <pc:docMk/>
          <pc:sldMasterMk cId="3011101579" sldId="2147483723"/>
        </pc:sldMasterMkLst>
        <pc:spChg chg="mod">
          <ac:chgData name="Nataliia Chornii (UA)" userId="4e4b8b3d-5f31-49bb-9f80-8a25c04abfff" providerId="ADAL" clId="{EE97D3FE-9ACA-4467-98E5-532EC45D9D1C}" dt="2024-03-01T08:27:29.600" v="3" actId="948"/>
          <ac:spMkLst>
            <pc:docMk/>
            <pc:sldMasterMk cId="3011101579" sldId="2147483723"/>
            <ac:spMk id="2" creationId="{00000000-0000-0000-0000-000000000000}"/>
          </ac:spMkLst>
        </pc:spChg>
        <pc:spChg chg="add del mod modVis">
          <ac:chgData name="Nataliia Chornii (UA)" userId="4e4b8b3d-5f31-49bb-9f80-8a25c04abfff" providerId="ADAL" clId="{EE97D3FE-9ACA-4467-98E5-532EC45D9D1C}" dt="2024-03-01T08:27:29.745" v="41"/>
          <ac:spMkLst>
            <pc:docMk/>
            <pc:sldMasterMk cId="3011101579" sldId="2147483723"/>
            <ac:spMk id="7" creationId="{4D9D4A16-66B4-3128-09C9-E320FE81883C}"/>
          </ac:spMkLst>
        </pc:spChg>
        <pc:spChg chg="del">
          <ac:chgData name="Nataliia Chornii (UA)" userId="4e4b8b3d-5f31-49bb-9f80-8a25c04abfff" providerId="ADAL" clId="{EE97D3FE-9ACA-4467-98E5-532EC45D9D1C}" dt="2024-03-01T09:07:00.007" v="7859" actId="478"/>
          <ac:spMkLst>
            <pc:docMk/>
            <pc:sldMasterMk cId="3011101579" sldId="2147483723"/>
            <ac:spMk id="8" creationId="{00000000-0000-0000-0000-000000000000}"/>
          </ac:spMkLst>
        </pc:spChg>
        <pc:graphicFrameChg chg="add mod ord modVis replST">
          <ac:chgData name="Nataliia Chornii (UA)" userId="4e4b8b3d-5f31-49bb-9f80-8a25c04abfff" providerId="ADAL" clId="{EE97D3FE-9ACA-4467-98E5-532EC45D9D1C}" dt="2024-03-01T08:27:29.794" v="56"/>
          <ac:graphicFrameMkLst>
            <pc:docMk/>
            <pc:sldMasterMk cId="3011101579" sldId="2147483723"/>
            <ac:graphicFrameMk id="9" creationId="{BB1482CA-31CA-3B52-3F46-FD91ED32E52A}"/>
          </ac:graphicFrameMkLst>
        </pc:graphicFrameChg>
        <pc:sldLayoutChg chg="del">
          <pc:chgData name="Nataliia Chornii (UA)" userId="4e4b8b3d-5f31-49bb-9f80-8a25c04abfff" providerId="ADAL" clId="{EE97D3FE-9ACA-4467-98E5-532EC45D9D1C}" dt="2024-03-04T13:01:43.837" v="23262" actId="2696"/>
          <pc:sldLayoutMkLst>
            <pc:docMk/>
            <pc:sldMasterMk cId="3011101579" sldId="2147483723"/>
            <pc:sldLayoutMk cId="3260771726" sldId="2147483724"/>
          </pc:sldLayoutMkLst>
        </pc:sldLayoutChg>
        <pc:sldLayoutChg chg="del">
          <pc:chgData name="Nataliia Chornii (UA)" userId="4e4b8b3d-5f31-49bb-9f80-8a25c04abfff" providerId="ADAL" clId="{EE97D3FE-9ACA-4467-98E5-532EC45D9D1C}" dt="2024-03-04T13:01:44.343" v="23263" actId="2696"/>
          <pc:sldLayoutMkLst>
            <pc:docMk/>
            <pc:sldMasterMk cId="3011101579" sldId="2147483723"/>
            <pc:sldLayoutMk cId="2542230256" sldId="2147483725"/>
          </pc:sldLayoutMkLst>
        </pc:sldLayoutChg>
        <pc:sldLayoutChg chg="del">
          <pc:chgData name="Nataliia Chornii (UA)" userId="4e4b8b3d-5f31-49bb-9f80-8a25c04abfff" providerId="ADAL" clId="{EE97D3FE-9ACA-4467-98E5-532EC45D9D1C}" dt="2024-03-04T13:01:44.817" v="23264" actId="2696"/>
          <pc:sldLayoutMkLst>
            <pc:docMk/>
            <pc:sldMasterMk cId="3011101579" sldId="2147483723"/>
            <pc:sldLayoutMk cId="205800333" sldId="2147483726"/>
          </pc:sldLayoutMkLst>
        </pc:sldLayoutChg>
        <pc:sldLayoutChg chg="del">
          <pc:chgData name="Nataliia Chornii (UA)" userId="4e4b8b3d-5f31-49bb-9f80-8a25c04abfff" providerId="ADAL" clId="{EE97D3FE-9ACA-4467-98E5-532EC45D9D1C}" dt="2024-03-04T13:01:45.307" v="23265" actId="2696"/>
          <pc:sldLayoutMkLst>
            <pc:docMk/>
            <pc:sldMasterMk cId="3011101579" sldId="2147483723"/>
            <pc:sldLayoutMk cId="726920648" sldId="2147483727"/>
          </pc:sldLayoutMkLst>
        </pc:sldLayoutChg>
        <pc:sldLayoutChg chg="delSp mod">
          <pc:chgData name="Nataliia Chornii (UA)" userId="4e4b8b3d-5f31-49bb-9f80-8a25c04abfff" providerId="ADAL" clId="{EE97D3FE-9ACA-4467-98E5-532EC45D9D1C}" dt="2024-03-04T13:01:47.438" v="23266" actId="478"/>
          <pc:sldLayoutMkLst>
            <pc:docMk/>
            <pc:sldMasterMk cId="3011101579" sldId="2147483723"/>
            <pc:sldLayoutMk cId="3917376436" sldId="2147483728"/>
          </pc:sldLayoutMkLst>
          <pc:picChg chg="del">
            <ac:chgData name="Nataliia Chornii (UA)" userId="4e4b8b3d-5f31-49bb-9f80-8a25c04abfff" providerId="ADAL" clId="{EE97D3FE-9ACA-4467-98E5-532EC45D9D1C}" dt="2024-03-04T13:01:47.438" v="23266" actId="478"/>
            <ac:picMkLst>
              <pc:docMk/>
              <pc:sldMasterMk cId="3011101579" sldId="2147483723"/>
              <pc:sldLayoutMk cId="3917376436" sldId="2147483728"/>
              <ac:picMk id="5" creationId="{B067EFBB-B928-AC40-8026-93C731DCE1E1}"/>
            </ac:picMkLst>
          </pc:picChg>
        </pc:sldLayoutChg>
        <pc:sldLayoutChg chg="del">
          <pc:chgData name="Nataliia Chornii (UA)" userId="4e4b8b3d-5f31-49bb-9f80-8a25c04abfff" providerId="ADAL" clId="{EE97D3FE-9ACA-4467-98E5-532EC45D9D1C}" dt="2024-03-04T13:01:48.782" v="23267" actId="2696"/>
          <pc:sldLayoutMkLst>
            <pc:docMk/>
            <pc:sldMasterMk cId="3011101579" sldId="2147483723"/>
            <pc:sldLayoutMk cId="3649151057" sldId="2147483729"/>
          </pc:sldLayoutMkLst>
        </pc:sldLayoutChg>
        <pc:sldLayoutChg chg="del">
          <pc:chgData name="Nataliia Chornii (UA)" userId="4e4b8b3d-5f31-49bb-9f80-8a25c04abfff" providerId="ADAL" clId="{EE97D3FE-9ACA-4467-98E5-532EC45D9D1C}" dt="2024-03-04T13:01:49.384" v="23268" actId="2696"/>
          <pc:sldLayoutMkLst>
            <pc:docMk/>
            <pc:sldMasterMk cId="3011101579" sldId="2147483723"/>
            <pc:sldLayoutMk cId="3746488802" sldId="2147483730"/>
          </pc:sldLayoutMkLst>
        </pc:sldLayoutChg>
        <pc:sldLayoutChg chg="del">
          <pc:chgData name="Nataliia Chornii (UA)" userId="4e4b8b3d-5f31-49bb-9f80-8a25c04abfff" providerId="ADAL" clId="{EE97D3FE-9ACA-4467-98E5-532EC45D9D1C}" dt="2024-03-04T13:01:49.854" v="23269" actId="2696"/>
          <pc:sldLayoutMkLst>
            <pc:docMk/>
            <pc:sldMasterMk cId="3011101579" sldId="2147483723"/>
            <pc:sldLayoutMk cId="1291893499" sldId="2147483731"/>
          </pc:sldLayoutMkLst>
        </pc:sldLayoutChg>
        <pc:sldLayoutChg chg="del">
          <pc:chgData name="Nataliia Chornii (UA)" userId="4e4b8b3d-5f31-49bb-9f80-8a25c04abfff" providerId="ADAL" clId="{EE97D3FE-9ACA-4467-98E5-532EC45D9D1C}" dt="2024-03-04T13:01:50.249" v="23270" actId="2696"/>
          <pc:sldLayoutMkLst>
            <pc:docMk/>
            <pc:sldMasterMk cId="3011101579" sldId="2147483723"/>
            <pc:sldLayoutMk cId="2803711686" sldId="2147483732"/>
          </pc:sldLayoutMkLst>
        </pc:sldLayoutChg>
        <pc:sldLayoutChg chg="del">
          <pc:chgData name="Nataliia Chornii (UA)" userId="4e4b8b3d-5f31-49bb-9f80-8a25c04abfff" providerId="ADAL" clId="{EE97D3FE-9ACA-4467-98E5-532EC45D9D1C}" dt="2024-03-04T13:01:50.643" v="23271" actId="2696"/>
          <pc:sldLayoutMkLst>
            <pc:docMk/>
            <pc:sldMasterMk cId="3011101579" sldId="2147483723"/>
            <pc:sldLayoutMk cId="1886173175" sldId="2147483733"/>
          </pc:sldLayoutMkLst>
        </pc:sldLayoutChg>
        <pc:sldLayoutChg chg="del">
          <pc:chgData name="Nataliia Chornii (UA)" userId="4e4b8b3d-5f31-49bb-9f80-8a25c04abfff" providerId="ADAL" clId="{EE97D3FE-9ACA-4467-98E5-532EC45D9D1C}" dt="2024-03-04T13:01:51.054" v="23272" actId="2696"/>
          <pc:sldLayoutMkLst>
            <pc:docMk/>
            <pc:sldMasterMk cId="3011101579" sldId="2147483723"/>
            <pc:sldLayoutMk cId="1974237231" sldId="2147483734"/>
          </pc:sldLayoutMkLst>
        </pc:sldLayoutChg>
        <pc:sldLayoutChg chg="del">
          <pc:chgData name="Nataliia Chornii (UA)" userId="4e4b8b3d-5f31-49bb-9f80-8a25c04abfff" providerId="ADAL" clId="{EE97D3FE-9ACA-4467-98E5-532EC45D9D1C}" dt="2024-03-04T13:01:51.527" v="23273" actId="2696"/>
          <pc:sldLayoutMkLst>
            <pc:docMk/>
            <pc:sldMasterMk cId="3011101579" sldId="2147483723"/>
            <pc:sldLayoutMk cId="695867191" sldId="2147483735"/>
          </pc:sldLayoutMkLst>
        </pc:sldLayoutChg>
        <pc:sldLayoutChg chg="del">
          <pc:chgData name="Nataliia Chornii (UA)" userId="4e4b8b3d-5f31-49bb-9f80-8a25c04abfff" providerId="ADAL" clId="{EE97D3FE-9ACA-4467-98E5-532EC45D9D1C}" dt="2024-03-04T13:01:52.030" v="23274" actId="2696"/>
          <pc:sldLayoutMkLst>
            <pc:docMk/>
            <pc:sldMasterMk cId="3011101579" sldId="2147483723"/>
            <pc:sldLayoutMk cId="1343462460" sldId="2147483736"/>
          </pc:sldLayoutMkLst>
        </pc:sldLayoutChg>
        <pc:sldLayoutChg chg="del">
          <pc:chgData name="Nataliia Chornii (UA)" userId="4e4b8b3d-5f31-49bb-9f80-8a25c04abfff" providerId="ADAL" clId="{EE97D3FE-9ACA-4467-98E5-532EC45D9D1C}" dt="2024-03-04T13:01:52.347" v="23275" actId="2696"/>
          <pc:sldLayoutMkLst>
            <pc:docMk/>
            <pc:sldMasterMk cId="3011101579" sldId="2147483723"/>
            <pc:sldLayoutMk cId="3587134479" sldId="2147483737"/>
          </pc:sldLayoutMkLst>
        </pc:sldLayoutChg>
        <pc:sldLayoutChg chg="del">
          <pc:chgData name="Nataliia Chornii (UA)" userId="4e4b8b3d-5f31-49bb-9f80-8a25c04abfff" providerId="ADAL" clId="{EE97D3FE-9ACA-4467-98E5-532EC45D9D1C}" dt="2024-03-04T13:01:52.678" v="23276" actId="2696"/>
          <pc:sldLayoutMkLst>
            <pc:docMk/>
            <pc:sldMasterMk cId="3011101579" sldId="2147483723"/>
            <pc:sldLayoutMk cId="3395183948" sldId="2147483738"/>
          </pc:sldLayoutMkLst>
        </pc:sldLayoutChg>
        <pc:sldLayoutChg chg="del">
          <pc:chgData name="Nataliia Chornii (UA)" userId="4e4b8b3d-5f31-49bb-9f80-8a25c04abfff" providerId="ADAL" clId="{EE97D3FE-9ACA-4467-98E5-532EC45D9D1C}" dt="2024-03-04T13:01:53.308" v="23277" actId="2696"/>
          <pc:sldLayoutMkLst>
            <pc:docMk/>
            <pc:sldMasterMk cId="3011101579" sldId="2147483723"/>
            <pc:sldLayoutMk cId="1948574040" sldId="2147483739"/>
          </pc:sldLayoutMkLst>
        </pc:sldLayoutChg>
        <pc:sldLayoutChg chg="del">
          <pc:chgData name="Nataliia Chornii (UA)" userId="4e4b8b3d-5f31-49bb-9f80-8a25c04abfff" providerId="ADAL" clId="{EE97D3FE-9ACA-4467-98E5-532EC45D9D1C}" dt="2024-03-04T13:02:03.729" v="23278" actId="2696"/>
          <pc:sldLayoutMkLst>
            <pc:docMk/>
            <pc:sldMasterMk cId="3011101579" sldId="2147483723"/>
            <pc:sldLayoutMk cId="2165727502" sldId="2147483744"/>
          </pc:sldLayoutMkLst>
        </pc:sldLayoutChg>
        <pc:sldLayoutChg chg="del">
          <pc:chgData name="Nataliia Chornii (UA)" userId="4e4b8b3d-5f31-49bb-9f80-8a25c04abfff" providerId="ADAL" clId="{EE97D3FE-9ACA-4467-98E5-532EC45D9D1C}" dt="2024-03-04T13:02:04.803" v="23279" actId="2696"/>
          <pc:sldLayoutMkLst>
            <pc:docMk/>
            <pc:sldMasterMk cId="3011101579" sldId="2147483723"/>
            <pc:sldLayoutMk cId="31623870" sldId="2147483745"/>
          </pc:sldLayoutMkLst>
        </pc:sldLayoutChg>
        <pc:sldLayoutChg chg="del">
          <pc:chgData name="Nataliia Chornii (UA)" userId="4e4b8b3d-5f31-49bb-9f80-8a25c04abfff" providerId="ADAL" clId="{EE97D3FE-9ACA-4467-98E5-532EC45D9D1C}" dt="2024-03-04T13:02:05.497" v="23280" actId="2696"/>
          <pc:sldLayoutMkLst>
            <pc:docMk/>
            <pc:sldMasterMk cId="3011101579" sldId="2147483723"/>
            <pc:sldLayoutMk cId="2323019015" sldId="2147483746"/>
          </pc:sldLayoutMkLst>
        </pc:sldLayoutChg>
        <pc:sldLayoutChg chg="del">
          <pc:chgData name="Nataliia Chornii (UA)" userId="4e4b8b3d-5f31-49bb-9f80-8a25c04abfff" providerId="ADAL" clId="{EE97D3FE-9ACA-4467-98E5-532EC45D9D1C}" dt="2024-03-04T13:02:05.830" v="23281" actId="2696"/>
          <pc:sldLayoutMkLst>
            <pc:docMk/>
            <pc:sldMasterMk cId="3011101579" sldId="2147483723"/>
            <pc:sldLayoutMk cId="1139664725" sldId="2147483747"/>
          </pc:sldLayoutMkLst>
        </pc:sldLayoutChg>
        <pc:sldLayoutChg chg="del">
          <pc:chgData name="Nataliia Chornii (UA)" userId="4e4b8b3d-5f31-49bb-9f80-8a25c04abfff" providerId="ADAL" clId="{EE97D3FE-9ACA-4467-98E5-532EC45D9D1C}" dt="2024-03-04T13:02:07.104" v="23282" actId="2696"/>
          <pc:sldLayoutMkLst>
            <pc:docMk/>
            <pc:sldMasterMk cId="3011101579" sldId="2147483723"/>
            <pc:sldLayoutMk cId="1045707198" sldId="2147483748"/>
          </pc:sldLayoutMkLst>
        </pc:sldLayoutChg>
        <pc:sldLayoutChg chg="del">
          <pc:chgData name="Nataliia Chornii (UA)" userId="4e4b8b3d-5f31-49bb-9f80-8a25c04abfff" providerId="ADAL" clId="{EE97D3FE-9ACA-4467-98E5-532EC45D9D1C}" dt="2024-03-04T13:02:07.549" v="23283" actId="2696"/>
          <pc:sldLayoutMkLst>
            <pc:docMk/>
            <pc:sldMasterMk cId="3011101579" sldId="2147483723"/>
            <pc:sldLayoutMk cId="2335327034" sldId="2147483749"/>
          </pc:sldLayoutMkLst>
        </pc:sldLayoutChg>
        <pc:sldLayoutChg chg="del">
          <pc:chgData name="Nataliia Chornii (UA)" userId="4e4b8b3d-5f31-49bb-9f80-8a25c04abfff" providerId="ADAL" clId="{EE97D3FE-9ACA-4467-98E5-532EC45D9D1C}" dt="2024-03-04T13:02:09.949" v="23284" actId="2696"/>
          <pc:sldLayoutMkLst>
            <pc:docMk/>
            <pc:sldMasterMk cId="3011101579" sldId="2147483723"/>
            <pc:sldLayoutMk cId="3532200888" sldId="2147483751"/>
          </pc:sldLayoutMkLst>
        </pc:sldLayoutChg>
        <pc:sldLayoutChg chg="del">
          <pc:chgData name="Nataliia Chornii (UA)" userId="4e4b8b3d-5f31-49bb-9f80-8a25c04abfff" providerId="ADAL" clId="{EE97D3FE-9ACA-4467-98E5-532EC45D9D1C}" dt="2024-03-04T13:02:10.662" v="23285" actId="2696"/>
          <pc:sldLayoutMkLst>
            <pc:docMk/>
            <pc:sldMasterMk cId="3011101579" sldId="2147483723"/>
            <pc:sldLayoutMk cId="1034817547" sldId="2147483752"/>
          </pc:sldLayoutMkLst>
        </pc:sldLayoutChg>
        <pc:sldLayoutChg chg="del">
          <pc:chgData name="Nataliia Chornii (UA)" userId="4e4b8b3d-5f31-49bb-9f80-8a25c04abfff" providerId="ADAL" clId="{EE97D3FE-9ACA-4467-98E5-532EC45D9D1C}" dt="2024-03-04T13:02:11.109" v="23286" actId="2696"/>
          <pc:sldLayoutMkLst>
            <pc:docMk/>
            <pc:sldMasterMk cId="3011101579" sldId="2147483723"/>
            <pc:sldLayoutMk cId="2919097541" sldId="2147483753"/>
          </pc:sldLayoutMkLst>
        </pc:sldLayoutChg>
        <pc:sldLayoutChg chg="del">
          <pc:chgData name="Nataliia Chornii (UA)" userId="4e4b8b3d-5f31-49bb-9f80-8a25c04abfff" providerId="ADAL" clId="{EE97D3FE-9ACA-4467-98E5-532EC45D9D1C}" dt="2024-03-04T13:02:11.441" v="23287" actId="2696"/>
          <pc:sldLayoutMkLst>
            <pc:docMk/>
            <pc:sldMasterMk cId="3011101579" sldId="2147483723"/>
            <pc:sldLayoutMk cId="4663278" sldId="2147483754"/>
          </pc:sldLayoutMkLst>
        </pc:sldLayoutChg>
        <pc:sldLayoutChg chg="del">
          <pc:chgData name="Nataliia Chornii (UA)" userId="4e4b8b3d-5f31-49bb-9f80-8a25c04abfff" providerId="ADAL" clId="{EE97D3FE-9ACA-4467-98E5-532EC45D9D1C}" dt="2024-03-04T13:02:12.589" v="23288" actId="2696"/>
          <pc:sldLayoutMkLst>
            <pc:docMk/>
            <pc:sldMasterMk cId="3011101579" sldId="2147483723"/>
            <pc:sldLayoutMk cId="11233039" sldId="2147483755"/>
          </pc:sldLayoutMkLst>
        </pc:sldLayoutChg>
        <pc:sldLayoutChg chg="del">
          <pc:chgData name="Nataliia Chornii (UA)" userId="4e4b8b3d-5f31-49bb-9f80-8a25c04abfff" providerId="ADAL" clId="{EE97D3FE-9ACA-4467-98E5-532EC45D9D1C}" dt="2024-03-04T13:02:13.064" v="23289" actId="2696"/>
          <pc:sldLayoutMkLst>
            <pc:docMk/>
            <pc:sldMasterMk cId="3011101579" sldId="2147483723"/>
            <pc:sldLayoutMk cId="3641426661" sldId="2147483756"/>
          </pc:sldLayoutMkLst>
        </pc:sldLayoutChg>
        <pc:sldLayoutChg chg="del">
          <pc:chgData name="Nataliia Chornii (UA)" userId="4e4b8b3d-5f31-49bb-9f80-8a25c04abfff" providerId="ADAL" clId="{EE97D3FE-9ACA-4467-98E5-532EC45D9D1C}" dt="2024-03-04T13:02:13.439" v="23290" actId="2696"/>
          <pc:sldLayoutMkLst>
            <pc:docMk/>
            <pc:sldMasterMk cId="3011101579" sldId="2147483723"/>
            <pc:sldLayoutMk cId="1556111294" sldId="2147483757"/>
          </pc:sldLayoutMkLst>
        </pc:sldLayoutChg>
        <pc:sldLayoutChg chg="del">
          <pc:chgData name="Nataliia Chornii (UA)" userId="4e4b8b3d-5f31-49bb-9f80-8a25c04abfff" providerId="ADAL" clId="{EE97D3FE-9ACA-4467-98E5-532EC45D9D1C}" dt="2024-03-04T13:02:14.291" v="23291" actId="2696"/>
          <pc:sldLayoutMkLst>
            <pc:docMk/>
            <pc:sldMasterMk cId="3011101579" sldId="2147483723"/>
            <pc:sldLayoutMk cId="552856060" sldId="2147483758"/>
          </pc:sldLayoutMkLst>
        </pc:sldLayoutChg>
        <pc:sldLayoutChg chg="del">
          <pc:chgData name="Nataliia Chornii (UA)" userId="4e4b8b3d-5f31-49bb-9f80-8a25c04abfff" providerId="ADAL" clId="{EE97D3FE-9ACA-4467-98E5-532EC45D9D1C}" dt="2024-03-04T13:02:14.622" v="23292" actId="2696"/>
          <pc:sldLayoutMkLst>
            <pc:docMk/>
            <pc:sldMasterMk cId="3011101579" sldId="2147483723"/>
            <pc:sldLayoutMk cId="2543479323" sldId="2147483759"/>
          </pc:sldLayoutMkLst>
        </pc:sldLayoutChg>
        <pc:sldLayoutChg chg="del">
          <pc:chgData name="Nataliia Chornii (UA)" userId="4e4b8b3d-5f31-49bb-9f80-8a25c04abfff" providerId="ADAL" clId="{EE97D3FE-9ACA-4467-98E5-532EC45D9D1C}" dt="2024-03-04T13:02:14.971" v="23293" actId="2696"/>
          <pc:sldLayoutMkLst>
            <pc:docMk/>
            <pc:sldMasterMk cId="3011101579" sldId="2147483723"/>
            <pc:sldLayoutMk cId="3129817039" sldId="2147483760"/>
          </pc:sldLayoutMkLst>
        </pc:sldLayoutChg>
        <pc:sldLayoutChg chg="del">
          <pc:chgData name="Nataliia Chornii (UA)" userId="4e4b8b3d-5f31-49bb-9f80-8a25c04abfff" providerId="ADAL" clId="{EE97D3FE-9ACA-4467-98E5-532EC45D9D1C}" dt="2024-03-04T13:02:15.648" v="23294" actId="2696"/>
          <pc:sldLayoutMkLst>
            <pc:docMk/>
            <pc:sldMasterMk cId="3011101579" sldId="2147483723"/>
            <pc:sldLayoutMk cId="1127466074" sldId="2147483761"/>
          </pc:sldLayoutMkLst>
        </pc:sldLayoutChg>
        <pc:sldLayoutChg chg="del">
          <pc:chgData name="Nataliia Chornii (UA)" userId="4e4b8b3d-5f31-49bb-9f80-8a25c04abfff" providerId="ADAL" clId="{EE97D3FE-9ACA-4467-98E5-532EC45D9D1C}" dt="2024-03-04T13:02:16.106" v="23295" actId="2696"/>
          <pc:sldLayoutMkLst>
            <pc:docMk/>
            <pc:sldMasterMk cId="3011101579" sldId="2147483723"/>
            <pc:sldLayoutMk cId="726970495" sldId="2147483762"/>
          </pc:sldLayoutMkLst>
        </pc:sldLayoutChg>
        <pc:sldLayoutChg chg="del">
          <pc:chgData name="Nataliia Chornii (UA)" userId="4e4b8b3d-5f31-49bb-9f80-8a25c04abfff" providerId="ADAL" clId="{EE97D3FE-9ACA-4467-98E5-532EC45D9D1C}" dt="2024-03-04T13:02:17.163" v="23296" actId="2696"/>
          <pc:sldLayoutMkLst>
            <pc:docMk/>
            <pc:sldMasterMk cId="3011101579" sldId="2147483723"/>
            <pc:sldLayoutMk cId="1512142920" sldId="2147483763"/>
          </pc:sldLayoutMkLst>
        </pc:sldLayoutChg>
        <pc:sldLayoutChg chg="del">
          <pc:chgData name="Nataliia Chornii (UA)" userId="4e4b8b3d-5f31-49bb-9f80-8a25c04abfff" providerId="ADAL" clId="{EE97D3FE-9ACA-4467-98E5-532EC45D9D1C}" dt="2024-03-04T13:02:17.511" v="23297" actId="2696"/>
          <pc:sldLayoutMkLst>
            <pc:docMk/>
            <pc:sldMasterMk cId="3011101579" sldId="2147483723"/>
            <pc:sldLayoutMk cId="911374972" sldId="2147483764"/>
          </pc:sldLayoutMkLst>
        </pc:sldLayoutChg>
        <pc:sldLayoutChg chg="del">
          <pc:chgData name="Nataliia Chornii (UA)" userId="4e4b8b3d-5f31-49bb-9f80-8a25c04abfff" providerId="ADAL" clId="{EE97D3FE-9ACA-4467-98E5-532EC45D9D1C}" dt="2024-03-04T13:02:18.377" v="23298" actId="2696"/>
          <pc:sldLayoutMkLst>
            <pc:docMk/>
            <pc:sldMasterMk cId="3011101579" sldId="2147483723"/>
            <pc:sldLayoutMk cId="1444418572" sldId="2147483765"/>
          </pc:sldLayoutMkLst>
        </pc:sldLayoutChg>
        <pc:sldLayoutChg chg="del">
          <pc:chgData name="Nataliia Chornii (UA)" userId="4e4b8b3d-5f31-49bb-9f80-8a25c04abfff" providerId="ADAL" clId="{EE97D3FE-9ACA-4467-98E5-532EC45D9D1C}" dt="2024-03-04T13:02:18.959" v="23299" actId="2696"/>
          <pc:sldLayoutMkLst>
            <pc:docMk/>
            <pc:sldMasterMk cId="3011101579" sldId="2147483723"/>
            <pc:sldLayoutMk cId="626635183" sldId="2147483766"/>
          </pc:sldLayoutMkLst>
        </pc:sldLayoutChg>
        <pc:sldLayoutChg chg="del">
          <pc:chgData name="Nataliia Chornii (UA)" userId="4e4b8b3d-5f31-49bb-9f80-8a25c04abfff" providerId="ADAL" clId="{EE97D3FE-9ACA-4467-98E5-532EC45D9D1C}" dt="2024-03-04T13:02:19.435" v="23300" actId="2696"/>
          <pc:sldLayoutMkLst>
            <pc:docMk/>
            <pc:sldMasterMk cId="3011101579" sldId="2147483723"/>
            <pc:sldLayoutMk cId="767746839" sldId="2147483767"/>
          </pc:sldLayoutMkLst>
        </pc:sldLayoutChg>
        <pc:sldLayoutChg chg="del">
          <pc:chgData name="Nataliia Chornii (UA)" userId="4e4b8b3d-5f31-49bb-9f80-8a25c04abfff" providerId="ADAL" clId="{EE97D3FE-9ACA-4467-98E5-532EC45D9D1C}" dt="2024-03-04T13:02:20.162" v="23301" actId="2696"/>
          <pc:sldLayoutMkLst>
            <pc:docMk/>
            <pc:sldMasterMk cId="3011101579" sldId="2147483723"/>
            <pc:sldLayoutMk cId="3581681609" sldId="2147483768"/>
          </pc:sldLayoutMkLst>
        </pc:sldLayoutChg>
        <pc:sldLayoutChg chg="del">
          <pc:chgData name="Nataliia Chornii (UA)" userId="4e4b8b3d-5f31-49bb-9f80-8a25c04abfff" providerId="ADAL" clId="{EE97D3FE-9ACA-4467-98E5-532EC45D9D1C}" dt="2024-03-04T13:02:20.617" v="23302" actId="2696"/>
          <pc:sldLayoutMkLst>
            <pc:docMk/>
            <pc:sldMasterMk cId="3011101579" sldId="2147483723"/>
            <pc:sldLayoutMk cId="1735232353" sldId="2147483769"/>
          </pc:sldLayoutMkLst>
        </pc:sldLayoutChg>
        <pc:sldLayoutChg chg="del">
          <pc:chgData name="Nataliia Chornii (UA)" userId="4e4b8b3d-5f31-49bb-9f80-8a25c04abfff" providerId="ADAL" clId="{EE97D3FE-9ACA-4467-98E5-532EC45D9D1C}" dt="2024-03-04T13:02:21.327" v="23303" actId="2696"/>
          <pc:sldLayoutMkLst>
            <pc:docMk/>
            <pc:sldMasterMk cId="3011101579" sldId="2147483723"/>
            <pc:sldLayoutMk cId="554471822" sldId="2147483770"/>
          </pc:sldLayoutMkLst>
        </pc:sldLayoutChg>
        <pc:sldLayoutChg chg="del">
          <pc:chgData name="Nataliia Chornii (UA)" userId="4e4b8b3d-5f31-49bb-9f80-8a25c04abfff" providerId="ADAL" clId="{EE97D3FE-9ACA-4467-98E5-532EC45D9D1C}" dt="2024-03-04T13:02:21.706" v="23304" actId="2696"/>
          <pc:sldLayoutMkLst>
            <pc:docMk/>
            <pc:sldMasterMk cId="3011101579" sldId="2147483723"/>
            <pc:sldLayoutMk cId="3874301331" sldId="2147483771"/>
          </pc:sldLayoutMkLst>
        </pc:sldLayoutChg>
        <pc:sldLayoutChg chg="del">
          <pc:chgData name="Nataliia Chornii (UA)" userId="4e4b8b3d-5f31-49bb-9f80-8a25c04abfff" providerId="ADAL" clId="{EE97D3FE-9ACA-4467-98E5-532EC45D9D1C}" dt="2024-03-04T13:02:22.040" v="23305" actId="2696"/>
          <pc:sldLayoutMkLst>
            <pc:docMk/>
            <pc:sldMasterMk cId="3011101579" sldId="2147483723"/>
            <pc:sldLayoutMk cId="873285981" sldId="2147483772"/>
          </pc:sldLayoutMkLst>
        </pc:sldLayoutChg>
        <pc:sldLayoutChg chg="del">
          <pc:chgData name="Nataliia Chornii (UA)" userId="4e4b8b3d-5f31-49bb-9f80-8a25c04abfff" providerId="ADAL" clId="{EE97D3FE-9ACA-4467-98E5-532EC45D9D1C}" dt="2024-03-04T13:01:32.200" v="23250" actId="2696"/>
          <pc:sldLayoutMkLst>
            <pc:docMk/>
            <pc:sldMasterMk cId="3011101579" sldId="2147483723"/>
            <pc:sldLayoutMk cId="3156153303" sldId="2147483773"/>
          </pc:sldLayoutMkLst>
        </pc:sldLayoutChg>
        <pc:sldLayoutChg chg="del">
          <pc:chgData name="Nataliia Chornii (UA)" userId="4e4b8b3d-5f31-49bb-9f80-8a25c04abfff" providerId="ADAL" clId="{EE97D3FE-9ACA-4467-98E5-532EC45D9D1C}" dt="2024-03-04T13:01:32.200" v="23251" actId="2696"/>
          <pc:sldLayoutMkLst>
            <pc:docMk/>
            <pc:sldMasterMk cId="3011101579" sldId="2147483723"/>
            <pc:sldLayoutMk cId="224423923" sldId="2147483774"/>
          </pc:sldLayoutMkLst>
        </pc:sldLayoutChg>
        <pc:sldLayoutChg chg="del">
          <pc:chgData name="Nataliia Chornii (UA)" userId="4e4b8b3d-5f31-49bb-9f80-8a25c04abfff" providerId="ADAL" clId="{EE97D3FE-9ACA-4467-98E5-532EC45D9D1C}" dt="2024-03-04T13:01:32.200" v="23252" actId="2696"/>
          <pc:sldLayoutMkLst>
            <pc:docMk/>
            <pc:sldMasterMk cId="3011101579" sldId="2147483723"/>
            <pc:sldLayoutMk cId="3838994459" sldId="2147483775"/>
          </pc:sldLayoutMkLst>
        </pc:sldLayoutChg>
        <pc:sldLayoutChg chg="del">
          <pc:chgData name="Nataliia Chornii (UA)" userId="4e4b8b3d-5f31-49bb-9f80-8a25c04abfff" providerId="ADAL" clId="{EE97D3FE-9ACA-4467-98E5-532EC45D9D1C}" dt="2024-03-04T13:01:32.200" v="23253" actId="2696"/>
          <pc:sldLayoutMkLst>
            <pc:docMk/>
            <pc:sldMasterMk cId="3011101579" sldId="2147483723"/>
            <pc:sldLayoutMk cId="956678414" sldId="2147483776"/>
          </pc:sldLayoutMkLst>
        </pc:sldLayoutChg>
        <pc:sldLayoutChg chg="del">
          <pc:chgData name="Nataliia Chornii (UA)" userId="4e4b8b3d-5f31-49bb-9f80-8a25c04abfff" providerId="ADAL" clId="{EE97D3FE-9ACA-4467-98E5-532EC45D9D1C}" dt="2024-03-04T13:01:32.216" v="23254" actId="2696"/>
          <pc:sldLayoutMkLst>
            <pc:docMk/>
            <pc:sldMasterMk cId="3011101579" sldId="2147483723"/>
            <pc:sldLayoutMk cId="2692726678" sldId="2147483777"/>
          </pc:sldLayoutMkLst>
        </pc:sldLayoutChg>
        <pc:sldLayoutChg chg="del">
          <pc:chgData name="Nataliia Chornii (UA)" userId="4e4b8b3d-5f31-49bb-9f80-8a25c04abfff" providerId="ADAL" clId="{EE97D3FE-9ACA-4467-98E5-532EC45D9D1C}" dt="2024-03-04T13:01:32.216" v="23255" actId="2696"/>
          <pc:sldLayoutMkLst>
            <pc:docMk/>
            <pc:sldMasterMk cId="3011101579" sldId="2147483723"/>
            <pc:sldLayoutMk cId="2375197682" sldId="2147483778"/>
          </pc:sldLayoutMkLst>
        </pc:sldLayoutChg>
        <pc:sldLayoutChg chg="del">
          <pc:chgData name="Nataliia Chornii (UA)" userId="4e4b8b3d-5f31-49bb-9f80-8a25c04abfff" providerId="ADAL" clId="{EE97D3FE-9ACA-4467-98E5-532EC45D9D1C}" dt="2024-03-04T13:01:32.216" v="23256" actId="2696"/>
          <pc:sldLayoutMkLst>
            <pc:docMk/>
            <pc:sldMasterMk cId="3011101579" sldId="2147483723"/>
            <pc:sldLayoutMk cId="99252688" sldId="2147483779"/>
          </pc:sldLayoutMkLst>
        </pc:sldLayoutChg>
        <pc:sldLayoutChg chg="del">
          <pc:chgData name="Nataliia Chornii (UA)" userId="4e4b8b3d-5f31-49bb-9f80-8a25c04abfff" providerId="ADAL" clId="{EE97D3FE-9ACA-4467-98E5-532EC45D9D1C}" dt="2024-03-04T13:01:32.216" v="23257" actId="2696"/>
          <pc:sldLayoutMkLst>
            <pc:docMk/>
            <pc:sldMasterMk cId="3011101579" sldId="2147483723"/>
            <pc:sldLayoutMk cId="422854080" sldId="2147483780"/>
          </pc:sldLayoutMkLst>
        </pc:sldLayoutChg>
        <pc:sldLayoutChg chg="del">
          <pc:chgData name="Nataliia Chornii (UA)" userId="4e4b8b3d-5f31-49bb-9f80-8a25c04abfff" providerId="ADAL" clId="{EE97D3FE-9ACA-4467-98E5-532EC45D9D1C}" dt="2024-03-04T13:01:32.216" v="23258" actId="2696"/>
          <pc:sldLayoutMkLst>
            <pc:docMk/>
            <pc:sldMasterMk cId="3011101579" sldId="2147483723"/>
            <pc:sldLayoutMk cId="1210266359" sldId="2147483781"/>
          </pc:sldLayoutMkLst>
        </pc:sldLayoutChg>
        <pc:sldLayoutChg chg="del">
          <pc:chgData name="Nataliia Chornii (UA)" userId="4e4b8b3d-5f31-49bb-9f80-8a25c04abfff" providerId="ADAL" clId="{EE97D3FE-9ACA-4467-98E5-532EC45D9D1C}" dt="2024-03-04T13:01:32.216" v="23259" actId="2696"/>
          <pc:sldLayoutMkLst>
            <pc:docMk/>
            <pc:sldMasterMk cId="3011101579" sldId="2147483723"/>
            <pc:sldLayoutMk cId="237858898" sldId="2147483782"/>
          </pc:sldLayoutMkLst>
        </pc:sldLayoutChg>
        <pc:sldLayoutChg chg="del">
          <pc:chgData name="Nataliia Chornii (UA)" userId="4e4b8b3d-5f31-49bb-9f80-8a25c04abfff" providerId="ADAL" clId="{EE97D3FE-9ACA-4467-98E5-532EC45D9D1C}" dt="2024-03-04T13:01:32.216" v="23260" actId="2696"/>
          <pc:sldLayoutMkLst>
            <pc:docMk/>
            <pc:sldMasterMk cId="3011101579" sldId="2147483723"/>
            <pc:sldLayoutMk cId="2558926449" sldId="2147483783"/>
          </pc:sldLayoutMkLst>
        </pc:sldLayoutChg>
        <pc:sldLayoutChg chg="del">
          <pc:chgData name="Nataliia Chornii (UA)" userId="4e4b8b3d-5f31-49bb-9f80-8a25c04abfff" providerId="ADAL" clId="{EE97D3FE-9ACA-4467-98E5-532EC45D9D1C}" dt="2024-03-04T13:01:32.231" v="23261" actId="2696"/>
          <pc:sldLayoutMkLst>
            <pc:docMk/>
            <pc:sldMasterMk cId="3011101579" sldId="2147483723"/>
            <pc:sldLayoutMk cId="1686717012" sldId="2147483784"/>
          </pc:sldLayoutMkLst>
        </pc:sldLayoutChg>
        <pc:sldLayoutChg chg="del">
          <pc:chgData name="Nataliia Chornii (UA)" userId="4e4b8b3d-5f31-49bb-9f80-8a25c04abfff" providerId="ADAL" clId="{EE97D3FE-9ACA-4467-98E5-532EC45D9D1C}" dt="2024-03-04T13:01:32.011" v="23249" actId="2696"/>
          <pc:sldLayoutMkLst>
            <pc:docMk/>
            <pc:sldMasterMk cId="3011101579" sldId="2147483723"/>
            <pc:sldLayoutMk cId="3874444732" sldId="2147483785"/>
          </pc:sldLayoutMkLst>
        </pc:sldLayoutChg>
        <pc:sldLayoutChg chg="addSp delSp modSp mod">
          <pc:chgData name="Nataliia Chornii (UA)" userId="4e4b8b3d-5f31-49bb-9f80-8a25c04abfff" providerId="ADAL" clId="{EE97D3FE-9ACA-4467-98E5-532EC45D9D1C}" dt="2024-03-01T09:07:16.249" v="7860" actId="555"/>
          <pc:sldLayoutMkLst>
            <pc:docMk/>
            <pc:sldMasterMk cId="3011101579" sldId="2147483723"/>
            <pc:sldLayoutMk cId="1531588365" sldId="2147483786"/>
          </pc:sldLayoutMkLst>
          <pc:spChg chg="mod">
            <ac:chgData name="Nataliia Chornii (UA)" userId="4e4b8b3d-5f31-49bb-9f80-8a25c04abfff" providerId="ADAL" clId="{EE97D3FE-9ACA-4467-98E5-532EC45D9D1C}" dt="2024-03-01T08:57:07.846" v="7289" actId="552"/>
            <ac:spMkLst>
              <pc:docMk/>
              <pc:sldMasterMk cId="3011101579" sldId="2147483723"/>
              <pc:sldLayoutMk cId="1531588365" sldId="2147483786"/>
              <ac:spMk id="2" creationId="{00000000-0000-0000-0000-000000000000}"/>
            </ac:spMkLst>
          </pc:spChg>
          <pc:spChg chg="mod">
            <ac:chgData name="Nataliia Chornii (UA)" userId="4e4b8b3d-5f31-49bb-9f80-8a25c04abfff" providerId="ADAL" clId="{EE97D3FE-9ACA-4467-98E5-532EC45D9D1C}" dt="2024-03-01T08:57:04.787" v="7288" actId="555"/>
            <ac:spMkLst>
              <pc:docMk/>
              <pc:sldMasterMk cId="3011101579" sldId="2147483723"/>
              <pc:sldLayoutMk cId="1531588365" sldId="2147483786"/>
              <ac:spMk id="3" creationId="{78ADAC9E-8878-DA41-A1D3-2D5C54FB456A}"/>
            </ac:spMkLst>
          </pc:spChg>
          <pc:spChg chg="del mod">
            <ac:chgData name="Nataliia Chornii (UA)" userId="4e4b8b3d-5f31-49bb-9f80-8a25c04abfff" providerId="ADAL" clId="{EE97D3FE-9ACA-4467-98E5-532EC45D9D1C}" dt="2024-03-01T08:56:39.014" v="7224" actId="478"/>
            <ac:spMkLst>
              <pc:docMk/>
              <pc:sldMasterMk cId="3011101579" sldId="2147483723"/>
              <pc:sldLayoutMk cId="1531588365" sldId="2147483786"/>
              <ac:spMk id="4" creationId="{839088E2-6117-534E-A3B5-65400594E309}"/>
            </ac:spMkLst>
          </pc:spChg>
          <pc:spChg chg="mod">
            <ac:chgData name="Nataliia Chornii (UA)" userId="4e4b8b3d-5f31-49bb-9f80-8a25c04abfff" providerId="ADAL" clId="{EE97D3FE-9ACA-4467-98E5-532EC45D9D1C}" dt="2024-03-01T09:07:16.249" v="7860" actId="555"/>
            <ac:spMkLst>
              <pc:docMk/>
              <pc:sldMasterMk cId="3011101579" sldId="2147483723"/>
              <pc:sldLayoutMk cId="1531588365" sldId="2147483786"/>
              <ac:spMk id="5" creationId="{5AE750E3-3DF6-B94E-959B-C6E962A30CCF}"/>
            </ac:spMkLst>
          </pc:spChg>
          <pc:spChg chg="add del mod">
            <ac:chgData name="Nataliia Chornii (UA)" userId="4e4b8b3d-5f31-49bb-9f80-8a25c04abfff" providerId="ADAL" clId="{EE97D3FE-9ACA-4467-98E5-532EC45D9D1C}" dt="2024-03-01T08:54:34.163" v="6984"/>
            <ac:spMkLst>
              <pc:docMk/>
              <pc:sldMasterMk cId="3011101579" sldId="2147483723"/>
              <pc:sldLayoutMk cId="1531588365" sldId="2147483786"/>
              <ac:spMk id="6" creationId="{2D7A56B5-55EB-BF54-4994-38A799C84D12}"/>
            </ac:spMkLst>
          </pc:spChg>
          <pc:spChg chg="add del mod">
            <ac:chgData name="Nataliia Chornii (UA)" userId="4e4b8b3d-5f31-49bb-9f80-8a25c04abfff" providerId="ADAL" clId="{EE97D3FE-9ACA-4467-98E5-532EC45D9D1C}" dt="2024-03-01T08:54:34.163" v="6984"/>
            <ac:spMkLst>
              <pc:docMk/>
              <pc:sldMasterMk cId="3011101579" sldId="2147483723"/>
              <pc:sldLayoutMk cId="1531588365" sldId="2147483786"/>
              <ac:spMk id="7" creationId="{145E6D3D-2BCA-3840-C60D-6C12B2229A88}"/>
            </ac:spMkLst>
          </pc:spChg>
          <pc:spChg chg="add del">
            <ac:chgData name="Nataliia Chornii (UA)" userId="4e4b8b3d-5f31-49bb-9f80-8a25c04abfff" providerId="ADAL" clId="{EE97D3FE-9ACA-4467-98E5-532EC45D9D1C}" dt="2024-03-01T08:56:45.026" v="7225" actId="11529"/>
            <ac:spMkLst>
              <pc:docMk/>
              <pc:sldMasterMk cId="3011101579" sldId="2147483723"/>
              <pc:sldLayoutMk cId="1531588365" sldId="2147483786"/>
              <ac:spMk id="8" creationId="{668B370A-0CA7-5D08-26A0-2C52CD0025A6}"/>
            </ac:spMkLst>
          </pc:spChg>
          <pc:spChg chg="add mod">
            <ac:chgData name="Nataliia Chornii (UA)" userId="4e4b8b3d-5f31-49bb-9f80-8a25c04abfff" providerId="ADAL" clId="{EE97D3FE-9ACA-4467-98E5-532EC45D9D1C}" dt="2024-03-01T09:07:16.249" v="7860" actId="555"/>
            <ac:spMkLst>
              <pc:docMk/>
              <pc:sldMasterMk cId="3011101579" sldId="2147483723"/>
              <pc:sldLayoutMk cId="1531588365" sldId="2147483786"/>
              <ac:spMk id="9" creationId="{DD2FB3D1-7235-0BBC-7185-07B5EA3F3CD8}"/>
            </ac:spMkLst>
          </pc:spChg>
          <pc:spChg chg="add del mod modVis">
            <ac:chgData name="Nataliia Chornii (UA)" userId="4e4b8b3d-5f31-49bb-9f80-8a25c04abfff" providerId="ADAL" clId="{EE97D3FE-9ACA-4467-98E5-532EC45D9D1C}" dt="2024-03-01T08:56:48.918" v="7253"/>
            <ac:spMkLst>
              <pc:docMk/>
              <pc:sldMasterMk cId="3011101579" sldId="2147483723"/>
              <pc:sldLayoutMk cId="1531588365" sldId="2147483786"/>
              <ac:spMk id="10" creationId="{A3C8EDB5-DFDD-F676-0E1F-19E939FB35B9}"/>
            </ac:spMkLst>
          </pc:spChg>
          <pc:graphicFrameChg chg="add mod ord modVis replST">
            <ac:chgData name="Nataliia Chornii (UA)" userId="4e4b8b3d-5f31-49bb-9f80-8a25c04abfff" providerId="ADAL" clId="{EE97D3FE-9ACA-4467-98E5-532EC45D9D1C}" dt="2024-03-01T08:56:49.279" v="7277"/>
            <ac:graphicFrameMkLst>
              <pc:docMk/>
              <pc:sldMasterMk cId="3011101579" sldId="2147483723"/>
              <pc:sldLayoutMk cId="1531588365" sldId="2147483786"/>
              <ac:graphicFrameMk id="11" creationId="{8D441EEF-A6BC-2368-26BE-D00D5952AFE6}"/>
            </ac:graphicFrameMkLst>
          </pc:graphicFrameChg>
        </pc:sldLayoutChg>
        <pc:sldLayoutChg chg="delSp mod">
          <pc:chgData name="Nataliia Chornii (UA)" userId="4e4b8b3d-5f31-49bb-9f80-8a25c04abfff" providerId="ADAL" clId="{EE97D3FE-9ACA-4467-98E5-532EC45D9D1C}" dt="2024-03-04T13:01:25.851" v="23248" actId="478"/>
          <pc:sldLayoutMkLst>
            <pc:docMk/>
            <pc:sldMasterMk cId="3011101579" sldId="2147483723"/>
            <pc:sldLayoutMk cId="3079579716" sldId="2147483787"/>
          </pc:sldLayoutMkLst>
          <pc:spChg chg="del">
            <ac:chgData name="Nataliia Chornii (UA)" userId="4e4b8b3d-5f31-49bb-9f80-8a25c04abfff" providerId="ADAL" clId="{EE97D3FE-9ACA-4467-98E5-532EC45D9D1C}" dt="2024-03-04T13:01:25.851" v="23248" actId="478"/>
            <ac:spMkLst>
              <pc:docMk/>
              <pc:sldMasterMk cId="3011101579" sldId="2147483723"/>
              <pc:sldLayoutMk cId="3079579716" sldId="2147483787"/>
              <ac:spMk id="2" creationId="{859B7FC3-54D3-A044-9662-AED001F4D972}"/>
            </ac:spMkLst>
          </pc:spChg>
          <pc:spChg chg="del">
            <ac:chgData name="Nataliia Chornii (UA)" userId="4e4b8b3d-5f31-49bb-9f80-8a25c04abfff" providerId="ADAL" clId="{EE97D3FE-9ACA-4467-98E5-532EC45D9D1C}" dt="2024-03-04T13:01:23.797" v="23247" actId="478"/>
            <ac:spMkLst>
              <pc:docMk/>
              <pc:sldMasterMk cId="3011101579" sldId="2147483723"/>
              <pc:sldLayoutMk cId="3079579716" sldId="2147483787"/>
              <ac:spMk id="3" creationId="{03092CA8-9C8A-8146-8F00-4833507614AE}"/>
            </ac:spMkLst>
          </pc:spChg>
          <pc:spChg chg="del">
            <ac:chgData name="Nataliia Chornii (UA)" userId="4e4b8b3d-5f31-49bb-9f80-8a25c04abfff" providerId="ADAL" clId="{EE97D3FE-9ACA-4467-98E5-532EC45D9D1C}" dt="2024-03-04T13:01:25.851" v="23248" actId="478"/>
            <ac:spMkLst>
              <pc:docMk/>
              <pc:sldMasterMk cId="3011101579" sldId="2147483723"/>
              <pc:sldLayoutMk cId="3079579716" sldId="2147483787"/>
              <ac:spMk id="4" creationId="{36E9B7AB-8379-3341-BEF5-2E85A7299A74}"/>
            </ac:spMkLst>
          </pc:spChg>
        </pc:sldLayoutChg>
        <pc:sldLayoutChg chg="del">
          <pc:chgData name="Nataliia Chornii (UA)" userId="4e4b8b3d-5f31-49bb-9f80-8a25c04abfff" providerId="ADAL" clId="{EE97D3FE-9ACA-4467-98E5-532EC45D9D1C}" dt="2024-03-04T13:00:38.175" v="23230" actId="2696"/>
          <pc:sldLayoutMkLst>
            <pc:docMk/>
            <pc:sldMasterMk cId="3011101579" sldId="2147483723"/>
            <pc:sldLayoutMk cId="869499770" sldId="2147483788"/>
          </pc:sldLayoutMkLst>
        </pc:sldLayoutChg>
        <pc:sldLayoutChg chg="del">
          <pc:chgData name="Nataliia Chornii (UA)" userId="4e4b8b3d-5f31-49bb-9f80-8a25c04abfff" providerId="ADAL" clId="{EE97D3FE-9ACA-4467-98E5-532EC45D9D1C}" dt="2024-03-04T13:00:38.186" v="23231" actId="2696"/>
          <pc:sldLayoutMkLst>
            <pc:docMk/>
            <pc:sldMasterMk cId="3011101579" sldId="2147483723"/>
            <pc:sldLayoutMk cId="327065129" sldId="2147483789"/>
          </pc:sldLayoutMkLst>
        </pc:sldLayoutChg>
        <pc:sldLayoutChg chg="delSp modSp mod">
          <pc:chgData name="Nataliia Chornii (UA)" userId="4e4b8b3d-5f31-49bb-9f80-8a25c04abfff" providerId="ADAL" clId="{EE97D3FE-9ACA-4467-98E5-532EC45D9D1C}" dt="2024-03-04T13:01:04.140" v="23246" actId="478"/>
          <pc:sldLayoutMkLst>
            <pc:docMk/>
            <pc:sldMasterMk cId="3011101579" sldId="2147483723"/>
            <pc:sldLayoutMk cId="57987620" sldId="2147483791"/>
          </pc:sldLayoutMkLst>
          <pc:spChg chg="mod">
            <ac:chgData name="Nataliia Chornii (UA)" userId="4e4b8b3d-5f31-49bb-9f80-8a25c04abfff" providerId="ADAL" clId="{EE97D3FE-9ACA-4467-98E5-532EC45D9D1C}" dt="2024-03-04T13:01:01.676" v="23241" actId="948"/>
            <ac:spMkLst>
              <pc:docMk/>
              <pc:sldMasterMk cId="3011101579" sldId="2147483723"/>
              <pc:sldLayoutMk cId="57987620" sldId="2147483791"/>
              <ac:spMk id="2" creationId="{00000000-0000-0000-0000-000000000000}"/>
            </ac:spMkLst>
          </pc:spChg>
          <pc:spChg chg="del">
            <ac:chgData name="Nataliia Chornii (UA)" userId="4e4b8b3d-5f31-49bb-9f80-8a25c04abfff" providerId="ADAL" clId="{EE97D3FE-9ACA-4467-98E5-532EC45D9D1C}" dt="2024-03-04T13:01:04.140" v="23246" actId="478"/>
            <ac:spMkLst>
              <pc:docMk/>
              <pc:sldMasterMk cId="3011101579" sldId="2147483723"/>
              <pc:sldLayoutMk cId="57987620" sldId="2147483791"/>
              <ac:spMk id="3" creationId="{00000000-0000-0000-0000-000000000000}"/>
            </ac:spMkLst>
          </pc:spChg>
          <pc:spChg chg="topLvl">
            <ac:chgData name="Nataliia Chornii (UA)" userId="4e4b8b3d-5f31-49bb-9f80-8a25c04abfff" providerId="ADAL" clId="{EE97D3FE-9ACA-4467-98E5-532EC45D9D1C}" dt="2024-03-04T13:00:48.338" v="23233" actId="478"/>
            <ac:spMkLst>
              <pc:docMk/>
              <pc:sldMasterMk cId="3011101579" sldId="2147483723"/>
              <pc:sldLayoutMk cId="57987620" sldId="2147483791"/>
              <ac:spMk id="5" creationId="{3FECC16A-B1FD-FAF5-EB5C-6894270D0777}"/>
            </ac:spMkLst>
          </pc:spChg>
          <pc:grpChg chg="del">
            <ac:chgData name="Nataliia Chornii (UA)" userId="4e4b8b3d-5f31-49bb-9f80-8a25c04abfff" providerId="ADAL" clId="{EE97D3FE-9ACA-4467-98E5-532EC45D9D1C}" dt="2024-03-04T13:00:48.338" v="23233" actId="478"/>
            <ac:grpSpMkLst>
              <pc:docMk/>
              <pc:sldMasterMk cId="3011101579" sldId="2147483723"/>
              <pc:sldLayoutMk cId="57987620" sldId="2147483791"/>
              <ac:grpSpMk id="4" creationId="{0B63678F-DB3A-4415-7580-95B39A40636E}"/>
            </ac:grpSpMkLst>
          </pc:grpChg>
          <pc:graphicFrameChg chg="mod">
            <ac:chgData name="Nataliia Chornii (UA)" userId="4e4b8b3d-5f31-49bb-9f80-8a25c04abfff" providerId="ADAL" clId="{EE97D3FE-9ACA-4467-98E5-532EC45D9D1C}" dt="2024-03-04T13:01:01.692" v="23245"/>
            <ac:graphicFrameMkLst>
              <pc:docMk/>
              <pc:sldMasterMk cId="3011101579" sldId="2147483723"/>
              <pc:sldLayoutMk cId="57987620" sldId="2147483791"/>
              <ac:graphicFrameMk id="12" creationId="{7EB58BF2-7720-951A-0737-25DCDFC44C9A}"/>
            </ac:graphicFrameMkLst>
          </pc:graphicFrameChg>
          <pc:picChg chg="del topLvl">
            <ac:chgData name="Nataliia Chornii (UA)" userId="4e4b8b3d-5f31-49bb-9f80-8a25c04abfff" providerId="ADAL" clId="{EE97D3FE-9ACA-4467-98E5-532EC45D9D1C}" dt="2024-03-04T13:00:48.338" v="23233" actId="478"/>
            <ac:picMkLst>
              <pc:docMk/>
              <pc:sldMasterMk cId="3011101579" sldId="2147483723"/>
              <pc:sldLayoutMk cId="57987620" sldId="2147483791"/>
              <ac:picMk id="6" creationId="{C11D32D6-B442-BFC3-1C38-B121D9F32369}"/>
            </ac:picMkLst>
          </pc:picChg>
          <pc:picChg chg="del">
            <ac:chgData name="Nataliia Chornii (UA)" userId="4e4b8b3d-5f31-49bb-9f80-8a25c04abfff" providerId="ADAL" clId="{EE97D3FE-9ACA-4467-98E5-532EC45D9D1C}" dt="2024-03-04T13:00:46.542" v="23232" actId="478"/>
            <ac:picMkLst>
              <pc:docMk/>
              <pc:sldMasterMk cId="3011101579" sldId="2147483723"/>
              <pc:sldLayoutMk cId="57987620" sldId="2147483791"/>
              <ac:picMk id="8" creationId="{9C024489-97EC-1D48-A1FA-019C1228618C}"/>
            </ac:picMkLst>
          </pc:picChg>
        </pc:sldLayoutChg>
      </pc:sldMasterChg>
    </pc:docChg>
  </pc:docChgLst>
  <pc:docChgLst>
    <pc:chgData name="Ramona Daukste (LV)" userId="cb110d71-928f-4029-96c9-9e7c32e592fe" providerId="ADAL" clId="{C5DC3D82-2C0A-4A6C-AC58-8884C18EFE3B}"/>
    <pc:docChg chg="undo redo custSel modSld">
      <pc:chgData name="Ramona Daukste (LV)" userId="cb110d71-928f-4029-96c9-9e7c32e592fe" providerId="ADAL" clId="{C5DC3D82-2C0A-4A6C-AC58-8884C18EFE3B}" dt="2024-03-12T11:34:42.271" v="348"/>
      <pc:docMkLst>
        <pc:docMk/>
      </pc:docMkLst>
      <pc:sldChg chg="modSp mod">
        <pc:chgData name="Ramona Daukste (LV)" userId="cb110d71-928f-4029-96c9-9e7c32e592fe" providerId="ADAL" clId="{C5DC3D82-2C0A-4A6C-AC58-8884C18EFE3B}" dt="2024-03-12T09:16:23.407" v="223" actId="1037"/>
        <pc:sldMkLst>
          <pc:docMk/>
          <pc:sldMk cId="817197616" sldId="332"/>
        </pc:sldMkLst>
        <pc:spChg chg="mod">
          <ac:chgData name="Ramona Daukste (LV)" userId="cb110d71-928f-4029-96c9-9e7c32e592fe" providerId="ADAL" clId="{C5DC3D82-2C0A-4A6C-AC58-8884C18EFE3B}" dt="2024-03-12T09:16:23.407" v="223" actId="1037"/>
          <ac:spMkLst>
            <pc:docMk/>
            <pc:sldMk cId="817197616" sldId="332"/>
            <ac:spMk id="5" creationId="{C96382F6-4886-AE1D-4E3B-B7A6D20F4B2E}"/>
          </ac:spMkLst>
        </pc:spChg>
        <pc:spChg chg="mod">
          <ac:chgData name="Ramona Daukste (LV)" userId="cb110d71-928f-4029-96c9-9e7c32e592fe" providerId="ADAL" clId="{C5DC3D82-2C0A-4A6C-AC58-8884C18EFE3B}" dt="2024-03-12T09:15:50.343" v="114" actId="1076"/>
          <ac:spMkLst>
            <pc:docMk/>
            <pc:sldMk cId="817197616" sldId="332"/>
            <ac:spMk id="15" creationId="{BE44F20B-FA95-2861-40B9-74FCD9F509AC}"/>
          </ac:spMkLst>
        </pc:spChg>
        <pc:picChg chg="mod">
          <ac:chgData name="Ramona Daukste (LV)" userId="cb110d71-928f-4029-96c9-9e7c32e592fe" providerId="ADAL" clId="{C5DC3D82-2C0A-4A6C-AC58-8884C18EFE3B}" dt="2024-03-12T09:16:23.407" v="223" actId="1037"/>
          <ac:picMkLst>
            <pc:docMk/>
            <pc:sldMk cId="817197616" sldId="332"/>
            <ac:picMk id="3" creationId="{4D1170B7-6EE5-270B-66A8-10AD07C6BBCA}"/>
          </ac:picMkLst>
        </pc:picChg>
        <pc:picChg chg="mod">
          <ac:chgData name="Ramona Daukste (LV)" userId="cb110d71-928f-4029-96c9-9e7c32e592fe" providerId="ADAL" clId="{C5DC3D82-2C0A-4A6C-AC58-8884C18EFE3B}" dt="2024-03-12T09:16:23.407" v="223" actId="1037"/>
          <ac:picMkLst>
            <pc:docMk/>
            <pc:sldMk cId="817197616" sldId="332"/>
            <ac:picMk id="1028" creationId="{49D69959-2997-0541-EBD2-EA679BB87816}"/>
          </ac:picMkLst>
        </pc:picChg>
      </pc:sldChg>
      <pc:sldChg chg="modSp mod">
        <pc:chgData name="Ramona Daukste (LV)" userId="cb110d71-928f-4029-96c9-9e7c32e592fe" providerId="ADAL" clId="{C5DC3D82-2C0A-4A6C-AC58-8884C18EFE3B}" dt="2024-03-12T09:19:35.367" v="224" actId="20577"/>
        <pc:sldMkLst>
          <pc:docMk/>
          <pc:sldMk cId="795685229" sldId="904"/>
        </pc:sldMkLst>
        <pc:spChg chg="mod">
          <ac:chgData name="Ramona Daukste (LV)" userId="cb110d71-928f-4029-96c9-9e7c32e592fe" providerId="ADAL" clId="{C5DC3D82-2C0A-4A6C-AC58-8884C18EFE3B}" dt="2024-03-12T09:19:35.367" v="224" actId="20577"/>
          <ac:spMkLst>
            <pc:docMk/>
            <pc:sldMk cId="795685229" sldId="904"/>
            <ac:spMk id="59" creationId="{34CAA65D-F32B-4FFB-DA56-9F4BF785AA35}"/>
          </ac:spMkLst>
        </pc:spChg>
      </pc:sldChg>
      <pc:sldChg chg="addCm">
        <pc:chgData name="Ramona Daukste (LV)" userId="cb110d71-928f-4029-96c9-9e7c32e592fe" providerId="ADAL" clId="{C5DC3D82-2C0A-4A6C-AC58-8884C18EFE3B}" dt="2024-03-12T09:21:03.284" v="225"/>
        <pc:sldMkLst>
          <pc:docMk/>
          <pc:sldMk cId="2300626159" sldId="908"/>
        </pc:sldMkLst>
        <pc:extLst>
          <p:ext xmlns:p="http://schemas.openxmlformats.org/presentationml/2006/main" uri="{D6D511B9-2390-475A-947B-AFAB55BFBCF1}">
            <pc226:cmChg xmlns:pc226="http://schemas.microsoft.com/office/powerpoint/2022/06/main/command" chg="add">
              <pc226:chgData name="Ramona Daukste (LV)" userId="cb110d71-928f-4029-96c9-9e7c32e592fe" providerId="ADAL" clId="{C5DC3D82-2C0A-4A6C-AC58-8884C18EFE3B}" dt="2024-03-12T09:21:03.284" v="225"/>
              <pc2:cmMkLst xmlns:pc2="http://schemas.microsoft.com/office/powerpoint/2019/9/main/command">
                <pc:docMk/>
                <pc:sldMk cId="2300626159" sldId="908"/>
                <pc2:cmMk id="{244EB0D3-63C7-4555-A81F-CBB2872954E1}"/>
              </pc2:cmMkLst>
            </pc226:cmChg>
          </p:ext>
        </pc:extLst>
      </pc:sldChg>
      <pc:sldChg chg="modSp mod">
        <pc:chgData name="Ramona Daukste (LV)" userId="cb110d71-928f-4029-96c9-9e7c32e592fe" providerId="ADAL" clId="{C5DC3D82-2C0A-4A6C-AC58-8884C18EFE3B}" dt="2024-03-12T09:21:41.627" v="233" actId="20577"/>
        <pc:sldMkLst>
          <pc:docMk/>
          <pc:sldMk cId="1764034675" sldId="909"/>
        </pc:sldMkLst>
        <pc:spChg chg="mod">
          <ac:chgData name="Ramona Daukste (LV)" userId="cb110d71-928f-4029-96c9-9e7c32e592fe" providerId="ADAL" clId="{C5DC3D82-2C0A-4A6C-AC58-8884C18EFE3B}" dt="2024-03-12T09:21:26.475" v="226" actId="20577"/>
          <ac:spMkLst>
            <pc:docMk/>
            <pc:sldMk cId="1764034675" sldId="909"/>
            <ac:spMk id="19" creationId="{EF4D8BEF-8566-D43D-9B28-E036D42EE6BC}"/>
          </ac:spMkLst>
        </pc:spChg>
        <pc:spChg chg="mod">
          <ac:chgData name="Ramona Daukste (LV)" userId="cb110d71-928f-4029-96c9-9e7c32e592fe" providerId="ADAL" clId="{C5DC3D82-2C0A-4A6C-AC58-8884C18EFE3B}" dt="2024-03-12T09:21:30.504" v="227" actId="20577"/>
          <ac:spMkLst>
            <pc:docMk/>
            <pc:sldMk cId="1764034675" sldId="909"/>
            <ac:spMk id="24" creationId="{239B8622-318D-D173-F478-CF1A7EC16B5E}"/>
          </ac:spMkLst>
        </pc:spChg>
        <pc:spChg chg="mod">
          <ac:chgData name="Ramona Daukste (LV)" userId="cb110d71-928f-4029-96c9-9e7c32e592fe" providerId="ADAL" clId="{C5DC3D82-2C0A-4A6C-AC58-8884C18EFE3B}" dt="2024-03-12T09:21:32.572" v="228" actId="20577"/>
          <ac:spMkLst>
            <pc:docMk/>
            <pc:sldMk cId="1764034675" sldId="909"/>
            <ac:spMk id="28" creationId="{A914D302-8B7D-1F34-FE6F-2FA8E18E28AD}"/>
          </ac:spMkLst>
        </pc:spChg>
        <pc:spChg chg="mod">
          <ac:chgData name="Ramona Daukste (LV)" userId="cb110d71-928f-4029-96c9-9e7c32e592fe" providerId="ADAL" clId="{C5DC3D82-2C0A-4A6C-AC58-8884C18EFE3B}" dt="2024-03-12T09:21:38.523" v="231" actId="20577"/>
          <ac:spMkLst>
            <pc:docMk/>
            <pc:sldMk cId="1764034675" sldId="909"/>
            <ac:spMk id="34" creationId="{2E292E14-80B0-C799-DCA3-1B141B1D2C6D}"/>
          </ac:spMkLst>
        </pc:spChg>
        <pc:spChg chg="mod">
          <ac:chgData name="Ramona Daukste (LV)" userId="cb110d71-928f-4029-96c9-9e7c32e592fe" providerId="ADAL" clId="{C5DC3D82-2C0A-4A6C-AC58-8884C18EFE3B}" dt="2024-03-12T09:21:40.496" v="232" actId="20577"/>
          <ac:spMkLst>
            <pc:docMk/>
            <pc:sldMk cId="1764034675" sldId="909"/>
            <ac:spMk id="37" creationId="{94812D46-A915-8FCC-CF16-5E3844875EA5}"/>
          </ac:spMkLst>
        </pc:spChg>
        <pc:spChg chg="mod">
          <ac:chgData name="Ramona Daukste (LV)" userId="cb110d71-928f-4029-96c9-9e7c32e592fe" providerId="ADAL" clId="{C5DC3D82-2C0A-4A6C-AC58-8884C18EFE3B}" dt="2024-03-12T09:21:41.627" v="233" actId="20577"/>
          <ac:spMkLst>
            <pc:docMk/>
            <pc:sldMk cId="1764034675" sldId="909"/>
            <ac:spMk id="40" creationId="{D1B7C728-9ECB-FC52-795D-8049E21F1FC0}"/>
          </ac:spMkLst>
        </pc:spChg>
      </pc:sldChg>
      <pc:sldChg chg="addCm">
        <pc:chgData name="Ramona Daukste (LV)" userId="cb110d71-928f-4029-96c9-9e7c32e592fe" providerId="ADAL" clId="{C5DC3D82-2C0A-4A6C-AC58-8884C18EFE3B}" dt="2024-03-12T09:25:32.123" v="254"/>
        <pc:sldMkLst>
          <pc:docMk/>
          <pc:sldMk cId="3429470186" sldId="914"/>
        </pc:sldMkLst>
        <pc:extLst>
          <p:ext xmlns:p="http://schemas.openxmlformats.org/presentationml/2006/main" uri="{D6D511B9-2390-475A-947B-AFAB55BFBCF1}">
            <pc226:cmChg xmlns:pc226="http://schemas.microsoft.com/office/powerpoint/2022/06/main/command" chg="add">
              <pc226:chgData name="Ramona Daukste (LV)" userId="cb110d71-928f-4029-96c9-9e7c32e592fe" providerId="ADAL" clId="{C5DC3D82-2C0A-4A6C-AC58-8884C18EFE3B}" dt="2024-03-12T09:25:32.123" v="254"/>
              <pc2:cmMkLst xmlns:pc2="http://schemas.microsoft.com/office/powerpoint/2019/9/main/command">
                <pc:docMk/>
                <pc:sldMk cId="3429470186" sldId="914"/>
                <pc2:cmMk id="{0C7C53F7-5476-45C0-9A4C-87C4695D0797}"/>
              </pc2:cmMkLst>
            </pc226:cmChg>
          </p:ext>
        </pc:extLst>
      </pc:sldChg>
      <pc:sldChg chg="modSp mod">
        <pc:chgData name="Ramona Daukste (LV)" userId="cb110d71-928f-4029-96c9-9e7c32e592fe" providerId="ADAL" clId="{C5DC3D82-2C0A-4A6C-AC58-8884C18EFE3B}" dt="2024-03-12T09:27:30.020" v="255" actId="20577"/>
        <pc:sldMkLst>
          <pc:docMk/>
          <pc:sldMk cId="4273639525" sldId="917"/>
        </pc:sldMkLst>
        <pc:spChg chg="mod">
          <ac:chgData name="Ramona Daukste (LV)" userId="cb110d71-928f-4029-96c9-9e7c32e592fe" providerId="ADAL" clId="{C5DC3D82-2C0A-4A6C-AC58-8884C18EFE3B}" dt="2024-03-12T09:27:30.020" v="255" actId="20577"/>
          <ac:spMkLst>
            <pc:docMk/>
            <pc:sldMk cId="4273639525" sldId="917"/>
            <ac:spMk id="20" creationId="{71A7C7C0-2A0C-7790-FB11-2C935A397516}"/>
          </ac:spMkLst>
        </pc:spChg>
      </pc:sldChg>
      <pc:sldChg chg="modSp mod">
        <pc:chgData name="Ramona Daukste (LV)" userId="cb110d71-928f-4029-96c9-9e7c32e592fe" providerId="ADAL" clId="{C5DC3D82-2C0A-4A6C-AC58-8884C18EFE3B}" dt="2024-03-12T09:24:24.446" v="253" actId="20577"/>
        <pc:sldMkLst>
          <pc:docMk/>
          <pc:sldMk cId="3431578971" sldId="931"/>
        </pc:sldMkLst>
        <pc:spChg chg="mod">
          <ac:chgData name="Ramona Daukste (LV)" userId="cb110d71-928f-4029-96c9-9e7c32e592fe" providerId="ADAL" clId="{C5DC3D82-2C0A-4A6C-AC58-8884C18EFE3B}" dt="2024-03-12T09:24:24.446" v="253" actId="20577"/>
          <ac:spMkLst>
            <pc:docMk/>
            <pc:sldMk cId="3431578971" sldId="931"/>
            <ac:spMk id="21" creationId="{78DC1799-6B68-492D-BBE0-D7BECB3D58E6}"/>
          </ac:spMkLst>
        </pc:spChg>
        <pc:spChg chg="mod">
          <ac:chgData name="Ramona Daukste (LV)" userId="cb110d71-928f-4029-96c9-9e7c32e592fe" providerId="ADAL" clId="{C5DC3D82-2C0A-4A6C-AC58-8884C18EFE3B}" dt="2024-03-12T09:24:23.859" v="252" actId="20577"/>
          <ac:spMkLst>
            <pc:docMk/>
            <pc:sldMk cId="3431578971" sldId="931"/>
            <ac:spMk id="100" creationId="{6196419E-02BA-D21D-1546-F1EC7C2A2D38}"/>
          </ac:spMkLst>
        </pc:spChg>
        <pc:spChg chg="mod">
          <ac:chgData name="Ramona Daukste (LV)" userId="cb110d71-928f-4029-96c9-9e7c32e592fe" providerId="ADAL" clId="{C5DC3D82-2C0A-4A6C-AC58-8884C18EFE3B}" dt="2024-03-12T09:24:22.739" v="250" actId="20577"/>
          <ac:spMkLst>
            <pc:docMk/>
            <pc:sldMk cId="3431578971" sldId="931"/>
            <ac:spMk id="101" creationId="{9ECA4B5E-E4A7-485E-4742-A7A24FB938CD}"/>
          </ac:spMkLst>
        </pc:spChg>
        <pc:spChg chg="mod">
          <ac:chgData name="Ramona Daukste (LV)" userId="cb110d71-928f-4029-96c9-9e7c32e592fe" providerId="ADAL" clId="{C5DC3D82-2C0A-4A6C-AC58-8884C18EFE3B}" dt="2024-03-12T09:24:22.571" v="249" actId="20577"/>
          <ac:spMkLst>
            <pc:docMk/>
            <pc:sldMk cId="3431578971" sldId="931"/>
            <ac:spMk id="102" creationId="{6C2839D0-72C0-7347-1A1F-A4C976165D3B}"/>
          </ac:spMkLst>
        </pc:spChg>
        <pc:spChg chg="mod">
          <ac:chgData name="Ramona Daukste (LV)" userId="cb110d71-928f-4029-96c9-9e7c32e592fe" providerId="ADAL" clId="{C5DC3D82-2C0A-4A6C-AC58-8884C18EFE3B}" dt="2024-03-12T09:24:21.473" v="247" actId="20577"/>
          <ac:spMkLst>
            <pc:docMk/>
            <pc:sldMk cId="3431578971" sldId="931"/>
            <ac:spMk id="103" creationId="{20162A1E-1272-A65F-9743-08A1C56CDD8F}"/>
          </ac:spMkLst>
        </pc:spChg>
        <pc:spChg chg="mod">
          <ac:chgData name="Ramona Daukste (LV)" userId="cb110d71-928f-4029-96c9-9e7c32e592fe" providerId="ADAL" clId="{C5DC3D82-2C0A-4A6C-AC58-8884C18EFE3B}" dt="2024-03-12T09:24:21.037" v="246" actId="20577"/>
          <ac:spMkLst>
            <pc:docMk/>
            <pc:sldMk cId="3431578971" sldId="931"/>
            <ac:spMk id="104" creationId="{C489AEBB-7FB2-EC1A-2DC3-18B08D331418}"/>
          </ac:spMkLst>
        </pc:spChg>
        <pc:spChg chg="mod">
          <ac:chgData name="Ramona Daukste (LV)" userId="cb110d71-928f-4029-96c9-9e7c32e592fe" providerId="ADAL" clId="{C5DC3D82-2C0A-4A6C-AC58-8884C18EFE3B}" dt="2024-03-12T09:24:23.286" v="251" actId="20577"/>
          <ac:spMkLst>
            <pc:docMk/>
            <pc:sldMk cId="3431578971" sldId="931"/>
            <ac:spMk id="107" creationId="{5E4C4BD5-129E-6AAF-672B-2CE5A9EA1809}"/>
          </ac:spMkLst>
        </pc:spChg>
        <pc:spChg chg="mod">
          <ac:chgData name="Ramona Daukste (LV)" userId="cb110d71-928f-4029-96c9-9e7c32e592fe" providerId="ADAL" clId="{C5DC3D82-2C0A-4A6C-AC58-8884C18EFE3B}" dt="2024-03-12T09:24:22.035" v="248" actId="20577"/>
          <ac:spMkLst>
            <pc:docMk/>
            <pc:sldMk cId="3431578971" sldId="931"/>
            <ac:spMk id="108" creationId="{374ED229-16EB-16FE-4EEB-6C75D32758A7}"/>
          </ac:spMkLst>
        </pc:spChg>
      </pc:sldChg>
      <pc:sldChg chg="modSp mod">
        <pc:chgData name="Ramona Daukste (LV)" userId="cb110d71-928f-4029-96c9-9e7c32e592fe" providerId="ADAL" clId="{C5DC3D82-2C0A-4A6C-AC58-8884C18EFE3B}" dt="2024-03-12T10:42:53.835" v="344" actId="20577"/>
        <pc:sldMkLst>
          <pc:docMk/>
          <pc:sldMk cId="2803239078" sldId="935"/>
        </pc:sldMkLst>
        <pc:spChg chg="mod">
          <ac:chgData name="Ramona Daukste (LV)" userId="cb110d71-928f-4029-96c9-9e7c32e592fe" providerId="ADAL" clId="{C5DC3D82-2C0A-4A6C-AC58-8884C18EFE3B}" dt="2024-03-12T10:42:53.835" v="344" actId="20577"/>
          <ac:spMkLst>
            <pc:docMk/>
            <pc:sldMk cId="2803239078" sldId="935"/>
            <ac:spMk id="16" creationId="{30819613-CE74-49B6-0807-44FDBB81D466}"/>
          </ac:spMkLst>
        </pc:spChg>
      </pc:sldChg>
      <pc:sldChg chg="addCm">
        <pc:chgData name="Ramona Daukste (LV)" userId="cb110d71-928f-4029-96c9-9e7c32e592fe" providerId="ADAL" clId="{C5DC3D82-2C0A-4A6C-AC58-8884C18EFE3B}" dt="2024-03-12T10:55:46.260" v="347"/>
        <pc:sldMkLst>
          <pc:docMk/>
          <pc:sldMk cId="1263375755" sldId="937"/>
        </pc:sldMkLst>
        <pc:extLst>
          <p:ext xmlns:p="http://schemas.openxmlformats.org/presentationml/2006/main" uri="{D6D511B9-2390-475A-947B-AFAB55BFBCF1}">
            <pc226:cmChg xmlns:pc226="http://schemas.microsoft.com/office/powerpoint/2022/06/main/command" chg="add">
              <pc226:chgData name="Ramona Daukste (LV)" userId="cb110d71-928f-4029-96c9-9e7c32e592fe" providerId="ADAL" clId="{C5DC3D82-2C0A-4A6C-AC58-8884C18EFE3B}" dt="2024-03-12T10:55:46.260" v="347"/>
              <pc2:cmMkLst xmlns:pc2="http://schemas.microsoft.com/office/powerpoint/2019/9/main/command">
                <pc:docMk/>
                <pc:sldMk cId="1263375755" sldId="937"/>
                <pc2:cmMk id="{9701165F-769B-42EC-8757-BC99D971C04F}"/>
              </pc2:cmMkLst>
            </pc226:cmChg>
          </p:ext>
        </pc:extLst>
      </pc:sldChg>
      <pc:sldChg chg="modSp mod">
        <pc:chgData name="Ramona Daukste (LV)" userId="cb110d71-928f-4029-96c9-9e7c32e592fe" providerId="ADAL" clId="{C5DC3D82-2C0A-4A6C-AC58-8884C18EFE3B}" dt="2024-03-12T09:30:47.327" v="340" actId="1037"/>
        <pc:sldMkLst>
          <pc:docMk/>
          <pc:sldMk cId="4229434319" sldId="941"/>
        </pc:sldMkLst>
        <pc:grpChg chg="mod">
          <ac:chgData name="Ramona Daukste (LV)" userId="cb110d71-928f-4029-96c9-9e7c32e592fe" providerId="ADAL" clId="{C5DC3D82-2C0A-4A6C-AC58-8884C18EFE3B}" dt="2024-03-12T09:30:47.327" v="340" actId="1037"/>
          <ac:grpSpMkLst>
            <pc:docMk/>
            <pc:sldMk cId="4229434319" sldId="941"/>
            <ac:grpSpMk id="20" creationId="{1476811F-6F80-556F-F119-B8BF7156FE00}"/>
          </ac:grpSpMkLst>
        </pc:grpChg>
      </pc:sldChg>
      <pc:sldChg chg="addCm delCm modCm">
        <pc:chgData name="Ramona Daukste (LV)" userId="cb110d71-928f-4029-96c9-9e7c32e592fe" providerId="ADAL" clId="{C5DC3D82-2C0A-4A6C-AC58-8884C18EFE3B}" dt="2024-03-12T11:34:42.271" v="348"/>
        <pc:sldMkLst>
          <pc:docMk/>
          <pc:sldMk cId="3488828484" sldId="946"/>
        </pc:sldMkLst>
        <pc:extLst>
          <p:ext xmlns:p="http://schemas.openxmlformats.org/presentationml/2006/main" uri="{D6D511B9-2390-475A-947B-AFAB55BFBCF1}">
            <pc226:cmChg xmlns:pc226="http://schemas.microsoft.com/office/powerpoint/2022/06/main/command" chg="add del mod">
              <pc226:chgData name="Ramona Daukste (LV)" userId="cb110d71-928f-4029-96c9-9e7c32e592fe" providerId="ADAL" clId="{C5DC3D82-2C0A-4A6C-AC58-8884C18EFE3B}" dt="2024-03-12T11:34:42.271" v="348"/>
              <pc2:cmMkLst xmlns:pc2="http://schemas.microsoft.com/office/powerpoint/2019/9/main/command">
                <pc:docMk/>
                <pc:sldMk cId="3488828484" sldId="946"/>
                <pc2:cmMk id="{03988D36-9B53-4F30-81AA-8E3F1CCA5267}"/>
              </pc2:cmMkLst>
            </pc226:cmChg>
          </p:ext>
        </pc:extLst>
      </pc:sldChg>
      <pc:sldChg chg="modSp mod addCm">
        <pc:chgData name="Ramona Daukste (LV)" userId="cb110d71-928f-4029-96c9-9e7c32e592fe" providerId="ADAL" clId="{C5DC3D82-2C0A-4A6C-AC58-8884C18EFE3B}" dt="2024-03-12T09:23:08.113" v="235"/>
        <pc:sldMkLst>
          <pc:docMk/>
          <pc:sldMk cId="3292995886" sldId="954"/>
        </pc:sldMkLst>
        <pc:spChg chg="mod">
          <ac:chgData name="Ramona Daukste (LV)" userId="cb110d71-928f-4029-96c9-9e7c32e592fe" providerId="ADAL" clId="{C5DC3D82-2C0A-4A6C-AC58-8884C18EFE3B}" dt="2024-03-12T09:22:19.894" v="234" actId="20577"/>
          <ac:spMkLst>
            <pc:docMk/>
            <pc:sldMk cId="3292995886" sldId="954"/>
            <ac:spMk id="73" creationId="{31125C22-727E-9F1A-6243-9118C9184F00}"/>
          </ac:spMkLst>
        </pc:spChg>
        <pc:extLst>
          <p:ext xmlns:p="http://schemas.openxmlformats.org/presentationml/2006/main" uri="{D6D511B9-2390-475A-947B-AFAB55BFBCF1}">
            <pc226:cmChg xmlns:pc226="http://schemas.microsoft.com/office/powerpoint/2022/06/main/command" chg="add">
              <pc226:chgData name="Ramona Daukste (LV)" userId="cb110d71-928f-4029-96c9-9e7c32e592fe" providerId="ADAL" clId="{C5DC3D82-2C0A-4A6C-AC58-8884C18EFE3B}" dt="2024-03-12T09:23:08.113" v="235"/>
              <pc2:cmMkLst xmlns:pc2="http://schemas.microsoft.com/office/powerpoint/2019/9/main/command">
                <pc:docMk/>
                <pc:sldMk cId="3292995886" sldId="954"/>
                <pc2:cmMk id="{59B07DAE-C6BC-48BB-88F8-0A7477EC2AE1}"/>
              </pc2:cmMkLst>
            </pc226:cmChg>
          </p:ext>
        </pc:extLst>
      </pc:sldChg>
    </pc:docChg>
  </pc:docChgLst>
  <pc:docChgLst>
    <pc:chgData name="Sindija Kirsteine (LV)" userId="5f25501a-2215-4bb3-9d9c-8d1484ffa7c1" providerId="ADAL" clId="{980D4520-5614-45AD-8222-CC2CACE3F4BC}"/>
    <pc:docChg chg="undo custSel modSld replTag">
      <pc:chgData name="Sindija Kirsteine (LV)" userId="5f25501a-2215-4bb3-9d9c-8d1484ffa7c1" providerId="ADAL" clId="{980D4520-5614-45AD-8222-CC2CACE3F4BC}" dt="2024-06-03T15:26:25.136" v="50"/>
      <pc:docMkLst>
        <pc:docMk/>
      </pc:docMkLst>
      <pc:sldChg chg="addSp delSp modSp mod">
        <pc:chgData name="Sindija Kirsteine (LV)" userId="5f25501a-2215-4bb3-9d9c-8d1484ffa7c1" providerId="ADAL" clId="{980D4520-5614-45AD-8222-CC2CACE3F4BC}" dt="2024-05-27T11:54:59.546" v="6" actId="20577"/>
        <pc:sldMkLst>
          <pc:docMk/>
          <pc:sldMk cId="817197616" sldId="332"/>
        </pc:sldMkLst>
        <pc:spChg chg="del">
          <ac:chgData name="Sindija Kirsteine (LV)" userId="5f25501a-2215-4bb3-9d9c-8d1484ffa7c1" providerId="ADAL" clId="{980D4520-5614-45AD-8222-CC2CACE3F4BC}" dt="2024-05-27T11:54:39.017" v="1" actId="478"/>
          <ac:spMkLst>
            <pc:docMk/>
            <pc:sldMk cId="817197616" sldId="332"/>
            <ac:spMk id="2" creationId="{6CD79AD3-DFF9-757B-88AD-BE561ACC5FF3}"/>
          </ac:spMkLst>
        </pc:spChg>
        <pc:spChg chg="add mod">
          <ac:chgData name="Sindija Kirsteine (LV)" userId="5f25501a-2215-4bb3-9d9c-8d1484ffa7c1" providerId="ADAL" clId="{980D4520-5614-45AD-8222-CC2CACE3F4BC}" dt="2024-05-27T11:54:45.069" v="3" actId="1076"/>
          <ac:spMkLst>
            <pc:docMk/>
            <pc:sldMk cId="817197616" sldId="332"/>
            <ac:spMk id="3" creationId="{E1CE47AC-97D8-9F49-5273-9267AA784BE2}"/>
          </ac:spMkLst>
        </pc:spChg>
        <pc:spChg chg="mod">
          <ac:chgData name="Sindija Kirsteine (LV)" userId="5f25501a-2215-4bb3-9d9c-8d1484ffa7c1" providerId="ADAL" clId="{980D4520-5614-45AD-8222-CC2CACE3F4BC}" dt="2024-05-27T11:54:59.546" v="6" actId="20577"/>
          <ac:spMkLst>
            <pc:docMk/>
            <pc:sldMk cId="817197616" sldId="332"/>
            <ac:spMk id="9" creationId="{9C917BBD-747E-ABCB-3683-E8C68F33230D}"/>
          </ac:spMkLst>
        </pc:spChg>
      </pc:sldChg>
      <pc:sldChg chg="addSp delSp modSp mod addCm">
        <pc:chgData name="Sindija Kirsteine (LV)" userId="5f25501a-2215-4bb3-9d9c-8d1484ffa7c1" providerId="ADAL" clId="{980D4520-5614-45AD-8222-CC2CACE3F4BC}" dt="2024-05-29T10:47:40.210" v="49"/>
        <pc:sldMkLst>
          <pc:docMk/>
          <pc:sldMk cId="192098022" sldId="769"/>
        </pc:sldMkLst>
        <pc:spChg chg="add mod">
          <ac:chgData name="Sindija Kirsteine (LV)" userId="5f25501a-2215-4bb3-9d9c-8d1484ffa7c1" providerId="ADAL" clId="{980D4520-5614-45AD-8222-CC2CACE3F4BC}" dt="2024-05-29T10:46:48.365" v="38" actId="20577"/>
          <ac:spMkLst>
            <pc:docMk/>
            <pc:sldMk cId="192098022" sldId="769"/>
            <ac:spMk id="3" creationId="{A5FB0AAC-8B81-C097-B341-CC9C039BA733}"/>
          </ac:spMkLst>
        </pc:spChg>
        <pc:spChg chg="add mod">
          <ac:chgData name="Sindija Kirsteine (LV)" userId="5f25501a-2215-4bb3-9d9c-8d1484ffa7c1" providerId="ADAL" clId="{980D4520-5614-45AD-8222-CC2CACE3F4BC}" dt="2024-05-29T10:47:04.480" v="41" actId="14100"/>
          <ac:spMkLst>
            <pc:docMk/>
            <pc:sldMk cId="192098022" sldId="769"/>
            <ac:spMk id="4" creationId="{8D7B80AE-D9DB-FB73-A85E-F049533F27D7}"/>
          </ac:spMkLst>
        </pc:spChg>
        <pc:spChg chg="mod">
          <ac:chgData name="Sindija Kirsteine (LV)" userId="5f25501a-2215-4bb3-9d9c-8d1484ffa7c1" providerId="ADAL" clId="{980D4520-5614-45AD-8222-CC2CACE3F4BC}" dt="2024-05-29T10:46:00.181" v="12" actId="14100"/>
          <ac:spMkLst>
            <pc:docMk/>
            <pc:sldMk cId="192098022" sldId="769"/>
            <ac:spMk id="6" creationId="{2CB3F9F5-858C-1D21-4D13-EAEDABE2E74A}"/>
          </ac:spMkLst>
        </pc:spChg>
        <pc:spChg chg="add del">
          <ac:chgData name="Sindija Kirsteine (LV)" userId="5f25501a-2215-4bb3-9d9c-8d1484ffa7c1" providerId="ADAL" clId="{980D4520-5614-45AD-8222-CC2CACE3F4BC}" dt="2024-05-29T10:47:17.728" v="45" actId="478"/>
          <ac:spMkLst>
            <pc:docMk/>
            <pc:sldMk cId="192098022" sldId="769"/>
            <ac:spMk id="18" creationId="{31F5B033-E36B-F124-637C-AF0345D3C1E2}"/>
          </ac:spMkLst>
        </pc:spChg>
        <pc:extLst>
          <p:ext xmlns:p="http://schemas.openxmlformats.org/presentationml/2006/main" uri="{D6D511B9-2390-475A-947B-AFAB55BFBCF1}">
            <pc226:cmChg xmlns:pc226="http://schemas.microsoft.com/office/powerpoint/2022/06/main/command" chg="add">
              <pc226:chgData name="Sindija Kirsteine (LV)" userId="5f25501a-2215-4bb3-9d9c-8d1484ffa7c1" providerId="ADAL" clId="{980D4520-5614-45AD-8222-CC2CACE3F4BC}" dt="2024-05-29T10:47:40.210" v="49"/>
              <pc2:cmMkLst xmlns:pc2="http://schemas.microsoft.com/office/powerpoint/2019/9/main/command">
                <pc:docMk/>
                <pc:sldMk cId="192098022" sldId="769"/>
                <pc2:cmMk id="{A1A5CF71-3A21-48F9-B74E-DB559F8AA98B}"/>
              </pc2:cmMkLst>
            </pc226:cmChg>
          </p:ext>
        </pc:extLst>
      </pc:sldChg>
    </pc:docChg>
  </pc:docChgLst>
  <pc:docChgLst>
    <pc:chgData name="Sindija Kirsteine (LV)" userId="5f25501a-2215-4bb3-9d9c-8d1484ffa7c1" providerId="ADAL" clId="{93760D53-13C1-4B8B-92CA-E799D7E24E59}"/>
    <pc:docChg chg="undo custSel modSld modMainMaster replTag">
      <pc:chgData name="Sindija Kirsteine (LV)" userId="5f25501a-2215-4bb3-9d9c-8d1484ffa7c1" providerId="ADAL" clId="{93760D53-13C1-4B8B-92CA-E799D7E24E59}" dt="2024-03-11T13:40:34.279" v="2405"/>
      <pc:docMkLst>
        <pc:docMk/>
      </pc:docMkLst>
      <pc:sldChg chg="modSp">
        <pc:chgData name="Sindija Kirsteine (LV)" userId="5f25501a-2215-4bb3-9d9c-8d1484ffa7c1" providerId="ADAL" clId="{93760D53-13C1-4B8B-92CA-E799D7E24E59}" dt="2024-03-04T08:30:38.651" v="4"/>
        <pc:sldMkLst>
          <pc:docMk/>
          <pc:sldMk cId="714588004" sldId="277"/>
        </pc:sldMkLst>
        <pc:spChg chg="mod">
          <ac:chgData name="Sindija Kirsteine (LV)" userId="5f25501a-2215-4bb3-9d9c-8d1484ffa7c1" providerId="ADAL" clId="{93760D53-13C1-4B8B-92CA-E799D7E24E59}" dt="2024-03-04T08:30:38.651" v="4"/>
          <ac:spMkLst>
            <pc:docMk/>
            <pc:sldMk cId="714588004" sldId="277"/>
            <ac:spMk id="6" creationId="{35957058-F877-CAD8-4060-3CC103B9BCE8}"/>
          </ac:spMkLst>
        </pc:spChg>
      </pc:sldChg>
      <pc:sldChg chg="modSp mod delCm modCm">
        <pc:chgData name="Sindija Kirsteine (LV)" userId="5f25501a-2215-4bb3-9d9c-8d1484ffa7c1" providerId="ADAL" clId="{93760D53-13C1-4B8B-92CA-E799D7E24E59}" dt="2024-03-04T10:11:31.502" v="2393" actId="20577"/>
        <pc:sldMkLst>
          <pc:docMk/>
          <pc:sldMk cId="817197616" sldId="332"/>
        </pc:sldMkLst>
        <pc:spChg chg="mod">
          <ac:chgData name="Sindija Kirsteine (LV)" userId="5f25501a-2215-4bb3-9d9c-8d1484ffa7c1" providerId="ADAL" clId="{93760D53-13C1-4B8B-92CA-E799D7E24E59}" dt="2024-03-04T10:11:31.502" v="2393" actId="20577"/>
          <ac:spMkLst>
            <pc:docMk/>
            <pc:sldMk cId="817197616" sldId="332"/>
            <ac:spMk id="4" creationId="{0C2CD556-83F4-5719-B366-7C2EFECB11A1}"/>
          </ac:spMkLst>
        </pc:sp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93760D53-13C1-4B8B-92CA-E799D7E24E59}" dt="2024-03-04T09:37:14.692" v="1451"/>
              <pc2:cmMkLst xmlns:pc2="http://schemas.microsoft.com/office/powerpoint/2019/9/main/command">
                <pc:docMk/>
                <pc:sldMk cId="817197616" sldId="332"/>
                <pc2:cmMk id="{6773268B-B677-416A-8762-3639ECA47681}"/>
              </pc2:cmMkLst>
            </pc226:cmChg>
            <pc226:cmChg xmlns:pc226="http://schemas.microsoft.com/office/powerpoint/2022/06/main/command" chg="mod">
              <pc226:chgData name="Sindija Kirsteine (LV)" userId="5f25501a-2215-4bb3-9d9c-8d1484ffa7c1" providerId="ADAL" clId="{93760D53-13C1-4B8B-92CA-E799D7E24E59}" dt="2024-03-04T10:11:31.502" v="2393" actId="20577"/>
              <pc2:cmMkLst xmlns:pc2="http://schemas.microsoft.com/office/powerpoint/2019/9/main/command">
                <pc:docMk/>
                <pc:sldMk cId="817197616" sldId="332"/>
                <pc2:cmMk id="{2A26C7E2-A8DA-4B24-952F-5705AD58D1EA}"/>
              </pc2:cmMkLst>
            </pc226:cmChg>
          </p:ext>
        </pc:extLst>
      </pc:sldChg>
      <pc:sldChg chg="modSp">
        <pc:chgData name="Sindija Kirsteine (LV)" userId="5f25501a-2215-4bb3-9d9c-8d1484ffa7c1" providerId="ADAL" clId="{93760D53-13C1-4B8B-92CA-E799D7E24E59}" dt="2024-03-04T08:30:38.651" v="4"/>
        <pc:sldMkLst>
          <pc:docMk/>
          <pc:sldMk cId="3244661427" sldId="337"/>
        </pc:sldMkLst>
        <pc:spChg chg="mod">
          <ac:chgData name="Sindija Kirsteine (LV)" userId="5f25501a-2215-4bb3-9d9c-8d1484ffa7c1" providerId="ADAL" clId="{93760D53-13C1-4B8B-92CA-E799D7E24E59}" dt="2024-03-04T08:30:38.651" v="4"/>
          <ac:spMkLst>
            <pc:docMk/>
            <pc:sldMk cId="3244661427" sldId="337"/>
            <ac:spMk id="2" creationId="{7B0B7F8E-339A-D477-6D76-DDF1726DE509}"/>
          </ac:spMkLst>
        </pc:spChg>
      </pc:sldChg>
      <pc:sldChg chg="modSp">
        <pc:chgData name="Sindija Kirsteine (LV)" userId="5f25501a-2215-4bb3-9d9c-8d1484ffa7c1" providerId="ADAL" clId="{93760D53-13C1-4B8B-92CA-E799D7E24E59}" dt="2024-03-04T08:30:38.651" v="4"/>
        <pc:sldMkLst>
          <pc:docMk/>
          <pc:sldMk cId="633515575" sldId="341"/>
        </pc:sldMkLst>
        <pc:spChg chg="mod">
          <ac:chgData name="Sindija Kirsteine (LV)" userId="5f25501a-2215-4bb3-9d9c-8d1484ffa7c1" providerId="ADAL" clId="{93760D53-13C1-4B8B-92CA-E799D7E24E59}" dt="2024-03-04T08:30:38.651" v="4"/>
          <ac:spMkLst>
            <pc:docMk/>
            <pc:sldMk cId="633515575" sldId="341"/>
            <ac:spMk id="2" creationId="{46267CAE-0DD6-29A0-1BA7-3E0C02825001}"/>
          </ac:spMkLst>
        </pc:spChg>
      </pc:sldChg>
      <pc:sldChg chg="modNotes">
        <pc:chgData name="Sindija Kirsteine (LV)" userId="5f25501a-2215-4bb3-9d9c-8d1484ffa7c1" providerId="ADAL" clId="{93760D53-13C1-4B8B-92CA-E799D7E24E59}" dt="2024-03-04T08:30:38.651" v="4"/>
        <pc:sldMkLst>
          <pc:docMk/>
          <pc:sldMk cId="0" sldId="383"/>
        </pc:sldMkLst>
      </pc:sldChg>
      <pc:sldChg chg="modNotes">
        <pc:chgData name="Sindija Kirsteine (LV)" userId="5f25501a-2215-4bb3-9d9c-8d1484ffa7c1" providerId="ADAL" clId="{93760D53-13C1-4B8B-92CA-E799D7E24E59}" dt="2024-03-04T08:30:38.651" v="4"/>
        <pc:sldMkLst>
          <pc:docMk/>
          <pc:sldMk cId="0" sldId="428"/>
        </pc:sldMkLst>
      </pc:sldChg>
      <pc:sldChg chg="modNotes">
        <pc:chgData name="Sindija Kirsteine (LV)" userId="5f25501a-2215-4bb3-9d9c-8d1484ffa7c1" providerId="ADAL" clId="{93760D53-13C1-4B8B-92CA-E799D7E24E59}" dt="2024-03-04T08:30:38.651" v="4"/>
        <pc:sldMkLst>
          <pc:docMk/>
          <pc:sldMk cId="0" sldId="430"/>
        </pc:sldMkLst>
      </pc:sldChg>
      <pc:sldChg chg="modNotes">
        <pc:chgData name="Sindija Kirsteine (LV)" userId="5f25501a-2215-4bb3-9d9c-8d1484ffa7c1" providerId="ADAL" clId="{93760D53-13C1-4B8B-92CA-E799D7E24E59}" dt="2024-03-04T08:30:38.651" v="4"/>
        <pc:sldMkLst>
          <pc:docMk/>
          <pc:sldMk cId="0" sldId="431"/>
        </pc:sldMkLst>
      </pc:sldChg>
      <pc:sldChg chg="modSp modNotes">
        <pc:chgData name="Sindija Kirsteine (LV)" userId="5f25501a-2215-4bb3-9d9c-8d1484ffa7c1" providerId="ADAL" clId="{93760D53-13C1-4B8B-92CA-E799D7E24E59}" dt="2024-03-04T08:30:38.651" v="4"/>
        <pc:sldMkLst>
          <pc:docMk/>
          <pc:sldMk cId="0" sldId="434"/>
        </pc:sldMkLst>
        <pc:spChg chg="mod">
          <ac:chgData name="Sindija Kirsteine (LV)" userId="5f25501a-2215-4bb3-9d9c-8d1484ffa7c1" providerId="ADAL" clId="{93760D53-13C1-4B8B-92CA-E799D7E24E59}" dt="2024-03-04T08:30:38.651" v="4"/>
          <ac:spMkLst>
            <pc:docMk/>
            <pc:sldMk cId="0" sldId="434"/>
            <ac:spMk id="22530" creationId="{90803F70-EEC1-AA9F-C765-C47998E60961}"/>
          </ac:spMkLst>
        </pc:spChg>
      </pc:sldChg>
      <pc:sldChg chg="modSp">
        <pc:chgData name="Sindija Kirsteine (LV)" userId="5f25501a-2215-4bb3-9d9c-8d1484ffa7c1" providerId="ADAL" clId="{93760D53-13C1-4B8B-92CA-E799D7E24E59}" dt="2024-03-04T08:30:38.651" v="4"/>
        <pc:sldMkLst>
          <pc:docMk/>
          <pc:sldMk cId="323510126" sldId="439"/>
        </pc:sldMkLst>
        <pc:spChg chg="mod">
          <ac:chgData name="Sindija Kirsteine (LV)" userId="5f25501a-2215-4bb3-9d9c-8d1484ffa7c1" providerId="ADAL" clId="{93760D53-13C1-4B8B-92CA-E799D7E24E59}" dt="2024-03-04T08:30:38.651" v="4"/>
          <ac:spMkLst>
            <pc:docMk/>
            <pc:sldMk cId="323510126" sldId="439"/>
            <ac:spMk id="2" creationId="{A25A7E3A-26D5-CDE5-3DB7-7CDD76A6EF1D}"/>
          </ac:spMkLst>
        </pc:spChg>
      </pc:sldChg>
      <pc:sldChg chg="modSp">
        <pc:chgData name="Sindija Kirsteine (LV)" userId="5f25501a-2215-4bb3-9d9c-8d1484ffa7c1" providerId="ADAL" clId="{93760D53-13C1-4B8B-92CA-E799D7E24E59}" dt="2024-03-04T08:30:38.651" v="4"/>
        <pc:sldMkLst>
          <pc:docMk/>
          <pc:sldMk cId="2327326848" sldId="440"/>
        </pc:sldMkLst>
        <pc:spChg chg="mod">
          <ac:chgData name="Sindija Kirsteine (LV)" userId="5f25501a-2215-4bb3-9d9c-8d1484ffa7c1" providerId="ADAL" clId="{93760D53-13C1-4B8B-92CA-E799D7E24E59}" dt="2024-03-04T08:30:38.651" v="4"/>
          <ac:spMkLst>
            <pc:docMk/>
            <pc:sldMk cId="2327326848" sldId="440"/>
            <ac:spMk id="3" creationId="{6520FCC6-13E6-E179-B2BB-A759DDE3BDB1}"/>
          </ac:spMkLst>
        </pc:spChg>
      </pc:sldChg>
      <pc:sldChg chg="modSp">
        <pc:chgData name="Sindija Kirsteine (LV)" userId="5f25501a-2215-4bb3-9d9c-8d1484ffa7c1" providerId="ADAL" clId="{93760D53-13C1-4B8B-92CA-E799D7E24E59}" dt="2024-03-04T08:30:38.651" v="4"/>
        <pc:sldMkLst>
          <pc:docMk/>
          <pc:sldMk cId="2336837453" sldId="441"/>
        </pc:sldMkLst>
        <pc:spChg chg="mod">
          <ac:chgData name="Sindija Kirsteine (LV)" userId="5f25501a-2215-4bb3-9d9c-8d1484ffa7c1" providerId="ADAL" clId="{93760D53-13C1-4B8B-92CA-E799D7E24E59}" dt="2024-03-04T08:30:38.651" v="4"/>
          <ac:spMkLst>
            <pc:docMk/>
            <pc:sldMk cId="2336837453" sldId="441"/>
            <ac:spMk id="3" creationId="{50C5F7E3-9C45-B5AB-698B-AEDB90CB3CB1}"/>
          </ac:spMkLst>
        </pc:spChg>
      </pc:sldChg>
      <pc:sldChg chg="modSp">
        <pc:chgData name="Sindija Kirsteine (LV)" userId="5f25501a-2215-4bb3-9d9c-8d1484ffa7c1" providerId="ADAL" clId="{93760D53-13C1-4B8B-92CA-E799D7E24E59}" dt="2024-03-04T08:30:38.651" v="4"/>
        <pc:sldMkLst>
          <pc:docMk/>
          <pc:sldMk cId="4222959714" sldId="442"/>
        </pc:sldMkLst>
        <pc:spChg chg="mod">
          <ac:chgData name="Sindija Kirsteine (LV)" userId="5f25501a-2215-4bb3-9d9c-8d1484ffa7c1" providerId="ADAL" clId="{93760D53-13C1-4B8B-92CA-E799D7E24E59}" dt="2024-03-04T08:30:38.651" v="4"/>
          <ac:spMkLst>
            <pc:docMk/>
            <pc:sldMk cId="4222959714" sldId="442"/>
            <ac:spMk id="3" creationId="{41C42594-510D-7AB1-866B-59344D12E2F9}"/>
          </ac:spMkLst>
        </pc:spChg>
      </pc:sldChg>
      <pc:sldChg chg="modSp">
        <pc:chgData name="Sindija Kirsteine (LV)" userId="5f25501a-2215-4bb3-9d9c-8d1484ffa7c1" providerId="ADAL" clId="{93760D53-13C1-4B8B-92CA-E799D7E24E59}" dt="2024-03-04T08:30:38.651" v="4"/>
        <pc:sldMkLst>
          <pc:docMk/>
          <pc:sldMk cId="2958925631" sldId="443"/>
        </pc:sldMkLst>
        <pc:spChg chg="mod">
          <ac:chgData name="Sindija Kirsteine (LV)" userId="5f25501a-2215-4bb3-9d9c-8d1484ffa7c1" providerId="ADAL" clId="{93760D53-13C1-4B8B-92CA-E799D7E24E59}" dt="2024-03-04T08:30:38.651" v="4"/>
          <ac:spMkLst>
            <pc:docMk/>
            <pc:sldMk cId="2958925631" sldId="443"/>
            <ac:spMk id="3" creationId="{99485C02-F8F0-308A-637D-70F0EC3433B5}"/>
          </ac:spMkLst>
        </pc:spChg>
      </pc:sldChg>
      <pc:sldChg chg="modSp">
        <pc:chgData name="Sindija Kirsteine (LV)" userId="5f25501a-2215-4bb3-9d9c-8d1484ffa7c1" providerId="ADAL" clId="{93760D53-13C1-4B8B-92CA-E799D7E24E59}" dt="2024-03-04T08:30:38.651" v="4"/>
        <pc:sldMkLst>
          <pc:docMk/>
          <pc:sldMk cId="2811521555" sldId="444"/>
        </pc:sldMkLst>
        <pc:spChg chg="mod">
          <ac:chgData name="Sindija Kirsteine (LV)" userId="5f25501a-2215-4bb3-9d9c-8d1484ffa7c1" providerId="ADAL" clId="{93760D53-13C1-4B8B-92CA-E799D7E24E59}" dt="2024-03-04T08:30:38.651" v="4"/>
          <ac:spMkLst>
            <pc:docMk/>
            <pc:sldMk cId="2811521555" sldId="444"/>
            <ac:spMk id="3" creationId="{8CCB060E-8594-13DC-4477-898D2D7D5A31}"/>
          </ac:spMkLst>
        </pc:spChg>
        <pc:spChg chg="mod">
          <ac:chgData name="Sindija Kirsteine (LV)" userId="5f25501a-2215-4bb3-9d9c-8d1484ffa7c1" providerId="ADAL" clId="{93760D53-13C1-4B8B-92CA-E799D7E24E59}" dt="2024-03-04T08:30:38.651" v="4"/>
          <ac:spMkLst>
            <pc:docMk/>
            <pc:sldMk cId="2811521555" sldId="444"/>
            <ac:spMk id="8" creationId="{632D5067-50A5-057A-20E9-0EF34C7A8BE0}"/>
          </ac:spMkLst>
        </pc:spChg>
      </pc:sldChg>
      <pc:sldChg chg="modSp">
        <pc:chgData name="Sindija Kirsteine (LV)" userId="5f25501a-2215-4bb3-9d9c-8d1484ffa7c1" providerId="ADAL" clId="{93760D53-13C1-4B8B-92CA-E799D7E24E59}" dt="2024-03-04T08:30:38.651" v="4"/>
        <pc:sldMkLst>
          <pc:docMk/>
          <pc:sldMk cId="4258080952" sldId="445"/>
        </pc:sldMkLst>
        <pc:spChg chg="mod">
          <ac:chgData name="Sindija Kirsteine (LV)" userId="5f25501a-2215-4bb3-9d9c-8d1484ffa7c1" providerId="ADAL" clId="{93760D53-13C1-4B8B-92CA-E799D7E24E59}" dt="2024-03-04T08:30:38.651" v="4"/>
          <ac:spMkLst>
            <pc:docMk/>
            <pc:sldMk cId="4258080952" sldId="445"/>
            <ac:spMk id="2" creationId="{FF1251A4-B53D-4178-0FBF-76089BD6DE7A}"/>
          </ac:spMkLst>
        </pc:spChg>
      </pc:sldChg>
      <pc:sldChg chg="modSp">
        <pc:chgData name="Sindija Kirsteine (LV)" userId="5f25501a-2215-4bb3-9d9c-8d1484ffa7c1" providerId="ADAL" clId="{93760D53-13C1-4B8B-92CA-E799D7E24E59}" dt="2024-03-04T08:30:38.651" v="4"/>
        <pc:sldMkLst>
          <pc:docMk/>
          <pc:sldMk cId="3526594792" sldId="446"/>
        </pc:sldMkLst>
        <pc:spChg chg="mod">
          <ac:chgData name="Sindija Kirsteine (LV)" userId="5f25501a-2215-4bb3-9d9c-8d1484ffa7c1" providerId="ADAL" clId="{93760D53-13C1-4B8B-92CA-E799D7E24E59}" dt="2024-03-04T08:30:38.651" v="4"/>
          <ac:spMkLst>
            <pc:docMk/>
            <pc:sldMk cId="3526594792" sldId="446"/>
            <ac:spMk id="3" creationId="{03051F5E-63C5-6339-020F-BEBECEA45C02}"/>
          </ac:spMkLst>
        </pc:spChg>
      </pc:sldChg>
      <pc:sldChg chg="modSp">
        <pc:chgData name="Sindija Kirsteine (LV)" userId="5f25501a-2215-4bb3-9d9c-8d1484ffa7c1" providerId="ADAL" clId="{93760D53-13C1-4B8B-92CA-E799D7E24E59}" dt="2024-03-04T08:30:38.651" v="4"/>
        <pc:sldMkLst>
          <pc:docMk/>
          <pc:sldMk cId="3932852703" sldId="447"/>
        </pc:sldMkLst>
        <pc:spChg chg="mod">
          <ac:chgData name="Sindija Kirsteine (LV)" userId="5f25501a-2215-4bb3-9d9c-8d1484ffa7c1" providerId="ADAL" clId="{93760D53-13C1-4B8B-92CA-E799D7E24E59}" dt="2024-03-04T08:30:38.651" v="4"/>
          <ac:spMkLst>
            <pc:docMk/>
            <pc:sldMk cId="3932852703" sldId="447"/>
            <ac:spMk id="3" creationId="{DD87B016-3128-74DA-3C99-F3DD76082EC4}"/>
          </ac:spMkLst>
        </pc:spChg>
      </pc:sldChg>
      <pc:sldChg chg="modSp">
        <pc:chgData name="Sindija Kirsteine (LV)" userId="5f25501a-2215-4bb3-9d9c-8d1484ffa7c1" providerId="ADAL" clId="{93760D53-13C1-4B8B-92CA-E799D7E24E59}" dt="2024-03-04T08:30:38.651" v="4"/>
        <pc:sldMkLst>
          <pc:docMk/>
          <pc:sldMk cId="1683172751" sldId="448"/>
        </pc:sldMkLst>
        <pc:spChg chg="mod">
          <ac:chgData name="Sindija Kirsteine (LV)" userId="5f25501a-2215-4bb3-9d9c-8d1484ffa7c1" providerId="ADAL" clId="{93760D53-13C1-4B8B-92CA-E799D7E24E59}" dt="2024-03-04T08:30:38.651" v="4"/>
          <ac:spMkLst>
            <pc:docMk/>
            <pc:sldMk cId="1683172751" sldId="448"/>
            <ac:spMk id="3" creationId="{2E4556CE-FEDC-51CD-ED13-6A8E341ADD91}"/>
          </ac:spMkLst>
        </pc:spChg>
      </pc:sldChg>
      <pc:sldChg chg="modSp">
        <pc:chgData name="Sindija Kirsteine (LV)" userId="5f25501a-2215-4bb3-9d9c-8d1484ffa7c1" providerId="ADAL" clId="{93760D53-13C1-4B8B-92CA-E799D7E24E59}" dt="2024-03-04T08:30:38.651" v="4"/>
        <pc:sldMkLst>
          <pc:docMk/>
          <pc:sldMk cId="1995840059" sldId="449"/>
        </pc:sldMkLst>
        <pc:spChg chg="mod">
          <ac:chgData name="Sindija Kirsteine (LV)" userId="5f25501a-2215-4bb3-9d9c-8d1484ffa7c1" providerId="ADAL" clId="{93760D53-13C1-4B8B-92CA-E799D7E24E59}" dt="2024-03-04T08:30:38.651" v="4"/>
          <ac:spMkLst>
            <pc:docMk/>
            <pc:sldMk cId="1995840059" sldId="449"/>
            <ac:spMk id="2" creationId="{F016F7E6-D7C1-54BC-125F-9DB6F401FCD4}"/>
          </ac:spMkLst>
        </pc:spChg>
      </pc:sldChg>
      <pc:sldChg chg="modSp">
        <pc:chgData name="Sindija Kirsteine (LV)" userId="5f25501a-2215-4bb3-9d9c-8d1484ffa7c1" providerId="ADAL" clId="{93760D53-13C1-4B8B-92CA-E799D7E24E59}" dt="2024-03-04T08:30:38.651" v="4"/>
        <pc:sldMkLst>
          <pc:docMk/>
          <pc:sldMk cId="2067837237" sldId="899"/>
        </pc:sldMkLst>
        <pc:spChg chg="mod">
          <ac:chgData name="Sindija Kirsteine (LV)" userId="5f25501a-2215-4bb3-9d9c-8d1484ffa7c1" providerId="ADAL" clId="{93760D53-13C1-4B8B-92CA-E799D7E24E59}" dt="2024-03-04T08:30:38.651" v="4"/>
          <ac:spMkLst>
            <pc:docMk/>
            <pc:sldMk cId="2067837237" sldId="899"/>
            <ac:spMk id="11" creationId="{966F4E94-42AF-8C4C-9F85-A34218079A7B}"/>
          </ac:spMkLst>
        </pc:spChg>
      </pc:sldChg>
      <pc:sldChg chg="modSp">
        <pc:chgData name="Sindija Kirsteine (LV)" userId="5f25501a-2215-4bb3-9d9c-8d1484ffa7c1" providerId="ADAL" clId="{93760D53-13C1-4B8B-92CA-E799D7E24E59}" dt="2024-03-04T08:30:38.651" v="4"/>
        <pc:sldMkLst>
          <pc:docMk/>
          <pc:sldMk cId="1735191326" sldId="900"/>
        </pc:sldMkLst>
        <pc:spChg chg="mod">
          <ac:chgData name="Sindija Kirsteine (LV)" userId="5f25501a-2215-4bb3-9d9c-8d1484ffa7c1" providerId="ADAL" clId="{93760D53-13C1-4B8B-92CA-E799D7E24E59}" dt="2024-03-04T08:30:38.651" v="4"/>
          <ac:spMkLst>
            <pc:docMk/>
            <pc:sldMk cId="1735191326" sldId="900"/>
            <ac:spMk id="43" creationId="{B7165ACE-6816-8C1A-0E1A-FCA6963F41F4}"/>
          </ac:spMkLst>
        </pc:spChg>
      </pc:sldChg>
      <pc:sldChg chg="modSp mod modNotes">
        <pc:chgData name="Sindija Kirsteine (LV)" userId="5f25501a-2215-4bb3-9d9c-8d1484ffa7c1" providerId="ADAL" clId="{93760D53-13C1-4B8B-92CA-E799D7E24E59}" dt="2024-03-04T08:32:55.012" v="42" actId="20577"/>
        <pc:sldMkLst>
          <pc:docMk/>
          <pc:sldMk cId="3011875620" sldId="903"/>
        </pc:sldMkLst>
        <pc:spChg chg="mod">
          <ac:chgData name="Sindija Kirsteine (LV)" userId="5f25501a-2215-4bb3-9d9c-8d1484ffa7c1" providerId="ADAL" clId="{93760D53-13C1-4B8B-92CA-E799D7E24E59}" dt="2024-03-04T08:30:38.651" v="4"/>
          <ac:spMkLst>
            <pc:docMk/>
            <pc:sldMk cId="3011875620" sldId="903"/>
            <ac:spMk id="9" creationId="{08B6A8B7-7C80-74FA-BFD5-B86DDE664F74}"/>
          </ac:spMkLst>
        </pc:spChg>
        <pc:spChg chg="mod">
          <ac:chgData name="Sindija Kirsteine (LV)" userId="5f25501a-2215-4bb3-9d9c-8d1484ffa7c1" providerId="ADAL" clId="{93760D53-13C1-4B8B-92CA-E799D7E24E59}" dt="2024-03-04T08:32:55.012" v="42" actId="20577"/>
          <ac:spMkLst>
            <pc:docMk/>
            <pc:sldMk cId="3011875620" sldId="903"/>
            <ac:spMk id="24" creationId="{DA042BFC-9321-AE2A-D685-F5B36EFD0C0A}"/>
          </ac:spMkLst>
        </pc:spChg>
        <pc:spChg chg="mod">
          <ac:chgData name="Sindija Kirsteine (LV)" userId="5f25501a-2215-4bb3-9d9c-8d1484ffa7c1" providerId="ADAL" clId="{93760D53-13C1-4B8B-92CA-E799D7E24E59}" dt="2024-03-04T08:30:38.651" v="4"/>
          <ac:spMkLst>
            <pc:docMk/>
            <pc:sldMk cId="3011875620" sldId="903"/>
            <ac:spMk id="38" creationId="{ADCF57E4-22C5-26F3-DA4D-7482BC480F36}"/>
          </ac:spMkLst>
        </pc:spChg>
        <pc:spChg chg="mod">
          <ac:chgData name="Sindija Kirsteine (LV)" userId="5f25501a-2215-4bb3-9d9c-8d1484ffa7c1" providerId="ADAL" clId="{93760D53-13C1-4B8B-92CA-E799D7E24E59}" dt="2024-03-04T08:30:38.651" v="4"/>
          <ac:spMkLst>
            <pc:docMk/>
            <pc:sldMk cId="3011875620" sldId="903"/>
            <ac:spMk id="39" creationId="{3B3A753D-2643-22D3-98E8-407917D7B655}"/>
          </ac:spMkLst>
        </pc:spChg>
      </pc:sldChg>
      <pc:sldChg chg="modSp mod modNotes">
        <pc:chgData name="Sindija Kirsteine (LV)" userId="5f25501a-2215-4bb3-9d9c-8d1484ffa7c1" providerId="ADAL" clId="{93760D53-13C1-4B8B-92CA-E799D7E24E59}" dt="2024-03-04T09:38:59.795" v="1469" actId="20577"/>
        <pc:sldMkLst>
          <pc:docMk/>
          <pc:sldMk cId="795685229" sldId="904"/>
        </pc:sldMkLst>
        <pc:spChg chg="mod">
          <ac:chgData name="Sindija Kirsteine (LV)" userId="5f25501a-2215-4bb3-9d9c-8d1484ffa7c1" providerId="ADAL" clId="{93760D53-13C1-4B8B-92CA-E799D7E24E59}" dt="2024-03-04T08:34:33.965" v="64" actId="20577"/>
          <ac:spMkLst>
            <pc:docMk/>
            <pc:sldMk cId="795685229" sldId="904"/>
            <ac:spMk id="19" creationId="{048A5838-6D25-2779-8C89-C2A6CF8D5120}"/>
          </ac:spMkLst>
        </pc:spChg>
        <pc:spChg chg="mod">
          <ac:chgData name="Sindija Kirsteine (LV)" userId="5f25501a-2215-4bb3-9d9c-8d1484ffa7c1" providerId="ADAL" clId="{93760D53-13C1-4B8B-92CA-E799D7E24E59}" dt="2024-03-04T08:34:36.933" v="68" actId="20577"/>
          <ac:spMkLst>
            <pc:docMk/>
            <pc:sldMk cId="795685229" sldId="904"/>
            <ac:spMk id="20" creationId="{13D2366C-A215-8EED-AC5E-4C4A9ACD1E0F}"/>
          </ac:spMkLst>
        </pc:spChg>
        <pc:spChg chg="mod">
          <ac:chgData name="Sindija Kirsteine (LV)" userId="5f25501a-2215-4bb3-9d9c-8d1484ffa7c1" providerId="ADAL" clId="{93760D53-13C1-4B8B-92CA-E799D7E24E59}" dt="2024-03-04T09:38:59.795" v="1469" actId="20577"/>
          <ac:spMkLst>
            <pc:docMk/>
            <pc:sldMk cId="795685229" sldId="904"/>
            <ac:spMk id="22" creationId="{FD456066-D6DB-ED05-F1F7-BFB8E89B2676}"/>
          </ac:spMkLst>
        </pc:spChg>
        <pc:spChg chg="mod">
          <ac:chgData name="Sindija Kirsteine (LV)" userId="5f25501a-2215-4bb3-9d9c-8d1484ffa7c1" providerId="ADAL" clId="{93760D53-13C1-4B8B-92CA-E799D7E24E59}" dt="2024-03-04T08:30:38.651" v="4"/>
          <ac:spMkLst>
            <pc:docMk/>
            <pc:sldMk cId="795685229" sldId="904"/>
            <ac:spMk id="28" creationId="{113D09D0-B233-D26A-50AA-AAC45C1DB393}"/>
          </ac:spMkLst>
        </pc:spChg>
        <pc:spChg chg="mod">
          <ac:chgData name="Sindija Kirsteine (LV)" userId="5f25501a-2215-4bb3-9d9c-8d1484ffa7c1" providerId="ADAL" clId="{93760D53-13C1-4B8B-92CA-E799D7E24E59}" dt="2024-03-04T08:33:54.613" v="46" actId="20577"/>
          <ac:spMkLst>
            <pc:docMk/>
            <pc:sldMk cId="795685229" sldId="904"/>
            <ac:spMk id="31" creationId="{E2CC0EEE-CAB2-2559-66CC-085D68FA85B6}"/>
          </ac:spMkLst>
        </pc:spChg>
        <pc:spChg chg="mod">
          <ac:chgData name="Sindija Kirsteine (LV)" userId="5f25501a-2215-4bb3-9d9c-8d1484ffa7c1" providerId="ADAL" clId="{93760D53-13C1-4B8B-92CA-E799D7E24E59}" dt="2024-03-04T08:34:29.574" v="62" actId="20577"/>
          <ac:spMkLst>
            <pc:docMk/>
            <pc:sldMk cId="795685229" sldId="904"/>
            <ac:spMk id="32" creationId="{6DC923B1-F81E-C41B-D732-20A592FD5A53}"/>
          </ac:spMkLst>
        </pc:spChg>
        <pc:spChg chg="mod">
          <ac:chgData name="Sindija Kirsteine (LV)" userId="5f25501a-2215-4bb3-9d9c-8d1484ffa7c1" providerId="ADAL" clId="{93760D53-13C1-4B8B-92CA-E799D7E24E59}" dt="2024-03-04T08:34:15.527" v="59" actId="20577"/>
          <ac:spMkLst>
            <pc:docMk/>
            <pc:sldMk cId="795685229" sldId="904"/>
            <ac:spMk id="59" creationId="{34CAA65D-F32B-4FFB-DA56-9F4BF785AA35}"/>
          </ac:spMkLst>
        </pc:spChg>
      </pc:sldChg>
      <pc:sldChg chg="modSp mod delCm">
        <pc:chgData name="Sindija Kirsteine (LV)" userId="5f25501a-2215-4bb3-9d9c-8d1484ffa7c1" providerId="ADAL" clId="{93760D53-13C1-4B8B-92CA-E799D7E24E59}" dt="2024-03-04T10:10:31.127" v="2387"/>
        <pc:sldMkLst>
          <pc:docMk/>
          <pc:sldMk cId="507333055" sldId="905"/>
        </pc:sldMkLst>
        <pc:spChg chg="mod">
          <ac:chgData name="Sindija Kirsteine (LV)" userId="5f25501a-2215-4bb3-9d9c-8d1484ffa7c1" providerId="ADAL" clId="{93760D53-13C1-4B8B-92CA-E799D7E24E59}" dt="2024-03-04T08:30:38.651" v="4"/>
          <ac:spMkLst>
            <pc:docMk/>
            <pc:sldMk cId="507333055" sldId="905"/>
            <ac:spMk id="23" creationId="{F97CB2C5-7142-8223-7214-B1FDFDA9926A}"/>
          </ac:spMkLst>
        </pc:spChg>
        <pc:spChg chg="mod">
          <ac:chgData name="Sindija Kirsteine (LV)" userId="5f25501a-2215-4bb3-9d9c-8d1484ffa7c1" providerId="ADAL" clId="{93760D53-13C1-4B8B-92CA-E799D7E24E59}" dt="2024-03-04T09:39:26.424" v="1482" actId="20577"/>
          <ac:spMkLst>
            <pc:docMk/>
            <pc:sldMk cId="507333055" sldId="905"/>
            <ac:spMk id="26" creationId="{CAFFDCE5-3051-49DF-AF83-5287E01B7716}"/>
          </ac:spMkLst>
        </pc:spChg>
        <pc:spChg chg="mod">
          <ac:chgData name="Sindija Kirsteine (LV)" userId="5f25501a-2215-4bb3-9d9c-8d1484ffa7c1" providerId="ADAL" clId="{93760D53-13C1-4B8B-92CA-E799D7E24E59}" dt="2024-03-04T08:35:47.966" v="85" actId="20577"/>
          <ac:spMkLst>
            <pc:docMk/>
            <pc:sldMk cId="507333055" sldId="905"/>
            <ac:spMk id="27" creationId="{D6EA5D0F-11EF-2398-660B-39FF89189180}"/>
          </ac:spMkLst>
        </pc:spChg>
        <pc:spChg chg="mod">
          <ac:chgData name="Sindija Kirsteine (LV)" userId="5f25501a-2215-4bb3-9d9c-8d1484ffa7c1" providerId="ADAL" clId="{93760D53-13C1-4B8B-92CA-E799D7E24E59}" dt="2024-03-04T09:39:34.534" v="1488" actId="20577"/>
          <ac:spMkLst>
            <pc:docMk/>
            <pc:sldMk cId="507333055" sldId="905"/>
            <ac:spMk id="28" creationId="{29F2449E-4ED8-5ADE-AE30-9E9AB83EF649}"/>
          </ac:spMkLst>
        </pc:spChg>
        <pc:spChg chg="mod">
          <ac:chgData name="Sindija Kirsteine (LV)" userId="5f25501a-2215-4bb3-9d9c-8d1484ffa7c1" providerId="ADAL" clId="{93760D53-13C1-4B8B-92CA-E799D7E24E59}" dt="2024-03-04T08:36:34.954" v="101" actId="20577"/>
          <ac:spMkLst>
            <pc:docMk/>
            <pc:sldMk cId="507333055" sldId="905"/>
            <ac:spMk id="29" creationId="{00134262-F6E7-5D0D-46C6-48E2647244CF}"/>
          </ac:spMkLst>
        </pc:spChg>
        <pc:spChg chg="mod">
          <ac:chgData name="Sindija Kirsteine (LV)" userId="5f25501a-2215-4bb3-9d9c-8d1484ffa7c1" providerId="ADAL" clId="{93760D53-13C1-4B8B-92CA-E799D7E24E59}" dt="2024-03-04T09:40:05.867" v="1518" actId="20577"/>
          <ac:spMkLst>
            <pc:docMk/>
            <pc:sldMk cId="507333055" sldId="905"/>
            <ac:spMk id="30" creationId="{9EFCB31E-34D9-1914-7367-57FB33E6D927}"/>
          </ac:spMkLst>
        </pc:spChg>
        <pc:spChg chg="mod">
          <ac:chgData name="Sindija Kirsteine (LV)" userId="5f25501a-2215-4bb3-9d9c-8d1484ffa7c1" providerId="ADAL" clId="{93760D53-13C1-4B8B-92CA-E799D7E24E59}" dt="2024-03-04T08:36:57.770" v="121" actId="20577"/>
          <ac:spMkLst>
            <pc:docMk/>
            <pc:sldMk cId="507333055" sldId="905"/>
            <ac:spMk id="31" creationId="{B24CF0FE-B844-4682-3534-6E167E9F0FFA}"/>
          </ac:spMkLst>
        </pc:sp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93760D53-13C1-4B8B-92CA-E799D7E24E59}" dt="2024-03-04T10:10:31.127" v="2387"/>
              <pc2:cmMkLst xmlns:pc2="http://schemas.microsoft.com/office/powerpoint/2019/9/main/command">
                <pc:docMk/>
                <pc:sldMk cId="507333055" sldId="905"/>
                <pc2:cmMk id="{043AF3E3-9509-4AC0-99BD-DC4BF84F371C}"/>
              </pc2:cmMkLst>
            </pc226:cmChg>
          </p:ext>
        </pc:extLst>
      </pc:sldChg>
      <pc:sldChg chg="modSp">
        <pc:chgData name="Sindija Kirsteine (LV)" userId="5f25501a-2215-4bb3-9d9c-8d1484ffa7c1" providerId="ADAL" clId="{93760D53-13C1-4B8B-92CA-E799D7E24E59}" dt="2024-03-04T08:30:38.651" v="4"/>
        <pc:sldMkLst>
          <pc:docMk/>
          <pc:sldMk cId="1164346809" sldId="906"/>
        </pc:sldMkLst>
        <pc:spChg chg="mod">
          <ac:chgData name="Sindija Kirsteine (LV)" userId="5f25501a-2215-4bb3-9d9c-8d1484ffa7c1" providerId="ADAL" clId="{93760D53-13C1-4B8B-92CA-E799D7E24E59}" dt="2024-03-04T08:30:38.651" v="4"/>
          <ac:spMkLst>
            <pc:docMk/>
            <pc:sldMk cId="1164346809" sldId="906"/>
            <ac:spMk id="3" creationId="{686732B2-5FB3-221B-0CA8-0EE49D36265B}"/>
          </ac:spMkLst>
        </pc:spChg>
      </pc:sldChg>
      <pc:sldChg chg="modSp mod modNotes">
        <pc:chgData name="Sindija Kirsteine (LV)" userId="5f25501a-2215-4bb3-9d9c-8d1484ffa7c1" providerId="ADAL" clId="{93760D53-13C1-4B8B-92CA-E799D7E24E59}" dt="2024-03-04T08:39:01.324" v="177" actId="20577"/>
        <pc:sldMkLst>
          <pc:docMk/>
          <pc:sldMk cId="2300626159" sldId="908"/>
        </pc:sldMkLst>
        <pc:spChg chg="mod">
          <ac:chgData name="Sindija Kirsteine (LV)" userId="5f25501a-2215-4bb3-9d9c-8d1484ffa7c1" providerId="ADAL" clId="{93760D53-13C1-4B8B-92CA-E799D7E24E59}" dt="2024-03-04T08:39:01.324" v="177" actId="20577"/>
          <ac:spMkLst>
            <pc:docMk/>
            <pc:sldMk cId="2300626159" sldId="908"/>
            <ac:spMk id="9" creationId="{A2B233A5-ED06-3246-BD46-B7B39150B709}"/>
          </ac:spMkLst>
        </pc:spChg>
        <pc:spChg chg="mod">
          <ac:chgData name="Sindija Kirsteine (LV)" userId="5f25501a-2215-4bb3-9d9c-8d1484ffa7c1" providerId="ADAL" clId="{93760D53-13C1-4B8B-92CA-E799D7E24E59}" dt="2024-03-04T08:38:39.219" v="161" actId="20577"/>
          <ac:spMkLst>
            <pc:docMk/>
            <pc:sldMk cId="2300626159" sldId="908"/>
            <ac:spMk id="13" creationId="{FFA0AA22-B08B-7F4A-B365-587EEE2D842D}"/>
          </ac:spMkLst>
        </pc:spChg>
        <pc:spChg chg="mod">
          <ac:chgData name="Sindija Kirsteine (LV)" userId="5f25501a-2215-4bb3-9d9c-8d1484ffa7c1" providerId="ADAL" clId="{93760D53-13C1-4B8B-92CA-E799D7E24E59}" dt="2024-03-04T08:38:44.402" v="164" actId="20577"/>
          <ac:spMkLst>
            <pc:docMk/>
            <pc:sldMk cId="2300626159" sldId="908"/>
            <ac:spMk id="18" creationId="{E4C5F8F0-E4BD-274A-8190-28583D21E512}"/>
          </ac:spMkLst>
        </pc:spChg>
        <pc:spChg chg="mod">
          <ac:chgData name="Sindija Kirsteine (LV)" userId="5f25501a-2215-4bb3-9d9c-8d1484ffa7c1" providerId="ADAL" clId="{93760D53-13C1-4B8B-92CA-E799D7E24E59}" dt="2024-03-04T08:38:50.628" v="170" actId="20577"/>
          <ac:spMkLst>
            <pc:docMk/>
            <pc:sldMk cId="2300626159" sldId="908"/>
            <ac:spMk id="23" creationId="{1DFA226E-CAF3-2D42-AC96-11A51BD07541}"/>
          </ac:spMkLst>
        </pc:spChg>
        <pc:spChg chg="mod">
          <ac:chgData name="Sindija Kirsteine (LV)" userId="5f25501a-2215-4bb3-9d9c-8d1484ffa7c1" providerId="ADAL" clId="{93760D53-13C1-4B8B-92CA-E799D7E24E59}" dt="2024-03-04T08:38:53.589" v="172" actId="20577"/>
          <ac:spMkLst>
            <pc:docMk/>
            <pc:sldMk cId="2300626159" sldId="908"/>
            <ac:spMk id="26" creationId="{8B070493-BB90-AA4F-AE2F-427F4E058BD7}"/>
          </ac:spMkLst>
        </pc:spChg>
      </pc:sldChg>
      <pc:sldChg chg="modSp mod modNotes">
        <pc:chgData name="Sindija Kirsteine (LV)" userId="5f25501a-2215-4bb3-9d9c-8d1484ffa7c1" providerId="ADAL" clId="{93760D53-13C1-4B8B-92CA-E799D7E24E59}" dt="2024-03-04T08:40:51.325" v="197" actId="20577"/>
        <pc:sldMkLst>
          <pc:docMk/>
          <pc:sldMk cId="1764034675" sldId="909"/>
        </pc:sldMkLst>
        <pc:spChg chg="mod">
          <ac:chgData name="Sindija Kirsteine (LV)" userId="5f25501a-2215-4bb3-9d9c-8d1484ffa7c1" providerId="ADAL" clId="{93760D53-13C1-4B8B-92CA-E799D7E24E59}" dt="2024-03-04T08:30:38.651" v="4"/>
          <ac:spMkLst>
            <pc:docMk/>
            <pc:sldMk cId="1764034675" sldId="909"/>
            <ac:spMk id="19" creationId="{EF4D8BEF-8566-D43D-9B28-E036D42EE6BC}"/>
          </ac:spMkLst>
        </pc:spChg>
        <pc:spChg chg="mod">
          <ac:chgData name="Sindija Kirsteine (LV)" userId="5f25501a-2215-4bb3-9d9c-8d1484ffa7c1" providerId="ADAL" clId="{93760D53-13C1-4B8B-92CA-E799D7E24E59}" dt="2024-03-04T08:40:33.601" v="189" actId="20577"/>
          <ac:spMkLst>
            <pc:docMk/>
            <pc:sldMk cId="1764034675" sldId="909"/>
            <ac:spMk id="24" creationId="{239B8622-318D-D173-F478-CF1A7EC16B5E}"/>
          </ac:spMkLst>
        </pc:spChg>
        <pc:spChg chg="mod">
          <ac:chgData name="Sindija Kirsteine (LV)" userId="5f25501a-2215-4bb3-9d9c-8d1484ffa7c1" providerId="ADAL" clId="{93760D53-13C1-4B8B-92CA-E799D7E24E59}" dt="2024-03-04T08:30:38.651" v="4"/>
          <ac:spMkLst>
            <pc:docMk/>
            <pc:sldMk cId="1764034675" sldId="909"/>
            <ac:spMk id="34" creationId="{2E292E14-80B0-C799-DCA3-1B141B1D2C6D}"/>
          </ac:spMkLst>
        </pc:spChg>
        <pc:spChg chg="mod">
          <ac:chgData name="Sindija Kirsteine (LV)" userId="5f25501a-2215-4bb3-9d9c-8d1484ffa7c1" providerId="ADAL" clId="{93760D53-13C1-4B8B-92CA-E799D7E24E59}" dt="2024-03-04T08:40:51.325" v="197" actId="20577"/>
          <ac:spMkLst>
            <pc:docMk/>
            <pc:sldMk cId="1764034675" sldId="909"/>
            <ac:spMk id="37" creationId="{94812D46-A915-8FCC-CF16-5E3844875EA5}"/>
          </ac:spMkLst>
        </pc:spChg>
      </pc:sldChg>
      <pc:sldChg chg="modSp mod">
        <pc:chgData name="Sindija Kirsteine (LV)" userId="5f25501a-2215-4bb3-9d9c-8d1484ffa7c1" providerId="ADAL" clId="{93760D53-13C1-4B8B-92CA-E799D7E24E59}" dt="2024-03-04T10:04:03.981" v="2194" actId="20577"/>
        <pc:sldMkLst>
          <pc:docMk/>
          <pc:sldMk cId="2040534611" sldId="911"/>
        </pc:sldMkLst>
        <pc:spChg chg="mod">
          <ac:chgData name="Sindija Kirsteine (LV)" userId="5f25501a-2215-4bb3-9d9c-8d1484ffa7c1" providerId="ADAL" clId="{93760D53-13C1-4B8B-92CA-E799D7E24E59}" dt="2024-03-04T08:44:01.225" v="312" actId="20577"/>
          <ac:spMkLst>
            <pc:docMk/>
            <pc:sldMk cId="2040534611" sldId="911"/>
            <ac:spMk id="22" creationId="{138C1537-B2D2-8CD4-AB9A-7BDF4C5BA5B6}"/>
          </ac:spMkLst>
        </pc:spChg>
        <pc:spChg chg="mod">
          <ac:chgData name="Sindija Kirsteine (LV)" userId="5f25501a-2215-4bb3-9d9c-8d1484ffa7c1" providerId="ADAL" clId="{93760D53-13C1-4B8B-92CA-E799D7E24E59}" dt="2024-03-04T10:03:53.630" v="2187" actId="20577"/>
          <ac:spMkLst>
            <pc:docMk/>
            <pc:sldMk cId="2040534611" sldId="911"/>
            <ac:spMk id="23" creationId="{2B31A048-71F3-36BF-C023-498023B6C82B}"/>
          </ac:spMkLst>
        </pc:spChg>
        <pc:spChg chg="mod">
          <ac:chgData name="Sindija Kirsteine (LV)" userId="5f25501a-2215-4bb3-9d9c-8d1484ffa7c1" providerId="ADAL" clId="{93760D53-13C1-4B8B-92CA-E799D7E24E59}" dt="2024-03-04T10:03:55.167" v="2188" actId="20577"/>
          <ac:spMkLst>
            <pc:docMk/>
            <pc:sldMk cId="2040534611" sldId="911"/>
            <ac:spMk id="37" creationId="{C2CA78DD-F69A-5D59-15A8-FCB689B70AC2}"/>
          </ac:spMkLst>
        </pc:spChg>
        <pc:spChg chg="mod">
          <ac:chgData name="Sindija Kirsteine (LV)" userId="5f25501a-2215-4bb3-9d9c-8d1484ffa7c1" providerId="ADAL" clId="{93760D53-13C1-4B8B-92CA-E799D7E24E59}" dt="2024-03-04T10:03:58.406" v="2190" actId="20577"/>
          <ac:spMkLst>
            <pc:docMk/>
            <pc:sldMk cId="2040534611" sldId="911"/>
            <ac:spMk id="38" creationId="{FED4070B-D467-BCBB-40C2-1A6D5681C2FA}"/>
          </ac:spMkLst>
        </pc:spChg>
        <pc:spChg chg="mod">
          <ac:chgData name="Sindija Kirsteine (LV)" userId="5f25501a-2215-4bb3-9d9c-8d1484ffa7c1" providerId="ADAL" clId="{93760D53-13C1-4B8B-92CA-E799D7E24E59}" dt="2024-03-04T10:03:59.930" v="2191" actId="20577"/>
          <ac:spMkLst>
            <pc:docMk/>
            <pc:sldMk cId="2040534611" sldId="911"/>
            <ac:spMk id="39" creationId="{A7A994A1-7F1E-6A81-8CD8-5804507EC70D}"/>
          </ac:spMkLst>
        </pc:spChg>
        <pc:spChg chg="mod">
          <ac:chgData name="Sindija Kirsteine (LV)" userId="5f25501a-2215-4bb3-9d9c-8d1484ffa7c1" providerId="ADAL" clId="{93760D53-13C1-4B8B-92CA-E799D7E24E59}" dt="2024-03-04T10:04:02.418" v="2193" actId="20577"/>
          <ac:spMkLst>
            <pc:docMk/>
            <pc:sldMk cId="2040534611" sldId="911"/>
            <ac:spMk id="40" creationId="{EB86B500-D698-3756-B7C3-C05978613A25}"/>
          </ac:spMkLst>
        </pc:spChg>
        <pc:spChg chg="mod">
          <ac:chgData name="Sindija Kirsteine (LV)" userId="5f25501a-2215-4bb3-9d9c-8d1484ffa7c1" providerId="ADAL" clId="{93760D53-13C1-4B8B-92CA-E799D7E24E59}" dt="2024-03-04T10:04:03.981" v="2194" actId="20577"/>
          <ac:spMkLst>
            <pc:docMk/>
            <pc:sldMk cId="2040534611" sldId="911"/>
            <ac:spMk id="41" creationId="{43FCA442-D4C2-FD75-2AE1-CE8B3AF7F9DF}"/>
          </ac:spMkLst>
        </pc:spChg>
        <pc:spChg chg="mod">
          <ac:chgData name="Sindija Kirsteine (LV)" userId="5f25501a-2215-4bb3-9d9c-8d1484ffa7c1" providerId="ADAL" clId="{93760D53-13C1-4B8B-92CA-E799D7E24E59}" dt="2024-03-04T10:03:57.198" v="2189" actId="20577"/>
          <ac:spMkLst>
            <pc:docMk/>
            <pc:sldMk cId="2040534611" sldId="911"/>
            <ac:spMk id="42" creationId="{54557E55-3507-1776-B43F-2BF914364CDC}"/>
          </ac:spMkLst>
        </pc:spChg>
        <pc:spChg chg="mod">
          <ac:chgData name="Sindija Kirsteine (LV)" userId="5f25501a-2215-4bb3-9d9c-8d1484ffa7c1" providerId="ADAL" clId="{93760D53-13C1-4B8B-92CA-E799D7E24E59}" dt="2024-03-04T10:04:01.317" v="2192" actId="20577"/>
          <ac:spMkLst>
            <pc:docMk/>
            <pc:sldMk cId="2040534611" sldId="911"/>
            <ac:spMk id="43" creationId="{88DB8DA6-ED94-CDC8-8ACB-3050ABC429D6}"/>
          </ac:spMkLst>
        </pc:spChg>
      </pc:sldChg>
      <pc:sldChg chg="modSp mod">
        <pc:chgData name="Sindija Kirsteine (LV)" userId="5f25501a-2215-4bb3-9d9c-8d1484ffa7c1" providerId="ADAL" clId="{93760D53-13C1-4B8B-92CA-E799D7E24E59}" dt="2024-03-04T10:04:32.011" v="2204" actId="20577"/>
        <pc:sldMkLst>
          <pc:docMk/>
          <pc:sldMk cId="3429470186" sldId="914"/>
        </pc:sldMkLst>
        <pc:spChg chg="mod">
          <ac:chgData name="Sindija Kirsteine (LV)" userId="5f25501a-2215-4bb3-9d9c-8d1484ffa7c1" providerId="ADAL" clId="{93760D53-13C1-4B8B-92CA-E799D7E24E59}" dt="2024-03-04T08:45:56.192" v="364" actId="20577"/>
          <ac:spMkLst>
            <pc:docMk/>
            <pc:sldMk cId="3429470186" sldId="914"/>
            <ac:spMk id="16" creationId="{25A25F16-3DF9-5BEF-8F70-42FAB50A6BCE}"/>
          </ac:spMkLst>
        </pc:spChg>
        <pc:spChg chg="mod">
          <ac:chgData name="Sindija Kirsteine (LV)" userId="5f25501a-2215-4bb3-9d9c-8d1484ffa7c1" providerId="ADAL" clId="{93760D53-13C1-4B8B-92CA-E799D7E24E59}" dt="2024-03-04T10:04:19.199" v="2196" actId="20577"/>
          <ac:spMkLst>
            <pc:docMk/>
            <pc:sldMk cId="3429470186" sldId="914"/>
            <ac:spMk id="17" creationId="{8A128ED3-6DA0-A56A-B5CE-670FD97F3136}"/>
          </ac:spMkLst>
        </pc:spChg>
        <pc:spChg chg="mod">
          <ac:chgData name="Sindija Kirsteine (LV)" userId="5f25501a-2215-4bb3-9d9c-8d1484ffa7c1" providerId="ADAL" clId="{93760D53-13C1-4B8B-92CA-E799D7E24E59}" dt="2024-03-04T10:04:20.037" v="2197" actId="20577"/>
          <ac:spMkLst>
            <pc:docMk/>
            <pc:sldMk cId="3429470186" sldId="914"/>
            <ac:spMk id="31" creationId="{3ED63378-9AD4-6F7B-AA83-0757250B3655}"/>
          </ac:spMkLst>
        </pc:spChg>
        <pc:spChg chg="mod">
          <ac:chgData name="Sindija Kirsteine (LV)" userId="5f25501a-2215-4bb3-9d9c-8d1484ffa7c1" providerId="ADAL" clId="{93760D53-13C1-4B8B-92CA-E799D7E24E59}" dt="2024-03-04T10:04:23.443" v="2199" actId="20577"/>
          <ac:spMkLst>
            <pc:docMk/>
            <pc:sldMk cId="3429470186" sldId="914"/>
            <ac:spMk id="32" creationId="{368867CA-1A92-D7C5-1747-4DA72A1913A3}"/>
          </ac:spMkLst>
        </pc:spChg>
        <pc:spChg chg="mod">
          <ac:chgData name="Sindija Kirsteine (LV)" userId="5f25501a-2215-4bb3-9d9c-8d1484ffa7c1" providerId="ADAL" clId="{93760D53-13C1-4B8B-92CA-E799D7E24E59}" dt="2024-03-04T10:04:25.308" v="2200" actId="20577"/>
          <ac:spMkLst>
            <pc:docMk/>
            <pc:sldMk cId="3429470186" sldId="914"/>
            <ac:spMk id="33" creationId="{C4D43AE7-C8F7-08A9-8215-1FA9C3039CB2}"/>
          </ac:spMkLst>
        </pc:spChg>
        <pc:spChg chg="mod">
          <ac:chgData name="Sindija Kirsteine (LV)" userId="5f25501a-2215-4bb3-9d9c-8d1484ffa7c1" providerId="ADAL" clId="{93760D53-13C1-4B8B-92CA-E799D7E24E59}" dt="2024-03-04T10:04:29.318" v="2202" actId="20577"/>
          <ac:spMkLst>
            <pc:docMk/>
            <pc:sldMk cId="3429470186" sldId="914"/>
            <ac:spMk id="34" creationId="{A44E1DFA-63E7-6696-A512-35660567BC8E}"/>
          </ac:spMkLst>
        </pc:spChg>
        <pc:spChg chg="mod">
          <ac:chgData name="Sindija Kirsteine (LV)" userId="5f25501a-2215-4bb3-9d9c-8d1484ffa7c1" providerId="ADAL" clId="{93760D53-13C1-4B8B-92CA-E799D7E24E59}" dt="2024-03-04T10:04:30.736" v="2203" actId="20577"/>
          <ac:spMkLst>
            <pc:docMk/>
            <pc:sldMk cId="3429470186" sldId="914"/>
            <ac:spMk id="35" creationId="{0E3889E8-6CBA-B9D9-B3CF-37BF7D2AD588}"/>
          </ac:spMkLst>
        </pc:spChg>
        <pc:spChg chg="mod">
          <ac:chgData name="Sindija Kirsteine (LV)" userId="5f25501a-2215-4bb3-9d9c-8d1484ffa7c1" providerId="ADAL" clId="{93760D53-13C1-4B8B-92CA-E799D7E24E59}" dt="2024-03-04T10:04:21.326" v="2198" actId="20577"/>
          <ac:spMkLst>
            <pc:docMk/>
            <pc:sldMk cId="3429470186" sldId="914"/>
            <ac:spMk id="36" creationId="{1AE54009-C4AA-42A0-6C3E-5B591C01E340}"/>
          </ac:spMkLst>
        </pc:spChg>
        <pc:spChg chg="mod">
          <ac:chgData name="Sindija Kirsteine (LV)" userId="5f25501a-2215-4bb3-9d9c-8d1484ffa7c1" providerId="ADAL" clId="{93760D53-13C1-4B8B-92CA-E799D7E24E59}" dt="2024-03-04T10:04:27.802" v="2201" actId="20577"/>
          <ac:spMkLst>
            <pc:docMk/>
            <pc:sldMk cId="3429470186" sldId="914"/>
            <ac:spMk id="37" creationId="{E0CFB0A4-DBFE-D718-60F7-B518BBA84C50}"/>
          </ac:spMkLst>
        </pc:spChg>
        <pc:spChg chg="mod">
          <ac:chgData name="Sindija Kirsteine (LV)" userId="5f25501a-2215-4bb3-9d9c-8d1484ffa7c1" providerId="ADAL" clId="{93760D53-13C1-4B8B-92CA-E799D7E24E59}" dt="2024-03-04T10:04:32.011" v="2204" actId="20577"/>
          <ac:spMkLst>
            <pc:docMk/>
            <pc:sldMk cId="3429470186" sldId="914"/>
            <ac:spMk id="62" creationId="{05D1587F-2220-61CF-C510-7EBB4EE50944}"/>
          </ac:spMkLst>
        </pc:spChg>
      </pc:sldChg>
      <pc:sldChg chg="modSp mod modNotes">
        <pc:chgData name="Sindija Kirsteine (LV)" userId="5f25501a-2215-4bb3-9d9c-8d1484ffa7c1" providerId="ADAL" clId="{93760D53-13C1-4B8B-92CA-E799D7E24E59}" dt="2024-03-04T10:05:14.102" v="2221" actId="20577"/>
        <pc:sldMkLst>
          <pc:docMk/>
          <pc:sldMk cId="1981412866" sldId="915"/>
        </pc:sldMkLst>
        <pc:spChg chg="mod">
          <ac:chgData name="Sindija Kirsteine (LV)" userId="5f25501a-2215-4bb3-9d9c-8d1484ffa7c1" providerId="ADAL" clId="{93760D53-13C1-4B8B-92CA-E799D7E24E59}" dt="2024-03-04T10:04:57.228" v="2208" actId="20577"/>
          <ac:spMkLst>
            <pc:docMk/>
            <pc:sldMk cId="1981412866" sldId="915"/>
            <ac:spMk id="32" creationId="{F6FD7F51-FCB6-23F6-84BA-89F9C3713AC4}"/>
          </ac:spMkLst>
        </pc:spChg>
        <pc:spChg chg="mod">
          <ac:chgData name="Sindija Kirsteine (LV)" userId="5f25501a-2215-4bb3-9d9c-8d1484ffa7c1" providerId="ADAL" clId="{93760D53-13C1-4B8B-92CA-E799D7E24E59}" dt="2024-03-04T10:04:58.529" v="2209" actId="20577"/>
          <ac:spMkLst>
            <pc:docMk/>
            <pc:sldMk cId="1981412866" sldId="915"/>
            <ac:spMk id="40" creationId="{30F089A7-894F-F509-643F-95DAD0568EBA}"/>
          </ac:spMkLst>
        </pc:spChg>
        <pc:spChg chg="mod">
          <ac:chgData name="Sindija Kirsteine (LV)" userId="5f25501a-2215-4bb3-9d9c-8d1484ffa7c1" providerId="ADAL" clId="{93760D53-13C1-4B8B-92CA-E799D7E24E59}" dt="2024-03-04T10:05:00.605" v="2211" actId="20577"/>
          <ac:spMkLst>
            <pc:docMk/>
            <pc:sldMk cId="1981412866" sldId="915"/>
            <ac:spMk id="41" creationId="{FD5F1B36-E761-5F42-CEFD-455451E36516}"/>
          </ac:spMkLst>
        </pc:spChg>
        <pc:spChg chg="mod">
          <ac:chgData name="Sindija Kirsteine (LV)" userId="5f25501a-2215-4bb3-9d9c-8d1484ffa7c1" providerId="ADAL" clId="{93760D53-13C1-4B8B-92CA-E799D7E24E59}" dt="2024-03-04T10:05:01.658" v="2212" actId="20577"/>
          <ac:spMkLst>
            <pc:docMk/>
            <pc:sldMk cId="1981412866" sldId="915"/>
            <ac:spMk id="42" creationId="{A266A737-1E78-D4EB-776C-495C1EBB4F47}"/>
          </ac:spMkLst>
        </pc:spChg>
        <pc:spChg chg="mod">
          <ac:chgData name="Sindija Kirsteine (LV)" userId="5f25501a-2215-4bb3-9d9c-8d1484ffa7c1" providerId="ADAL" clId="{93760D53-13C1-4B8B-92CA-E799D7E24E59}" dt="2024-03-04T10:04:59.431" v="2210" actId="20577"/>
          <ac:spMkLst>
            <pc:docMk/>
            <pc:sldMk cId="1981412866" sldId="915"/>
            <ac:spMk id="45" creationId="{11C053ED-4F43-3B06-3803-DF09CC3119C2}"/>
          </ac:spMkLst>
        </pc:spChg>
        <pc:spChg chg="mod">
          <ac:chgData name="Sindija Kirsteine (LV)" userId="5f25501a-2215-4bb3-9d9c-8d1484ffa7c1" providerId="ADAL" clId="{93760D53-13C1-4B8B-92CA-E799D7E24E59}" dt="2024-03-04T10:05:03.759" v="2214" actId="20577"/>
          <ac:spMkLst>
            <pc:docMk/>
            <pc:sldMk cId="1981412866" sldId="915"/>
            <ac:spMk id="46" creationId="{87468ECB-778E-5632-E26A-146462E680C5}"/>
          </ac:spMkLst>
        </pc:spChg>
        <pc:spChg chg="mod">
          <ac:chgData name="Sindija Kirsteine (LV)" userId="5f25501a-2215-4bb3-9d9c-8d1484ffa7c1" providerId="ADAL" clId="{93760D53-13C1-4B8B-92CA-E799D7E24E59}" dt="2024-03-04T10:05:06.583" v="2215" actId="20577"/>
          <ac:spMkLst>
            <pc:docMk/>
            <pc:sldMk cId="1981412866" sldId="915"/>
            <ac:spMk id="88" creationId="{436E5142-1A97-F9A9-CFC9-DB97889540F3}"/>
          </ac:spMkLst>
        </pc:spChg>
        <pc:spChg chg="mod">
          <ac:chgData name="Sindija Kirsteine (LV)" userId="5f25501a-2215-4bb3-9d9c-8d1484ffa7c1" providerId="ADAL" clId="{93760D53-13C1-4B8B-92CA-E799D7E24E59}" dt="2024-03-04T10:05:07.765" v="2216" actId="20577"/>
          <ac:spMkLst>
            <pc:docMk/>
            <pc:sldMk cId="1981412866" sldId="915"/>
            <ac:spMk id="89" creationId="{E536C4EB-5830-A9C6-7E29-F6EF449FF4C7}"/>
          </ac:spMkLst>
        </pc:spChg>
        <pc:spChg chg="mod">
          <ac:chgData name="Sindija Kirsteine (LV)" userId="5f25501a-2215-4bb3-9d9c-8d1484ffa7c1" providerId="ADAL" clId="{93760D53-13C1-4B8B-92CA-E799D7E24E59}" dt="2024-03-04T10:05:09.581" v="2218" actId="20577"/>
          <ac:spMkLst>
            <pc:docMk/>
            <pc:sldMk cId="1981412866" sldId="915"/>
            <ac:spMk id="90" creationId="{225CAB37-79D8-77DD-6CFF-B862D382D619}"/>
          </ac:spMkLst>
        </pc:spChg>
        <pc:spChg chg="mod">
          <ac:chgData name="Sindija Kirsteine (LV)" userId="5f25501a-2215-4bb3-9d9c-8d1484ffa7c1" providerId="ADAL" clId="{93760D53-13C1-4B8B-92CA-E799D7E24E59}" dt="2024-03-04T10:05:11.236" v="2219" actId="20577"/>
          <ac:spMkLst>
            <pc:docMk/>
            <pc:sldMk cId="1981412866" sldId="915"/>
            <ac:spMk id="91" creationId="{AD8719CE-1154-0150-C638-F14ED1164F38}"/>
          </ac:spMkLst>
        </pc:spChg>
        <pc:spChg chg="mod">
          <ac:chgData name="Sindija Kirsteine (LV)" userId="5f25501a-2215-4bb3-9d9c-8d1484ffa7c1" providerId="ADAL" clId="{93760D53-13C1-4B8B-92CA-E799D7E24E59}" dt="2024-03-04T10:05:08.755" v="2217" actId="20577"/>
          <ac:spMkLst>
            <pc:docMk/>
            <pc:sldMk cId="1981412866" sldId="915"/>
            <ac:spMk id="92" creationId="{9D38CD76-42E2-0F88-D2E4-FBE4A7B73C45}"/>
          </ac:spMkLst>
        </pc:spChg>
        <pc:spChg chg="mod">
          <ac:chgData name="Sindija Kirsteine (LV)" userId="5f25501a-2215-4bb3-9d9c-8d1484ffa7c1" providerId="ADAL" clId="{93760D53-13C1-4B8B-92CA-E799D7E24E59}" dt="2024-03-04T10:05:12.939" v="2220" actId="20577"/>
          <ac:spMkLst>
            <pc:docMk/>
            <pc:sldMk cId="1981412866" sldId="915"/>
            <ac:spMk id="118" creationId="{99E10BF8-C7E4-4C4A-89D4-BF5D9211751E}"/>
          </ac:spMkLst>
        </pc:spChg>
        <pc:spChg chg="mod">
          <ac:chgData name="Sindija Kirsteine (LV)" userId="5f25501a-2215-4bb3-9d9c-8d1484ffa7c1" providerId="ADAL" clId="{93760D53-13C1-4B8B-92CA-E799D7E24E59}" dt="2024-03-04T10:05:14.102" v="2221" actId="20577"/>
          <ac:spMkLst>
            <pc:docMk/>
            <pc:sldMk cId="1981412866" sldId="915"/>
            <ac:spMk id="119" creationId="{E6F7CE22-8CEE-1A44-5315-4C2E4DE97A7C}"/>
          </ac:spMkLst>
        </pc:spChg>
      </pc:sldChg>
      <pc:sldChg chg="modSp mod modNotes">
        <pc:chgData name="Sindija Kirsteine (LV)" userId="5f25501a-2215-4bb3-9d9c-8d1484ffa7c1" providerId="ADAL" clId="{93760D53-13C1-4B8B-92CA-E799D7E24E59}" dt="2024-03-04T10:05:35.130" v="2231" actId="20577"/>
        <pc:sldMkLst>
          <pc:docMk/>
          <pc:sldMk cId="64855802" sldId="916"/>
        </pc:sldMkLst>
        <pc:spChg chg="mod">
          <ac:chgData name="Sindija Kirsteine (LV)" userId="5f25501a-2215-4bb3-9d9c-8d1484ffa7c1" providerId="ADAL" clId="{93760D53-13C1-4B8B-92CA-E799D7E24E59}" dt="2024-03-04T08:30:38.651" v="4"/>
          <ac:spMkLst>
            <pc:docMk/>
            <pc:sldMk cId="64855802" sldId="916"/>
            <ac:spMk id="25" creationId="{3F4B047B-9FFA-12D1-B8AD-AAC2A9759CAF}"/>
          </ac:spMkLst>
        </pc:spChg>
        <pc:spChg chg="mod">
          <ac:chgData name="Sindija Kirsteine (LV)" userId="5f25501a-2215-4bb3-9d9c-8d1484ffa7c1" providerId="ADAL" clId="{93760D53-13C1-4B8B-92CA-E799D7E24E59}" dt="2024-03-04T10:05:18.781" v="2223" actId="20577"/>
          <ac:spMkLst>
            <pc:docMk/>
            <pc:sldMk cId="64855802" sldId="916"/>
            <ac:spMk id="35" creationId="{432C5712-D5AD-47F7-FC20-0EB40EAFE2D2}"/>
          </ac:spMkLst>
        </pc:spChg>
        <pc:spChg chg="mod">
          <ac:chgData name="Sindija Kirsteine (LV)" userId="5f25501a-2215-4bb3-9d9c-8d1484ffa7c1" providerId="ADAL" clId="{93760D53-13C1-4B8B-92CA-E799D7E24E59}" dt="2024-03-04T10:05:22.455" v="2224" actId="20577"/>
          <ac:spMkLst>
            <pc:docMk/>
            <pc:sldMk cId="64855802" sldId="916"/>
            <ac:spMk id="43" creationId="{B59B899D-1483-7DB7-884C-1BF5BB66EEF8}"/>
          </ac:spMkLst>
        </pc:spChg>
        <pc:spChg chg="mod">
          <ac:chgData name="Sindija Kirsteine (LV)" userId="5f25501a-2215-4bb3-9d9c-8d1484ffa7c1" providerId="ADAL" clId="{93760D53-13C1-4B8B-92CA-E799D7E24E59}" dt="2024-03-04T10:05:27.074" v="2226" actId="20577"/>
          <ac:spMkLst>
            <pc:docMk/>
            <pc:sldMk cId="64855802" sldId="916"/>
            <ac:spMk id="44" creationId="{94871D9B-9CA0-96F3-8E39-FD36C686E5B2}"/>
          </ac:spMkLst>
        </pc:spChg>
        <pc:spChg chg="mod">
          <ac:chgData name="Sindija Kirsteine (LV)" userId="5f25501a-2215-4bb3-9d9c-8d1484ffa7c1" providerId="ADAL" clId="{93760D53-13C1-4B8B-92CA-E799D7E24E59}" dt="2024-03-04T10:05:28.834" v="2227" actId="20577"/>
          <ac:spMkLst>
            <pc:docMk/>
            <pc:sldMk cId="64855802" sldId="916"/>
            <ac:spMk id="45" creationId="{8D71FF02-0232-FA91-F9B2-51C5765FD1F0}"/>
          </ac:spMkLst>
        </pc:spChg>
        <pc:spChg chg="mod">
          <ac:chgData name="Sindija Kirsteine (LV)" userId="5f25501a-2215-4bb3-9d9c-8d1484ffa7c1" providerId="ADAL" clId="{93760D53-13C1-4B8B-92CA-E799D7E24E59}" dt="2024-03-04T10:05:31.875" v="2229" actId="20577"/>
          <ac:spMkLst>
            <pc:docMk/>
            <pc:sldMk cId="64855802" sldId="916"/>
            <ac:spMk id="46" creationId="{AA6DDFE9-80E6-B7F6-FB38-9917BC91B4D2}"/>
          </ac:spMkLst>
        </pc:spChg>
        <pc:spChg chg="mod">
          <ac:chgData name="Sindija Kirsteine (LV)" userId="5f25501a-2215-4bb3-9d9c-8d1484ffa7c1" providerId="ADAL" clId="{93760D53-13C1-4B8B-92CA-E799D7E24E59}" dt="2024-03-04T10:05:33.876" v="2230" actId="20577"/>
          <ac:spMkLst>
            <pc:docMk/>
            <pc:sldMk cId="64855802" sldId="916"/>
            <ac:spMk id="47" creationId="{115D63E8-2A8B-9CF7-1918-27AD2BA124D4}"/>
          </ac:spMkLst>
        </pc:spChg>
        <pc:spChg chg="mod">
          <ac:chgData name="Sindija Kirsteine (LV)" userId="5f25501a-2215-4bb3-9d9c-8d1484ffa7c1" providerId="ADAL" clId="{93760D53-13C1-4B8B-92CA-E799D7E24E59}" dt="2024-03-04T10:05:25.260" v="2225" actId="20577"/>
          <ac:spMkLst>
            <pc:docMk/>
            <pc:sldMk cId="64855802" sldId="916"/>
            <ac:spMk id="48" creationId="{45C97A8C-D8E3-502E-7F55-E280CB660E7E}"/>
          </ac:spMkLst>
        </pc:spChg>
        <pc:spChg chg="mod">
          <ac:chgData name="Sindija Kirsteine (LV)" userId="5f25501a-2215-4bb3-9d9c-8d1484ffa7c1" providerId="ADAL" clId="{93760D53-13C1-4B8B-92CA-E799D7E24E59}" dt="2024-03-04T10:05:30.450" v="2228" actId="20577"/>
          <ac:spMkLst>
            <pc:docMk/>
            <pc:sldMk cId="64855802" sldId="916"/>
            <ac:spMk id="49" creationId="{1D2FF4CB-94E6-2366-A7D2-CA1C854C04A2}"/>
          </ac:spMkLst>
        </pc:spChg>
        <pc:spChg chg="mod">
          <ac:chgData name="Sindija Kirsteine (LV)" userId="5f25501a-2215-4bb3-9d9c-8d1484ffa7c1" providerId="ADAL" clId="{93760D53-13C1-4B8B-92CA-E799D7E24E59}" dt="2024-03-04T10:05:35.130" v="2231" actId="20577"/>
          <ac:spMkLst>
            <pc:docMk/>
            <pc:sldMk cId="64855802" sldId="916"/>
            <ac:spMk id="70" creationId="{715CB4D8-B109-4E3E-BFCE-C99080E076DC}"/>
          </ac:spMkLst>
        </pc:spChg>
        <pc:spChg chg="mod">
          <ac:chgData name="Sindija Kirsteine (LV)" userId="5f25501a-2215-4bb3-9d9c-8d1484ffa7c1" providerId="ADAL" clId="{93760D53-13C1-4B8B-92CA-E799D7E24E59}" dt="2024-03-04T09:44:50.198" v="1608" actId="20577"/>
          <ac:spMkLst>
            <pc:docMk/>
            <pc:sldMk cId="64855802" sldId="916"/>
            <ac:spMk id="88" creationId="{FAE4F479-75A7-AEA5-4879-7B116D34F1DF}"/>
          </ac:spMkLst>
        </pc:spChg>
        <pc:spChg chg="mod">
          <ac:chgData name="Sindija Kirsteine (LV)" userId="5f25501a-2215-4bb3-9d9c-8d1484ffa7c1" providerId="ADAL" clId="{93760D53-13C1-4B8B-92CA-E799D7E24E59}" dt="2024-03-04T09:44:24.819" v="1590"/>
          <ac:spMkLst>
            <pc:docMk/>
            <pc:sldMk cId="64855802" sldId="916"/>
            <ac:spMk id="114" creationId="{8FD2B430-BC9C-4743-24E0-E9DBFBF0D83C}"/>
          </ac:spMkLst>
        </pc:spChg>
      </pc:sldChg>
      <pc:sldChg chg="modSp mod addCm modCm modNotes">
        <pc:chgData name="Sindija Kirsteine (LV)" userId="5f25501a-2215-4bb3-9d9c-8d1484ffa7c1" providerId="ADAL" clId="{93760D53-13C1-4B8B-92CA-E799D7E24E59}" dt="2024-03-04T10:05:57.243" v="2245" actId="20577"/>
        <pc:sldMkLst>
          <pc:docMk/>
          <pc:sldMk cId="4273639525" sldId="917"/>
        </pc:sldMkLst>
        <pc:spChg chg="mod">
          <ac:chgData name="Sindija Kirsteine (LV)" userId="5f25501a-2215-4bb3-9d9c-8d1484ffa7c1" providerId="ADAL" clId="{93760D53-13C1-4B8B-92CA-E799D7E24E59}" dt="2024-03-04T09:46:49.762" v="1660"/>
          <ac:spMkLst>
            <pc:docMk/>
            <pc:sldMk cId="4273639525" sldId="917"/>
            <ac:spMk id="17" creationId="{71229291-CDE2-2F53-B84C-B74BF2C3F4F0}"/>
          </ac:spMkLst>
        </pc:spChg>
        <pc:spChg chg="mod">
          <ac:chgData name="Sindija Kirsteine (LV)" userId="5f25501a-2215-4bb3-9d9c-8d1484ffa7c1" providerId="ADAL" clId="{93760D53-13C1-4B8B-92CA-E799D7E24E59}" dt="2024-03-04T08:54:16.865" v="556" actId="20577"/>
          <ac:spMkLst>
            <pc:docMk/>
            <pc:sldMk cId="4273639525" sldId="917"/>
            <ac:spMk id="20" creationId="{71A7C7C0-2A0C-7790-FB11-2C935A397516}"/>
          </ac:spMkLst>
        </pc:spChg>
        <pc:spChg chg="mod">
          <ac:chgData name="Sindija Kirsteine (LV)" userId="5f25501a-2215-4bb3-9d9c-8d1484ffa7c1" providerId="ADAL" clId="{93760D53-13C1-4B8B-92CA-E799D7E24E59}" dt="2024-03-04T10:05:49.641" v="2240" actId="20577"/>
          <ac:spMkLst>
            <pc:docMk/>
            <pc:sldMk cId="4273639525" sldId="917"/>
            <ac:spMk id="48" creationId="{EBAA83D0-B767-9E96-1B47-C078CEEE614B}"/>
          </ac:spMkLst>
        </pc:spChg>
        <pc:spChg chg="mod">
          <ac:chgData name="Sindija Kirsteine (LV)" userId="5f25501a-2215-4bb3-9d9c-8d1484ffa7c1" providerId="ADAL" clId="{93760D53-13C1-4B8B-92CA-E799D7E24E59}" dt="2024-03-04T10:05:52.225" v="2241" actId="20577"/>
          <ac:spMkLst>
            <pc:docMk/>
            <pc:sldMk cId="4273639525" sldId="917"/>
            <ac:spMk id="49" creationId="{61741A74-5C7B-7766-FAC2-162B3E3B5946}"/>
          </ac:spMkLst>
        </pc:spChg>
        <pc:spChg chg="mod">
          <ac:chgData name="Sindija Kirsteine (LV)" userId="5f25501a-2215-4bb3-9d9c-8d1484ffa7c1" providerId="ADAL" clId="{93760D53-13C1-4B8B-92CA-E799D7E24E59}" dt="2024-03-04T10:05:54.727" v="2243" actId="20577"/>
          <ac:spMkLst>
            <pc:docMk/>
            <pc:sldMk cId="4273639525" sldId="917"/>
            <ac:spMk id="50" creationId="{A0C0290C-4BE9-3776-4546-3DEF56D11991}"/>
          </ac:spMkLst>
        </pc:spChg>
        <pc:spChg chg="mod">
          <ac:chgData name="Sindija Kirsteine (LV)" userId="5f25501a-2215-4bb3-9d9c-8d1484ffa7c1" providerId="ADAL" clId="{93760D53-13C1-4B8B-92CA-E799D7E24E59}" dt="2024-03-04T10:05:55.559" v="2244" actId="20577"/>
          <ac:spMkLst>
            <pc:docMk/>
            <pc:sldMk cId="4273639525" sldId="917"/>
            <ac:spMk id="51" creationId="{BAB0F656-869B-B0AF-322D-5E8BBB041A61}"/>
          </ac:spMkLst>
        </pc:spChg>
        <pc:spChg chg="mod">
          <ac:chgData name="Sindija Kirsteine (LV)" userId="5f25501a-2215-4bb3-9d9c-8d1484ffa7c1" providerId="ADAL" clId="{93760D53-13C1-4B8B-92CA-E799D7E24E59}" dt="2024-03-04T10:05:53.889" v="2242" actId="20577"/>
          <ac:spMkLst>
            <pc:docMk/>
            <pc:sldMk cId="4273639525" sldId="917"/>
            <ac:spMk id="52" creationId="{DAED98C7-E0EF-C092-E3F8-D2FBD65700E3}"/>
          </ac:spMkLst>
        </pc:spChg>
        <pc:spChg chg="mod">
          <ac:chgData name="Sindija Kirsteine (LV)" userId="5f25501a-2215-4bb3-9d9c-8d1484ffa7c1" providerId="ADAL" clId="{93760D53-13C1-4B8B-92CA-E799D7E24E59}" dt="2024-03-04T10:05:57.243" v="2245" actId="20577"/>
          <ac:spMkLst>
            <pc:docMk/>
            <pc:sldMk cId="4273639525" sldId="917"/>
            <ac:spMk id="53" creationId="{18418CB4-C7BA-DDC9-0605-BD3AD04DF988}"/>
          </ac:spMkLst>
        </pc:spChg>
        <pc:extLst>
          <p:ext xmlns:p="http://schemas.openxmlformats.org/presentationml/2006/main" uri="{D6D511B9-2390-475A-947B-AFAB55BFBCF1}">
            <pc226:cmChg xmlns:pc226="http://schemas.microsoft.com/office/powerpoint/2022/06/main/command" chg="add mod">
              <pc226:chgData name="Sindija Kirsteine (LV)" userId="5f25501a-2215-4bb3-9d9c-8d1484ffa7c1" providerId="ADAL" clId="{93760D53-13C1-4B8B-92CA-E799D7E24E59}" dt="2024-03-04T08:56:36.774" v="558"/>
              <pc2:cmMkLst xmlns:pc2="http://schemas.microsoft.com/office/powerpoint/2019/9/main/command">
                <pc:docMk/>
                <pc:sldMk cId="4273639525" sldId="917"/>
                <pc2:cmMk id="{19204F20-0AF8-4CA6-A7B8-DC2E12DB89C6}"/>
              </pc2:cmMkLst>
            </pc226:cmChg>
          </p:ext>
        </pc:extLst>
      </pc:sldChg>
      <pc:sldChg chg="modSp mod modNotes">
        <pc:chgData name="Sindija Kirsteine (LV)" userId="5f25501a-2215-4bb3-9d9c-8d1484ffa7c1" providerId="ADAL" clId="{93760D53-13C1-4B8B-92CA-E799D7E24E59}" dt="2024-03-04T10:05:45.543" v="2238" actId="20577"/>
        <pc:sldMkLst>
          <pc:docMk/>
          <pc:sldMk cId="785221003" sldId="918"/>
        </pc:sldMkLst>
        <pc:spChg chg="mod">
          <ac:chgData name="Sindija Kirsteine (LV)" userId="5f25501a-2215-4bb3-9d9c-8d1484ffa7c1" providerId="ADAL" clId="{93760D53-13C1-4B8B-92CA-E799D7E24E59}" dt="2024-03-04T09:46:23.221" v="1652"/>
          <ac:spMkLst>
            <pc:docMk/>
            <pc:sldMk cId="785221003" sldId="918"/>
            <ac:spMk id="18" creationId="{23E9260F-7D31-ECC7-43D3-C957B0AE80DF}"/>
          </ac:spMkLst>
        </pc:spChg>
        <pc:spChg chg="mod">
          <ac:chgData name="Sindija Kirsteine (LV)" userId="5f25501a-2215-4bb3-9d9c-8d1484ffa7c1" providerId="ADAL" clId="{93760D53-13C1-4B8B-92CA-E799D7E24E59}" dt="2024-03-04T08:49:39.470" v="491" actId="20577"/>
          <ac:spMkLst>
            <pc:docMk/>
            <pc:sldMk cId="785221003" sldId="918"/>
            <ac:spMk id="19" creationId="{827EABF6-479E-1D54-0AC1-0797AA292992}"/>
          </ac:spMkLst>
        </pc:spChg>
        <pc:spChg chg="mod">
          <ac:chgData name="Sindija Kirsteine (LV)" userId="5f25501a-2215-4bb3-9d9c-8d1484ffa7c1" providerId="ADAL" clId="{93760D53-13C1-4B8B-92CA-E799D7E24E59}" dt="2024-03-04T09:46:04.586" v="1643" actId="20577"/>
          <ac:spMkLst>
            <pc:docMk/>
            <pc:sldMk cId="785221003" sldId="918"/>
            <ac:spMk id="32" creationId="{498DF9C8-E99C-2B4F-A3C1-C58A792C99F7}"/>
          </ac:spMkLst>
        </pc:spChg>
        <pc:spChg chg="mod">
          <ac:chgData name="Sindija Kirsteine (LV)" userId="5f25501a-2215-4bb3-9d9c-8d1484ffa7c1" providerId="ADAL" clId="{93760D53-13C1-4B8B-92CA-E799D7E24E59}" dt="2024-03-04T10:05:39.482" v="2233" actId="20577"/>
          <ac:spMkLst>
            <pc:docMk/>
            <pc:sldMk cId="785221003" sldId="918"/>
            <ac:spMk id="55" creationId="{0AC02ECA-987D-40AF-BE7A-B239872F0524}"/>
          </ac:spMkLst>
        </pc:spChg>
        <pc:spChg chg="mod">
          <ac:chgData name="Sindija Kirsteine (LV)" userId="5f25501a-2215-4bb3-9d9c-8d1484ffa7c1" providerId="ADAL" clId="{93760D53-13C1-4B8B-92CA-E799D7E24E59}" dt="2024-03-04T10:05:40.484" v="2234" actId="20577"/>
          <ac:spMkLst>
            <pc:docMk/>
            <pc:sldMk cId="785221003" sldId="918"/>
            <ac:spMk id="56" creationId="{C3C28A52-D275-6E2C-BE22-283C8364819D}"/>
          </ac:spMkLst>
        </pc:spChg>
        <pc:spChg chg="mod">
          <ac:chgData name="Sindija Kirsteine (LV)" userId="5f25501a-2215-4bb3-9d9c-8d1484ffa7c1" providerId="ADAL" clId="{93760D53-13C1-4B8B-92CA-E799D7E24E59}" dt="2024-03-04T10:05:42.779" v="2236" actId="20577"/>
          <ac:spMkLst>
            <pc:docMk/>
            <pc:sldMk cId="785221003" sldId="918"/>
            <ac:spMk id="57" creationId="{B157BBC1-EAD4-45A3-5D5A-DD3191AD5488}"/>
          </ac:spMkLst>
        </pc:spChg>
        <pc:spChg chg="mod">
          <ac:chgData name="Sindija Kirsteine (LV)" userId="5f25501a-2215-4bb3-9d9c-8d1484ffa7c1" providerId="ADAL" clId="{93760D53-13C1-4B8B-92CA-E799D7E24E59}" dt="2024-03-04T10:05:43.589" v="2237" actId="20577"/>
          <ac:spMkLst>
            <pc:docMk/>
            <pc:sldMk cId="785221003" sldId="918"/>
            <ac:spMk id="58" creationId="{2BCD24FF-F127-6E9F-1E4E-2363B2E8176F}"/>
          </ac:spMkLst>
        </pc:spChg>
        <pc:spChg chg="mod">
          <ac:chgData name="Sindija Kirsteine (LV)" userId="5f25501a-2215-4bb3-9d9c-8d1484ffa7c1" providerId="ADAL" clId="{93760D53-13C1-4B8B-92CA-E799D7E24E59}" dt="2024-03-04T10:05:41.700" v="2235" actId="20577"/>
          <ac:spMkLst>
            <pc:docMk/>
            <pc:sldMk cId="785221003" sldId="918"/>
            <ac:spMk id="61" creationId="{E5F98DAA-B86C-DE09-039A-F11E1F0780A4}"/>
          </ac:spMkLst>
        </pc:spChg>
        <pc:spChg chg="mod">
          <ac:chgData name="Sindija Kirsteine (LV)" userId="5f25501a-2215-4bb3-9d9c-8d1484ffa7c1" providerId="ADAL" clId="{93760D53-13C1-4B8B-92CA-E799D7E24E59}" dt="2024-03-04T10:05:45.543" v="2238" actId="20577"/>
          <ac:spMkLst>
            <pc:docMk/>
            <pc:sldMk cId="785221003" sldId="918"/>
            <ac:spMk id="62" creationId="{D4227107-781D-25F3-67A7-75215C978573}"/>
          </ac:spMkLst>
        </pc:spChg>
      </pc:sldChg>
      <pc:sldChg chg="modSp mod modNotes">
        <pc:chgData name="Sindija Kirsteine (LV)" userId="5f25501a-2215-4bb3-9d9c-8d1484ffa7c1" providerId="ADAL" clId="{93760D53-13C1-4B8B-92CA-E799D7E24E59}" dt="2024-03-04T10:06:07.851" v="2253" actId="20577"/>
        <pc:sldMkLst>
          <pc:docMk/>
          <pc:sldMk cId="2008209705" sldId="919"/>
        </pc:sldMkLst>
        <pc:spChg chg="mod">
          <ac:chgData name="Sindija Kirsteine (LV)" userId="5f25501a-2215-4bb3-9d9c-8d1484ffa7c1" providerId="ADAL" clId="{93760D53-13C1-4B8B-92CA-E799D7E24E59}" dt="2024-03-04T10:06:05.463" v="2250" actId="20577"/>
          <ac:spMkLst>
            <pc:docMk/>
            <pc:sldMk cId="2008209705" sldId="919"/>
            <ac:spMk id="16" creationId="{30819613-CE74-49B6-0807-44FDBB81D466}"/>
          </ac:spMkLst>
        </pc:spChg>
        <pc:spChg chg="mod">
          <ac:chgData name="Sindija Kirsteine (LV)" userId="5f25501a-2215-4bb3-9d9c-8d1484ffa7c1" providerId="ADAL" clId="{93760D53-13C1-4B8B-92CA-E799D7E24E59}" dt="2024-03-04T08:57:38.077" v="599" actId="20577"/>
          <ac:spMkLst>
            <pc:docMk/>
            <pc:sldMk cId="2008209705" sldId="919"/>
            <ac:spMk id="18" creationId="{E1D4AC8F-0322-E8A8-E509-5AF71473A8F4}"/>
          </ac:spMkLst>
        </pc:spChg>
        <pc:spChg chg="mod">
          <ac:chgData name="Sindija Kirsteine (LV)" userId="5f25501a-2215-4bb3-9d9c-8d1484ffa7c1" providerId="ADAL" clId="{93760D53-13C1-4B8B-92CA-E799D7E24E59}" dt="2024-03-04T10:06:07.851" v="2253" actId="20577"/>
          <ac:spMkLst>
            <pc:docMk/>
            <pc:sldMk cId="2008209705" sldId="919"/>
            <ac:spMk id="20" creationId="{BCB0856A-D775-E9B2-A22B-A661D9F8D43C}"/>
          </ac:spMkLst>
        </pc:spChg>
        <pc:spChg chg="mod">
          <ac:chgData name="Sindija Kirsteine (LV)" userId="5f25501a-2215-4bb3-9d9c-8d1484ffa7c1" providerId="ADAL" clId="{93760D53-13C1-4B8B-92CA-E799D7E24E59}" dt="2024-03-04T08:57:44.870" v="605" actId="20577"/>
          <ac:spMkLst>
            <pc:docMk/>
            <pc:sldMk cId="2008209705" sldId="919"/>
            <ac:spMk id="22" creationId="{044C1CE5-09D8-63ED-7E23-4A59A70CC41B}"/>
          </ac:spMkLst>
        </pc:spChg>
        <pc:spChg chg="mod">
          <ac:chgData name="Sindija Kirsteine (LV)" userId="5f25501a-2215-4bb3-9d9c-8d1484ffa7c1" providerId="ADAL" clId="{93760D53-13C1-4B8B-92CA-E799D7E24E59}" dt="2024-03-04T08:30:38.651" v="4"/>
          <ac:spMkLst>
            <pc:docMk/>
            <pc:sldMk cId="2008209705" sldId="919"/>
            <ac:spMk id="44" creationId="{6FF10B2E-1E3F-70CE-7D27-FC202A31080A}"/>
          </ac:spMkLst>
        </pc:spChg>
        <pc:spChg chg="mod">
          <ac:chgData name="Sindija Kirsteine (LV)" userId="5f25501a-2215-4bb3-9d9c-8d1484ffa7c1" providerId="ADAL" clId="{93760D53-13C1-4B8B-92CA-E799D7E24E59}" dt="2024-03-04T09:47:19.550" v="1662"/>
          <ac:spMkLst>
            <pc:docMk/>
            <pc:sldMk cId="2008209705" sldId="919"/>
            <ac:spMk id="50" creationId="{A6E0EF21-F851-B0E9-4F3F-E386F3795999}"/>
          </ac:spMkLst>
        </pc:spChg>
      </pc:sldChg>
      <pc:sldChg chg="modSp mod">
        <pc:chgData name="Sindija Kirsteine (LV)" userId="5f25501a-2215-4bb3-9d9c-8d1484ffa7c1" providerId="ADAL" clId="{93760D53-13C1-4B8B-92CA-E799D7E24E59}" dt="2024-03-04T10:06:38.387" v="2271" actId="20577"/>
        <pc:sldMkLst>
          <pc:docMk/>
          <pc:sldMk cId="2755231185" sldId="920"/>
        </pc:sldMkLst>
        <pc:spChg chg="mod">
          <ac:chgData name="Sindija Kirsteine (LV)" userId="5f25501a-2215-4bb3-9d9c-8d1484ffa7c1" providerId="ADAL" clId="{93760D53-13C1-4B8B-92CA-E799D7E24E59}" dt="2024-03-04T10:06:32.836" v="2268" actId="20577"/>
          <ac:spMkLst>
            <pc:docMk/>
            <pc:sldMk cId="2755231185" sldId="920"/>
            <ac:spMk id="16" creationId="{30819613-CE74-49B6-0807-44FDBB81D466}"/>
          </ac:spMkLst>
        </pc:spChg>
        <pc:spChg chg="mod">
          <ac:chgData name="Sindija Kirsteine (LV)" userId="5f25501a-2215-4bb3-9d9c-8d1484ffa7c1" providerId="ADAL" clId="{93760D53-13C1-4B8B-92CA-E799D7E24E59}" dt="2024-03-04T09:00:43.636" v="698" actId="20577"/>
          <ac:spMkLst>
            <pc:docMk/>
            <pc:sldMk cId="2755231185" sldId="920"/>
            <ac:spMk id="18" creationId="{E1D4AC8F-0322-E8A8-E509-5AF71473A8F4}"/>
          </ac:spMkLst>
        </pc:spChg>
        <pc:spChg chg="mod">
          <ac:chgData name="Sindija Kirsteine (LV)" userId="5f25501a-2215-4bb3-9d9c-8d1484ffa7c1" providerId="ADAL" clId="{93760D53-13C1-4B8B-92CA-E799D7E24E59}" dt="2024-03-04T10:06:38.387" v="2271" actId="20577"/>
          <ac:spMkLst>
            <pc:docMk/>
            <pc:sldMk cId="2755231185" sldId="920"/>
            <ac:spMk id="20" creationId="{BCB0856A-D775-E9B2-A22B-A661D9F8D43C}"/>
          </ac:spMkLst>
        </pc:spChg>
        <pc:spChg chg="mod">
          <ac:chgData name="Sindija Kirsteine (LV)" userId="5f25501a-2215-4bb3-9d9c-8d1484ffa7c1" providerId="ADAL" clId="{93760D53-13C1-4B8B-92CA-E799D7E24E59}" dt="2024-03-04T09:00:58.124" v="706" actId="20577"/>
          <ac:spMkLst>
            <pc:docMk/>
            <pc:sldMk cId="2755231185" sldId="920"/>
            <ac:spMk id="22" creationId="{044C1CE5-09D8-63ED-7E23-4A59A70CC41B}"/>
          </ac:spMkLst>
        </pc:spChg>
        <pc:spChg chg="mod">
          <ac:chgData name="Sindija Kirsteine (LV)" userId="5f25501a-2215-4bb3-9d9c-8d1484ffa7c1" providerId="ADAL" clId="{93760D53-13C1-4B8B-92CA-E799D7E24E59}" dt="2024-03-04T09:48:15.421" v="1692"/>
          <ac:spMkLst>
            <pc:docMk/>
            <pc:sldMk cId="2755231185" sldId="920"/>
            <ac:spMk id="23" creationId="{F0F92295-EBAE-39D7-7494-D9035179A285}"/>
          </ac:spMkLst>
        </pc:spChg>
      </pc:sldChg>
      <pc:sldChg chg="addSp delSp modSp mod modNotes">
        <pc:chgData name="Sindija Kirsteine (LV)" userId="5f25501a-2215-4bb3-9d9c-8d1484ffa7c1" providerId="ADAL" clId="{93760D53-13C1-4B8B-92CA-E799D7E24E59}" dt="2024-03-04T10:06:26.445" v="2263" actId="20577"/>
        <pc:sldMkLst>
          <pc:docMk/>
          <pc:sldMk cId="1632897735" sldId="921"/>
        </pc:sldMkLst>
        <pc:spChg chg="mod">
          <ac:chgData name="Sindija Kirsteine (LV)" userId="5f25501a-2215-4bb3-9d9c-8d1484ffa7c1" providerId="ADAL" clId="{93760D53-13C1-4B8B-92CA-E799D7E24E59}" dt="2024-03-04T09:47:50.290" v="1679"/>
          <ac:spMkLst>
            <pc:docMk/>
            <pc:sldMk cId="1632897735" sldId="921"/>
            <ac:spMk id="23" creationId="{88B111F6-05FB-7044-2F8E-2C70FFCA0ABD}"/>
          </ac:spMkLst>
        </pc:spChg>
        <pc:spChg chg="mod">
          <ac:chgData name="Sindija Kirsteine (LV)" userId="5f25501a-2215-4bb3-9d9c-8d1484ffa7c1" providerId="ADAL" clId="{93760D53-13C1-4B8B-92CA-E799D7E24E59}" dt="2024-03-04T10:06:26.445" v="2263" actId="20577"/>
          <ac:spMkLst>
            <pc:docMk/>
            <pc:sldMk cId="1632897735" sldId="921"/>
            <ac:spMk id="40" creationId="{3C04D558-6349-59B4-4891-C3B362679252}"/>
          </ac:spMkLst>
        </pc:spChg>
        <pc:spChg chg="mod">
          <ac:chgData name="Sindija Kirsteine (LV)" userId="5f25501a-2215-4bb3-9d9c-8d1484ffa7c1" providerId="ADAL" clId="{93760D53-13C1-4B8B-92CA-E799D7E24E59}" dt="2024-03-04T08:59:15.504" v="655" actId="20577"/>
          <ac:spMkLst>
            <pc:docMk/>
            <pc:sldMk cId="1632897735" sldId="921"/>
            <ac:spMk id="41" creationId="{A5FCE91E-7750-1062-5437-D153B9C8E110}"/>
          </ac:spMkLst>
        </pc:spChg>
        <pc:spChg chg="add del mod">
          <ac:chgData name="Sindija Kirsteine (LV)" userId="5f25501a-2215-4bb3-9d9c-8d1484ffa7c1" providerId="ADAL" clId="{93760D53-13C1-4B8B-92CA-E799D7E24E59}" dt="2024-03-04T10:06:22.325" v="2259" actId="20577"/>
          <ac:spMkLst>
            <pc:docMk/>
            <pc:sldMk cId="1632897735" sldId="921"/>
            <ac:spMk id="42" creationId="{41F206C0-1514-9A56-1E69-C897346ADB21}"/>
          </ac:spMkLst>
        </pc:spChg>
        <pc:spChg chg="mod">
          <ac:chgData name="Sindija Kirsteine (LV)" userId="5f25501a-2215-4bb3-9d9c-8d1484ffa7c1" providerId="ADAL" clId="{93760D53-13C1-4B8B-92CA-E799D7E24E59}" dt="2024-03-04T08:59:01.830" v="645" actId="20577"/>
          <ac:spMkLst>
            <pc:docMk/>
            <pc:sldMk cId="1632897735" sldId="921"/>
            <ac:spMk id="43" creationId="{C333C631-7908-BAEB-F79D-7746A92C6B90}"/>
          </ac:spMkLst>
        </pc:spChg>
      </pc:sldChg>
      <pc:sldChg chg="modSp mod">
        <pc:chgData name="Sindija Kirsteine (LV)" userId="5f25501a-2215-4bb3-9d9c-8d1484ffa7c1" providerId="ADAL" clId="{93760D53-13C1-4B8B-92CA-E799D7E24E59}" dt="2024-03-04T10:07:10.429" v="2276" actId="20577"/>
        <pc:sldMkLst>
          <pc:docMk/>
          <pc:sldMk cId="3183596888" sldId="922"/>
        </pc:sldMkLst>
        <pc:spChg chg="mod">
          <ac:chgData name="Sindija Kirsteine (LV)" userId="5f25501a-2215-4bb3-9d9c-8d1484ffa7c1" providerId="ADAL" clId="{93760D53-13C1-4B8B-92CA-E799D7E24E59}" dt="2024-03-04T09:48:40.279" v="1702"/>
          <ac:spMkLst>
            <pc:docMk/>
            <pc:sldMk cId="3183596888" sldId="922"/>
            <ac:spMk id="2" creationId="{F1D6F790-6D5A-4BF8-B010-A12DBE713578}"/>
          </ac:spMkLst>
        </pc:spChg>
        <pc:spChg chg="mod">
          <ac:chgData name="Sindija Kirsteine (LV)" userId="5f25501a-2215-4bb3-9d9c-8d1484ffa7c1" providerId="ADAL" clId="{93760D53-13C1-4B8B-92CA-E799D7E24E59}" dt="2024-03-04T08:30:38.651" v="4"/>
          <ac:spMkLst>
            <pc:docMk/>
            <pc:sldMk cId="3183596888" sldId="922"/>
            <ac:spMk id="3" creationId="{F4CCF02E-F3C4-C376-8F56-61BD85A2E74B}"/>
          </ac:spMkLst>
        </pc:spChg>
        <pc:spChg chg="mod">
          <ac:chgData name="Sindija Kirsteine (LV)" userId="5f25501a-2215-4bb3-9d9c-8d1484ffa7c1" providerId="ADAL" clId="{93760D53-13C1-4B8B-92CA-E799D7E24E59}" dt="2024-03-04T09:03:12.966" v="746" actId="20577"/>
          <ac:spMkLst>
            <pc:docMk/>
            <pc:sldMk cId="3183596888" sldId="922"/>
            <ac:spMk id="17" creationId="{6FA36F9D-90F9-114F-5453-39394D16CFF6}"/>
          </ac:spMkLst>
        </pc:spChg>
        <pc:spChg chg="mod">
          <ac:chgData name="Sindija Kirsteine (LV)" userId="5f25501a-2215-4bb3-9d9c-8d1484ffa7c1" providerId="ADAL" clId="{93760D53-13C1-4B8B-92CA-E799D7E24E59}" dt="2024-03-04T10:06:44.699" v="2273" actId="20577"/>
          <ac:spMkLst>
            <pc:docMk/>
            <pc:sldMk cId="3183596888" sldId="922"/>
            <ac:spMk id="18" creationId="{D0D5258A-7E40-C195-904C-0D59B96D8721}"/>
          </ac:spMkLst>
        </pc:spChg>
        <pc:spChg chg="mod">
          <ac:chgData name="Sindija Kirsteine (LV)" userId="5f25501a-2215-4bb3-9d9c-8d1484ffa7c1" providerId="ADAL" clId="{93760D53-13C1-4B8B-92CA-E799D7E24E59}" dt="2024-03-04T10:06:46.229" v="2274" actId="20577"/>
          <ac:spMkLst>
            <pc:docMk/>
            <pc:sldMk cId="3183596888" sldId="922"/>
            <ac:spMk id="32" creationId="{4856FA89-D34A-DD8D-457A-FE1983E9ECD3}"/>
          </ac:spMkLst>
        </pc:spChg>
        <pc:spChg chg="mod">
          <ac:chgData name="Sindija Kirsteine (LV)" userId="5f25501a-2215-4bb3-9d9c-8d1484ffa7c1" providerId="ADAL" clId="{93760D53-13C1-4B8B-92CA-E799D7E24E59}" dt="2024-03-04T10:07:10.429" v="2276" actId="20577"/>
          <ac:spMkLst>
            <pc:docMk/>
            <pc:sldMk cId="3183596888" sldId="922"/>
            <ac:spMk id="33" creationId="{5F20B02B-319A-56A8-B3AD-0245CFA22F57}"/>
          </ac:spMkLst>
        </pc:spChg>
        <pc:spChg chg="mod">
          <ac:chgData name="Sindija Kirsteine (LV)" userId="5f25501a-2215-4bb3-9d9c-8d1484ffa7c1" providerId="ADAL" clId="{93760D53-13C1-4B8B-92CA-E799D7E24E59}" dt="2024-03-04T10:06:48.041" v="2275" actId="20577"/>
          <ac:spMkLst>
            <pc:docMk/>
            <pc:sldMk cId="3183596888" sldId="922"/>
            <ac:spMk id="37" creationId="{B4A1FCDF-F4EF-2C95-ABB1-CBEA3086D555}"/>
          </ac:spMkLst>
        </pc:spChg>
      </pc:sldChg>
      <pc:sldChg chg="modSp mod">
        <pc:chgData name="Sindija Kirsteine (LV)" userId="5f25501a-2215-4bb3-9d9c-8d1484ffa7c1" providerId="ADAL" clId="{93760D53-13C1-4B8B-92CA-E799D7E24E59}" dt="2024-03-04T08:31:20.582" v="13" actId="20577"/>
        <pc:sldMkLst>
          <pc:docMk/>
          <pc:sldMk cId="2333946943" sldId="924"/>
        </pc:sldMkLst>
        <pc:spChg chg="mod">
          <ac:chgData name="Sindija Kirsteine (LV)" userId="5f25501a-2215-4bb3-9d9c-8d1484ffa7c1" providerId="ADAL" clId="{93760D53-13C1-4B8B-92CA-E799D7E24E59}" dt="2024-03-04T08:31:18.155" v="11" actId="20577"/>
          <ac:spMkLst>
            <pc:docMk/>
            <pc:sldMk cId="2333946943" sldId="924"/>
            <ac:spMk id="7" creationId="{11B054F7-BD3F-CC04-8F9A-A47566ADA21E}"/>
          </ac:spMkLst>
        </pc:spChg>
        <pc:spChg chg="mod">
          <ac:chgData name="Sindija Kirsteine (LV)" userId="5f25501a-2215-4bb3-9d9c-8d1484ffa7c1" providerId="ADAL" clId="{93760D53-13C1-4B8B-92CA-E799D7E24E59}" dt="2024-03-04T08:31:20.582" v="13" actId="20577"/>
          <ac:spMkLst>
            <pc:docMk/>
            <pc:sldMk cId="2333946943" sldId="924"/>
            <ac:spMk id="44" creationId="{D451C3AD-BF06-A491-5B76-787F273C0C52}"/>
          </ac:spMkLst>
        </pc:spChg>
      </pc:sldChg>
      <pc:sldChg chg="modNotes">
        <pc:chgData name="Sindija Kirsteine (LV)" userId="5f25501a-2215-4bb3-9d9c-8d1484ffa7c1" providerId="ADAL" clId="{93760D53-13C1-4B8B-92CA-E799D7E24E59}" dt="2024-03-04T08:30:38.651" v="4"/>
        <pc:sldMkLst>
          <pc:docMk/>
          <pc:sldMk cId="4107124933" sldId="925"/>
        </pc:sldMkLst>
      </pc:sldChg>
      <pc:sldChg chg="modNotes">
        <pc:chgData name="Sindija Kirsteine (LV)" userId="5f25501a-2215-4bb3-9d9c-8d1484ffa7c1" providerId="ADAL" clId="{93760D53-13C1-4B8B-92CA-E799D7E24E59}" dt="2024-03-04T08:30:38.651" v="4"/>
        <pc:sldMkLst>
          <pc:docMk/>
          <pc:sldMk cId="76717427" sldId="926"/>
        </pc:sldMkLst>
      </pc:sldChg>
      <pc:sldChg chg="modNotes">
        <pc:chgData name="Sindija Kirsteine (LV)" userId="5f25501a-2215-4bb3-9d9c-8d1484ffa7c1" providerId="ADAL" clId="{93760D53-13C1-4B8B-92CA-E799D7E24E59}" dt="2024-03-04T08:30:38.651" v="4"/>
        <pc:sldMkLst>
          <pc:docMk/>
          <pc:sldMk cId="4266541344" sldId="927"/>
        </pc:sldMkLst>
      </pc:sldChg>
      <pc:sldChg chg="modSp modNotes">
        <pc:chgData name="Sindija Kirsteine (LV)" userId="5f25501a-2215-4bb3-9d9c-8d1484ffa7c1" providerId="ADAL" clId="{93760D53-13C1-4B8B-92CA-E799D7E24E59}" dt="2024-03-04T08:30:38.651" v="4"/>
        <pc:sldMkLst>
          <pc:docMk/>
          <pc:sldMk cId="2463822678" sldId="928"/>
        </pc:sldMkLst>
        <pc:spChg chg="mod">
          <ac:chgData name="Sindija Kirsteine (LV)" userId="5f25501a-2215-4bb3-9d9c-8d1484ffa7c1" providerId="ADAL" clId="{93760D53-13C1-4B8B-92CA-E799D7E24E59}" dt="2024-03-04T08:30:38.651" v="4"/>
          <ac:spMkLst>
            <pc:docMk/>
            <pc:sldMk cId="2463822678" sldId="928"/>
            <ac:spMk id="2" creationId="{00000000-0000-0000-0000-000000000000}"/>
          </ac:spMkLst>
        </pc:spChg>
      </pc:sldChg>
      <pc:sldChg chg="modSp mod delCm modNotes">
        <pc:chgData name="Sindija Kirsteine (LV)" userId="5f25501a-2215-4bb3-9d9c-8d1484ffa7c1" providerId="ADAL" clId="{93760D53-13C1-4B8B-92CA-E799D7E24E59}" dt="2024-03-04T10:10:52.554" v="2390"/>
        <pc:sldMkLst>
          <pc:docMk/>
          <pc:sldMk cId="3431578971" sldId="931"/>
        </pc:sldMkLst>
        <pc:spChg chg="mod">
          <ac:chgData name="Sindija Kirsteine (LV)" userId="5f25501a-2215-4bb3-9d9c-8d1484ffa7c1" providerId="ADAL" clId="{93760D53-13C1-4B8B-92CA-E799D7E24E59}" dt="2024-03-04T10:02:57.466" v="2169" actId="20577"/>
          <ac:spMkLst>
            <pc:docMk/>
            <pc:sldMk cId="3431578971" sldId="931"/>
            <ac:spMk id="21" creationId="{78DC1799-6B68-492D-BBE0-D7BECB3D58E6}"/>
          </ac:spMkLst>
        </pc:spChg>
        <pc:spChg chg="mod">
          <ac:chgData name="Sindija Kirsteine (LV)" userId="5f25501a-2215-4bb3-9d9c-8d1484ffa7c1" providerId="ADAL" clId="{93760D53-13C1-4B8B-92CA-E799D7E24E59}" dt="2024-03-04T08:42:15.462" v="234" actId="20577"/>
          <ac:spMkLst>
            <pc:docMk/>
            <pc:sldMk cId="3431578971" sldId="931"/>
            <ac:spMk id="25" creationId="{2B261BF4-92C6-462D-AA95-793AE54DD688}"/>
          </ac:spMkLst>
        </pc:spChg>
        <pc:spChg chg="mod">
          <ac:chgData name="Sindija Kirsteine (LV)" userId="5f25501a-2215-4bb3-9d9c-8d1484ffa7c1" providerId="ADAL" clId="{93760D53-13C1-4B8B-92CA-E799D7E24E59}" dt="2024-03-04T10:02:59.125" v="2170" actId="20577"/>
          <ac:spMkLst>
            <pc:docMk/>
            <pc:sldMk cId="3431578971" sldId="931"/>
            <ac:spMk id="100" creationId="{6196419E-02BA-D21D-1546-F1EC7C2A2D38}"/>
          </ac:spMkLst>
        </pc:spChg>
        <pc:spChg chg="mod">
          <ac:chgData name="Sindija Kirsteine (LV)" userId="5f25501a-2215-4bb3-9d9c-8d1484ffa7c1" providerId="ADAL" clId="{93760D53-13C1-4B8B-92CA-E799D7E24E59}" dt="2024-03-04T10:03:03.616" v="2172" actId="20577"/>
          <ac:spMkLst>
            <pc:docMk/>
            <pc:sldMk cId="3431578971" sldId="931"/>
            <ac:spMk id="101" creationId="{9ECA4B5E-E4A7-485E-4742-A7A24FB938CD}"/>
          </ac:spMkLst>
        </pc:spChg>
        <pc:spChg chg="mod">
          <ac:chgData name="Sindija Kirsteine (LV)" userId="5f25501a-2215-4bb3-9d9c-8d1484ffa7c1" providerId="ADAL" clId="{93760D53-13C1-4B8B-92CA-E799D7E24E59}" dt="2024-03-04T10:03:05.521" v="2173" actId="20577"/>
          <ac:spMkLst>
            <pc:docMk/>
            <pc:sldMk cId="3431578971" sldId="931"/>
            <ac:spMk id="102" creationId="{6C2839D0-72C0-7347-1A1F-A4C976165D3B}"/>
          </ac:spMkLst>
        </pc:spChg>
        <pc:spChg chg="mod">
          <ac:chgData name="Sindija Kirsteine (LV)" userId="5f25501a-2215-4bb3-9d9c-8d1484ffa7c1" providerId="ADAL" clId="{93760D53-13C1-4B8B-92CA-E799D7E24E59}" dt="2024-03-04T10:03:08.334" v="2175" actId="20577"/>
          <ac:spMkLst>
            <pc:docMk/>
            <pc:sldMk cId="3431578971" sldId="931"/>
            <ac:spMk id="103" creationId="{20162A1E-1272-A65F-9743-08A1C56CDD8F}"/>
          </ac:spMkLst>
        </pc:spChg>
        <pc:spChg chg="mod">
          <ac:chgData name="Sindija Kirsteine (LV)" userId="5f25501a-2215-4bb3-9d9c-8d1484ffa7c1" providerId="ADAL" clId="{93760D53-13C1-4B8B-92CA-E799D7E24E59}" dt="2024-03-04T10:03:10.464" v="2176" actId="20577"/>
          <ac:spMkLst>
            <pc:docMk/>
            <pc:sldMk cId="3431578971" sldId="931"/>
            <ac:spMk id="104" creationId="{C489AEBB-7FB2-EC1A-2DC3-18B08D331418}"/>
          </ac:spMkLst>
        </pc:spChg>
        <pc:spChg chg="mod">
          <ac:chgData name="Sindija Kirsteine (LV)" userId="5f25501a-2215-4bb3-9d9c-8d1484ffa7c1" providerId="ADAL" clId="{93760D53-13C1-4B8B-92CA-E799D7E24E59}" dt="2024-03-04T10:03:01.985" v="2171" actId="20577"/>
          <ac:spMkLst>
            <pc:docMk/>
            <pc:sldMk cId="3431578971" sldId="931"/>
            <ac:spMk id="107" creationId="{5E4C4BD5-129E-6AAF-672B-2CE5A9EA1809}"/>
          </ac:spMkLst>
        </pc:spChg>
        <pc:spChg chg="mod">
          <ac:chgData name="Sindija Kirsteine (LV)" userId="5f25501a-2215-4bb3-9d9c-8d1484ffa7c1" providerId="ADAL" clId="{93760D53-13C1-4B8B-92CA-E799D7E24E59}" dt="2024-03-04T10:03:07.063" v="2174" actId="20577"/>
          <ac:spMkLst>
            <pc:docMk/>
            <pc:sldMk cId="3431578971" sldId="931"/>
            <ac:spMk id="108" creationId="{374ED229-16EB-16FE-4EEB-6C75D32758A7}"/>
          </ac:spMkLst>
        </pc:sp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93760D53-13C1-4B8B-92CA-E799D7E24E59}" dt="2024-03-04T10:10:52.554" v="2390"/>
              <pc2:cmMkLst xmlns:pc2="http://schemas.microsoft.com/office/powerpoint/2019/9/main/command">
                <pc:docMk/>
                <pc:sldMk cId="3431578971" sldId="931"/>
                <pc2:cmMk id="{E9ACF3A7-DB3E-4086-9C56-15ADFB324CFF}"/>
              </pc2:cmMkLst>
            </pc226:cmChg>
          </p:ext>
        </pc:extLst>
      </pc:sldChg>
      <pc:sldChg chg="modSp mod modNotes">
        <pc:chgData name="Sindija Kirsteine (LV)" userId="5f25501a-2215-4bb3-9d9c-8d1484ffa7c1" providerId="ADAL" clId="{93760D53-13C1-4B8B-92CA-E799D7E24E59}" dt="2024-03-04T10:07:33.141" v="2296" actId="20577"/>
        <pc:sldMkLst>
          <pc:docMk/>
          <pc:sldMk cId="2630099657" sldId="933"/>
        </pc:sldMkLst>
        <pc:spChg chg="mod">
          <ac:chgData name="Sindija Kirsteine (LV)" userId="5f25501a-2215-4bb3-9d9c-8d1484ffa7c1" providerId="ADAL" clId="{93760D53-13C1-4B8B-92CA-E799D7E24E59}" dt="2024-03-04T10:07:18.977" v="2281" actId="20577"/>
          <ac:spMkLst>
            <pc:docMk/>
            <pc:sldMk cId="2630099657" sldId="933"/>
            <ac:spMk id="16" creationId="{30819613-CE74-49B6-0807-44FDBB81D466}"/>
          </ac:spMkLst>
        </pc:spChg>
        <pc:spChg chg="mod">
          <ac:chgData name="Sindija Kirsteine (LV)" userId="5f25501a-2215-4bb3-9d9c-8d1484ffa7c1" providerId="ADAL" clId="{93760D53-13C1-4B8B-92CA-E799D7E24E59}" dt="2024-03-04T09:05:16.571" v="803" actId="20577"/>
          <ac:spMkLst>
            <pc:docMk/>
            <pc:sldMk cId="2630099657" sldId="933"/>
            <ac:spMk id="18" creationId="{E1D4AC8F-0322-E8A8-E509-5AF71473A8F4}"/>
          </ac:spMkLst>
        </pc:spChg>
        <pc:spChg chg="mod">
          <ac:chgData name="Sindija Kirsteine (LV)" userId="5f25501a-2215-4bb3-9d9c-8d1484ffa7c1" providerId="ADAL" clId="{93760D53-13C1-4B8B-92CA-E799D7E24E59}" dt="2024-03-04T10:07:33.141" v="2296" actId="20577"/>
          <ac:spMkLst>
            <pc:docMk/>
            <pc:sldMk cId="2630099657" sldId="933"/>
            <ac:spMk id="20" creationId="{BCB0856A-D775-E9B2-A22B-A661D9F8D43C}"/>
          </ac:spMkLst>
        </pc:spChg>
        <pc:spChg chg="mod">
          <ac:chgData name="Sindija Kirsteine (LV)" userId="5f25501a-2215-4bb3-9d9c-8d1484ffa7c1" providerId="ADAL" clId="{93760D53-13C1-4B8B-92CA-E799D7E24E59}" dt="2024-03-04T09:05:36.750" v="811" actId="20577"/>
          <ac:spMkLst>
            <pc:docMk/>
            <pc:sldMk cId="2630099657" sldId="933"/>
            <ac:spMk id="22" creationId="{044C1CE5-09D8-63ED-7E23-4A59A70CC41B}"/>
          </ac:spMkLst>
        </pc:spChg>
        <pc:spChg chg="mod">
          <ac:chgData name="Sindija Kirsteine (LV)" userId="5f25501a-2215-4bb3-9d9c-8d1484ffa7c1" providerId="ADAL" clId="{93760D53-13C1-4B8B-92CA-E799D7E24E59}" dt="2024-03-04T09:49:03.785" v="1708"/>
          <ac:spMkLst>
            <pc:docMk/>
            <pc:sldMk cId="2630099657" sldId="933"/>
            <ac:spMk id="23" creationId="{F0F92295-EBAE-39D7-7494-D9035179A285}"/>
          </ac:spMkLst>
        </pc:spChg>
        <pc:spChg chg="mod">
          <ac:chgData name="Sindija Kirsteine (LV)" userId="5f25501a-2215-4bb3-9d9c-8d1484ffa7c1" providerId="ADAL" clId="{93760D53-13C1-4B8B-92CA-E799D7E24E59}" dt="2024-03-04T08:30:38.651" v="4"/>
          <ac:spMkLst>
            <pc:docMk/>
            <pc:sldMk cId="2630099657" sldId="933"/>
            <ac:spMk id="36" creationId="{A8F39C25-781C-A7DA-387A-D92FCABEE1F5}"/>
          </ac:spMkLst>
        </pc:spChg>
        <pc:spChg chg="mod">
          <ac:chgData name="Sindija Kirsteine (LV)" userId="5f25501a-2215-4bb3-9d9c-8d1484ffa7c1" providerId="ADAL" clId="{93760D53-13C1-4B8B-92CA-E799D7E24E59}" dt="2024-03-04T08:30:38.651" v="4"/>
          <ac:spMkLst>
            <pc:docMk/>
            <pc:sldMk cId="2630099657" sldId="933"/>
            <ac:spMk id="37" creationId="{BD11DB78-D65B-9D3C-EED7-1721F1C9BCF6}"/>
          </ac:spMkLst>
        </pc:spChg>
      </pc:sldChg>
      <pc:sldChg chg="modSp mod modNotes">
        <pc:chgData name="Sindija Kirsteine (LV)" userId="5f25501a-2215-4bb3-9d9c-8d1484ffa7c1" providerId="ADAL" clId="{93760D53-13C1-4B8B-92CA-E799D7E24E59}" dt="2024-03-04T10:07:46.757" v="2307" actId="20577"/>
        <pc:sldMkLst>
          <pc:docMk/>
          <pc:sldMk cId="156182905" sldId="934"/>
        </pc:sldMkLst>
        <pc:spChg chg="mod">
          <ac:chgData name="Sindija Kirsteine (LV)" userId="5f25501a-2215-4bb3-9d9c-8d1484ffa7c1" providerId="ADAL" clId="{93760D53-13C1-4B8B-92CA-E799D7E24E59}" dt="2024-03-04T10:07:42.822" v="2302" actId="20577"/>
          <ac:spMkLst>
            <pc:docMk/>
            <pc:sldMk cId="156182905" sldId="934"/>
            <ac:spMk id="16" creationId="{30819613-CE74-49B6-0807-44FDBB81D466}"/>
          </ac:spMkLst>
        </pc:spChg>
        <pc:spChg chg="mod">
          <ac:chgData name="Sindija Kirsteine (LV)" userId="5f25501a-2215-4bb3-9d9c-8d1484ffa7c1" providerId="ADAL" clId="{93760D53-13C1-4B8B-92CA-E799D7E24E59}" dt="2024-03-04T09:11:59.703" v="865" actId="20577"/>
          <ac:spMkLst>
            <pc:docMk/>
            <pc:sldMk cId="156182905" sldId="934"/>
            <ac:spMk id="18" creationId="{E1D4AC8F-0322-E8A8-E509-5AF71473A8F4}"/>
          </ac:spMkLst>
        </pc:spChg>
        <pc:spChg chg="mod">
          <ac:chgData name="Sindija Kirsteine (LV)" userId="5f25501a-2215-4bb3-9d9c-8d1484ffa7c1" providerId="ADAL" clId="{93760D53-13C1-4B8B-92CA-E799D7E24E59}" dt="2024-03-04T10:07:46.757" v="2307" actId="20577"/>
          <ac:spMkLst>
            <pc:docMk/>
            <pc:sldMk cId="156182905" sldId="934"/>
            <ac:spMk id="20" creationId="{BCB0856A-D775-E9B2-A22B-A661D9F8D43C}"/>
          </ac:spMkLst>
        </pc:spChg>
        <pc:spChg chg="mod">
          <ac:chgData name="Sindija Kirsteine (LV)" userId="5f25501a-2215-4bb3-9d9c-8d1484ffa7c1" providerId="ADAL" clId="{93760D53-13C1-4B8B-92CA-E799D7E24E59}" dt="2024-03-04T08:30:38.651" v="4"/>
          <ac:spMkLst>
            <pc:docMk/>
            <pc:sldMk cId="156182905" sldId="934"/>
            <ac:spMk id="22" creationId="{044C1CE5-09D8-63ED-7E23-4A59A70CC41B}"/>
          </ac:spMkLst>
        </pc:spChg>
        <pc:spChg chg="mod">
          <ac:chgData name="Sindija Kirsteine (LV)" userId="5f25501a-2215-4bb3-9d9c-8d1484ffa7c1" providerId="ADAL" clId="{93760D53-13C1-4B8B-92CA-E799D7E24E59}" dt="2024-03-04T09:49:56.713" v="1727"/>
          <ac:spMkLst>
            <pc:docMk/>
            <pc:sldMk cId="156182905" sldId="934"/>
            <ac:spMk id="23" creationId="{F0F92295-EBAE-39D7-7494-D9035179A285}"/>
          </ac:spMkLst>
        </pc:spChg>
      </pc:sldChg>
      <pc:sldChg chg="modSp mod modNotes">
        <pc:chgData name="Sindija Kirsteine (LV)" userId="5f25501a-2215-4bb3-9d9c-8d1484ffa7c1" providerId="ADAL" clId="{93760D53-13C1-4B8B-92CA-E799D7E24E59}" dt="2024-03-04T10:07:59.492" v="2314" actId="20577"/>
        <pc:sldMkLst>
          <pc:docMk/>
          <pc:sldMk cId="2803239078" sldId="935"/>
        </pc:sldMkLst>
        <pc:spChg chg="mod">
          <ac:chgData name="Sindija Kirsteine (LV)" userId="5f25501a-2215-4bb3-9d9c-8d1484ffa7c1" providerId="ADAL" clId="{93760D53-13C1-4B8B-92CA-E799D7E24E59}" dt="2024-03-04T10:07:59.492" v="2314" actId="20577"/>
          <ac:spMkLst>
            <pc:docMk/>
            <pc:sldMk cId="2803239078" sldId="935"/>
            <ac:spMk id="16" creationId="{30819613-CE74-49B6-0807-44FDBB81D466}"/>
          </ac:spMkLst>
        </pc:spChg>
        <pc:spChg chg="mod">
          <ac:chgData name="Sindija Kirsteine (LV)" userId="5f25501a-2215-4bb3-9d9c-8d1484ffa7c1" providerId="ADAL" clId="{93760D53-13C1-4B8B-92CA-E799D7E24E59}" dt="2024-03-04T09:13:22.658" v="899" actId="20577"/>
          <ac:spMkLst>
            <pc:docMk/>
            <pc:sldMk cId="2803239078" sldId="935"/>
            <ac:spMk id="18" creationId="{E1D4AC8F-0322-E8A8-E509-5AF71473A8F4}"/>
          </ac:spMkLst>
        </pc:spChg>
        <pc:spChg chg="mod">
          <ac:chgData name="Sindija Kirsteine (LV)" userId="5f25501a-2215-4bb3-9d9c-8d1484ffa7c1" providerId="ADAL" clId="{93760D53-13C1-4B8B-92CA-E799D7E24E59}" dt="2024-03-04T09:50:15.858" v="1739"/>
          <ac:spMkLst>
            <pc:docMk/>
            <pc:sldMk cId="2803239078" sldId="935"/>
            <ac:spMk id="23" creationId="{F0F92295-EBAE-39D7-7494-D9035179A285}"/>
          </ac:spMkLst>
        </pc:spChg>
      </pc:sldChg>
      <pc:sldChg chg="modSp mod">
        <pc:chgData name="Sindija Kirsteine (LV)" userId="5f25501a-2215-4bb3-9d9c-8d1484ffa7c1" providerId="ADAL" clId="{93760D53-13C1-4B8B-92CA-E799D7E24E59}" dt="2024-03-04T10:08:30.427" v="2333" actId="20577"/>
        <pc:sldMkLst>
          <pc:docMk/>
          <pc:sldMk cId="1939332489" sldId="936"/>
        </pc:sldMkLst>
        <pc:spChg chg="mod">
          <ac:chgData name="Sindija Kirsteine (LV)" userId="5f25501a-2215-4bb3-9d9c-8d1484ffa7c1" providerId="ADAL" clId="{93760D53-13C1-4B8B-92CA-E799D7E24E59}" dt="2024-03-04T08:30:38.651" v="4"/>
          <ac:spMkLst>
            <pc:docMk/>
            <pc:sldMk cId="1939332489" sldId="936"/>
            <ac:spMk id="3" creationId="{F4CCF02E-F3C4-C376-8F56-61BD85A2E74B}"/>
          </ac:spMkLst>
        </pc:spChg>
        <pc:spChg chg="mod">
          <ac:chgData name="Sindija Kirsteine (LV)" userId="5f25501a-2215-4bb3-9d9c-8d1484ffa7c1" providerId="ADAL" clId="{93760D53-13C1-4B8B-92CA-E799D7E24E59}" dt="2024-03-04T10:08:30.427" v="2333" actId="20577"/>
          <ac:spMkLst>
            <pc:docMk/>
            <pc:sldMk cId="1939332489" sldId="936"/>
            <ac:spMk id="11" creationId="{ECEF24F5-E26D-2531-E4A1-337E326AC9CB}"/>
          </ac:spMkLst>
        </pc:spChg>
        <pc:spChg chg="mod">
          <ac:chgData name="Sindija Kirsteine (LV)" userId="5f25501a-2215-4bb3-9d9c-8d1484ffa7c1" providerId="ADAL" clId="{93760D53-13C1-4B8B-92CA-E799D7E24E59}" dt="2024-03-04T09:16:05.580" v="978" actId="20577"/>
          <ac:spMkLst>
            <pc:docMk/>
            <pc:sldMk cId="1939332489" sldId="936"/>
            <ac:spMk id="16" creationId="{25A25F16-3DF9-5BEF-8F70-42FAB50A6BCE}"/>
          </ac:spMkLst>
        </pc:spChg>
      </pc:sldChg>
      <pc:sldChg chg="modSp mod">
        <pc:chgData name="Sindija Kirsteine (LV)" userId="5f25501a-2215-4bb3-9d9c-8d1484ffa7c1" providerId="ADAL" clId="{93760D53-13C1-4B8B-92CA-E799D7E24E59}" dt="2024-03-04T10:08:10.274" v="2320" actId="20577"/>
        <pc:sldMkLst>
          <pc:docMk/>
          <pc:sldMk cId="1263375755" sldId="937"/>
        </pc:sldMkLst>
        <pc:spChg chg="mod">
          <ac:chgData name="Sindija Kirsteine (LV)" userId="5f25501a-2215-4bb3-9d9c-8d1484ffa7c1" providerId="ADAL" clId="{93760D53-13C1-4B8B-92CA-E799D7E24E59}" dt="2024-03-04T08:30:38.651" v="4"/>
          <ac:spMkLst>
            <pc:docMk/>
            <pc:sldMk cId="1263375755" sldId="937"/>
            <ac:spMk id="3" creationId="{F4CCF02E-F3C4-C376-8F56-61BD85A2E74B}"/>
          </ac:spMkLst>
        </pc:spChg>
        <pc:spChg chg="mod">
          <ac:chgData name="Sindija Kirsteine (LV)" userId="5f25501a-2215-4bb3-9d9c-8d1484ffa7c1" providerId="ADAL" clId="{93760D53-13C1-4B8B-92CA-E799D7E24E59}" dt="2024-03-04T10:08:10.274" v="2320" actId="20577"/>
          <ac:spMkLst>
            <pc:docMk/>
            <pc:sldMk cId="1263375755" sldId="937"/>
            <ac:spMk id="11" creationId="{ECEF24F5-E26D-2531-E4A1-337E326AC9CB}"/>
          </ac:spMkLst>
        </pc:spChg>
        <pc:spChg chg="mod">
          <ac:chgData name="Sindija Kirsteine (LV)" userId="5f25501a-2215-4bb3-9d9c-8d1484ffa7c1" providerId="ADAL" clId="{93760D53-13C1-4B8B-92CA-E799D7E24E59}" dt="2024-03-04T09:15:02.338" v="928" actId="20577"/>
          <ac:spMkLst>
            <pc:docMk/>
            <pc:sldMk cId="1263375755" sldId="937"/>
            <ac:spMk id="16" creationId="{25A25F16-3DF9-5BEF-8F70-42FAB50A6BCE}"/>
          </ac:spMkLst>
        </pc:spChg>
      </pc:sldChg>
      <pc:sldChg chg="modSp mod">
        <pc:chgData name="Sindija Kirsteine (LV)" userId="5f25501a-2215-4bb3-9d9c-8d1484ffa7c1" providerId="ADAL" clId="{93760D53-13C1-4B8B-92CA-E799D7E24E59}" dt="2024-03-04T10:08:53.203" v="2348" actId="20577"/>
        <pc:sldMkLst>
          <pc:docMk/>
          <pc:sldMk cId="2976985460" sldId="938"/>
        </pc:sldMkLst>
        <pc:spChg chg="mod">
          <ac:chgData name="Sindija Kirsteine (LV)" userId="5f25501a-2215-4bb3-9d9c-8d1484ffa7c1" providerId="ADAL" clId="{93760D53-13C1-4B8B-92CA-E799D7E24E59}" dt="2024-03-04T08:30:38.651" v="4"/>
          <ac:spMkLst>
            <pc:docMk/>
            <pc:sldMk cId="2976985460" sldId="938"/>
            <ac:spMk id="3" creationId="{F4CCF02E-F3C4-C376-8F56-61BD85A2E74B}"/>
          </ac:spMkLst>
        </pc:spChg>
        <pc:spChg chg="mod">
          <ac:chgData name="Sindija Kirsteine (LV)" userId="5f25501a-2215-4bb3-9d9c-8d1484ffa7c1" providerId="ADAL" clId="{93760D53-13C1-4B8B-92CA-E799D7E24E59}" dt="2024-03-04T10:08:53.203" v="2348" actId="20577"/>
          <ac:spMkLst>
            <pc:docMk/>
            <pc:sldMk cId="2976985460" sldId="938"/>
            <ac:spMk id="11" creationId="{ECEF24F5-E26D-2531-E4A1-337E326AC9CB}"/>
          </ac:spMkLst>
        </pc:spChg>
        <pc:spChg chg="mod">
          <ac:chgData name="Sindija Kirsteine (LV)" userId="5f25501a-2215-4bb3-9d9c-8d1484ffa7c1" providerId="ADAL" clId="{93760D53-13C1-4B8B-92CA-E799D7E24E59}" dt="2024-03-04T09:16:38.219" v="1008" actId="20577"/>
          <ac:spMkLst>
            <pc:docMk/>
            <pc:sldMk cId="2976985460" sldId="938"/>
            <ac:spMk id="16" creationId="{25A25F16-3DF9-5BEF-8F70-42FAB50A6BCE}"/>
          </ac:spMkLst>
        </pc:spChg>
      </pc:sldChg>
      <pc:sldChg chg="modSp mod modCm modNotes">
        <pc:chgData name="Sindija Kirsteine (LV)" userId="5f25501a-2215-4bb3-9d9c-8d1484ffa7c1" providerId="ADAL" clId="{93760D53-13C1-4B8B-92CA-E799D7E24E59}" dt="2024-03-04T10:09:01.290" v="2355" actId="20577"/>
        <pc:sldMkLst>
          <pc:docMk/>
          <pc:sldMk cId="558100583" sldId="939"/>
        </pc:sldMkLst>
        <pc:spChg chg="mod">
          <ac:chgData name="Sindija Kirsteine (LV)" userId="5f25501a-2215-4bb3-9d9c-8d1484ffa7c1" providerId="ADAL" clId="{93760D53-13C1-4B8B-92CA-E799D7E24E59}" dt="2024-03-04T10:08:57.859" v="2352" actId="20577"/>
          <ac:spMkLst>
            <pc:docMk/>
            <pc:sldMk cId="558100583" sldId="939"/>
            <ac:spMk id="16" creationId="{30819613-CE74-49B6-0807-44FDBB81D466}"/>
          </ac:spMkLst>
        </pc:spChg>
        <pc:spChg chg="mod">
          <ac:chgData name="Sindija Kirsteine (LV)" userId="5f25501a-2215-4bb3-9d9c-8d1484ffa7c1" providerId="ADAL" clId="{93760D53-13C1-4B8B-92CA-E799D7E24E59}" dt="2024-03-04T09:17:44.171" v="1046" actId="20577"/>
          <ac:spMkLst>
            <pc:docMk/>
            <pc:sldMk cId="558100583" sldId="939"/>
            <ac:spMk id="18" creationId="{E1D4AC8F-0322-E8A8-E509-5AF71473A8F4}"/>
          </ac:spMkLst>
        </pc:spChg>
        <pc:spChg chg="mod">
          <ac:chgData name="Sindija Kirsteine (LV)" userId="5f25501a-2215-4bb3-9d9c-8d1484ffa7c1" providerId="ADAL" clId="{93760D53-13C1-4B8B-92CA-E799D7E24E59}" dt="2024-03-04T10:09:01.290" v="2355" actId="20577"/>
          <ac:spMkLst>
            <pc:docMk/>
            <pc:sldMk cId="558100583" sldId="939"/>
            <ac:spMk id="20" creationId="{BCB0856A-D775-E9B2-A22B-A661D9F8D43C}"/>
          </ac:spMkLst>
        </pc:spChg>
        <pc:spChg chg="mod">
          <ac:chgData name="Sindija Kirsteine (LV)" userId="5f25501a-2215-4bb3-9d9c-8d1484ffa7c1" providerId="ADAL" clId="{93760D53-13C1-4B8B-92CA-E799D7E24E59}" dt="2024-03-04T09:18:03.672" v="1060" actId="20577"/>
          <ac:spMkLst>
            <pc:docMk/>
            <pc:sldMk cId="558100583" sldId="939"/>
            <ac:spMk id="22" creationId="{044C1CE5-09D8-63ED-7E23-4A59A70CC41B}"/>
          </ac:spMkLst>
        </pc:spChg>
        <pc:spChg chg="mod">
          <ac:chgData name="Sindija Kirsteine (LV)" userId="5f25501a-2215-4bb3-9d9c-8d1484ffa7c1" providerId="ADAL" clId="{93760D53-13C1-4B8B-92CA-E799D7E24E59}" dt="2024-03-04T09:53:58.093" v="1818"/>
          <ac:spMkLst>
            <pc:docMk/>
            <pc:sldMk cId="558100583" sldId="939"/>
            <ac:spMk id="23" creationId="{F0F92295-EBAE-39D7-7494-D9035179A285}"/>
          </ac:spMkLst>
        </pc:spChg>
        <pc:extLst>
          <p:ext xmlns:p="http://schemas.openxmlformats.org/presentationml/2006/main" uri="{D6D511B9-2390-475A-947B-AFAB55BFBCF1}">
            <pc226:cmChg xmlns:pc226="http://schemas.microsoft.com/office/powerpoint/2022/06/main/command" chg="mod">
              <pc226:chgData name="Sindija Kirsteine (LV)" userId="5f25501a-2215-4bb3-9d9c-8d1484ffa7c1" providerId="ADAL" clId="{93760D53-13C1-4B8B-92CA-E799D7E24E59}" dt="2024-03-04T10:08:57.859" v="2352" actId="20577"/>
              <pc2:cmMkLst xmlns:pc2="http://schemas.microsoft.com/office/powerpoint/2019/9/main/command">
                <pc:docMk/>
                <pc:sldMk cId="558100583" sldId="939"/>
                <pc2:cmMk id="{B1F41855-E807-4805-BAAB-9374EF31217B}"/>
              </pc2:cmMkLst>
            </pc226:cmChg>
          </p:ext>
        </pc:extLst>
      </pc:sldChg>
      <pc:sldChg chg="modSp mod modCm modNotes">
        <pc:chgData name="Sindija Kirsteine (LV)" userId="5f25501a-2215-4bb3-9d9c-8d1484ffa7c1" providerId="ADAL" clId="{93760D53-13C1-4B8B-92CA-E799D7E24E59}" dt="2024-03-04T10:09:29.199" v="2360" actId="948"/>
        <pc:sldMkLst>
          <pc:docMk/>
          <pc:sldMk cId="2169785454" sldId="940"/>
        </pc:sldMkLst>
        <pc:spChg chg="mod">
          <ac:chgData name="Sindija Kirsteine (LV)" userId="5f25501a-2215-4bb3-9d9c-8d1484ffa7c1" providerId="ADAL" clId="{93760D53-13C1-4B8B-92CA-E799D7E24E59}" dt="2024-03-04T10:09:29.199" v="2360" actId="948"/>
          <ac:spMkLst>
            <pc:docMk/>
            <pc:sldMk cId="2169785454" sldId="940"/>
            <ac:spMk id="16" creationId="{30819613-CE74-49B6-0807-44FDBB81D466}"/>
          </ac:spMkLst>
        </pc:spChg>
        <pc:spChg chg="mod">
          <ac:chgData name="Sindija Kirsteine (LV)" userId="5f25501a-2215-4bb3-9d9c-8d1484ffa7c1" providerId="ADAL" clId="{93760D53-13C1-4B8B-92CA-E799D7E24E59}" dt="2024-03-04T09:56:42.280" v="2033"/>
          <ac:spMkLst>
            <pc:docMk/>
            <pc:sldMk cId="2169785454" sldId="940"/>
            <ac:spMk id="23" creationId="{F0F92295-EBAE-39D7-7494-D9035179A285}"/>
          </ac:spMkLst>
        </pc:spChg>
        <pc:extLst>
          <p:ext xmlns:p="http://schemas.openxmlformats.org/presentationml/2006/main" uri="{D6D511B9-2390-475A-947B-AFAB55BFBCF1}">
            <pc226:cmChg xmlns:pc226="http://schemas.microsoft.com/office/powerpoint/2022/06/main/command" chg="mod">
              <pc226:chgData name="Sindija Kirsteine (LV)" userId="5f25501a-2215-4bb3-9d9c-8d1484ffa7c1" providerId="ADAL" clId="{93760D53-13C1-4B8B-92CA-E799D7E24E59}" dt="2024-03-04T10:00:10.126" v="2127" actId="20577"/>
              <pc2:cmMkLst xmlns:pc2="http://schemas.microsoft.com/office/powerpoint/2019/9/main/command">
                <pc:docMk/>
                <pc:sldMk cId="2169785454" sldId="940"/>
                <pc2:cmMk id="{3A4D3BAF-8104-4495-8DE3-4015667E4BE1}"/>
              </pc2:cmMkLst>
            </pc226:cmChg>
          </p:ext>
        </pc:extLst>
      </pc:sldChg>
      <pc:sldChg chg="modSp mod modNotes">
        <pc:chgData name="Sindija Kirsteine (LV)" userId="5f25501a-2215-4bb3-9d9c-8d1484ffa7c1" providerId="ADAL" clId="{93760D53-13C1-4B8B-92CA-E799D7E24E59}" dt="2024-03-04T10:09:40.797" v="2362" actId="948"/>
        <pc:sldMkLst>
          <pc:docMk/>
          <pc:sldMk cId="4229434319" sldId="941"/>
        </pc:sldMkLst>
        <pc:spChg chg="mod">
          <ac:chgData name="Sindija Kirsteine (LV)" userId="5f25501a-2215-4bb3-9d9c-8d1484ffa7c1" providerId="ADAL" clId="{93760D53-13C1-4B8B-92CA-E799D7E24E59}" dt="2024-03-04T10:09:40.797" v="2362" actId="948"/>
          <ac:spMkLst>
            <pc:docMk/>
            <pc:sldMk cId="4229434319" sldId="941"/>
            <ac:spMk id="16" creationId="{30819613-CE74-49B6-0807-44FDBB81D466}"/>
          </ac:spMkLst>
        </pc:spChg>
        <pc:spChg chg="mod">
          <ac:chgData name="Sindija Kirsteine (LV)" userId="5f25501a-2215-4bb3-9d9c-8d1484ffa7c1" providerId="ADAL" clId="{93760D53-13C1-4B8B-92CA-E799D7E24E59}" dt="2024-03-04T09:20:22.923" v="1111" actId="20577"/>
          <ac:spMkLst>
            <pc:docMk/>
            <pc:sldMk cId="4229434319" sldId="941"/>
            <ac:spMk id="18" creationId="{E1D4AC8F-0322-E8A8-E509-5AF71473A8F4}"/>
          </ac:spMkLst>
        </pc:spChg>
        <pc:spChg chg="mod">
          <ac:chgData name="Sindija Kirsteine (LV)" userId="5f25501a-2215-4bb3-9d9c-8d1484ffa7c1" providerId="ADAL" clId="{93760D53-13C1-4B8B-92CA-E799D7E24E59}" dt="2024-03-04T10:00:16.567" v="2129"/>
          <ac:spMkLst>
            <pc:docMk/>
            <pc:sldMk cId="4229434319" sldId="941"/>
            <ac:spMk id="23" creationId="{F0F92295-EBAE-39D7-7494-D9035179A285}"/>
          </ac:spMkLst>
        </pc:spChg>
      </pc:sldChg>
      <pc:sldChg chg="modSp mod modNotes">
        <pc:chgData name="Sindija Kirsteine (LV)" userId="5f25501a-2215-4bb3-9d9c-8d1484ffa7c1" providerId="ADAL" clId="{93760D53-13C1-4B8B-92CA-E799D7E24E59}" dt="2024-03-04T10:00:47.596" v="2133" actId="20577"/>
        <pc:sldMkLst>
          <pc:docMk/>
          <pc:sldMk cId="3615584869" sldId="942"/>
        </pc:sldMkLst>
        <pc:spChg chg="mod">
          <ac:chgData name="Sindija Kirsteine (LV)" userId="5f25501a-2215-4bb3-9d9c-8d1484ffa7c1" providerId="ADAL" clId="{93760D53-13C1-4B8B-92CA-E799D7E24E59}" dt="2024-03-04T09:21:05.228" v="1134" actId="20577"/>
          <ac:spMkLst>
            <pc:docMk/>
            <pc:sldMk cId="3615584869" sldId="942"/>
            <ac:spMk id="8" creationId="{DE394745-7D20-7CFE-FA0E-311E6546C320}"/>
          </ac:spMkLst>
        </pc:spChg>
        <pc:spChg chg="mod">
          <ac:chgData name="Sindija Kirsteine (LV)" userId="5f25501a-2215-4bb3-9d9c-8d1484ffa7c1" providerId="ADAL" clId="{93760D53-13C1-4B8B-92CA-E799D7E24E59}" dt="2024-03-04T09:21:25.791" v="1153" actId="20577"/>
          <ac:spMkLst>
            <pc:docMk/>
            <pc:sldMk cId="3615584869" sldId="942"/>
            <ac:spMk id="10" creationId="{CEB10E6B-E2C2-E173-D397-F7696E76B2B3}"/>
          </ac:spMkLst>
        </pc:spChg>
        <pc:spChg chg="mod">
          <ac:chgData name="Sindija Kirsteine (LV)" userId="5f25501a-2215-4bb3-9d9c-8d1484ffa7c1" providerId="ADAL" clId="{93760D53-13C1-4B8B-92CA-E799D7E24E59}" dt="2024-03-04T09:21:14.531" v="1140" actId="20577"/>
          <ac:spMkLst>
            <pc:docMk/>
            <pc:sldMk cId="3615584869" sldId="942"/>
            <ac:spMk id="14" creationId="{259DB89D-0663-813E-2C04-0B4D674C635D}"/>
          </ac:spMkLst>
        </pc:spChg>
        <pc:spChg chg="mod">
          <ac:chgData name="Sindija Kirsteine (LV)" userId="5f25501a-2215-4bb3-9d9c-8d1484ffa7c1" providerId="ADAL" clId="{93760D53-13C1-4B8B-92CA-E799D7E24E59}" dt="2024-03-04T09:21:34.048" v="1161" actId="20577"/>
          <ac:spMkLst>
            <pc:docMk/>
            <pc:sldMk cId="3615584869" sldId="942"/>
            <ac:spMk id="15" creationId="{CD0345AC-E5CC-E9A5-9519-EA39D36AEABB}"/>
          </ac:spMkLst>
        </pc:spChg>
        <pc:spChg chg="mod">
          <ac:chgData name="Sindija Kirsteine (LV)" userId="5f25501a-2215-4bb3-9d9c-8d1484ffa7c1" providerId="ADAL" clId="{93760D53-13C1-4B8B-92CA-E799D7E24E59}" dt="2024-03-04T10:00:47.596" v="2133" actId="20577"/>
          <ac:spMkLst>
            <pc:docMk/>
            <pc:sldMk cId="3615584869" sldId="942"/>
            <ac:spMk id="16" creationId="{30819613-CE74-49B6-0807-44FDBB81D466}"/>
          </ac:spMkLst>
        </pc:spChg>
        <pc:spChg chg="mod">
          <ac:chgData name="Sindija Kirsteine (LV)" userId="5f25501a-2215-4bb3-9d9c-8d1484ffa7c1" providerId="ADAL" clId="{93760D53-13C1-4B8B-92CA-E799D7E24E59}" dt="2024-03-04T09:21:19.095" v="1146" actId="20577"/>
          <ac:spMkLst>
            <pc:docMk/>
            <pc:sldMk cId="3615584869" sldId="942"/>
            <ac:spMk id="18" creationId="{E1D4AC8F-0322-E8A8-E509-5AF71473A8F4}"/>
          </ac:spMkLst>
        </pc:spChg>
        <pc:spChg chg="mod">
          <ac:chgData name="Sindija Kirsteine (LV)" userId="5f25501a-2215-4bb3-9d9c-8d1484ffa7c1" providerId="ADAL" clId="{93760D53-13C1-4B8B-92CA-E799D7E24E59}" dt="2024-03-04T10:00:26.339" v="2131"/>
          <ac:spMkLst>
            <pc:docMk/>
            <pc:sldMk cId="3615584869" sldId="942"/>
            <ac:spMk id="23" creationId="{F0F92295-EBAE-39D7-7494-D9035179A285}"/>
          </ac:spMkLst>
        </pc:spChg>
      </pc:sldChg>
      <pc:sldChg chg="modSp mod">
        <pc:chgData name="Sindija Kirsteine (LV)" userId="5f25501a-2215-4bb3-9d9c-8d1484ffa7c1" providerId="ADAL" clId="{93760D53-13C1-4B8B-92CA-E799D7E24E59}" dt="2024-03-04T10:00:57.541" v="2135"/>
        <pc:sldMkLst>
          <pc:docMk/>
          <pc:sldMk cId="256155706" sldId="943"/>
        </pc:sldMkLst>
        <pc:spChg chg="mod">
          <ac:chgData name="Sindija Kirsteine (LV)" userId="5f25501a-2215-4bb3-9d9c-8d1484ffa7c1" providerId="ADAL" clId="{93760D53-13C1-4B8B-92CA-E799D7E24E59}" dt="2024-03-04T08:30:38.651" v="4"/>
          <ac:spMkLst>
            <pc:docMk/>
            <pc:sldMk cId="256155706" sldId="943"/>
            <ac:spMk id="3" creationId="{F4CCF02E-F3C4-C376-8F56-61BD85A2E74B}"/>
          </ac:spMkLst>
        </pc:spChg>
        <pc:spChg chg="mod">
          <ac:chgData name="Sindija Kirsteine (LV)" userId="5f25501a-2215-4bb3-9d9c-8d1484ffa7c1" providerId="ADAL" clId="{93760D53-13C1-4B8B-92CA-E799D7E24E59}" dt="2024-03-04T10:00:57.541" v="2135"/>
          <ac:spMkLst>
            <pc:docMk/>
            <pc:sldMk cId="256155706" sldId="943"/>
            <ac:spMk id="6" creationId="{898887DF-9190-F283-B120-8AE08B7645FA}"/>
          </ac:spMkLst>
        </pc:spChg>
        <pc:spChg chg="mod">
          <ac:chgData name="Sindija Kirsteine (LV)" userId="5f25501a-2215-4bb3-9d9c-8d1484ffa7c1" providerId="ADAL" clId="{93760D53-13C1-4B8B-92CA-E799D7E24E59}" dt="2024-03-04T09:21:52.431" v="1177" actId="20577"/>
          <ac:spMkLst>
            <pc:docMk/>
            <pc:sldMk cId="256155706" sldId="943"/>
            <ac:spMk id="8" creationId="{8F84A1C1-A3B2-78F7-2F05-EA937E442831}"/>
          </ac:spMkLst>
        </pc:spChg>
        <pc:spChg chg="mod">
          <ac:chgData name="Sindija Kirsteine (LV)" userId="5f25501a-2215-4bb3-9d9c-8d1484ffa7c1" providerId="ADAL" clId="{93760D53-13C1-4B8B-92CA-E799D7E24E59}" dt="2024-03-04T09:22:08.568" v="1189" actId="20577"/>
          <ac:spMkLst>
            <pc:docMk/>
            <pc:sldMk cId="256155706" sldId="943"/>
            <ac:spMk id="25" creationId="{2B261BF4-92C6-462D-AA95-793AE54DD688}"/>
          </ac:spMkLst>
        </pc:spChg>
      </pc:sldChg>
      <pc:sldChg chg="modSp mod">
        <pc:chgData name="Sindija Kirsteine (LV)" userId="5f25501a-2215-4bb3-9d9c-8d1484ffa7c1" providerId="ADAL" clId="{93760D53-13C1-4B8B-92CA-E799D7E24E59}" dt="2024-03-04T10:01:27.521" v="2145" actId="20577"/>
        <pc:sldMkLst>
          <pc:docMk/>
          <pc:sldMk cId="2143110826" sldId="944"/>
        </pc:sldMkLst>
        <pc:spChg chg="mod">
          <ac:chgData name="Sindija Kirsteine (LV)" userId="5f25501a-2215-4bb3-9d9c-8d1484ffa7c1" providerId="ADAL" clId="{93760D53-13C1-4B8B-92CA-E799D7E24E59}" dt="2024-03-04T08:30:38.651" v="4"/>
          <ac:spMkLst>
            <pc:docMk/>
            <pc:sldMk cId="2143110826" sldId="944"/>
            <ac:spMk id="3" creationId="{F4CCF02E-F3C4-C376-8F56-61BD85A2E74B}"/>
          </ac:spMkLst>
        </pc:spChg>
        <pc:spChg chg="mod">
          <ac:chgData name="Sindija Kirsteine (LV)" userId="5f25501a-2215-4bb3-9d9c-8d1484ffa7c1" providerId="ADAL" clId="{93760D53-13C1-4B8B-92CA-E799D7E24E59}" dt="2024-03-04T10:01:19.085" v="2139"/>
          <ac:spMkLst>
            <pc:docMk/>
            <pc:sldMk cId="2143110826" sldId="944"/>
            <ac:spMk id="6" creationId="{F5AA410E-3357-BB30-92B8-F2EA09E4E394}"/>
          </ac:spMkLst>
        </pc:spChg>
        <pc:spChg chg="mod">
          <ac:chgData name="Sindija Kirsteine (LV)" userId="5f25501a-2215-4bb3-9d9c-8d1484ffa7c1" providerId="ADAL" clId="{93760D53-13C1-4B8B-92CA-E799D7E24E59}" dt="2024-03-04T10:01:27.521" v="2145" actId="20577"/>
          <ac:spMkLst>
            <pc:docMk/>
            <pc:sldMk cId="2143110826" sldId="944"/>
            <ac:spMk id="8" creationId="{8F84A1C1-A3B2-78F7-2F05-EA937E442831}"/>
          </ac:spMkLst>
        </pc:spChg>
        <pc:spChg chg="mod">
          <ac:chgData name="Sindija Kirsteine (LV)" userId="5f25501a-2215-4bb3-9d9c-8d1484ffa7c1" providerId="ADAL" clId="{93760D53-13C1-4B8B-92CA-E799D7E24E59}" dt="2024-03-04T09:32:31.803" v="1297" actId="122"/>
          <ac:spMkLst>
            <pc:docMk/>
            <pc:sldMk cId="2143110826" sldId="944"/>
            <ac:spMk id="10" creationId="{6F55AA3F-6103-110B-C367-10711AC49356}"/>
          </ac:spMkLst>
        </pc:spChg>
        <pc:spChg chg="mod">
          <ac:chgData name="Sindija Kirsteine (LV)" userId="5f25501a-2215-4bb3-9d9c-8d1484ffa7c1" providerId="ADAL" clId="{93760D53-13C1-4B8B-92CA-E799D7E24E59}" dt="2024-03-04T08:30:38.651" v="4"/>
          <ac:spMkLst>
            <pc:docMk/>
            <pc:sldMk cId="2143110826" sldId="944"/>
            <ac:spMk id="19" creationId="{6540A5E1-A41A-D662-410E-E26837FEC171}"/>
          </ac:spMkLst>
        </pc:spChg>
        <pc:spChg chg="mod">
          <ac:chgData name="Sindija Kirsteine (LV)" userId="5f25501a-2215-4bb3-9d9c-8d1484ffa7c1" providerId="ADAL" clId="{93760D53-13C1-4B8B-92CA-E799D7E24E59}" dt="2024-03-04T09:23:30.351" v="1247" actId="20577"/>
          <ac:spMkLst>
            <pc:docMk/>
            <pc:sldMk cId="2143110826" sldId="944"/>
            <ac:spMk id="25" creationId="{2B261BF4-92C6-462D-AA95-793AE54DD688}"/>
          </ac:spMkLst>
        </pc:spChg>
      </pc:sldChg>
      <pc:sldChg chg="modSp mod">
        <pc:chgData name="Sindija Kirsteine (LV)" userId="5f25501a-2215-4bb3-9d9c-8d1484ffa7c1" providerId="ADAL" clId="{93760D53-13C1-4B8B-92CA-E799D7E24E59}" dt="2024-03-04T10:01:41.442" v="2151" actId="20577"/>
        <pc:sldMkLst>
          <pc:docMk/>
          <pc:sldMk cId="2603595337" sldId="945"/>
        </pc:sldMkLst>
        <pc:spChg chg="mod">
          <ac:chgData name="Sindija Kirsteine (LV)" userId="5f25501a-2215-4bb3-9d9c-8d1484ffa7c1" providerId="ADAL" clId="{93760D53-13C1-4B8B-92CA-E799D7E24E59}" dt="2024-03-04T08:30:38.651" v="4"/>
          <ac:spMkLst>
            <pc:docMk/>
            <pc:sldMk cId="2603595337" sldId="945"/>
            <ac:spMk id="3" creationId="{F4CCF02E-F3C4-C376-8F56-61BD85A2E74B}"/>
          </ac:spMkLst>
        </pc:spChg>
        <pc:spChg chg="mod">
          <ac:chgData name="Sindija Kirsteine (LV)" userId="5f25501a-2215-4bb3-9d9c-8d1484ffa7c1" providerId="ADAL" clId="{93760D53-13C1-4B8B-92CA-E799D7E24E59}" dt="2024-03-04T10:01:33.907" v="2147"/>
          <ac:spMkLst>
            <pc:docMk/>
            <pc:sldMk cId="2603595337" sldId="945"/>
            <ac:spMk id="5" creationId="{947D8C6D-59FC-B70D-62E8-4E05ED8582AC}"/>
          </ac:spMkLst>
        </pc:spChg>
        <pc:spChg chg="mod">
          <ac:chgData name="Sindija Kirsteine (LV)" userId="5f25501a-2215-4bb3-9d9c-8d1484ffa7c1" providerId="ADAL" clId="{93760D53-13C1-4B8B-92CA-E799D7E24E59}" dt="2024-03-04T10:01:41.442" v="2151" actId="20577"/>
          <ac:spMkLst>
            <pc:docMk/>
            <pc:sldMk cId="2603595337" sldId="945"/>
            <ac:spMk id="8" creationId="{8F84A1C1-A3B2-78F7-2F05-EA937E442831}"/>
          </ac:spMkLst>
        </pc:spChg>
        <pc:spChg chg="mod">
          <ac:chgData name="Sindija Kirsteine (LV)" userId="5f25501a-2215-4bb3-9d9c-8d1484ffa7c1" providerId="ADAL" clId="{93760D53-13C1-4B8B-92CA-E799D7E24E59}" dt="2024-03-04T08:30:38.651" v="4"/>
          <ac:spMkLst>
            <pc:docMk/>
            <pc:sldMk cId="2603595337" sldId="945"/>
            <ac:spMk id="19" creationId="{6540A5E1-A41A-D662-410E-E26837FEC171}"/>
          </ac:spMkLst>
        </pc:spChg>
        <pc:spChg chg="mod">
          <ac:chgData name="Sindija Kirsteine (LV)" userId="5f25501a-2215-4bb3-9d9c-8d1484ffa7c1" providerId="ADAL" clId="{93760D53-13C1-4B8B-92CA-E799D7E24E59}" dt="2024-03-04T09:24:31.382" v="1277" actId="20577"/>
          <ac:spMkLst>
            <pc:docMk/>
            <pc:sldMk cId="2603595337" sldId="945"/>
            <ac:spMk id="25" creationId="{2B261BF4-92C6-462D-AA95-793AE54DD688}"/>
          </ac:spMkLst>
        </pc:spChg>
      </pc:sldChg>
      <pc:sldChg chg="modSp mod modNotes">
        <pc:chgData name="Sindija Kirsteine (LV)" userId="5f25501a-2215-4bb3-9d9c-8d1484ffa7c1" providerId="ADAL" clId="{93760D53-13C1-4B8B-92CA-E799D7E24E59}" dt="2024-03-04T10:01:49.314" v="2153"/>
        <pc:sldMkLst>
          <pc:docMk/>
          <pc:sldMk cId="3488828484" sldId="946"/>
        </pc:sldMkLst>
        <pc:spChg chg="mod">
          <ac:chgData name="Sindija Kirsteine (LV)" userId="5f25501a-2215-4bb3-9d9c-8d1484ffa7c1" providerId="ADAL" clId="{93760D53-13C1-4B8B-92CA-E799D7E24E59}" dt="2024-03-04T09:34:24.134" v="1342" actId="20577"/>
          <ac:spMkLst>
            <pc:docMk/>
            <pc:sldMk cId="3488828484" sldId="946"/>
            <ac:spMk id="25" creationId="{2B261BF4-92C6-462D-AA95-793AE54DD688}"/>
          </ac:spMkLst>
        </pc:spChg>
        <pc:spChg chg="mod">
          <ac:chgData name="Sindija Kirsteine (LV)" userId="5f25501a-2215-4bb3-9d9c-8d1484ffa7c1" providerId="ADAL" clId="{93760D53-13C1-4B8B-92CA-E799D7E24E59}" dt="2024-03-04T10:01:49.314" v="2153"/>
          <ac:spMkLst>
            <pc:docMk/>
            <pc:sldMk cId="3488828484" sldId="946"/>
            <ac:spMk id="57" creationId="{E0007A68-F3EF-5218-37FA-972FF8C8BB56}"/>
          </ac:spMkLst>
        </pc:spChg>
        <pc:spChg chg="mod">
          <ac:chgData name="Sindija Kirsteine (LV)" userId="5f25501a-2215-4bb3-9d9c-8d1484ffa7c1" providerId="ADAL" clId="{93760D53-13C1-4B8B-92CA-E799D7E24E59}" dt="2024-03-04T09:34:08.324" v="1333" actId="20577"/>
          <ac:spMkLst>
            <pc:docMk/>
            <pc:sldMk cId="3488828484" sldId="946"/>
            <ac:spMk id="105" creationId="{C73B42A3-EA68-B90F-A6C9-5F7FF93DD187}"/>
          </ac:spMkLst>
        </pc:spChg>
      </pc:sldChg>
      <pc:sldChg chg="modSp mod modCm">
        <pc:chgData name="Sindija Kirsteine (LV)" userId="5f25501a-2215-4bb3-9d9c-8d1484ffa7c1" providerId="ADAL" clId="{93760D53-13C1-4B8B-92CA-E799D7E24E59}" dt="2024-03-07T21:32:49.472" v="2394" actId="2056"/>
        <pc:sldMkLst>
          <pc:docMk/>
          <pc:sldMk cId="3911462717" sldId="947"/>
        </pc:sldMkLst>
        <pc:spChg chg="mod">
          <ac:chgData name="Sindija Kirsteine (LV)" userId="5f25501a-2215-4bb3-9d9c-8d1484ffa7c1" providerId="ADAL" clId="{93760D53-13C1-4B8B-92CA-E799D7E24E59}" dt="2024-03-04T08:30:38.651" v="4"/>
          <ac:spMkLst>
            <pc:docMk/>
            <pc:sldMk cId="3911462717" sldId="947"/>
            <ac:spMk id="3" creationId="{F4CCF02E-F3C4-C376-8F56-61BD85A2E74B}"/>
          </ac:spMkLst>
        </pc:spChg>
        <pc:spChg chg="mod">
          <ac:chgData name="Sindija Kirsteine (LV)" userId="5f25501a-2215-4bb3-9d9c-8d1484ffa7c1" providerId="ADAL" clId="{93760D53-13C1-4B8B-92CA-E799D7E24E59}" dt="2024-03-04T10:01:05.530" v="2137"/>
          <ac:spMkLst>
            <pc:docMk/>
            <pc:sldMk cId="3911462717" sldId="947"/>
            <ac:spMk id="5" creationId="{B8117B57-8E39-5418-6527-0CB9323D2C76}"/>
          </ac:spMkLst>
        </pc:spChg>
        <pc:spChg chg="mod">
          <ac:chgData name="Sindija Kirsteine (LV)" userId="5f25501a-2215-4bb3-9d9c-8d1484ffa7c1" providerId="ADAL" clId="{93760D53-13C1-4B8B-92CA-E799D7E24E59}" dt="2024-03-04T09:22:31.346" v="1207" actId="20577"/>
          <ac:spMkLst>
            <pc:docMk/>
            <pc:sldMk cId="3911462717" sldId="947"/>
            <ac:spMk id="8" creationId="{8F84A1C1-A3B2-78F7-2F05-EA937E442831}"/>
          </ac:spMkLst>
        </pc:spChg>
        <pc:spChg chg="mod">
          <ac:chgData name="Sindija Kirsteine (LV)" userId="5f25501a-2215-4bb3-9d9c-8d1484ffa7c1" providerId="ADAL" clId="{93760D53-13C1-4B8B-92CA-E799D7E24E59}" dt="2024-03-04T08:30:38.651" v="4"/>
          <ac:spMkLst>
            <pc:docMk/>
            <pc:sldMk cId="3911462717" sldId="947"/>
            <ac:spMk id="19" creationId="{6540A5E1-A41A-D662-410E-E26837FEC171}"/>
          </ac:spMkLst>
        </pc:spChg>
        <pc:spChg chg="mod">
          <ac:chgData name="Sindija Kirsteine (LV)" userId="5f25501a-2215-4bb3-9d9c-8d1484ffa7c1" providerId="ADAL" clId="{93760D53-13C1-4B8B-92CA-E799D7E24E59}" dt="2024-03-04T09:22:53.918" v="1219" actId="20577"/>
          <ac:spMkLst>
            <pc:docMk/>
            <pc:sldMk cId="3911462717" sldId="947"/>
            <ac:spMk id="25" creationId="{2B261BF4-92C6-462D-AA95-793AE54DD688}"/>
          </ac:spMkLst>
        </pc:spChg>
        <pc:extLst>
          <p:ext xmlns:p="http://schemas.openxmlformats.org/presentationml/2006/main" uri="{D6D511B9-2390-475A-947B-AFAB55BFBCF1}">
            <pc226:cmChg xmlns:pc226="http://schemas.microsoft.com/office/powerpoint/2022/06/main/command" chg="mod">
              <pc226:chgData name="Sindija Kirsteine (LV)" userId="5f25501a-2215-4bb3-9d9c-8d1484ffa7c1" providerId="ADAL" clId="{93760D53-13C1-4B8B-92CA-E799D7E24E59}" dt="2024-03-07T21:32:49.472" v="2394" actId="2056"/>
              <pc2:cmMkLst xmlns:pc2="http://schemas.microsoft.com/office/powerpoint/2019/9/main/command">
                <pc:docMk/>
                <pc:sldMk cId="3911462717" sldId="947"/>
                <pc2:cmMk id="{1428E94F-96AA-42F8-9E12-E7A740490D75}"/>
              </pc2:cmMkLst>
            </pc226:cmChg>
          </p:ext>
        </pc:extLst>
      </pc:sldChg>
      <pc:sldChg chg="modSp mod modNotes">
        <pc:chgData name="Sindija Kirsteine (LV)" userId="5f25501a-2215-4bb3-9d9c-8d1484ffa7c1" providerId="ADAL" clId="{93760D53-13C1-4B8B-92CA-E799D7E24E59}" dt="2024-03-04T10:03:31.016" v="2185" actId="20577"/>
        <pc:sldMkLst>
          <pc:docMk/>
          <pc:sldMk cId="2283029669" sldId="948"/>
        </pc:sldMkLst>
        <pc:spChg chg="mod">
          <ac:chgData name="Sindija Kirsteine (LV)" userId="5f25501a-2215-4bb3-9d9c-8d1484ffa7c1" providerId="ADAL" clId="{93760D53-13C1-4B8B-92CA-E799D7E24E59}" dt="2024-03-04T10:03:19.305" v="2178" actId="20577"/>
          <ac:spMkLst>
            <pc:docMk/>
            <pc:sldMk cId="2283029669" sldId="948"/>
            <ac:spMk id="21" creationId="{78DC1799-6B68-492D-BBE0-D7BECB3D58E6}"/>
          </ac:spMkLst>
        </pc:spChg>
        <pc:spChg chg="mod">
          <ac:chgData name="Sindija Kirsteine (LV)" userId="5f25501a-2215-4bb3-9d9c-8d1484ffa7c1" providerId="ADAL" clId="{93760D53-13C1-4B8B-92CA-E799D7E24E59}" dt="2024-03-04T08:43:19.903" v="270" actId="20577"/>
          <ac:spMkLst>
            <pc:docMk/>
            <pc:sldMk cId="2283029669" sldId="948"/>
            <ac:spMk id="25" creationId="{2B261BF4-92C6-462D-AA95-793AE54DD688}"/>
          </ac:spMkLst>
        </pc:spChg>
        <pc:spChg chg="mod">
          <ac:chgData name="Sindija Kirsteine (LV)" userId="5f25501a-2215-4bb3-9d9c-8d1484ffa7c1" providerId="ADAL" clId="{93760D53-13C1-4B8B-92CA-E799D7E24E59}" dt="2024-03-04T10:03:20.528" v="2179" actId="20577"/>
          <ac:spMkLst>
            <pc:docMk/>
            <pc:sldMk cId="2283029669" sldId="948"/>
            <ac:spMk id="100" creationId="{6196419E-02BA-D21D-1546-F1EC7C2A2D38}"/>
          </ac:spMkLst>
        </pc:spChg>
        <pc:spChg chg="mod">
          <ac:chgData name="Sindija Kirsteine (LV)" userId="5f25501a-2215-4bb3-9d9c-8d1484ffa7c1" providerId="ADAL" clId="{93760D53-13C1-4B8B-92CA-E799D7E24E59}" dt="2024-03-04T10:03:24.439" v="2181" actId="20577"/>
          <ac:spMkLst>
            <pc:docMk/>
            <pc:sldMk cId="2283029669" sldId="948"/>
            <ac:spMk id="101" creationId="{9ECA4B5E-E4A7-485E-4742-A7A24FB938CD}"/>
          </ac:spMkLst>
        </pc:spChg>
        <pc:spChg chg="mod">
          <ac:chgData name="Sindija Kirsteine (LV)" userId="5f25501a-2215-4bb3-9d9c-8d1484ffa7c1" providerId="ADAL" clId="{93760D53-13C1-4B8B-92CA-E799D7E24E59}" dt="2024-03-04T10:03:26.355" v="2182" actId="20577"/>
          <ac:spMkLst>
            <pc:docMk/>
            <pc:sldMk cId="2283029669" sldId="948"/>
            <ac:spMk id="102" creationId="{6C2839D0-72C0-7347-1A1F-A4C976165D3B}"/>
          </ac:spMkLst>
        </pc:spChg>
        <pc:spChg chg="mod">
          <ac:chgData name="Sindija Kirsteine (LV)" userId="5f25501a-2215-4bb3-9d9c-8d1484ffa7c1" providerId="ADAL" clId="{93760D53-13C1-4B8B-92CA-E799D7E24E59}" dt="2024-03-04T10:03:29.549" v="2184" actId="20577"/>
          <ac:spMkLst>
            <pc:docMk/>
            <pc:sldMk cId="2283029669" sldId="948"/>
            <ac:spMk id="103" creationId="{20162A1E-1272-A65F-9743-08A1C56CDD8F}"/>
          </ac:spMkLst>
        </pc:spChg>
        <pc:spChg chg="mod">
          <ac:chgData name="Sindija Kirsteine (LV)" userId="5f25501a-2215-4bb3-9d9c-8d1484ffa7c1" providerId="ADAL" clId="{93760D53-13C1-4B8B-92CA-E799D7E24E59}" dt="2024-03-04T10:03:31.016" v="2185" actId="20577"/>
          <ac:spMkLst>
            <pc:docMk/>
            <pc:sldMk cId="2283029669" sldId="948"/>
            <ac:spMk id="104" creationId="{C489AEBB-7FB2-EC1A-2DC3-18B08D331418}"/>
          </ac:spMkLst>
        </pc:spChg>
        <pc:spChg chg="mod">
          <ac:chgData name="Sindija Kirsteine (LV)" userId="5f25501a-2215-4bb3-9d9c-8d1484ffa7c1" providerId="ADAL" clId="{93760D53-13C1-4B8B-92CA-E799D7E24E59}" dt="2024-03-04T10:03:22.779" v="2180" actId="20577"/>
          <ac:spMkLst>
            <pc:docMk/>
            <pc:sldMk cId="2283029669" sldId="948"/>
            <ac:spMk id="107" creationId="{5E4C4BD5-129E-6AAF-672B-2CE5A9EA1809}"/>
          </ac:spMkLst>
        </pc:spChg>
        <pc:spChg chg="mod">
          <ac:chgData name="Sindija Kirsteine (LV)" userId="5f25501a-2215-4bb3-9d9c-8d1484ffa7c1" providerId="ADAL" clId="{93760D53-13C1-4B8B-92CA-E799D7E24E59}" dt="2024-03-04T10:03:27.581" v="2183" actId="20577"/>
          <ac:spMkLst>
            <pc:docMk/>
            <pc:sldMk cId="2283029669" sldId="948"/>
            <ac:spMk id="108" creationId="{374ED229-16EB-16FE-4EEB-6C75D32758A7}"/>
          </ac:spMkLst>
        </pc:spChg>
      </pc:sldChg>
      <pc:sldChg chg="modSp mod modNotes">
        <pc:chgData name="Sindija Kirsteine (LV)" userId="5f25501a-2215-4bb3-9d9c-8d1484ffa7c1" providerId="ADAL" clId="{93760D53-13C1-4B8B-92CA-E799D7E24E59}" dt="2024-03-04T09:35:12.941" v="1379"/>
        <pc:sldMkLst>
          <pc:docMk/>
          <pc:sldMk cId="3348140347" sldId="949"/>
        </pc:sldMkLst>
        <pc:spChg chg="mod">
          <ac:chgData name="Sindija Kirsteine (LV)" userId="5f25501a-2215-4bb3-9d9c-8d1484ffa7c1" providerId="ADAL" clId="{93760D53-13C1-4B8B-92CA-E799D7E24E59}" dt="2024-03-04T09:35:07.047" v="1378" actId="20577"/>
          <ac:spMkLst>
            <pc:docMk/>
            <pc:sldMk cId="3348140347" sldId="949"/>
            <ac:spMk id="25" creationId="{2B261BF4-92C6-462D-AA95-793AE54DD688}"/>
          </ac:spMkLst>
        </pc:spChg>
        <pc:spChg chg="mod">
          <ac:chgData name="Sindija Kirsteine (LV)" userId="5f25501a-2215-4bb3-9d9c-8d1484ffa7c1" providerId="ADAL" clId="{93760D53-13C1-4B8B-92CA-E799D7E24E59}" dt="2024-03-04T08:30:38.651" v="4"/>
          <ac:spMkLst>
            <pc:docMk/>
            <pc:sldMk cId="3348140347" sldId="949"/>
            <ac:spMk id="51" creationId="{AFEB1935-0849-FFDB-14A2-768E555E2F79}"/>
          </ac:spMkLst>
        </pc:spChg>
        <pc:spChg chg="mod">
          <ac:chgData name="Sindija Kirsteine (LV)" userId="5f25501a-2215-4bb3-9d9c-8d1484ffa7c1" providerId="ADAL" clId="{93760D53-13C1-4B8B-92CA-E799D7E24E59}" dt="2024-03-04T09:35:12.941" v="1379"/>
          <ac:spMkLst>
            <pc:docMk/>
            <pc:sldMk cId="3348140347" sldId="949"/>
            <ac:spMk id="57" creationId="{E0007A68-F3EF-5218-37FA-972FF8C8BB56}"/>
          </ac:spMkLst>
        </pc:spChg>
        <pc:spChg chg="mod">
          <ac:chgData name="Sindija Kirsteine (LV)" userId="5f25501a-2215-4bb3-9d9c-8d1484ffa7c1" providerId="ADAL" clId="{93760D53-13C1-4B8B-92CA-E799D7E24E59}" dt="2024-03-04T09:34:57.232" v="1369" actId="20577"/>
          <ac:spMkLst>
            <pc:docMk/>
            <pc:sldMk cId="3348140347" sldId="949"/>
            <ac:spMk id="105" creationId="{C73B42A3-EA68-B90F-A6C9-5F7FF93DD187}"/>
          </ac:spMkLst>
        </pc:spChg>
      </pc:sldChg>
      <pc:sldChg chg="modSp mod modCm modNotes">
        <pc:chgData name="Sindija Kirsteine (LV)" userId="5f25501a-2215-4bb3-9d9c-8d1484ffa7c1" providerId="ADAL" clId="{93760D53-13C1-4B8B-92CA-E799D7E24E59}" dt="2024-03-04T10:02:14.224" v="2158"/>
        <pc:sldMkLst>
          <pc:docMk/>
          <pc:sldMk cId="201777098" sldId="950"/>
        </pc:sldMkLst>
        <pc:spChg chg="mod">
          <ac:chgData name="Sindija Kirsteine (LV)" userId="5f25501a-2215-4bb3-9d9c-8d1484ffa7c1" providerId="ADAL" clId="{93760D53-13C1-4B8B-92CA-E799D7E24E59}" dt="2024-03-04T10:02:14.224" v="2158"/>
          <ac:spMkLst>
            <pc:docMk/>
            <pc:sldMk cId="201777098" sldId="950"/>
            <ac:spMk id="57" creationId="{E0007A68-F3EF-5218-37FA-972FF8C8BB56}"/>
          </ac:spMkLst>
        </pc:spChg>
        <pc:spChg chg="mod">
          <ac:chgData name="Sindija Kirsteine (LV)" userId="5f25501a-2215-4bb3-9d9c-8d1484ffa7c1" providerId="ADAL" clId="{93760D53-13C1-4B8B-92CA-E799D7E24E59}" dt="2024-03-04T08:30:38.651" v="4"/>
          <ac:spMkLst>
            <pc:docMk/>
            <pc:sldMk cId="201777098" sldId="950"/>
            <ac:spMk id="94" creationId="{2945AFC3-C832-6045-1DDE-A189FFBEDD95}"/>
          </ac:spMkLst>
        </pc:spChg>
        <pc:spChg chg="mod">
          <ac:chgData name="Sindija Kirsteine (LV)" userId="5f25501a-2215-4bb3-9d9c-8d1484ffa7c1" providerId="ADAL" clId="{93760D53-13C1-4B8B-92CA-E799D7E24E59}" dt="2024-03-04T09:36:04.970" v="1421" actId="20577"/>
          <ac:spMkLst>
            <pc:docMk/>
            <pc:sldMk cId="201777098" sldId="950"/>
            <ac:spMk id="105" creationId="{C73B42A3-EA68-B90F-A6C9-5F7FF93DD187}"/>
          </ac:spMkLst>
        </pc:spChg>
        <pc:extLst>
          <p:ext xmlns:p="http://schemas.openxmlformats.org/presentationml/2006/main" uri="{D6D511B9-2390-475A-947B-AFAB55BFBCF1}">
            <pc226:cmChg xmlns:pc226="http://schemas.microsoft.com/office/powerpoint/2022/06/main/command" chg="mod">
              <pc226:chgData name="Sindija Kirsteine (LV)" userId="5f25501a-2215-4bb3-9d9c-8d1484ffa7c1" providerId="ADAL" clId="{93760D53-13C1-4B8B-92CA-E799D7E24E59}" dt="2024-03-04T09:36:04.970" v="1421" actId="20577"/>
              <pc2:cmMkLst xmlns:pc2="http://schemas.microsoft.com/office/powerpoint/2019/9/main/command">
                <pc:docMk/>
                <pc:sldMk cId="201777098" sldId="950"/>
                <pc2:cmMk id="{1A5476BB-88AF-4870-A72B-D1F544EA1421}"/>
              </pc2:cmMkLst>
            </pc226:cmChg>
          </p:ext>
        </pc:extLst>
      </pc:sldChg>
      <pc:sldChg chg="addSp delSp modSp mod modCm modNotes">
        <pc:chgData name="Sindija Kirsteine (LV)" userId="5f25501a-2215-4bb3-9d9c-8d1484ffa7c1" providerId="ADAL" clId="{93760D53-13C1-4B8B-92CA-E799D7E24E59}" dt="2024-03-04T10:02:31.108" v="2160"/>
        <pc:sldMkLst>
          <pc:docMk/>
          <pc:sldMk cId="3919877977" sldId="951"/>
        </pc:sldMkLst>
        <pc:spChg chg="add mod">
          <ac:chgData name="Sindija Kirsteine (LV)" userId="5f25501a-2215-4bb3-9d9c-8d1484ffa7c1" providerId="ADAL" clId="{93760D53-13C1-4B8B-92CA-E799D7E24E59}" dt="2024-03-04T09:36:39.371" v="1443"/>
          <ac:spMkLst>
            <pc:docMk/>
            <pc:sldMk cId="3919877977" sldId="951"/>
            <ac:spMk id="5" creationId="{72E4C008-5160-4BC9-7D87-A59459C11EBD}"/>
          </ac:spMkLst>
        </pc:spChg>
        <pc:spChg chg="mod">
          <ac:chgData name="Sindija Kirsteine (LV)" userId="5f25501a-2215-4bb3-9d9c-8d1484ffa7c1" providerId="ADAL" clId="{93760D53-13C1-4B8B-92CA-E799D7E24E59}" dt="2024-03-04T08:30:38.651" v="4"/>
          <ac:spMkLst>
            <pc:docMk/>
            <pc:sldMk cId="3919877977" sldId="951"/>
            <ac:spMk id="51" creationId="{AFEB1935-0849-FFDB-14A2-768E555E2F79}"/>
          </ac:spMkLst>
        </pc:spChg>
        <pc:spChg chg="mod">
          <ac:chgData name="Sindija Kirsteine (LV)" userId="5f25501a-2215-4bb3-9d9c-8d1484ffa7c1" providerId="ADAL" clId="{93760D53-13C1-4B8B-92CA-E799D7E24E59}" dt="2024-03-04T10:02:31.108" v="2160"/>
          <ac:spMkLst>
            <pc:docMk/>
            <pc:sldMk cId="3919877977" sldId="951"/>
            <ac:spMk id="57" creationId="{E0007A68-F3EF-5218-37FA-972FF8C8BB56}"/>
          </ac:spMkLst>
        </pc:spChg>
        <pc:spChg chg="mod">
          <ac:chgData name="Sindija Kirsteine (LV)" userId="5f25501a-2215-4bb3-9d9c-8d1484ffa7c1" providerId="ADAL" clId="{93760D53-13C1-4B8B-92CA-E799D7E24E59}" dt="2024-03-04T08:30:38.651" v="4"/>
          <ac:spMkLst>
            <pc:docMk/>
            <pc:sldMk cId="3919877977" sldId="951"/>
            <ac:spMk id="94" creationId="{2945AFC3-C832-6045-1DDE-A189FFBEDD95}"/>
          </ac:spMkLst>
        </pc:spChg>
        <pc:spChg chg="del mod">
          <ac:chgData name="Sindija Kirsteine (LV)" userId="5f25501a-2215-4bb3-9d9c-8d1484ffa7c1" providerId="ADAL" clId="{93760D53-13C1-4B8B-92CA-E799D7E24E59}" dt="2024-03-04T09:36:32.626" v="1441" actId="478"/>
          <ac:spMkLst>
            <pc:docMk/>
            <pc:sldMk cId="3919877977" sldId="951"/>
            <ac:spMk id="105" creationId="{C73B42A3-EA68-B90F-A6C9-5F7FF93DD187}"/>
          </ac:spMkLst>
        </pc:spChg>
        <pc:extLst>
          <p:ext xmlns:p="http://schemas.openxmlformats.org/presentationml/2006/main" uri="{D6D511B9-2390-475A-947B-AFAB55BFBCF1}">
            <pc226:cmChg xmlns:pc226="http://schemas.microsoft.com/office/powerpoint/2022/06/main/command" chg="mod">
              <pc226:chgData name="Sindija Kirsteine (LV)" userId="5f25501a-2215-4bb3-9d9c-8d1484ffa7c1" providerId="ADAL" clId="{93760D53-13C1-4B8B-92CA-E799D7E24E59}" dt="2024-03-04T09:36:32.674" v="1442" actId="2056"/>
              <pc2:cmMkLst xmlns:pc2="http://schemas.microsoft.com/office/powerpoint/2019/9/main/command">
                <pc:docMk/>
                <pc:sldMk cId="3919877977" sldId="951"/>
                <pc2:cmMk id="{85CB2ACB-F07F-45B5-89ED-DD3C5C9375B3}"/>
              </pc2:cmMkLst>
            </pc226:cmChg>
          </p:ext>
        </pc:extLst>
      </pc:sldChg>
      <pc:sldChg chg="modSp">
        <pc:chgData name="Sindija Kirsteine (LV)" userId="5f25501a-2215-4bb3-9d9c-8d1484ffa7c1" providerId="ADAL" clId="{93760D53-13C1-4B8B-92CA-E799D7E24E59}" dt="2024-03-04T08:30:38.651" v="4"/>
        <pc:sldMkLst>
          <pc:docMk/>
          <pc:sldMk cId="1713450018" sldId="952"/>
        </pc:sldMkLst>
        <pc:spChg chg="mod">
          <ac:chgData name="Sindija Kirsteine (LV)" userId="5f25501a-2215-4bb3-9d9c-8d1484ffa7c1" providerId="ADAL" clId="{93760D53-13C1-4B8B-92CA-E799D7E24E59}" dt="2024-03-04T08:30:38.651" v="4"/>
          <ac:spMkLst>
            <pc:docMk/>
            <pc:sldMk cId="1713450018" sldId="952"/>
            <ac:spMk id="6" creationId="{38CA96A2-A01D-FA94-92E8-A765979AB49D}"/>
          </ac:spMkLst>
        </pc:spChg>
        <pc:spChg chg="mod">
          <ac:chgData name="Sindija Kirsteine (LV)" userId="5f25501a-2215-4bb3-9d9c-8d1484ffa7c1" providerId="ADAL" clId="{93760D53-13C1-4B8B-92CA-E799D7E24E59}" dt="2024-03-04T08:30:38.651" v="4"/>
          <ac:spMkLst>
            <pc:docMk/>
            <pc:sldMk cId="1713450018" sldId="952"/>
            <ac:spMk id="11" creationId="{E0158CBF-80D1-8041-5978-AE6FC3BEB22F}"/>
          </ac:spMkLst>
        </pc:spChg>
        <pc:graphicFrameChg chg="mod">
          <ac:chgData name="Sindija Kirsteine (LV)" userId="5f25501a-2215-4bb3-9d9c-8d1484ffa7c1" providerId="ADAL" clId="{93760D53-13C1-4B8B-92CA-E799D7E24E59}" dt="2024-03-04T08:30:38.651" v="4"/>
          <ac:graphicFrameMkLst>
            <pc:docMk/>
            <pc:sldMk cId="1713450018" sldId="952"/>
            <ac:graphicFrameMk id="10" creationId="{DD430830-1913-0D22-CCB5-64EB0C593545}"/>
          </ac:graphicFrameMkLst>
        </pc:graphicFrameChg>
      </pc:sldChg>
      <pc:sldChg chg="modSp modNotes">
        <pc:chgData name="Sindija Kirsteine (LV)" userId="5f25501a-2215-4bb3-9d9c-8d1484ffa7c1" providerId="ADAL" clId="{93760D53-13C1-4B8B-92CA-E799D7E24E59}" dt="2024-03-04T08:30:38.651" v="4"/>
        <pc:sldMkLst>
          <pc:docMk/>
          <pc:sldMk cId="2937916867" sldId="953"/>
        </pc:sldMkLst>
        <pc:spChg chg="mod">
          <ac:chgData name="Sindija Kirsteine (LV)" userId="5f25501a-2215-4bb3-9d9c-8d1484ffa7c1" providerId="ADAL" clId="{93760D53-13C1-4B8B-92CA-E799D7E24E59}" dt="2024-03-04T08:30:38.651" v="4"/>
          <ac:spMkLst>
            <pc:docMk/>
            <pc:sldMk cId="2937916867" sldId="953"/>
            <ac:spMk id="2" creationId="{00000000-0000-0000-0000-000000000000}"/>
          </ac:spMkLst>
        </pc:spChg>
      </pc:sldChg>
      <pc:sldMasterChg chg="modSldLayout">
        <pc:chgData name="Sindija Kirsteine (LV)" userId="5f25501a-2215-4bb3-9d9c-8d1484ffa7c1" providerId="ADAL" clId="{93760D53-13C1-4B8B-92CA-E799D7E24E59}" dt="2024-03-04T08:30:38.651" v="4"/>
        <pc:sldMasterMkLst>
          <pc:docMk/>
          <pc:sldMasterMk cId="3011101579" sldId="2147483723"/>
        </pc:sldMasterMkLst>
        <pc:sldLayoutChg chg="modSp">
          <pc:chgData name="Sindija Kirsteine (LV)" userId="5f25501a-2215-4bb3-9d9c-8d1484ffa7c1" providerId="ADAL" clId="{93760D53-13C1-4B8B-92CA-E799D7E24E59}" dt="2024-03-04T08:30:38.651" v="4"/>
          <pc:sldLayoutMkLst>
            <pc:docMk/>
            <pc:sldMasterMk cId="3011101579" sldId="2147483723"/>
            <pc:sldLayoutMk cId="3260771726" sldId="2147483724"/>
          </pc:sldLayoutMkLst>
          <pc:spChg chg="mod">
            <ac:chgData name="Sindija Kirsteine (LV)" userId="5f25501a-2215-4bb3-9d9c-8d1484ffa7c1" providerId="ADAL" clId="{93760D53-13C1-4B8B-92CA-E799D7E24E59}" dt="2024-03-04T08:30:38.651" v="4"/>
            <ac:spMkLst>
              <pc:docMk/>
              <pc:sldMasterMk cId="3011101579" sldId="2147483723"/>
              <pc:sldLayoutMk cId="3260771726" sldId="2147483724"/>
              <ac:spMk id="5"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3746488802" sldId="2147483730"/>
          </pc:sldLayoutMkLst>
          <pc:spChg chg="mod">
            <ac:chgData name="Sindija Kirsteine (LV)" userId="5f25501a-2215-4bb3-9d9c-8d1484ffa7c1" providerId="ADAL" clId="{93760D53-13C1-4B8B-92CA-E799D7E24E59}" dt="2024-03-04T08:30:38.651" v="4"/>
            <ac:spMkLst>
              <pc:docMk/>
              <pc:sldMasterMk cId="3011101579" sldId="2147483723"/>
              <pc:sldLayoutMk cId="3746488802" sldId="2147483730"/>
              <ac:spMk id="13"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1291893499" sldId="2147483731"/>
          </pc:sldLayoutMkLst>
          <pc:spChg chg="mod">
            <ac:chgData name="Sindija Kirsteine (LV)" userId="5f25501a-2215-4bb3-9d9c-8d1484ffa7c1" providerId="ADAL" clId="{93760D53-13C1-4B8B-92CA-E799D7E24E59}" dt="2024-03-04T08:30:38.651" v="4"/>
            <ac:spMkLst>
              <pc:docMk/>
              <pc:sldMasterMk cId="3011101579" sldId="2147483723"/>
              <pc:sldLayoutMk cId="1291893499" sldId="2147483731"/>
              <ac:spMk id="13"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2803711686" sldId="2147483732"/>
          </pc:sldLayoutMkLst>
          <pc:spChg chg="mod">
            <ac:chgData name="Sindija Kirsteine (LV)" userId="5f25501a-2215-4bb3-9d9c-8d1484ffa7c1" providerId="ADAL" clId="{93760D53-13C1-4B8B-92CA-E799D7E24E59}" dt="2024-03-04T08:30:38.651" v="4"/>
            <ac:spMkLst>
              <pc:docMk/>
              <pc:sldMasterMk cId="3011101579" sldId="2147483723"/>
              <pc:sldLayoutMk cId="2803711686" sldId="2147483732"/>
              <ac:spMk id="13"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1886173175" sldId="2147483733"/>
          </pc:sldLayoutMkLst>
          <pc:spChg chg="mod">
            <ac:chgData name="Sindija Kirsteine (LV)" userId="5f25501a-2215-4bb3-9d9c-8d1484ffa7c1" providerId="ADAL" clId="{93760D53-13C1-4B8B-92CA-E799D7E24E59}" dt="2024-03-04T08:30:38.651" v="4"/>
            <ac:spMkLst>
              <pc:docMk/>
              <pc:sldMasterMk cId="3011101579" sldId="2147483723"/>
              <pc:sldLayoutMk cId="1886173175" sldId="2147483733"/>
              <ac:spMk id="13"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1974237231" sldId="2147483734"/>
          </pc:sldLayoutMkLst>
          <pc:spChg chg="mod">
            <ac:chgData name="Sindija Kirsteine (LV)" userId="5f25501a-2215-4bb3-9d9c-8d1484ffa7c1" providerId="ADAL" clId="{93760D53-13C1-4B8B-92CA-E799D7E24E59}" dt="2024-03-04T08:30:38.651" v="4"/>
            <ac:spMkLst>
              <pc:docMk/>
              <pc:sldMasterMk cId="3011101579" sldId="2147483723"/>
              <pc:sldLayoutMk cId="1974237231" sldId="2147483734"/>
              <ac:spMk id="13"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695867191" sldId="2147483735"/>
          </pc:sldLayoutMkLst>
          <pc:spChg chg="mod">
            <ac:chgData name="Sindija Kirsteine (LV)" userId="5f25501a-2215-4bb3-9d9c-8d1484ffa7c1" providerId="ADAL" clId="{93760D53-13C1-4B8B-92CA-E799D7E24E59}" dt="2024-03-04T08:30:38.651" v="4"/>
            <ac:spMkLst>
              <pc:docMk/>
              <pc:sldMasterMk cId="3011101579" sldId="2147483723"/>
              <pc:sldLayoutMk cId="695867191" sldId="2147483735"/>
              <ac:spMk id="9" creationId="{86E1CB07-AAEA-314E-A423-4B23728F274D}"/>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1343462460" sldId="2147483736"/>
          </pc:sldLayoutMkLst>
          <pc:spChg chg="mod">
            <ac:chgData name="Sindija Kirsteine (LV)" userId="5f25501a-2215-4bb3-9d9c-8d1484ffa7c1" providerId="ADAL" clId="{93760D53-13C1-4B8B-92CA-E799D7E24E59}" dt="2024-03-04T08:30:38.651" v="4"/>
            <ac:spMkLst>
              <pc:docMk/>
              <pc:sldMasterMk cId="3011101579" sldId="2147483723"/>
              <pc:sldLayoutMk cId="1343462460" sldId="2147483736"/>
              <ac:spMk id="9" creationId="{19130D55-E01B-814B-B368-1A5B9D922495}"/>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3587134479" sldId="2147483737"/>
          </pc:sldLayoutMkLst>
          <pc:spChg chg="mod">
            <ac:chgData name="Sindija Kirsteine (LV)" userId="5f25501a-2215-4bb3-9d9c-8d1484ffa7c1" providerId="ADAL" clId="{93760D53-13C1-4B8B-92CA-E799D7E24E59}" dt="2024-03-04T08:30:38.651" v="4"/>
            <ac:spMkLst>
              <pc:docMk/>
              <pc:sldMasterMk cId="3011101579" sldId="2147483723"/>
              <pc:sldLayoutMk cId="3587134479" sldId="2147483737"/>
              <ac:spMk id="9" creationId="{2504B055-84E9-A34C-9FA5-3A4898E3B2D5}"/>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3395183948" sldId="2147483738"/>
          </pc:sldLayoutMkLst>
          <pc:spChg chg="mod">
            <ac:chgData name="Sindija Kirsteine (LV)" userId="5f25501a-2215-4bb3-9d9c-8d1484ffa7c1" providerId="ADAL" clId="{93760D53-13C1-4B8B-92CA-E799D7E24E59}" dt="2024-03-04T08:30:38.651" v="4"/>
            <ac:spMkLst>
              <pc:docMk/>
              <pc:sldMasterMk cId="3011101579" sldId="2147483723"/>
              <pc:sldLayoutMk cId="3395183948" sldId="2147483738"/>
              <ac:spMk id="9" creationId="{B147A814-53FE-0143-93DA-63021064389A}"/>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1948574040" sldId="2147483739"/>
          </pc:sldLayoutMkLst>
          <pc:spChg chg="mod">
            <ac:chgData name="Sindija Kirsteine (LV)" userId="5f25501a-2215-4bb3-9d9c-8d1484ffa7c1" providerId="ADAL" clId="{93760D53-13C1-4B8B-92CA-E799D7E24E59}" dt="2024-03-04T08:30:38.651" v="4"/>
            <ac:spMkLst>
              <pc:docMk/>
              <pc:sldMasterMk cId="3011101579" sldId="2147483723"/>
              <pc:sldLayoutMk cId="1948574040" sldId="2147483739"/>
              <ac:spMk id="14"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31623870" sldId="2147483745"/>
          </pc:sldLayoutMkLst>
          <pc:spChg chg="mod">
            <ac:chgData name="Sindija Kirsteine (LV)" userId="5f25501a-2215-4bb3-9d9c-8d1484ffa7c1" providerId="ADAL" clId="{93760D53-13C1-4B8B-92CA-E799D7E24E59}" dt="2024-03-04T08:30:38.651" v="4"/>
            <ac:spMkLst>
              <pc:docMk/>
              <pc:sldMasterMk cId="3011101579" sldId="2147483723"/>
              <pc:sldLayoutMk cId="31623870" sldId="2147483745"/>
              <ac:spMk id="9"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2335327034" sldId="2147483749"/>
          </pc:sldLayoutMkLst>
          <pc:spChg chg="mod">
            <ac:chgData name="Sindija Kirsteine (LV)" userId="5f25501a-2215-4bb3-9d9c-8d1484ffa7c1" providerId="ADAL" clId="{93760D53-13C1-4B8B-92CA-E799D7E24E59}" dt="2024-03-04T08:30:38.651" v="4"/>
            <ac:spMkLst>
              <pc:docMk/>
              <pc:sldMasterMk cId="3011101579" sldId="2147483723"/>
              <pc:sldLayoutMk cId="2335327034" sldId="2147483749"/>
              <ac:spMk id="10" creationId="{00000000-0000-0000-0000-000000000000}"/>
            </ac:spMkLst>
          </pc:spChg>
          <pc:spChg chg="mod">
            <ac:chgData name="Sindija Kirsteine (LV)" userId="5f25501a-2215-4bb3-9d9c-8d1484ffa7c1" providerId="ADAL" clId="{93760D53-13C1-4B8B-92CA-E799D7E24E59}" dt="2024-03-04T08:30:38.651" v="4"/>
            <ac:spMkLst>
              <pc:docMk/>
              <pc:sldMasterMk cId="3011101579" sldId="2147483723"/>
              <pc:sldLayoutMk cId="2335327034" sldId="2147483749"/>
              <ac:spMk id="16" creationId="{00000000-0000-0000-0000-000000000000}"/>
            </ac:spMkLst>
          </pc:spChg>
          <pc:spChg chg="mod">
            <ac:chgData name="Sindija Kirsteine (LV)" userId="5f25501a-2215-4bb3-9d9c-8d1484ffa7c1" providerId="ADAL" clId="{93760D53-13C1-4B8B-92CA-E799D7E24E59}" dt="2024-03-04T08:30:38.651" v="4"/>
            <ac:spMkLst>
              <pc:docMk/>
              <pc:sldMasterMk cId="3011101579" sldId="2147483723"/>
              <pc:sldLayoutMk cId="2335327034" sldId="2147483749"/>
              <ac:spMk id="18"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3532200888" sldId="2147483751"/>
          </pc:sldLayoutMkLst>
          <pc:spChg chg="mod">
            <ac:chgData name="Sindija Kirsteine (LV)" userId="5f25501a-2215-4bb3-9d9c-8d1484ffa7c1" providerId="ADAL" clId="{93760D53-13C1-4B8B-92CA-E799D7E24E59}" dt="2024-03-04T08:30:38.651" v="4"/>
            <ac:spMkLst>
              <pc:docMk/>
              <pc:sldMasterMk cId="3011101579" sldId="2147483723"/>
              <pc:sldLayoutMk cId="3532200888" sldId="2147483751"/>
              <ac:spMk id="10" creationId="{00000000-0000-0000-0000-000000000000}"/>
            </ac:spMkLst>
          </pc:spChg>
          <pc:spChg chg="mod">
            <ac:chgData name="Sindija Kirsteine (LV)" userId="5f25501a-2215-4bb3-9d9c-8d1484ffa7c1" providerId="ADAL" clId="{93760D53-13C1-4B8B-92CA-E799D7E24E59}" dt="2024-03-04T08:30:38.651" v="4"/>
            <ac:spMkLst>
              <pc:docMk/>
              <pc:sldMasterMk cId="3011101579" sldId="2147483723"/>
              <pc:sldLayoutMk cId="3532200888" sldId="2147483751"/>
              <ac:spMk id="14" creationId="{00000000-0000-0000-0000-000000000000}"/>
            </ac:spMkLst>
          </pc:spChg>
          <pc:spChg chg="mod">
            <ac:chgData name="Sindija Kirsteine (LV)" userId="5f25501a-2215-4bb3-9d9c-8d1484ffa7c1" providerId="ADAL" clId="{93760D53-13C1-4B8B-92CA-E799D7E24E59}" dt="2024-03-04T08:30:38.651" v="4"/>
            <ac:spMkLst>
              <pc:docMk/>
              <pc:sldMasterMk cId="3011101579" sldId="2147483723"/>
              <pc:sldLayoutMk cId="3532200888" sldId="2147483751"/>
              <ac:spMk id="16" creationId="{00000000-0000-0000-0000-000000000000}"/>
            </ac:spMkLst>
          </pc:spChg>
          <pc:spChg chg="mod">
            <ac:chgData name="Sindija Kirsteine (LV)" userId="5f25501a-2215-4bb3-9d9c-8d1484ffa7c1" providerId="ADAL" clId="{93760D53-13C1-4B8B-92CA-E799D7E24E59}" dt="2024-03-04T08:30:38.651" v="4"/>
            <ac:spMkLst>
              <pc:docMk/>
              <pc:sldMasterMk cId="3011101579" sldId="2147483723"/>
              <pc:sldLayoutMk cId="3532200888" sldId="2147483751"/>
              <ac:spMk id="18"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1556111294" sldId="2147483757"/>
          </pc:sldLayoutMkLst>
          <pc:spChg chg="mod">
            <ac:chgData name="Sindija Kirsteine (LV)" userId="5f25501a-2215-4bb3-9d9c-8d1484ffa7c1" providerId="ADAL" clId="{93760D53-13C1-4B8B-92CA-E799D7E24E59}" dt="2024-03-04T08:30:38.651" v="4"/>
            <ac:spMkLst>
              <pc:docMk/>
              <pc:sldMasterMk cId="3011101579" sldId="2147483723"/>
              <pc:sldLayoutMk cId="1556111294" sldId="2147483757"/>
              <ac:spMk id="9"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1127466074" sldId="2147483761"/>
          </pc:sldLayoutMkLst>
          <pc:spChg chg="mod">
            <ac:chgData name="Sindija Kirsteine (LV)" userId="5f25501a-2215-4bb3-9d9c-8d1484ffa7c1" providerId="ADAL" clId="{93760D53-13C1-4B8B-92CA-E799D7E24E59}" dt="2024-03-04T08:30:38.651" v="4"/>
            <ac:spMkLst>
              <pc:docMk/>
              <pc:sldMasterMk cId="3011101579" sldId="2147483723"/>
              <pc:sldLayoutMk cId="1127466074" sldId="2147483761"/>
              <ac:spMk id="10" creationId="{00000000-0000-0000-0000-000000000000}"/>
            </ac:spMkLst>
          </pc:spChg>
          <pc:spChg chg="mod">
            <ac:chgData name="Sindija Kirsteine (LV)" userId="5f25501a-2215-4bb3-9d9c-8d1484ffa7c1" providerId="ADAL" clId="{93760D53-13C1-4B8B-92CA-E799D7E24E59}" dt="2024-03-04T08:30:38.651" v="4"/>
            <ac:spMkLst>
              <pc:docMk/>
              <pc:sldMasterMk cId="3011101579" sldId="2147483723"/>
              <pc:sldLayoutMk cId="1127466074" sldId="2147483761"/>
              <ac:spMk id="16" creationId="{00000000-0000-0000-0000-000000000000}"/>
            </ac:spMkLst>
          </pc:spChg>
          <pc:spChg chg="mod">
            <ac:chgData name="Sindija Kirsteine (LV)" userId="5f25501a-2215-4bb3-9d9c-8d1484ffa7c1" providerId="ADAL" clId="{93760D53-13C1-4B8B-92CA-E799D7E24E59}" dt="2024-03-04T08:30:38.651" v="4"/>
            <ac:spMkLst>
              <pc:docMk/>
              <pc:sldMasterMk cId="3011101579" sldId="2147483723"/>
              <pc:sldLayoutMk cId="1127466074" sldId="2147483761"/>
              <ac:spMk id="18"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1512142920" sldId="2147483763"/>
          </pc:sldLayoutMkLst>
          <pc:spChg chg="mod">
            <ac:chgData name="Sindija Kirsteine (LV)" userId="5f25501a-2215-4bb3-9d9c-8d1484ffa7c1" providerId="ADAL" clId="{93760D53-13C1-4B8B-92CA-E799D7E24E59}" dt="2024-03-04T08:30:38.651" v="4"/>
            <ac:spMkLst>
              <pc:docMk/>
              <pc:sldMasterMk cId="3011101579" sldId="2147483723"/>
              <pc:sldLayoutMk cId="1512142920" sldId="2147483763"/>
              <ac:spMk id="10" creationId="{00000000-0000-0000-0000-000000000000}"/>
            </ac:spMkLst>
          </pc:spChg>
          <pc:spChg chg="mod">
            <ac:chgData name="Sindija Kirsteine (LV)" userId="5f25501a-2215-4bb3-9d9c-8d1484ffa7c1" providerId="ADAL" clId="{93760D53-13C1-4B8B-92CA-E799D7E24E59}" dt="2024-03-04T08:30:38.651" v="4"/>
            <ac:spMkLst>
              <pc:docMk/>
              <pc:sldMasterMk cId="3011101579" sldId="2147483723"/>
              <pc:sldLayoutMk cId="1512142920" sldId="2147483763"/>
              <ac:spMk id="14" creationId="{00000000-0000-0000-0000-000000000000}"/>
            </ac:spMkLst>
          </pc:spChg>
          <pc:spChg chg="mod">
            <ac:chgData name="Sindija Kirsteine (LV)" userId="5f25501a-2215-4bb3-9d9c-8d1484ffa7c1" providerId="ADAL" clId="{93760D53-13C1-4B8B-92CA-E799D7E24E59}" dt="2024-03-04T08:30:38.651" v="4"/>
            <ac:spMkLst>
              <pc:docMk/>
              <pc:sldMasterMk cId="3011101579" sldId="2147483723"/>
              <pc:sldLayoutMk cId="1512142920" sldId="2147483763"/>
              <ac:spMk id="16" creationId="{00000000-0000-0000-0000-000000000000}"/>
            </ac:spMkLst>
          </pc:spChg>
          <pc:spChg chg="mod">
            <ac:chgData name="Sindija Kirsteine (LV)" userId="5f25501a-2215-4bb3-9d9c-8d1484ffa7c1" providerId="ADAL" clId="{93760D53-13C1-4B8B-92CA-E799D7E24E59}" dt="2024-03-04T08:30:38.651" v="4"/>
            <ac:spMkLst>
              <pc:docMk/>
              <pc:sldMasterMk cId="3011101579" sldId="2147483723"/>
              <pc:sldLayoutMk cId="1512142920" sldId="2147483763"/>
              <ac:spMk id="18"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554471822" sldId="2147483770"/>
          </pc:sldLayoutMkLst>
          <pc:spChg chg="mod">
            <ac:chgData name="Sindija Kirsteine (LV)" userId="5f25501a-2215-4bb3-9d9c-8d1484ffa7c1" providerId="ADAL" clId="{93760D53-13C1-4B8B-92CA-E799D7E24E59}" dt="2024-03-04T08:30:38.651" v="4"/>
            <ac:spMkLst>
              <pc:docMk/>
              <pc:sldMasterMk cId="3011101579" sldId="2147483723"/>
              <pc:sldLayoutMk cId="554471822" sldId="2147483770"/>
              <ac:spMk id="10"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3874301331" sldId="2147483771"/>
          </pc:sldLayoutMkLst>
          <pc:spChg chg="mod">
            <ac:chgData name="Sindija Kirsteine (LV)" userId="5f25501a-2215-4bb3-9d9c-8d1484ffa7c1" providerId="ADAL" clId="{93760D53-13C1-4B8B-92CA-E799D7E24E59}" dt="2024-03-04T08:30:38.651" v="4"/>
            <ac:spMkLst>
              <pc:docMk/>
              <pc:sldMasterMk cId="3011101579" sldId="2147483723"/>
              <pc:sldLayoutMk cId="3874301331" sldId="2147483771"/>
              <ac:spMk id="7"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873285981" sldId="2147483772"/>
          </pc:sldLayoutMkLst>
          <pc:spChg chg="mod">
            <ac:chgData name="Sindija Kirsteine (LV)" userId="5f25501a-2215-4bb3-9d9c-8d1484ffa7c1" providerId="ADAL" clId="{93760D53-13C1-4B8B-92CA-E799D7E24E59}" dt="2024-03-04T08:30:38.651" v="4"/>
            <ac:spMkLst>
              <pc:docMk/>
              <pc:sldMasterMk cId="3011101579" sldId="2147483723"/>
              <pc:sldLayoutMk cId="873285981" sldId="2147483772"/>
              <ac:spMk id="7" creationId="{00000000-0000-0000-0000-000000000000}"/>
            </ac:spMkLst>
          </pc:spChg>
        </pc:sldLayoutChg>
      </pc:sldMasterChg>
    </pc:docChg>
  </pc:docChgLst>
  <pc:docChgLst>
    <pc:chgData name="Annemarija Apine (LV)" userId="546f5c59-3b8d-47fd-b739-a8fadc631053" providerId="ADAL" clId="{34473802-5904-426F-ADDF-0D0D1B44876C}"/>
    <pc:docChg chg="undo redo custSel addSld delSld modSld sldOrd replTag">
      <pc:chgData name="Annemarija Apine (LV)" userId="546f5c59-3b8d-47fd-b739-a8fadc631053" providerId="ADAL" clId="{34473802-5904-426F-ADDF-0D0D1B44876C}" dt="2024-03-11T14:45:56.279" v="10431"/>
      <pc:docMkLst>
        <pc:docMk/>
      </pc:docMkLst>
      <pc:sldChg chg="addSp modSp add mod ord modShow delCm">
        <pc:chgData name="Annemarija Apine (LV)" userId="546f5c59-3b8d-47fd-b739-a8fadc631053" providerId="ADAL" clId="{34473802-5904-426F-ADDF-0D0D1B44876C}" dt="2024-03-08T12:05:02.330" v="9040"/>
        <pc:sldMkLst>
          <pc:docMk/>
          <pc:sldMk cId="0" sldId="258"/>
        </pc:sldMkLst>
        <pc:spChg chg="add mod">
          <ac:chgData name="Annemarija Apine (LV)" userId="546f5c59-3b8d-47fd-b739-a8fadc631053" providerId="ADAL" clId="{34473802-5904-426F-ADDF-0D0D1B44876C}" dt="2024-03-08T11:56:50.044" v="8973" actId="207"/>
          <ac:spMkLst>
            <pc:docMk/>
            <pc:sldMk cId="0" sldId="258"/>
            <ac:spMk id="3" creationId="{DD291347-1263-8A12-F54A-52749B83C743}"/>
          </ac:spMkLst>
        </pc:sp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34473802-5904-426F-ADDF-0D0D1B44876C}" dt="2024-03-08T11:56:33.225" v="8953"/>
              <pc2:cmMkLst xmlns:pc2="http://schemas.microsoft.com/office/powerpoint/2019/9/main/command">
                <pc:docMk/>
                <pc:sldMk cId="0" sldId="258"/>
                <pc2:cmMk id="{B76BBA78-E2A9-4377-9FED-9B912B70E58F}"/>
              </pc2:cmMkLst>
            </pc226:cmChg>
          </p:ext>
        </pc:extLst>
      </pc:sldChg>
      <pc:sldChg chg="mod modShow">
        <pc:chgData name="Annemarija Apine (LV)" userId="546f5c59-3b8d-47fd-b739-a8fadc631053" providerId="ADAL" clId="{34473802-5904-426F-ADDF-0D0D1B44876C}" dt="2024-02-25T22:04:01.375" v="133" actId="729"/>
        <pc:sldMkLst>
          <pc:docMk/>
          <pc:sldMk cId="714588004" sldId="277"/>
        </pc:sldMkLst>
      </pc:sldChg>
      <pc:sldChg chg="mod modShow">
        <pc:chgData name="Annemarija Apine (LV)" userId="546f5c59-3b8d-47fd-b739-a8fadc631053" providerId="ADAL" clId="{34473802-5904-426F-ADDF-0D0D1B44876C}" dt="2024-02-25T22:04:01.375" v="133" actId="729"/>
        <pc:sldMkLst>
          <pc:docMk/>
          <pc:sldMk cId="0" sldId="309"/>
        </pc:sldMkLst>
      </pc:sldChg>
      <pc:sldChg chg="mod modShow">
        <pc:chgData name="Annemarija Apine (LV)" userId="546f5c59-3b8d-47fd-b739-a8fadc631053" providerId="ADAL" clId="{34473802-5904-426F-ADDF-0D0D1B44876C}" dt="2024-02-25T22:04:01.375" v="133" actId="729"/>
        <pc:sldMkLst>
          <pc:docMk/>
          <pc:sldMk cId="0" sldId="310"/>
        </pc:sldMkLst>
      </pc:sldChg>
      <pc:sldChg chg="mod modShow">
        <pc:chgData name="Annemarija Apine (LV)" userId="546f5c59-3b8d-47fd-b739-a8fadc631053" providerId="ADAL" clId="{34473802-5904-426F-ADDF-0D0D1B44876C}" dt="2024-02-25T22:04:01.375" v="133" actId="729"/>
        <pc:sldMkLst>
          <pc:docMk/>
          <pc:sldMk cId="0" sldId="312"/>
        </pc:sldMkLst>
      </pc:sldChg>
      <pc:sldChg chg="mod modShow">
        <pc:chgData name="Annemarija Apine (LV)" userId="546f5c59-3b8d-47fd-b739-a8fadc631053" providerId="ADAL" clId="{34473802-5904-426F-ADDF-0D0D1B44876C}" dt="2024-02-25T22:04:01.375" v="133" actId="729"/>
        <pc:sldMkLst>
          <pc:docMk/>
          <pc:sldMk cId="0" sldId="313"/>
        </pc:sldMkLst>
      </pc:sldChg>
      <pc:sldChg chg="mod modShow">
        <pc:chgData name="Annemarija Apine (LV)" userId="546f5c59-3b8d-47fd-b739-a8fadc631053" providerId="ADAL" clId="{34473802-5904-426F-ADDF-0D0D1B44876C}" dt="2024-02-25T22:04:01.375" v="133" actId="729"/>
        <pc:sldMkLst>
          <pc:docMk/>
          <pc:sldMk cId="0" sldId="314"/>
        </pc:sldMkLst>
      </pc:sldChg>
      <pc:sldChg chg="addSp modSp mod addCm delCm modCm">
        <pc:chgData name="Annemarija Apine (LV)" userId="546f5c59-3b8d-47fd-b739-a8fadc631053" providerId="ADAL" clId="{34473802-5904-426F-ADDF-0D0D1B44876C}" dt="2024-03-11T14:37:37.379" v="10112" actId="20577"/>
        <pc:sldMkLst>
          <pc:docMk/>
          <pc:sldMk cId="817197616" sldId="332"/>
        </pc:sldMkLst>
        <pc:spChg chg="add mod">
          <ac:chgData name="Annemarija Apine (LV)" userId="546f5c59-3b8d-47fd-b739-a8fadc631053" providerId="ADAL" clId="{34473802-5904-426F-ADDF-0D0D1B44876C}" dt="2024-03-11T14:37:37.379" v="10112" actId="20577"/>
          <ac:spMkLst>
            <pc:docMk/>
            <pc:sldMk cId="817197616" sldId="332"/>
            <ac:spMk id="4" creationId="{0C2CD556-83F4-5719-B366-7C2EFECB11A1}"/>
          </ac:spMkLst>
        </pc:spChg>
        <pc:spChg chg="mod">
          <ac:chgData name="Annemarija Apine (LV)" userId="546f5c59-3b8d-47fd-b739-a8fadc631053" providerId="ADAL" clId="{34473802-5904-426F-ADDF-0D0D1B44876C}" dt="2024-03-10T23:33:32.409" v="9354" actId="20577"/>
          <ac:spMkLst>
            <pc:docMk/>
            <pc:sldMk cId="817197616" sldId="332"/>
            <ac:spMk id="9" creationId="{9C917BBD-747E-ABCB-3683-E8C68F33230D}"/>
          </ac:spMkLst>
        </pc:spChg>
        <pc:spChg chg="mod">
          <ac:chgData name="Annemarija Apine (LV)" userId="546f5c59-3b8d-47fd-b739-a8fadc631053" providerId="ADAL" clId="{34473802-5904-426F-ADDF-0D0D1B44876C}" dt="2024-03-05T07:29:59.751" v="8842" actId="34135"/>
          <ac:spMkLst>
            <pc:docMk/>
            <pc:sldMk cId="817197616" sldId="332"/>
            <ac:spMk id="15" creationId="{BE44F20B-FA95-2861-40B9-74FCD9F509AC}"/>
          </ac:spMkLst>
        </pc:spChg>
        <pc:extLst>
          <p:ext xmlns:p="http://schemas.openxmlformats.org/presentationml/2006/main" uri="{D6D511B9-2390-475A-947B-AFAB55BFBCF1}">
            <pc226:cmChg xmlns:pc226="http://schemas.microsoft.com/office/powerpoint/2022/06/main/command" chg="add del">
              <pc226:chgData name="Annemarija Apine (LV)" userId="546f5c59-3b8d-47fd-b739-a8fadc631053" providerId="ADAL" clId="{34473802-5904-426F-ADDF-0D0D1B44876C}" dt="2024-03-01T15:36:54.344" v="6863"/>
              <pc2:cmMkLst xmlns:pc2="http://schemas.microsoft.com/office/powerpoint/2019/9/main/command">
                <pc:docMk/>
                <pc:sldMk cId="817197616" sldId="332"/>
                <pc2:cmMk id="{1826A545-1B91-4CEF-8FE2-79E733630A9D}"/>
              </pc2:cmMkLst>
            </pc226:cmChg>
            <pc226:cmChg xmlns:pc226="http://schemas.microsoft.com/office/powerpoint/2022/06/main/command" chg="add">
              <pc226:chgData name="Annemarija Apine (LV)" userId="546f5c59-3b8d-47fd-b739-a8fadc631053" providerId="ADAL" clId="{34473802-5904-426F-ADDF-0D0D1B44876C}" dt="2024-03-01T15:37:19.422" v="6864"/>
              <pc2:cmMkLst xmlns:pc2="http://schemas.microsoft.com/office/powerpoint/2019/9/main/command">
                <pc:docMk/>
                <pc:sldMk cId="817197616" sldId="332"/>
                <pc2:cmMk id="{6773268B-B677-416A-8762-3639ECA47681}"/>
              </pc2:cmMkLst>
            </pc226:cmChg>
            <pc226:cmChg xmlns:pc226="http://schemas.microsoft.com/office/powerpoint/2022/06/main/command" chg="add mod">
              <pc226:chgData name="Annemarija Apine (LV)" userId="546f5c59-3b8d-47fd-b739-a8fadc631053" providerId="ADAL" clId="{34473802-5904-426F-ADDF-0D0D1B44876C}" dt="2024-03-11T14:37:37.379" v="10112" actId="20577"/>
              <pc2:cmMkLst xmlns:pc2="http://schemas.microsoft.com/office/powerpoint/2019/9/main/command">
                <pc:docMk/>
                <pc:sldMk cId="817197616" sldId="332"/>
                <pc2:cmMk id="{2A26C7E2-A8DA-4B24-952F-5705AD58D1EA}"/>
              </pc2:cmMkLst>
            </pc226:cmChg>
          </p:ext>
        </pc:extLst>
      </pc:sldChg>
      <pc:sldChg chg="mod modShow">
        <pc:chgData name="Annemarija Apine (LV)" userId="546f5c59-3b8d-47fd-b739-a8fadc631053" providerId="ADAL" clId="{34473802-5904-426F-ADDF-0D0D1B44876C}" dt="2024-02-25T22:04:01.375" v="133" actId="729"/>
        <pc:sldMkLst>
          <pc:docMk/>
          <pc:sldMk cId="1077060666" sldId="333"/>
        </pc:sldMkLst>
      </pc:sldChg>
      <pc:sldChg chg="mod modShow">
        <pc:chgData name="Annemarija Apine (LV)" userId="546f5c59-3b8d-47fd-b739-a8fadc631053" providerId="ADAL" clId="{34473802-5904-426F-ADDF-0D0D1B44876C}" dt="2024-02-25T22:04:01.375" v="133" actId="729"/>
        <pc:sldMkLst>
          <pc:docMk/>
          <pc:sldMk cId="1586425510" sldId="334"/>
        </pc:sldMkLst>
      </pc:sldChg>
      <pc:sldChg chg="mod modShow">
        <pc:chgData name="Annemarija Apine (LV)" userId="546f5c59-3b8d-47fd-b739-a8fadc631053" providerId="ADAL" clId="{34473802-5904-426F-ADDF-0D0D1B44876C}" dt="2024-02-25T22:04:01.375" v="133" actId="729"/>
        <pc:sldMkLst>
          <pc:docMk/>
          <pc:sldMk cId="3962446863" sldId="335"/>
        </pc:sldMkLst>
      </pc:sldChg>
      <pc:sldChg chg="mod modShow">
        <pc:chgData name="Annemarija Apine (LV)" userId="546f5c59-3b8d-47fd-b739-a8fadc631053" providerId="ADAL" clId="{34473802-5904-426F-ADDF-0D0D1B44876C}" dt="2024-02-25T22:04:01.375" v="133" actId="729"/>
        <pc:sldMkLst>
          <pc:docMk/>
          <pc:sldMk cId="1176371514" sldId="336"/>
        </pc:sldMkLst>
      </pc:sldChg>
      <pc:sldChg chg="mod modShow">
        <pc:chgData name="Annemarija Apine (LV)" userId="546f5c59-3b8d-47fd-b739-a8fadc631053" providerId="ADAL" clId="{34473802-5904-426F-ADDF-0D0D1B44876C}" dt="2024-02-25T22:04:01.375" v="133" actId="729"/>
        <pc:sldMkLst>
          <pc:docMk/>
          <pc:sldMk cId="3244661427" sldId="337"/>
        </pc:sldMkLst>
      </pc:sldChg>
      <pc:sldChg chg="mod modShow">
        <pc:chgData name="Annemarija Apine (LV)" userId="546f5c59-3b8d-47fd-b739-a8fadc631053" providerId="ADAL" clId="{34473802-5904-426F-ADDF-0D0D1B44876C}" dt="2024-02-25T22:04:01.375" v="133" actId="729"/>
        <pc:sldMkLst>
          <pc:docMk/>
          <pc:sldMk cId="2065102976" sldId="338"/>
        </pc:sldMkLst>
      </pc:sldChg>
      <pc:sldChg chg="mod modShow">
        <pc:chgData name="Annemarija Apine (LV)" userId="546f5c59-3b8d-47fd-b739-a8fadc631053" providerId="ADAL" clId="{34473802-5904-426F-ADDF-0D0D1B44876C}" dt="2024-02-25T22:04:01.375" v="133" actId="729"/>
        <pc:sldMkLst>
          <pc:docMk/>
          <pc:sldMk cId="1311325920" sldId="339"/>
        </pc:sldMkLst>
      </pc:sldChg>
      <pc:sldChg chg="mod modShow">
        <pc:chgData name="Annemarija Apine (LV)" userId="546f5c59-3b8d-47fd-b739-a8fadc631053" providerId="ADAL" clId="{34473802-5904-426F-ADDF-0D0D1B44876C}" dt="2024-02-25T22:04:01.375" v="133" actId="729"/>
        <pc:sldMkLst>
          <pc:docMk/>
          <pc:sldMk cId="3750811665" sldId="340"/>
        </pc:sldMkLst>
      </pc:sldChg>
      <pc:sldChg chg="mod modShow">
        <pc:chgData name="Annemarija Apine (LV)" userId="546f5c59-3b8d-47fd-b739-a8fadc631053" providerId="ADAL" clId="{34473802-5904-426F-ADDF-0D0D1B44876C}" dt="2024-02-25T22:04:01.375" v="133" actId="729"/>
        <pc:sldMkLst>
          <pc:docMk/>
          <pc:sldMk cId="633515575" sldId="341"/>
        </pc:sldMkLst>
      </pc:sldChg>
      <pc:sldChg chg="mod modShow">
        <pc:chgData name="Annemarija Apine (LV)" userId="546f5c59-3b8d-47fd-b739-a8fadc631053" providerId="ADAL" clId="{34473802-5904-426F-ADDF-0D0D1B44876C}" dt="2024-02-25T22:04:01.375" v="133" actId="729"/>
        <pc:sldMkLst>
          <pc:docMk/>
          <pc:sldMk cId="0" sldId="351"/>
        </pc:sldMkLst>
      </pc:sldChg>
      <pc:sldChg chg="mod modShow">
        <pc:chgData name="Annemarija Apine (LV)" userId="546f5c59-3b8d-47fd-b739-a8fadc631053" providerId="ADAL" clId="{34473802-5904-426F-ADDF-0D0D1B44876C}" dt="2024-02-25T22:04:01.375" v="133" actId="729"/>
        <pc:sldMkLst>
          <pc:docMk/>
          <pc:sldMk cId="0" sldId="371"/>
        </pc:sldMkLst>
      </pc:sldChg>
      <pc:sldChg chg="mod modShow">
        <pc:chgData name="Annemarija Apine (LV)" userId="546f5c59-3b8d-47fd-b739-a8fadc631053" providerId="ADAL" clId="{34473802-5904-426F-ADDF-0D0D1B44876C}" dt="2024-02-25T22:04:01.375" v="133" actId="729"/>
        <pc:sldMkLst>
          <pc:docMk/>
          <pc:sldMk cId="0" sldId="383"/>
        </pc:sldMkLst>
      </pc:sldChg>
      <pc:sldChg chg="mod modShow">
        <pc:chgData name="Annemarija Apine (LV)" userId="546f5c59-3b8d-47fd-b739-a8fadc631053" providerId="ADAL" clId="{34473802-5904-426F-ADDF-0D0D1B44876C}" dt="2024-02-25T22:04:01.375" v="133" actId="729"/>
        <pc:sldMkLst>
          <pc:docMk/>
          <pc:sldMk cId="0" sldId="392"/>
        </pc:sldMkLst>
      </pc:sldChg>
      <pc:sldChg chg="mod modShow">
        <pc:chgData name="Annemarija Apine (LV)" userId="546f5c59-3b8d-47fd-b739-a8fadc631053" providerId="ADAL" clId="{34473802-5904-426F-ADDF-0D0D1B44876C}" dt="2024-02-25T22:04:01.375" v="133" actId="729"/>
        <pc:sldMkLst>
          <pc:docMk/>
          <pc:sldMk cId="0" sldId="419"/>
        </pc:sldMkLst>
      </pc:sldChg>
      <pc:sldChg chg="mod modShow">
        <pc:chgData name="Annemarija Apine (LV)" userId="546f5c59-3b8d-47fd-b739-a8fadc631053" providerId="ADAL" clId="{34473802-5904-426F-ADDF-0D0D1B44876C}" dt="2024-02-25T22:04:01.375" v="133" actId="729"/>
        <pc:sldMkLst>
          <pc:docMk/>
          <pc:sldMk cId="0" sldId="428"/>
        </pc:sldMkLst>
      </pc:sldChg>
      <pc:sldChg chg="mod modShow">
        <pc:chgData name="Annemarija Apine (LV)" userId="546f5c59-3b8d-47fd-b739-a8fadc631053" providerId="ADAL" clId="{34473802-5904-426F-ADDF-0D0D1B44876C}" dt="2024-02-25T22:04:01.375" v="133" actId="729"/>
        <pc:sldMkLst>
          <pc:docMk/>
          <pc:sldMk cId="0" sldId="429"/>
        </pc:sldMkLst>
      </pc:sldChg>
      <pc:sldChg chg="mod modShow">
        <pc:chgData name="Annemarija Apine (LV)" userId="546f5c59-3b8d-47fd-b739-a8fadc631053" providerId="ADAL" clId="{34473802-5904-426F-ADDF-0D0D1B44876C}" dt="2024-02-25T22:04:01.375" v="133" actId="729"/>
        <pc:sldMkLst>
          <pc:docMk/>
          <pc:sldMk cId="0" sldId="430"/>
        </pc:sldMkLst>
      </pc:sldChg>
      <pc:sldChg chg="mod modShow">
        <pc:chgData name="Annemarija Apine (LV)" userId="546f5c59-3b8d-47fd-b739-a8fadc631053" providerId="ADAL" clId="{34473802-5904-426F-ADDF-0D0D1B44876C}" dt="2024-02-25T22:04:01.375" v="133" actId="729"/>
        <pc:sldMkLst>
          <pc:docMk/>
          <pc:sldMk cId="0" sldId="431"/>
        </pc:sldMkLst>
      </pc:sldChg>
      <pc:sldChg chg="mod modShow">
        <pc:chgData name="Annemarija Apine (LV)" userId="546f5c59-3b8d-47fd-b739-a8fadc631053" providerId="ADAL" clId="{34473802-5904-426F-ADDF-0D0D1B44876C}" dt="2024-02-25T22:04:01.375" v="133" actId="729"/>
        <pc:sldMkLst>
          <pc:docMk/>
          <pc:sldMk cId="0" sldId="432"/>
        </pc:sldMkLst>
      </pc:sldChg>
      <pc:sldChg chg="mod modShow">
        <pc:chgData name="Annemarija Apine (LV)" userId="546f5c59-3b8d-47fd-b739-a8fadc631053" providerId="ADAL" clId="{34473802-5904-426F-ADDF-0D0D1B44876C}" dt="2024-02-25T22:04:01.375" v="133" actId="729"/>
        <pc:sldMkLst>
          <pc:docMk/>
          <pc:sldMk cId="0" sldId="433"/>
        </pc:sldMkLst>
      </pc:sldChg>
      <pc:sldChg chg="mod modShow">
        <pc:chgData name="Annemarija Apine (LV)" userId="546f5c59-3b8d-47fd-b739-a8fadc631053" providerId="ADAL" clId="{34473802-5904-426F-ADDF-0D0D1B44876C}" dt="2024-02-25T22:04:01.375" v="133" actId="729"/>
        <pc:sldMkLst>
          <pc:docMk/>
          <pc:sldMk cId="0" sldId="434"/>
        </pc:sldMkLst>
      </pc:sldChg>
      <pc:sldChg chg="mod modShow">
        <pc:chgData name="Annemarija Apine (LV)" userId="546f5c59-3b8d-47fd-b739-a8fadc631053" providerId="ADAL" clId="{34473802-5904-426F-ADDF-0D0D1B44876C}" dt="2024-02-25T22:04:01.375" v="133" actId="729"/>
        <pc:sldMkLst>
          <pc:docMk/>
          <pc:sldMk cId="0" sldId="435"/>
        </pc:sldMkLst>
      </pc:sldChg>
      <pc:sldChg chg="mod modShow">
        <pc:chgData name="Annemarija Apine (LV)" userId="546f5c59-3b8d-47fd-b739-a8fadc631053" providerId="ADAL" clId="{34473802-5904-426F-ADDF-0D0D1B44876C}" dt="2024-02-25T22:04:01.375" v="133" actId="729"/>
        <pc:sldMkLst>
          <pc:docMk/>
          <pc:sldMk cId="0" sldId="436"/>
        </pc:sldMkLst>
      </pc:sldChg>
      <pc:sldChg chg="mod modShow">
        <pc:chgData name="Annemarija Apine (LV)" userId="546f5c59-3b8d-47fd-b739-a8fadc631053" providerId="ADAL" clId="{34473802-5904-426F-ADDF-0D0D1B44876C}" dt="2024-02-25T22:04:01.375" v="133" actId="729"/>
        <pc:sldMkLst>
          <pc:docMk/>
          <pc:sldMk cId="0" sldId="437"/>
        </pc:sldMkLst>
      </pc:sldChg>
      <pc:sldChg chg="mod modShow">
        <pc:chgData name="Annemarija Apine (LV)" userId="546f5c59-3b8d-47fd-b739-a8fadc631053" providerId="ADAL" clId="{34473802-5904-426F-ADDF-0D0D1B44876C}" dt="2024-02-25T22:04:01.375" v="133" actId="729"/>
        <pc:sldMkLst>
          <pc:docMk/>
          <pc:sldMk cId="0" sldId="438"/>
        </pc:sldMkLst>
      </pc:sldChg>
      <pc:sldChg chg="mod modShow">
        <pc:chgData name="Annemarija Apine (LV)" userId="546f5c59-3b8d-47fd-b739-a8fadc631053" providerId="ADAL" clId="{34473802-5904-426F-ADDF-0D0D1B44876C}" dt="2024-02-25T22:04:01.375" v="133" actId="729"/>
        <pc:sldMkLst>
          <pc:docMk/>
          <pc:sldMk cId="323510126" sldId="439"/>
        </pc:sldMkLst>
      </pc:sldChg>
      <pc:sldChg chg="mod modShow">
        <pc:chgData name="Annemarija Apine (LV)" userId="546f5c59-3b8d-47fd-b739-a8fadc631053" providerId="ADAL" clId="{34473802-5904-426F-ADDF-0D0D1B44876C}" dt="2024-02-25T22:04:01.375" v="133" actId="729"/>
        <pc:sldMkLst>
          <pc:docMk/>
          <pc:sldMk cId="2327326848" sldId="440"/>
        </pc:sldMkLst>
      </pc:sldChg>
      <pc:sldChg chg="mod modShow">
        <pc:chgData name="Annemarija Apine (LV)" userId="546f5c59-3b8d-47fd-b739-a8fadc631053" providerId="ADAL" clId="{34473802-5904-426F-ADDF-0D0D1B44876C}" dt="2024-02-25T22:04:01.375" v="133" actId="729"/>
        <pc:sldMkLst>
          <pc:docMk/>
          <pc:sldMk cId="2336837453" sldId="441"/>
        </pc:sldMkLst>
      </pc:sldChg>
      <pc:sldChg chg="mod modShow">
        <pc:chgData name="Annemarija Apine (LV)" userId="546f5c59-3b8d-47fd-b739-a8fadc631053" providerId="ADAL" clId="{34473802-5904-426F-ADDF-0D0D1B44876C}" dt="2024-02-25T22:04:01.375" v="133" actId="729"/>
        <pc:sldMkLst>
          <pc:docMk/>
          <pc:sldMk cId="4222959714" sldId="442"/>
        </pc:sldMkLst>
      </pc:sldChg>
      <pc:sldChg chg="mod modShow">
        <pc:chgData name="Annemarija Apine (LV)" userId="546f5c59-3b8d-47fd-b739-a8fadc631053" providerId="ADAL" clId="{34473802-5904-426F-ADDF-0D0D1B44876C}" dt="2024-02-25T22:04:01.375" v="133" actId="729"/>
        <pc:sldMkLst>
          <pc:docMk/>
          <pc:sldMk cId="2958925631" sldId="443"/>
        </pc:sldMkLst>
      </pc:sldChg>
      <pc:sldChg chg="mod modShow">
        <pc:chgData name="Annemarija Apine (LV)" userId="546f5c59-3b8d-47fd-b739-a8fadc631053" providerId="ADAL" clId="{34473802-5904-426F-ADDF-0D0D1B44876C}" dt="2024-02-25T22:04:01.375" v="133" actId="729"/>
        <pc:sldMkLst>
          <pc:docMk/>
          <pc:sldMk cId="2811521555" sldId="444"/>
        </pc:sldMkLst>
      </pc:sldChg>
      <pc:sldChg chg="mod modShow">
        <pc:chgData name="Annemarija Apine (LV)" userId="546f5c59-3b8d-47fd-b739-a8fadc631053" providerId="ADAL" clId="{34473802-5904-426F-ADDF-0D0D1B44876C}" dt="2024-02-25T22:04:01.375" v="133" actId="729"/>
        <pc:sldMkLst>
          <pc:docMk/>
          <pc:sldMk cId="4258080952" sldId="445"/>
        </pc:sldMkLst>
      </pc:sldChg>
      <pc:sldChg chg="mod modShow">
        <pc:chgData name="Annemarija Apine (LV)" userId="546f5c59-3b8d-47fd-b739-a8fadc631053" providerId="ADAL" clId="{34473802-5904-426F-ADDF-0D0D1B44876C}" dt="2024-02-25T22:04:01.375" v="133" actId="729"/>
        <pc:sldMkLst>
          <pc:docMk/>
          <pc:sldMk cId="3526594792" sldId="446"/>
        </pc:sldMkLst>
      </pc:sldChg>
      <pc:sldChg chg="mod modShow">
        <pc:chgData name="Annemarija Apine (LV)" userId="546f5c59-3b8d-47fd-b739-a8fadc631053" providerId="ADAL" clId="{34473802-5904-426F-ADDF-0D0D1B44876C}" dt="2024-02-25T22:04:01.375" v="133" actId="729"/>
        <pc:sldMkLst>
          <pc:docMk/>
          <pc:sldMk cId="3932852703" sldId="447"/>
        </pc:sldMkLst>
      </pc:sldChg>
      <pc:sldChg chg="mod modShow">
        <pc:chgData name="Annemarija Apine (LV)" userId="546f5c59-3b8d-47fd-b739-a8fadc631053" providerId="ADAL" clId="{34473802-5904-426F-ADDF-0D0D1B44876C}" dt="2024-02-25T22:04:01.375" v="133" actId="729"/>
        <pc:sldMkLst>
          <pc:docMk/>
          <pc:sldMk cId="1683172751" sldId="448"/>
        </pc:sldMkLst>
      </pc:sldChg>
      <pc:sldChg chg="mod modShow">
        <pc:chgData name="Annemarija Apine (LV)" userId="546f5c59-3b8d-47fd-b739-a8fadc631053" providerId="ADAL" clId="{34473802-5904-426F-ADDF-0D0D1B44876C}" dt="2024-02-25T22:04:01.375" v="133" actId="729"/>
        <pc:sldMkLst>
          <pc:docMk/>
          <pc:sldMk cId="1995840059" sldId="449"/>
        </pc:sldMkLst>
      </pc:sldChg>
      <pc:sldChg chg="new del">
        <pc:chgData name="Annemarija Apine (LV)" userId="546f5c59-3b8d-47fd-b739-a8fadc631053" providerId="ADAL" clId="{34473802-5904-426F-ADDF-0D0D1B44876C}" dt="2024-02-25T21:58:48.794" v="17" actId="47"/>
        <pc:sldMkLst>
          <pc:docMk/>
          <pc:sldMk cId="388760314" sldId="450"/>
        </pc:sldMkLst>
      </pc:sldChg>
      <pc:sldChg chg="addSp delSp modSp new mod ord addCm delCm">
        <pc:chgData name="Annemarija Apine (LV)" userId="546f5c59-3b8d-47fd-b739-a8fadc631053" providerId="ADAL" clId="{34473802-5904-426F-ADDF-0D0D1B44876C}" dt="2024-03-11T14:15:20.417" v="10097" actId="207"/>
        <pc:sldMkLst>
          <pc:docMk/>
          <pc:sldMk cId="399328488" sldId="450"/>
        </pc:sldMkLst>
        <pc:spChg chg="add mod">
          <ac:chgData name="Annemarija Apine (LV)" userId="546f5c59-3b8d-47fd-b739-a8fadc631053" providerId="ADAL" clId="{34473802-5904-426F-ADDF-0D0D1B44876C}" dt="2024-03-10T23:33:41.929" v="9359"/>
          <ac:spMkLst>
            <pc:docMk/>
            <pc:sldMk cId="399328488" sldId="450"/>
            <ac:spMk id="2" creationId="{06CA5123-FA6E-5376-B3D9-BDF5B08EA25B}"/>
          </ac:spMkLst>
        </pc:spChg>
        <pc:spChg chg="mod">
          <ac:chgData name="Annemarija Apine (LV)" userId="546f5c59-3b8d-47fd-b739-a8fadc631053" providerId="ADAL" clId="{34473802-5904-426F-ADDF-0D0D1B44876C}" dt="2024-02-29T08:18:26.694" v="4505" actId="20577"/>
          <ac:spMkLst>
            <pc:docMk/>
            <pc:sldMk cId="399328488" sldId="450"/>
            <ac:spMk id="2" creationId="{20E40FBF-934F-95FE-8778-92F849DEC1EA}"/>
          </ac:spMkLst>
        </pc:spChg>
        <pc:spChg chg="mod">
          <ac:chgData name="Annemarija Apine (LV)" userId="546f5c59-3b8d-47fd-b739-a8fadc631053" providerId="ADAL" clId="{34473802-5904-426F-ADDF-0D0D1B44876C}" dt="2024-02-25T22:03:47.741" v="130" actId="20577"/>
          <ac:spMkLst>
            <pc:docMk/>
            <pc:sldMk cId="399328488" sldId="450"/>
            <ac:spMk id="3" creationId="{AAFE076C-9B8C-9BB3-8680-7E4B60DEC21C}"/>
          </ac:spMkLst>
        </pc:spChg>
        <pc:spChg chg="add mod">
          <ac:chgData name="Annemarija Apine (LV)" userId="546f5c59-3b8d-47fd-b739-a8fadc631053" providerId="ADAL" clId="{34473802-5904-426F-ADDF-0D0D1B44876C}" dt="2024-03-10T23:32:53.532" v="9317"/>
          <ac:spMkLst>
            <pc:docMk/>
            <pc:sldMk cId="399328488" sldId="450"/>
            <ac:spMk id="5" creationId="{B23D23F6-EAA1-C1CC-4EAD-63DE62A28506}"/>
          </ac:spMkLst>
        </pc:spChg>
        <pc:spChg chg="add mod">
          <ac:chgData name="Annemarija Apine (LV)" userId="546f5c59-3b8d-47fd-b739-a8fadc631053" providerId="ADAL" clId="{34473802-5904-426F-ADDF-0D0D1B44876C}" dt="2024-03-10T23:34:56.039" v="9375" actId="20577"/>
          <ac:spMkLst>
            <pc:docMk/>
            <pc:sldMk cId="399328488" sldId="450"/>
            <ac:spMk id="6" creationId="{C921EC8E-0465-7791-299D-694BBCA764E9}"/>
          </ac:spMkLst>
        </pc:spChg>
        <pc:spChg chg="add mod">
          <ac:chgData name="Annemarija Apine (LV)" userId="546f5c59-3b8d-47fd-b739-a8fadc631053" providerId="ADAL" clId="{34473802-5904-426F-ADDF-0D0D1B44876C}" dt="2024-02-29T08:18:29.587" v="4506" actId="20577"/>
          <ac:spMkLst>
            <pc:docMk/>
            <pc:sldMk cId="399328488" sldId="450"/>
            <ac:spMk id="7" creationId="{11B054F7-BD3F-CC04-8F9A-A47566ADA21E}"/>
          </ac:spMkLst>
        </pc:spChg>
        <pc:spChg chg="add mod">
          <ac:chgData name="Annemarija Apine (LV)" userId="546f5c59-3b8d-47fd-b739-a8fadc631053" providerId="ADAL" clId="{34473802-5904-426F-ADDF-0D0D1B44876C}" dt="2024-03-10T23:34:36.593" v="9367" actId="207"/>
          <ac:spMkLst>
            <pc:docMk/>
            <pc:sldMk cId="399328488" sldId="450"/>
            <ac:spMk id="7" creationId="{342010C7-05ED-A506-BB45-990074298A60}"/>
          </ac:spMkLst>
        </pc:spChg>
        <pc:spChg chg="add mod">
          <ac:chgData name="Annemarija Apine (LV)" userId="546f5c59-3b8d-47fd-b739-a8fadc631053" providerId="ADAL" clId="{34473802-5904-426F-ADDF-0D0D1B44876C}" dt="2024-03-10T23:35:36.607" v="9501" actId="207"/>
          <ac:spMkLst>
            <pc:docMk/>
            <pc:sldMk cId="399328488" sldId="450"/>
            <ac:spMk id="8" creationId="{8CC35DE3-4BB1-6CC3-3075-F8F54B9BCE23}"/>
          </ac:spMkLst>
        </pc:spChg>
        <pc:spChg chg="add del mod">
          <ac:chgData name="Annemarija Apine (LV)" userId="546f5c59-3b8d-47fd-b739-a8fadc631053" providerId="ADAL" clId="{34473802-5904-426F-ADDF-0D0D1B44876C}" dt="2024-02-29T08:18:34.514" v="4508" actId="478"/>
          <ac:spMkLst>
            <pc:docMk/>
            <pc:sldMk cId="399328488" sldId="450"/>
            <ac:spMk id="8" creationId="{A2A4EF95-EBC5-2113-75C0-757B07E343F3}"/>
          </ac:spMkLst>
        </pc:spChg>
        <pc:spChg chg="add del mod">
          <ac:chgData name="Annemarija Apine (LV)" userId="546f5c59-3b8d-47fd-b739-a8fadc631053" providerId="ADAL" clId="{34473802-5904-426F-ADDF-0D0D1B44876C}" dt="2024-02-29T08:18:34.103" v="4507" actId="478"/>
          <ac:spMkLst>
            <pc:docMk/>
            <pc:sldMk cId="399328488" sldId="450"/>
            <ac:spMk id="9" creationId="{8A75DB60-66FB-2F24-092E-9D81D3271877}"/>
          </ac:spMkLst>
        </pc:spChg>
        <pc:spChg chg="add mod">
          <ac:chgData name="Annemarija Apine (LV)" userId="546f5c59-3b8d-47fd-b739-a8fadc631053" providerId="ADAL" clId="{34473802-5904-426F-ADDF-0D0D1B44876C}" dt="2024-02-29T08:19:15.620" v="4671" actId="20577"/>
          <ac:spMkLst>
            <pc:docMk/>
            <pc:sldMk cId="399328488" sldId="450"/>
            <ac:spMk id="10" creationId="{9289F6C4-FC0B-0E3A-DAD4-24B0CD0E3DD5}"/>
          </ac:spMkLst>
        </pc:spChg>
        <pc:spChg chg="add mod">
          <ac:chgData name="Annemarija Apine (LV)" userId="546f5c59-3b8d-47fd-b739-a8fadc631053" providerId="ADAL" clId="{34473802-5904-426F-ADDF-0D0D1B44876C}" dt="2024-02-26T14:51:27.706" v="2668" actId="1076"/>
          <ac:spMkLst>
            <pc:docMk/>
            <pc:sldMk cId="399328488" sldId="450"/>
            <ac:spMk id="12" creationId="{5BA3FC79-5B8F-4417-8615-05D13DBFFB22}"/>
          </ac:spMkLst>
        </pc:spChg>
        <pc:spChg chg="add del mod">
          <ac:chgData name="Annemarija Apine (LV)" userId="546f5c59-3b8d-47fd-b739-a8fadc631053" providerId="ADAL" clId="{34473802-5904-426F-ADDF-0D0D1B44876C}" dt="2024-02-28T12:06:09.769" v="4318" actId="478"/>
          <ac:spMkLst>
            <pc:docMk/>
            <pc:sldMk cId="399328488" sldId="450"/>
            <ac:spMk id="13" creationId="{EAE99B63-9C1C-3E70-28F5-951424E6CEA1}"/>
          </ac:spMkLst>
        </pc:spChg>
        <pc:spChg chg="mod">
          <ac:chgData name="Annemarija Apine (LV)" userId="546f5c59-3b8d-47fd-b739-a8fadc631053" providerId="ADAL" clId="{34473802-5904-426F-ADDF-0D0D1B44876C}" dt="2024-03-11T14:15:20.417" v="10097" actId="207"/>
          <ac:spMkLst>
            <pc:docMk/>
            <pc:sldMk cId="399328488" sldId="450"/>
            <ac:spMk id="43" creationId="{E8E63795-2ECA-7132-F643-55B4A59C7A85}"/>
          </ac:spMkLst>
        </pc:spChg>
        <pc:extLst>
          <p:ext xmlns:p="http://schemas.openxmlformats.org/presentationml/2006/main" uri="{D6D511B9-2390-475A-947B-AFAB55BFBCF1}">
            <pc226:cmChg xmlns:pc226="http://schemas.microsoft.com/office/powerpoint/2022/06/main/command" chg="add del">
              <pc226:chgData name="Annemarija Apine (LV)" userId="546f5c59-3b8d-47fd-b739-a8fadc631053" providerId="ADAL" clId="{34473802-5904-426F-ADDF-0D0D1B44876C}" dt="2024-03-04T08:57:00.021" v="7475"/>
              <pc2:cmMkLst xmlns:pc2="http://schemas.microsoft.com/office/powerpoint/2019/9/main/command">
                <pc:docMk/>
                <pc:sldMk cId="399328488" sldId="450"/>
                <pc2:cmMk id="{1D6BFC9B-A326-4BBA-B513-DC7D70D6C01F}"/>
              </pc2:cmMkLst>
            </pc226:cmChg>
            <pc226:cmChg xmlns:pc226="http://schemas.microsoft.com/office/powerpoint/2022/06/main/command" chg="add del">
              <pc226:chgData name="Annemarija Apine (LV)" userId="546f5c59-3b8d-47fd-b739-a8fadc631053" providerId="ADAL" clId="{34473802-5904-426F-ADDF-0D0D1B44876C}" dt="2024-02-29T08:19:40.119" v="4680"/>
              <pc2:cmMkLst xmlns:pc2="http://schemas.microsoft.com/office/powerpoint/2019/9/main/command">
                <pc:docMk/>
                <pc:sldMk cId="399328488" sldId="450"/>
                <pc2:cmMk id="{F8BA90F7-D6F4-48EE-916F-231420625647}"/>
              </pc2:cmMkLst>
            </pc226:cmChg>
          </p:ext>
        </pc:extLst>
      </pc:sldChg>
      <pc:sldChg chg="addSp delSp modSp add mod">
        <pc:chgData name="Annemarija Apine (LV)" userId="546f5c59-3b8d-47fd-b739-a8fadc631053" providerId="ADAL" clId="{34473802-5904-426F-ADDF-0D0D1B44876C}" dt="2024-03-10T23:28:03.384" v="9308" actId="20577"/>
        <pc:sldMkLst>
          <pc:docMk/>
          <pc:sldMk cId="192098022" sldId="769"/>
        </pc:sldMkLst>
        <pc:spChg chg="add mod">
          <ac:chgData name="Annemarija Apine (LV)" userId="546f5c59-3b8d-47fd-b739-a8fadc631053" providerId="ADAL" clId="{34473802-5904-426F-ADDF-0D0D1B44876C}" dt="2024-03-10T23:28:03.384" v="9308" actId="20577"/>
          <ac:spMkLst>
            <pc:docMk/>
            <pc:sldMk cId="192098022" sldId="769"/>
            <ac:spMk id="3" creationId="{490C57A7-69EE-C28F-972B-2E8CBABC00B6}"/>
          </ac:spMkLst>
        </pc:spChg>
        <pc:spChg chg="mod">
          <ac:chgData name="Annemarija Apine (LV)" userId="546f5c59-3b8d-47fd-b739-a8fadc631053" providerId="ADAL" clId="{34473802-5904-426F-ADDF-0D0D1B44876C}" dt="2024-03-08T13:33:19.871" v="9206" actId="12"/>
          <ac:spMkLst>
            <pc:docMk/>
            <pc:sldMk cId="192098022" sldId="769"/>
            <ac:spMk id="6" creationId="{2CB3F9F5-858C-1D21-4D13-EAEDABE2E74A}"/>
          </ac:spMkLst>
        </pc:spChg>
        <pc:spChg chg="mod">
          <ac:chgData name="Annemarija Apine (LV)" userId="546f5c59-3b8d-47fd-b739-a8fadc631053" providerId="ADAL" clId="{34473802-5904-426F-ADDF-0D0D1B44876C}" dt="2024-03-08T14:02:18.111" v="9231" actId="1076"/>
          <ac:spMkLst>
            <pc:docMk/>
            <pc:sldMk cId="192098022" sldId="769"/>
            <ac:spMk id="8" creationId="{B6BFA0E2-7135-FFE5-3283-2EDC43146D38}"/>
          </ac:spMkLst>
        </pc:spChg>
        <pc:spChg chg="del">
          <ac:chgData name="Annemarija Apine (LV)" userId="546f5c59-3b8d-47fd-b739-a8fadc631053" providerId="ADAL" clId="{34473802-5904-426F-ADDF-0D0D1B44876C}" dt="2024-03-08T14:02:14.394" v="9229" actId="478"/>
          <ac:spMkLst>
            <pc:docMk/>
            <pc:sldMk cId="192098022" sldId="769"/>
            <ac:spMk id="24" creationId="{19F3A3EA-1A15-1B4C-8DCB-26EE245E8AFC}"/>
          </ac:spMkLst>
        </pc:spChg>
        <pc:spChg chg="mod">
          <ac:chgData name="Annemarija Apine (LV)" userId="546f5c59-3b8d-47fd-b739-a8fadc631053" providerId="ADAL" clId="{34473802-5904-426F-ADDF-0D0D1B44876C}" dt="2024-03-08T14:02:26.276" v="9232" actId="1076"/>
          <ac:spMkLst>
            <pc:docMk/>
            <pc:sldMk cId="192098022" sldId="769"/>
            <ac:spMk id="25" creationId="{014F40D3-F5E9-404A-8FA7-2C2BFB358B3B}"/>
          </ac:spMkLst>
        </pc:spChg>
      </pc:sldChg>
      <pc:sldChg chg="add mod modShow">
        <pc:chgData name="Annemarija Apine (LV)" userId="546f5c59-3b8d-47fd-b739-a8fadc631053" providerId="ADAL" clId="{34473802-5904-426F-ADDF-0D0D1B44876C}" dt="2024-02-25T22:07:23.984" v="282" actId="729"/>
        <pc:sldMkLst>
          <pc:docMk/>
          <pc:sldMk cId="4246915437" sldId="898"/>
        </pc:sldMkLst>
      </pc:sldChg>
      <pc:sldChg chg="addSp delSp modSp new mod">
        <pc:chgData name="Annemarija Apine (LV)" userId="546f5c59-3b8d-47fd-b739-a8fadc631053" providerId="ADAL" clId="{34473802-5904-426F-ADDF-0D0D1B44876C}" dt="2024-03-10T23:45:26.533" v="9803" actId="5793"/>
        <pc:sldMkLst>
          <pc:docMk/>
          <pc:sldMk cId="2067837237" sldId="899"/>
        </pc:sldMkLst>
        <pc:spChg chg="del">
          <ac:chgData name="Annemarija Apine (LV)" userId="546f5c59-3b8d-47fd-b739-a8fadc631053" providerId="ADAL" clId="{34473802-5904-426F-ADDF-0D0D1B44876C}" dt="2024-02-25T22:10:40.156" v="389" actId="478"/>
          <ac:spMkLst>
            <pc:docMk/>
            <pc:sldMk cId="2067837237" sldId="899"/>
            <ac:spMk id="2" creationId="{6498EE45-A675-E52B-5A4D-9DA7AA8ADA85}"/>
          </ac:spMkLst>
        </pc:spChg>
        <pc:spChg chg="add mod">
          <ac:chgData name="Annemarija Apine (LV)" userId="546f5c59-3b8d-47fd-b739-a8fadc631053" providerId="ADAL" clId="{34473802-5904-426F-ADDF-0D0D1B44876C}" dt="2024-03-10T23:43:33.163" v="9762" actId="20577"/>
          <ac:spMkLst>
            <pc:docMk/>
            <pc:sldMk cId="2067837237" sldId="899"/>
            <ac:spMk id="2" creationId="{8F721146-0146-6364-6B84-91ADE6C70333}"/>
          </ac:spMkLst>
        </pc:spChg>
        <pc:spChg chg="mod">
          <ac:chgData name="Annemarija Apine (LV)" userId="546f5c59-3b8d-47fd-b739-a8fadc631053" providerId="ADAL" clId="{34473802-5904-426F-ADDF-0D0D1B44876C}" dt="2024-03-10T23:44:37.919" v="9775" actId="20577"/>
          <ac:spMkLst>
            <pc:docMk/>
            <pc:sldMk cId="2067837237" sldId="899"/>
            <ac:spMk id="3" creationId="{02A7C9EB-E60F-E4DD-7BE8-A36BF399BA1F}"/>
          </ac:spMkLst>
        </pc:spChg>
        <pc:spChg chg="add mod">
          <ac:chgData name="Annemarija Apine (LV)" userId="546f5c59-3b8d-47fd-b739-a8fadc631053" providerId="ADAL" clId="{34473802-5904-426F-ADDF-0D0D1B44876C}" dt="2024-03-10T23:42:53.690" v="9663" actId="1035"/>
          <ac:spMkLst>
            <pc:docMk/>
            <pc:sldMk cId="2067837237" sldId="899"/>
            <ac:spMk id="5" creationId="{89790A45-B1C9-916E-308B-ECFC34CCA5A7}"/>
          </ac:spMkLst>
        </pc:spChg>
        <pc:spChg chg="add mod">
          <ac:chgData name="Annemarija Apine (LV)" userId="546f5c59-3b8d-47fd-b739-a8fadc631053" providerId="ADAL" clId="{34473802-5904-426F-ADDF-0D0D1B44876C}" dt="2024-03-10T23:42:53.690" v="9663" actId="1035"/>
          <ac:spMkLst>
            <pc:docMk/>
            <pc:sldMk cId="2067837237" sldId="899"/>
            <ac:spMk id="6" creationId="{F1495032-8CCE-D7E1-A57E-AAA5D0489493}"/>
          </ac:spMkLst>
        </pc:spChg>
        <pc:spChg chg="add del mod">
          <ac:chgData name="Annemarija Apine (LV)" userId="546f5c59-3b8d-47fd-b739-a8fadc631053" providerId="ADAL" clId="{34473802-5904-426F-ADDF-0D0D1B44876C}" dt="2024-02-25T22:12:32.581" v="472" actId="478"/>
          <ac:spMkLst>
            <pc:docMk/>
            <pc:sldMk cId="2067837237" sldId="899"/>
            <ac:spMk id="8" creationId="{F89DB002-0985-6D45-D76D-0152BE295B37}"/>
          </ac:spMkLst>
        </pc:spChg>
        <pc:spChg chg="add mod">
          <ac:chgData name="Annemarija Apine (LV)" userId="546f5c59-3b8d-47fd-b739-a8fadc631053" providerId="ADAL" clId="{34473802-5904-426F-ADDF-0D0D1B44876C}" dt="2024-03-10T23:42:38.577" v="9583" actId="1036"/>
          <ac:spMkLst>
            <pc:docMk/>
            <pc:sldMk cId="2067837237" sldId="899"/>
            <ac:spMk id="9" creationId="{4410BDA3-C70D-09A4-DA6C-34323C7C12E7}"/>
          </ac:spMkLst>
        </pc:spChg>
        <pc:spChg chg="add mod">
          <ac:chgData name="Annemarija Apine (LV)" userId="546f5c59-3b8d-47fd-b739-a8fadc631053" providerId="ADAL" clId="{34473802-5904-426F-ADDF-0D0D1B44876C}" dt="2024-03-10T23:42:38.577" v="9583" actId="1036"/>
          <ac:spMkLst>
            <pc:docMk/>
            <pc:sldMk cId="2067837237" sldId="899"/>
            <ac:spMk id="10" creationId="{62B42245-DA42-CBD7-0584-79D1BE955F34}"/>
          </ac:spMkLst>
        </pc:spChg>
        <pc:spChg chg="add mod">
          <ac:chgData name="Annemarija Apine (LV)" userId="546f5c59-3b8d-47fd-b739-a8fadc631053" providerId="ADAL" clId="{34473802-5904-426F-ADDF-0D0D1B44876C}" dt="2024-03-10T23:42:38.577" v="9583" actId="1036"/>
          <ac:spMkLst>
            <pc:docMk/>
            <pc:sldMk cId="2067837237" sldId="899"/>
            <ac:spMk id="11" creationId="{966F4E94-42AF-8C4C-9F85-A34218079A7B}"/>
          </ac:spMkLst>
        </pc:spChg>
        <pc:spChg chg="mod">
          <ac:chgData name="Annemarija Apine (LV)" userId="546f5c59-3b8d-47fd-b739-a8fadc631053" providerId="ADAL" clId="{34473802-5904-426F-ADDF-0D0D1B44876C}" dt="2024-03-04T11:52:08.004" v="8773"/>
          <ac:spMkLst>
            <pc:docMk/>
            <pc:sldMk cId="2067837237" sldId="899"/>
            <ac:spMk id="12" creationId="{59570E3C-8765-A94C-7261-D36E33888E65}"/>
          </ac:spMkLst>
        </pc:spChg>
        <pc:spChg chg="mod">
          <ac:chgData name="Annemarija Apine (LV)" userId="546f5c59-3b8d-47fd-b739-a8fadc631053" providerId="ADAL" clId="{34473802-5904-426F-ADDF-0D0D1B44876C}" dt="2024-03-04T11:52:08.004" v="8773"/>
          <ac:spMkLst>
            <pc:docMk/>
            <pc:sldMk cId="2067837237" sldId="899"/>
            <ac:spMk id="13" creationId="{4647954E-59DB-A280-1B10-8EDB944564FD}"/>
          </ac:spMkLst>
        </pc:spChg>
        <pc:spChg chg="add del">
          <ac:chgData name="Annemarija Apine (LV)" userId="546f5c59-3b8d-47fd-b739-a8fadc631053" providerId="ADAL" clId="{34473802-5904-426F-ADDF-0D0D1B44876C}" dt="2024-02-25T22:11:40.152" v="455" actId="22"/>
          <ac:spMkLst>
            <pc:docMk/>
            <pc:sldMk cId="2067837237" sldId="899"/>
            <ac:spMk id="13" creationId="{B2848C25-D987-838F-6E82-74E667B7D6C6}"/>
          </ac:spMkLst>
        </pc:spChg>
        <pc:spChg chg="add mod">
          <ac:chgData name="Annemarija Apine (LV)" userId="546f5c59-3b8d-47fd-b739-a8fadc631053" providerId="ADAL" clId="{34473802-5904-426F-ADDF-0D0D1B44876C}" dt="2024-03-10T23:42:38.577" v="9583" actId="1036"/>
          <ac:spMkLst>
            <pc:docMk/>
            <pc:sldMk cId="2067837237" sldId="899"/>
            <ac:spMk id="14" creationId="{C12F4A68-0A98-B4BF-1D5E-5B0917DB284B}"/>
          </ac:spMkLst>
        </pc:spChg>
        <pc:spChg chg="add mod">
          <ac:chgData name="Annemarija Apine (LV)" userId="546f5c59-3b8d-47fd-b739-a8fadc631053" providerId="ADAL" clId="{34473802-5904-426F-ADDF-0D0D1B44876C}" dt="2024-03-10T23:42:38.577" v="9583" actId="1036"/>
          <ac:spMkLst>
            <pc:docMk/>
            <pc:sldMk cId="2067837237" sldId="899"/>
            <ac:spMk id="15" creationId="{18CF1D23-C8C0-7311-A610-9559FB968B61}"/>
          </ac:spMkLst>
        </pc:spChg>
        <pc:spChg chg="add del mod">
          <ac:chgData name="Annemarija Apine (LV)" userId="546f5c59-3b8d-47fd-b739-a8fadc631053" providerId="ADAL" clId="{34473802-5904-426F-ADDF-0D0D1B44876C}" dt="2024-02-25T22:12:44.369" v="475"/>
          <ac:spMkLst>
            <pc:docMk/>
            <pc:sldMk cId="2067837237" sldId="899"/>
            <ac:spMk id="16" creationId="{6F86A9AC-7955-AF92-9DC9-B0075111ECED}"/>
          </ac:spMkLst>
        </pc:spChg>
        <pc:spChg chg="mod">
          <ac:chgData name="Annemarija Apine (LV)" userId="546f5c59-3b8d-47fd-b739-a8fadc631053" providerId="ADAL" clId="{34473802-5904-426F-ADDF-0D0D1B44876C}" dt="2024-03-04T11:52:08.004" v="8773"/>
          <ac:spMkLst>
            <pc:docMk/>
            <pc:sldMk cId="2067837237" sldId="899"/>
            <ac:spMk id="16" creationId="{F29F4A2F-451A-F99B-EB5A-0D60FA5C2C8A}"/>
          </ac:spMkLst>
        </pc:spChg>
        <pc:spChg chg="mod">
          <ac:chgData name="Annemarija Apine (LV)" userId="546f5c59-3b8d-47fd-b739-a8fadc631053" providerId="ADAL" clId="{34473802-5904-426F-ADDF-0D0D1B44876C}" dt="2024-03-04T11:52:08.004" v="8773"/>
          <ac:spMkLst>
            <pc:docMk/>
            <pc:sldMk cId="2067837237" sldId="899"/>
            <ac:spMk id="17" creationId="{0AA97745-27DF-35EE-F202-D55C2D9DB2C7}"/>
          </ac:spMkLst>
        </pc:spChg>
        <pc:spChg chg="add del mod">
          <ac:chgData name="Annemarija Apine (LV)" userId="546f5c59-3b8d-47fd-b739-a8fadc631053" providerId="ADAL" clId="{34473802-5904-426F-ADDF-0D0D1B44876C}" dt="2024-02-25T22:12:44.369" v="475"/>
          <ac:spMkLst>
            <pc:docMk/>
            <pc:sldMk cId="2067837237" sldId="899"/>
            <ac:spMk id="17" creationId="{97D4E144-978B-72E5-7168-D81E19B4F69C}"/>
          </ac:spMkLst>
        </pc:spChg>
        <pc:spChg chg="mod">
          <ac:chgData name="Annemarija Apine (LV)" userId="546f5c59-3b8d-47fd-b739-a8fadc631053" providerId="ADAL" clId="{34473802-5904-426F-ADDF-0D0D1B44876C}" dt="2024-03-04T11:52:08.004" v="8773"/>
          <ac:spMkLst>
            <pc:docMk/>
            <pc:sldMk cId="2067837237" sldId="899"/>
            <ac:spMk id="18" creationId="{064D3708-7E17-6041-2789-BF93A249F670}"/>
          </ac:spMkLst>
        </pc:spChg>
        <pc:spChg chg="add del mod">
          <ac:chgData name="Annemarija Apine (LV)" userId="546f5c59-3b8d-47fd-b739-a8fadc631053" providerId="ADAL" clId="{34473802-5904-426F-ADDF-0D0D1B44876C}" dt="2024-02-25T22:12:44.369" v="475"/>
          <ac:spMkLst>
            <pc:docMk/>
            <pc:sldMk cId="2067837237" sldId="899"/>
            <ac:spMk id="18" creationId="{8883BCBC-0329-47A6-C2D3-2D61D01025F2}"/>
          </ac:spMkLst>
        </pc:spChg>
        <pc:spChg chg="add del mod">
          <ac:chgData name="Annemarija Apine (LV)" userId="546f5c59-3b8d-47fd-b739-a8fadc631053" providerId="ADAL" clId="{34473802-5904-426F-ADDF-0D0D1B44876C}" dt="2024-02-25T22:12:44.369" v="475"/>
          <ac:spMkLst>
            <pc:docMk/>
            <pc:sldMk cId="2067837237" sldId="899"/>
            <ac:spMk id="19" creationId="{26BAB468-E2F8-DC4E-EAF8-0768E726D270}"/>
          </ac:spMkLst>
        </pc:spChg>
        <pc:spChg chg="add del mod">
          <ac:chgData name="Annemarija Apine (LV)" userId="546f5c59-3b8d-47fd-b739-a8fadc631053" providerId="ADAL" clId="{34473802-5904-426F-ADDF-0D0D1B44876C}" dt="2024-02-25T22:12:44.369" v="475"/>
          <ac:spMkLst>
            <pc:docMk/>
            <pc:sldMk cId="2067837237" sldId="899"/>
            <ac:spMk id="20" creationId="{1FE3CD6B-D6CD-8482-1DB4-0B19C4145511}"/>
          </ac:spMkLst>
        </pc:spChg>
        <pc:spChg chg="mod">
          <ac:chgData name="Annemarija Apine (LV)" userId="546f5c59-3b8d-47fd-b739-a8fadc631053" providerId="ADAL" clId="{34473802-5904-426F-ADDF-0D0D1B44876C}" dt="2024-03-10T23:45:13.993" v="9781" actId="5793"/>
          <ac:spMkLst>
            <pc:docMk/>
            <pc:sldMk cId="2067837237" sldId="899"/>
            <ac:spMk id="20" creationId="{5FE60873-156A-58E0-91C4-D2678DCF6C33}"/>
          </ac:spMkLst>
        </pc:spChg>
        <pc:spChg chg="add mod">
          <ac:chgData name="Annemarija Apine (LV)" userId="546f5c59-3b8d-47fd-b739-a8fadc631053" providerId="ADAL" clId="{34473802-5904-426F-ADDF-0D0D1B44876C}" dt="2024-02-25T22:14:46.765" v="541" actId="208"/>
          <ac:spMkLst>
            <pc:docMk/>
            <pc:sldMk cId="2067837237" sldId="899"/>
            <ac:spMk id="21" creationId="{7AE0AAE5-4EC9-DD53-56C2-33377686F8EF}"/>
          </ac:spMkLst>
        </pc:spChg>
        <pc:spChg chg="add mod">
          <ac:chgData name="Annemarija Apine (LV)" userId="546f5c59-3b8d-47fd-b739-a8fadc631053" providerId="ADAL" clId="{34473802-5904-426F-ADDF-0D0D1B44876C}" dt="2024-02-25T22:14:46.765" v="541" actId="208"/>
          <ac:spMkLst>
            <pc:docMk/>
            <pc:sldMk cId="2067837237" sldId="899"/>
            <ac:spMk id="22" creationId="{EC93622C-265E-D387-2605-AE4A4548EFAD}"/>
          </ac:spMkLst>
        </pc:spChg>
        <pc:spChg chg="add mod">
          <ac:chgData name="Annemarija Apine (LV)" userId="546f5c59-3b8d-47fd-b739-a8fadc631053" providerId="ADAL" clId="{34473802-5904-426F-ADDF-0D0D1B44876C}" dt="2024-02-25T22:14:46.765" v="541" actId="208"/>
          <ac:spMkLst>
            <pc:docMk/>
            <pc:sldMk cId="2067837237" sldId="899"/>
            <ac:spMk id="23" creationId="{1B89C6A7-D4E1-CA3E-6BF6-16634CCB8552}"/>
          </ac:spMkLst>
        </pc:spChg>
        <pc:spChg chg="add mod">
          <ac:chgData name="Annemarija Apine (LV)" userId="546f5c59-3b8d-47fd-b739-a8fadc631053" providerId="ADAL" clId="{34473802-5904-426F-ADDF-0D0D1B44876C}" dt="2024-02-25T22:14:46.765" v="541" actId="208"/>
          <ac:spMkLst>
            <pc:docMk/>
            <pc:sldMk cId="2067837237" sldId="899"/>
            <ac:spMk id="24" creationId="{5FEC99C6-C046-6B8B-B626-B348A583E386}"/>
          </ac:spMkLst>
        </pc:spChg>
        <pc:spChg chg="add mod">
          <ac:chgData name="Annemarija Apine (LV)" userId="546f5c59-3b8d-47fd-b739-a8fadc631053" providerId="ADAL" clId="{34473802-5904-426F-ADDF-0D0D1B44876C}" dt="2024-02-25T22:14:46.765" v="541" actId="208"/>
          <ac:spMkLst>
            <pc:docMk/>
            <pc:sldMk cId="2067837237" sldId="899"/>
            <ac:spMk id="25" creationId="{E3A1C324-4553-CB6A-8B81-8B007C858F90}"/>
          </ac:spMkLst>
        </pc:spChg>
        <pc:spChg chg="add del mod">
          <ac:chgData name="Annemarija Apine (LV)" userId="546f5c59-3b8d-47fd-b739-a8fadc631053" providerId="ADAL" clId="{34473802-5904-426F-ADDF-0D0D1B44876C}" dt="2024-02-25T22:13:38.487" v="493" actId="478"/>
          <ac:spMkLst>
            <pc:docMk/>
            <pc:sldMk cId="2067837237" sldId="899"/>
            <ac:spMk id="26" creationId="{340CF34B-5228-9A8D-D75D-09380F9B077B}"/>
          </ac:spMkLst>
        </pc:spChg>
        <pc:spChg chg="add">
          <ac:chgData name="Annemarija Apine (LV)" userId="546f5c59-3b8d-47fd-b739-a8fadc631053" providerId="ADAL" clId="{34473802-5904-426F-ADDF-0D0D1B44876C}" dt="2024-02-25T22:13:47.946" v="494" actId="11529"/>
          <ac:spMkLst>
            <pc:docMk/>
            <pc:sldMk cId="2067837237" sldId="899"/>
            <ac:spMk id="27" creationId="{8ED5A468-3446-C52F-684C-4DAFAC567CBD}"/>
          </ac:spMkLst>
        </pc:spChg>
        <pc:spChg chg="add mod">
          <ac:chgData name="Annemarija Apine (LV)" userId="546f5c59-3b8d-47fd-b739-a8fadc631053" providerId="ADAL" clId="{34473802-5904-426F-ADDF-0D0D1B44876C}" dt="2024-02-25T22:13:52.729" v="496" actId="1076"/>
          <ac:spMkLst>
            <pc:docMk/>
            <pc:sldMk cId="2067837237" sldId="899"/>
            <ac:spMk id="28" creationId="{4D83F920-03F2-22B6-3A4C-F3510C600538}"/>
          </ac:spMkLst>
        </pc:spChg>
        <pc:spChg chg="add mod">
          <ac:chgData name="Annemarija Apine (LV)" userId="546f5c59-3b8d-47fd-b739-a8fadc631053" providerId="ADAL" clId="{34473802-5904-426F-ADDF-0D0D1B44876C}" dt="2024-02-25T22:13:58.378" v="511" actId="1037"/>
          <ac:spMkLst>
            <pc:docMk/>
            <pc:sldMk cId="2067837237" sldId="899"/>
            <ac:spMk id="29" creationId="{A36EBB3A-5319-594E-ADF6-54CF90574679}"/>
          </ac:spMkLst>
        </pc:spChg>
        <pc:spChg chg="add mod">
          <ac:chgData name="Annemarija Apine (LV)" userId="546f5c59-3b8d-47fd-b739-a8fadc631053" providerId="ADAL" clId="{34473802-5904-426F-ADDF-0D0D1B44876C}" dt="2024-02-25T22:13:56.154" v="506" actId="1037"/>
          <ac:spMkLst>
            <pc:docMk/>
            <pc:sldMk cId="2067837237" sldId="899"/>
            <ac:spMk id="30" creationId="{0E5402E0-269A-92B5-BC8D-30D2207F23A4}"/>
          </ac:spMkLst>
        </pc:spChg>
        <pc:spChg chg="add mod">
          <ac:chgData name="Annemarija Apine (LV)" userId="546f5c59-3b8d-47fd-b739-a8fadc631053" providerId="ADAL" clId="{34473802-5904-426F-ADDF-0D0D1B44876C}" dt="2024-02-25T22:14:13.413" v="522" actId="1076"/>
          <ac:spMkLst>
            <pc:docMk/>
            <pc:sldMk cId="2067837237" sldId="899"/>
            <ac:spMk id="31" creationId="{873D60D4-E5D9-76E3-AEF9-264F4B971AF2}"/>
          </ac:spMkLst>
        </pc:spChg>
        <pc:spChg chg="add mod">
          <ac:chgData name="Annemarija Apine (LV)" userId="546f5c59-3b8d-47fd-b739-a8fadc631053" providerId="ADAL" clId="{34473802-5904-426F-ADDF-0D0D1B44876C}" dt="2024-02-25T22:14:18.365" v="528" actId="20577"/>
          <ac:spMkLst>
            <pc:docMk/>
            <pc:sldMk cId="2067837237" sldId="899"/>
            <ac:spMk id="32" creationId="{828F63E3-7455-B74D-F267-F3ABBA37707E}"/>
          </ac:spMkLst>
        </pc:spChg>
        <pc:spChg chg="add mod">
          <ac:chgData name="Annemarija Apine (LV)" userId="546f5c59-3b8d-47fd-b739-a8fadc631053" providerId="ADAL" clId="{34473802-5904-426F-ADDF-0D0D1B44876C}" dt="2024-02-25T22:14:23.795" v="532" actId="20577"/>
          <ac:spMkLst>
            <pc:docMk/>
            <pc:sldMk cId="2067837237" sldId="899"/>
            <ac:spMk id="33" creationId="{5F327F10-6150-0B2C-F4B7-AC6868A99C72}"/>
          </ac:spMkLst>
        </pc:spChg>
        <pc:spChg chg="add mod">
          <ac:chgData name="Annemarija Apine (LV)" userId="546f5c59-3b8d-47fd-b739-a8fadc631053" providerId="ADAL" clId="{34473802-5904-426F-ADDF-0D0D1B44876C}" dt="2024-02-25T22:14:29.653" v="536" actId="20577"/>
          <ac:spMkLst>
            <pc:docMk/>
            <pc:sldMk cId="2067837237" sldId="899"/>
            <ac:spMk id="34" creationId="{EA15E7A7-0EEE-9431-1144-1E3F177D6BC3}"/>
          </ac:spMkLst>
        </pc:spChg>
        <pc:spChg chg="add mod">
          <ac:chgData name="Annemarija Apine (LV)" userId="546f5c59-3b8d-47fd-b739-a8fadc631053" providerId="ADAL" clId="{34473802-5904-426F-ADDF-0D0D1B44876C}" dt="2024-02-25T22:14:34.821" v="540" actId="20577"/>
          <ac:spMkLst>
            <pc:docMk/>
            <pc:sldMk cId="2067837237" sldId="899"/>
            <ac:spMk id="35" creationId="{E26A329B-76CE-04FA-D6CD-A9A7093BE66A}"/>
          </ac:spMkLst>
        </pc:spChg>
        <pc:spChg chg="mod">
          <ac:chgData name="Annemarija Apine (LV)" userId="546f5c59-3b8d-47fd-b739-a8fadc631053" providerId="ADAL" clId="{34473802-5904-426F-ADDF-0D0D1B44876C}" dt="2024-03-10T23:45:20.567" v="9791" actId="20577"/>
          <ac:spMkLst>
            <pc:docMk/>
            <pc:sldMk cId="2067837237" sldId="899"/>
            <ac:spMk id="37" creationId="{B6DDB0A2-47C9-76F8-7A2C-69EB8DD17565}"/>
          </ac:spMkLst>
        </pc:spChg>
        <pc:spChg chg="mod">
          <ac:chgData name="Annemarija Apine (LV)" userId="546f5c59-3b8d-47fd-b739-a8fadc631053" providerId="ADAL" clId="{34473802-5904-426F-ADDF-0D0D1B44876C}" dt="2024-03-10T23:45:22.096" v="9795" actId="5793"/>
          <ac:spMkLst>
            <pc:docMk/>
            <pc:sldMk cId="2067837237" sldId="899"/>
            <ac:spMk id="40" creationId="{29BA4A71-B7C9-A424-C282-D4ED9B1216C9}"/>
          </ac:spMkLst>
        </pc:spChg>
        <pc:spChg chg="mod">
          <ac:chgData name="Annemarija Apine (LV)" userId="546f5c59-3b8d-47fd-b739-a8fadc631053" providerId="ADAL" clId="{34473802-5904-426F-ADDF-0D0D1B44876C}" dt="2024-03-10T23:45:24.318" v="9799" actId="5793"/>
          <ac:spMkLst>
            <pc:docMk/>
            <pc:sldMk cId="2067837237" sldId="899"/>
            <ac:spMk id="43" creationId="{A4C86A5D-5866-D51D-FE31-1FACF697AC6E}"/>
          </ac:spMkLst>
        </pc:spChg>
        <pc:spChg chg="mod">
          <ac:chgData name="Annemarija Apine (LV)" userId="546f5c59-3b8d-47fd-b739-a8fadc631053" providerId="ADAL" clId="{34473802-5904-426F-ADDF-0D0D1B44876C}" dt="2024-03-10T23:45:26.533" v="9803" actId="5793"/>
          <ac:spMkLst>
            <pc:docMk/>
            <pc:sldMk cId="2067837237" sldId="899"/>
            <ac:spMk id="46" creationId="{D68576F3-035C-863F-7882-50755D2DB247}"/>
          </ac:spMkLst>
        </pc:spChg>
        <pc:spChg chg="mod">
          <ac:chgData name="Annemarija Apine (LV)" userId="546f5c59-3b8d-47fd-b739-a8fadc631053" providerId="ADAL" clId="{34473802-5904-426F-ADDF-0D0D1B44876C}" dt="2024-03-04T11:52:08.004" v="8773"/>
          <ac:spMkLst>
            <pc:docMk/>
            <pc:sldMk cId="2067837237" sldId="899"/>
            <ac:spMk id="57" creationId="{3E9228D8-9AAE-DA69-2A08-E3C6CC255060}"/>
          </ac:spMkLst>
        </pc:spChg>
        <pc:grpChg chg="add del mod">
          <ac:chgData name="Annemarija Apine (LV)" userId="546f5c59-3b8d-47fd-b739-a8fadc631053" providerId="ADAL" clId="{34473802-5904-426F-ADDF-0D0D1B44876C}" dt="2024-03-04T11:52:25.006" v="8774"/>
          <ac:grpSpMkLst>
            <pc:docMk/>
            <pc:sldMk cId="2067837237" sldId="899"/>
            <ac:grpSpMk id="2" creationId="{88D4D4AA-CC41-971E-060A-2535507B505D}"/>
          </ac:grpSpMkLst>
        </pc:grpChg>
        <pc:cxnChg chg="mod">
          <ac:chgData name="Annemarija Apine (LV)" userId="546f5c59-3b8d-47fd-b739-a8fadc631053" providerId="ADAL" clId="{34473802-5904-426F-ADDF-0D0D1B44876C}" dt="2024-03-04T11:52:08.004" v="8773"/>
          <ac:cxnSpMkLst>
            <pc:docMk/>
            <pc:sldMk cId="2067837237" sldId="899"/>
            <ac:cxnSpMk id="8" creationId="{232A8111-9947-3825-F415-88095FFCC0BF}"/>
          </ac:cxnSpMkLst>
        </pc:cxnChg>
        <pc:cxnChg chg="add del mod">
          <ac:chgData name="Annemarija Apine (LV)" userId="546f5c59-3b8d-47fd-b739-a8fadc631053" providerId="ADAL" clId="{34473802-5904-426F-ADDF-0D0D1B44876C}" dt="2024-03-10T23:41:39.023" v="9549" actId="1035"/>
          <ac:cxnSpMkLst>
            <pc:docMk/>
            <pc:sldMk cId="2067837237" sldId="899"/>
            <ac:cxnSpMk id="58" creationId="{40D223D7-59FB-34E8-848D-B3340127E7BE}"/>
          </ac:cxnSpMkLst>
        </pc:cxnChg>
      </pc:sldChg>
      <pc:sldChg chg="addSp delSp modSp add mod addCm delCm">
        <pc:chgData name="Annemarija Apine (LV)" userId="546f5c59-3b8d-47fd-b739-a8fadc631053" providerId="ADAL" clId="{34473802-5904-426F-ADDF-0D0D1B44876C}" dt="2024-03-08T11:55:36.386" v="8945" actId="207"/>
        <pc:sldMkLst>
          <pc:docMk/>
          <pc:sldMk cId="1735191326" sldId="900"/>
        </pc:sldMkLst>
        <pc:spChg chg="add mod">
          <ac:chgData name="Annemarija Apine (LV)" userId="546f5c59-3b8d-47fd-b739-a8fadc631053" providerId="ADAL" clId="{34473802-5904-426F-ADDF-0D0D1B44876C}" dt="2024-03-04T11:50:55.152" v="8719" actId="1076"/>
          <ac:spMkLst>
            <pc:docMk/>
            <pc:sldMk cId="1735191326" sldId="900"/>
            <ac:spMk id="2" creationId="{C697EF02-3183-316C-47B1-AAA43503E885}"/>
          </ac:spMkLst>
        </pc:spChg>
        <pc:spChg chg="mod">
          <ac:chgData name="Annemarija Apine (LV)" userId="546f5c59-3b8d-47fd-b739-a8fadc631053" providerId="ADAL" clId="{34473802-5904-426F-ADDF-0D0D1B44876C}" dt="2024-02-25T22:16:29.838" v="563" actId="1076"/>
          <ac:spMkLst>
            <pc:docMk/>
            <pc:sldMk cId="1735191326" sldId="900"/>
            <ac:spMk id="3" creationId="{02A7C9EB-E60F-E4DD-7BE8-A36BF399BA1F}"/>
          </ac:spMkLst>
        </pc:spChg>
        <pc:spChg chg="add del mod">
          <ac:chgData name="Annemarija Apine (LV)" userId="546f5c59-3b8d-47fd-b739-a8fadc631053" providerId="ADAL" clId="{34473802-5904-426F-ADDF-0D0D1B44876C}" dt="2024-02-28T10:33:02.695" v="4300" actId="478"/>
          <ac:spMkLst>
            <pc:docMk/>
            <pc:sldMk cId="1735191326" sldId="900"/>
            <ac:spMk id="7" creationId="{E9F05862-4666-889F-45AF-4CC4550647A6}"/>
          </ac:spMkLst>
        </pc:spChg>
        <pc:spChg chg="add mod">
          <ac:chgData name="Annemarija Apine (LV)" userId="546f5c59-3b8d-47fd-b739-a8fadc631053" providerId="ADAL" clId="{34473802-5904-426F-ADDF-0D0D1B44876C}" dt="2024-02-29T08:20:08.072" v="4732" actId="207"/>
          <ac:spMkLst>
            <pc:docMk/>
            <pc:sldMk cId="1735191326" sldId="900"/>
            <ac:spMk id="8" creationId="{6780DFA8-A076-77AE-8C21-E7D9C3E8632C}"/>
          </ac:spMkLst>
        </pc:spChg>
        <pc:spChg chg="del">
          <ac:chgData name="Annemarija Apine (LV)" userId="546f5c59-3b8d-47fd-b739-a8fadc631053" providerId="ADAL" clId="{34473802-5904-426F-ADDF-0D0D1B44876C}" dt="2024-02-25T22:16:32.740" v="564" actId="478"/>
          <ac:spMkLst>
            <pc:docMk/>
            <pc:sldMk cId="1735191326" sldId="900"/>
            <ac:spMk id="9" creationId="{4410BDA3-C70D-09A4-DA6C-34323C7C12E7}"/>
          </ac:spMkLst>
        </pc:spChg>
        <pc:spChg chg="del">
          <ac:chgData name="Annemarija Apine (LV)" userId="546f5c59-3b8d-47fd-b739-a8fadc631053" providerId="ADAL" clId="{34473802-5904-426F-ADDF-0D0D1B44876C}" dt="2024-02-25T22:16:32.740" v="564" actId="478"/>
          <ac:spMkLst>
            <pc:docMk/>
            <pc:sldMk cId="1735191326" sldId="900"/>
            <ac:spMk id="10" creationId="{62B42245-DA42-CBD7-0584-79D1BE955F34}"/>
          </ac:spMkLst>
        </pc:spChg>
        <pc:spChg chg="add del mod">
          <ac:chgData name="Annemarija Apine (LV)" userId="546f5c59-3b8d-47fd-b739-a8fadc631053" providerId="ADAL" clId="{34473802-5904-426F-ADDF-0D0D1B44876C}" dt="2024-03-04T11:49:25.227" v="8700" actId="478"/>
          <ac:spMkLst>
            <pc:docMk/>
            <pc:sldMk cId="1735191326" sldId="900"/>
            <ac:spMk id="10" creationId="{7408BA9A-4A8C-4BE9-83EA-4BEC92CFB222}"/>
          </ac:spMkLst>
        </pc:spChg>
        <pc:spChg chg="del">
          <ac:chgData name="Annemarija Apine (LV)" userId="546f5c59-3b8d-47fd-b739-a8fadc631053" providerId="ADAL" clId="{34473802-5904-426F-ADDF-0D0D1B44876C}" dt="2024-02-25T22:16:32.740" v="564" actId="478"/>
          <ac:spMkLst>
            <pc:docMk/>
            <pc:sldMk cId="1735191326" sldId="900"/>
            <ac:spMk id="11" creationId="{966F4E94-42AF-8C4C-9F85-A34218079A7B}"/>
          </ac:spMkLst>
        </pc:spChg>
        <pc:spChg chg="del">
          <ac:chgData name="Annemarija Apine (LV)" userId="546f5c59-3b8d-47fd-b739-a8fadc631053" providerId="ADAL" clId="{34473802-5904-426F-ADDF-0D0D1B44876C}" dt="2024-02-25T22:16:32.740" v="564" actId="478"/>
          <ac:spMkLst>
            <pc:docMk/>
            <pc:sldMk cId="1735191326" sldId="900"/>
            <ac:spMk id="14" creationId="{C12F4A68-0A98-B4BF-1D5E-5B0917DB284B}"/>
          </ac:spMkLst>
        </pc:spChg>
        <pc:spChg chg="del">
          <ac:chgData name="Annemarija Apine (LV)" userId="546f5c59-3b8d-47fd-b739-a8fadc631053" providerId="ADAL" clId="{34473802-5904-426F-ADDF-0D0D1B44876C}" dt="2024-02-25T22:16:32.740" v="564" actId="478"/>
          <ac:spMkLst>
            <pc:docMk/>
            <pc:sldMk cId="1735191326" sldId="900"/>
            <ac:spMk id="15" creationId="{18CF1D23-C8C0-7311-A610-9559FB968B61}"/>
          </ac:spMkLst>
        </pc:spChg>
        <pc:spChg chg="mod">
          <ac:chgData name="Annemarija Apine (LV)" userId="546f5c59-3b8d-47fd-b739-a8fadc631053" providerId="ADAL" clId="{34473802-5904-426F-ADDF-0D0D1B44876C}" dt="2024-03-04T11:50:12.830" v="8714" actId="1035"/>
          <ac:spMkLst>
            <pc:docMk/>
            <pc:sldMk cId="1735191326" sldId="900"/>
            <ac:spMk id="16" creationId="{BA798A18-B6C9-5AD5-0309-542D9063F7F3}"/>
          </ac:spMkLst>
        </pc:spChg>
        <pc:spChg chg="mod">
          <ac:chgData name="Annemarija Apine (LV)" userId="546f5c59-3b8d-47fd-b739-a8fadc631053" providerId="ADAL" clId="{34473802-5904-426F-ADDF-0D0D1B44876C}" dt="2024-03-04T11:50:12.830" v="8714" actId="1035"/>
          <ac:spMkLst>
            <pc:docMk/>
            <pc:sldMk cId="1735191326" sldId="900"/>
            <ac:spMk id="17" creationId="{8151CA2C-8981-B68D-64B7-28A4A90DA327}"/>
          </ac:spMkLst>
        </pc:spChg>
        <pc:spChg chg="mod">
          <ac:chgData name="Annemarija Apine (LV)" userId="546f5c59-3b8d-47fd-b739-a8fadc631053" providerId="ADAL" clId="{34473802-5904-426F-ADDF-0D0D1B44876C}" dt="2024-02-25T22:16:13.820" v="560" actId="208"/>
          <ac:spMkLst>
            <pc:docMk/>
            <pc:sldMk cId="1735191326" sldId="900"/>
            <ac:spMk id="21" creationId="{7AE0AAE5-4EC9-DD53-56C2-33377686F8EF}"/>
          </ac:spMkLst>
        </pc:spChg>
        <pc:spChg chg="mod">
          <ac:chgData name="Annemarija Apine (LV)" userId="546f5c59-3b8d-47fd-b739-a8fadc631053" providerId="ADAL" clId="{34473802-5904-426F-ADDF-0D0D1B44876C}" dt="2024-02-25T22:15:59.233" v="558"/>
          <ac:spMkLst>
            <pc:docMk/>
            <pc:sldMk cId="1735191326" sldId="900"/>
            <ac:spMk id="22" creationId="{EC93622C-265E-D387-2605-AE4A4548EFAD}"/>
          </ac:spMkLst>
        </pc:spChg>
        <pc:spChg chg="mod">
          <ac:chgData name="Annemarija Apine (LV)" userId="546f5c59-3b8d-47fd-b739-a8fadc631053" providerId="ADAL" clId="{34473802-5904-426F-ADDF-0D0D1B44876C}" dt="2024-02-25T22:16:13.820" v="560" actId="208"/>
          <ac:spMkLst>
            <pc:docMk/>
            <pc:sldMk cId="1735191326" sldId="900"/>
            <ac:spMk id="23" creationId="{1B89C6A7-D4E1-CA3E-6BF6-16634CCB8552}"/>
          </ac:spMkLst>
        </pc:spChg>
        <pc:spChg chg="mod">
          <ac:chgData name="Annemarija Apine (LV)" userId="546f5c59-3b8d-47fd-b739-a8fadc631053" providerId="ADAL" clId="{34473802-5904-426F-ADDF-0D0D1B44876C}" dt="2024-02-25T22:16:13.820" v="560" actId="208"/>
          <ac:spMkLst>
            <pc:docMk/>
            <pc:sldMk cId="1735191326" sldId="900"/>
            <ac:spMk id="24" creationId="{5FEC99C6-C046-6B8B-B626-B348A583E386}"/>
          </ac:spMkLst>
        </pc:spChg>
        <pc:spChg chg="mod">
          <ac:chgData name="Annemarija Apine (LV)" userId="546f5c59-3b8d-47fd-b739-a8fadc631053" providerId="ADAL" clId="{34473802-5904-426F-ADDF-0D0D1B44876C}" dt="2024-02-25T22:16:01.836" v="559"/>
          <ac:spMkLst>
            <pc:docMk/>
            <pc:sldMk cId="1735191326" sldId="900"/>
            <ac:spMk id="25" creationId="{E3A1C324-4553-CB6A-8B81-8B007C858F90}"/>
          </ac:spMkLst>
        </pc:spChg>
        <pc:spChg chg="mod">
          <ac:chgData name="Annemarija Apine (LV)" userId="546f5c59-3b8d-47fd-b739-a8fadc631053" providerId="ADAL" clId="{34473802-5904-426F-ADDF-0D0D1B44876C}" dt="2024-03-04T11:50:12.830" v="8714" actId="1035"/>
          <ac:spMkLst>
            <pc:docMk/>
            <pc:sldMk cId="1735191326" sldId="900"/>
            <ac:spMk id="26" creationId="{65EC1BE1-13D8-345C-448E-BFA1A08ADD25}"/>
          </ac:spMkLst>
        </pc:spChg>
        <pc:spChg chg="mod">
          <ac:chgData name="Annemarija Apine (LV)" userId="546f5c59-3b8d-47fd-b739-a8fadc631053" providerId="ADAL" clId="{34473802-5904-426F-ADDF-0D0D1B44876C}" dt="2024-03-04T11:50:12.830" v="8714" actId="1035"/>
          <ac:spMkLst>
            <pc:docMk/>
            <pc:sldMk cId="1735191326" sldId="900"/>
            <ac:spMk id="30" creationId="{0E5402E0-269A-92B5-BC8D-30D2207F23A4}"/>
          </ac:spMkLst>
        </pc:spChg>
        <pc:spChg chg="mod">
          <ac:chgData name="Annemarija Apine (LV)" userId="546f5c59-3b8d-47fd-b739-a8fadc631053" providerId="ADAL" clId="{34473802-5904-426F-ADDF-0D0D1B44876C}" dt="2024-03-04T11:50:12.830" v="8714" actId="1035"/>
          <ac:spMkLst>
            <pc:docMk/>
            <pc:sldMk cId="1735191326" sldId="900"/>
            <ac:spMk id="38" creationId="{B3BF45B1-878A-6384-B57A-0E2DDAE87F72}"/>
          </ac:spMkLst>
        </pc:spChg>
        <pc:spChg chg="mod">
          <ac:chgData name="Annemarija Apine (LV)" userId="546f5c59-3b8d-47fd-b739-a8fadc631053" providerId="ADAL" clId="{34473802-5904-426F-ADDF-0D0D1B44876C}" dt="2024-03-04T11:50:12.830" v="8714" actId="1035"/>
          <ac:spMkLst>
            <pc:docMk/>
            <pc:sldMk cId="1735191326" sldId="900"/>
            <ac:spMk id="39" creationId="{6FBC0546-09C1-004A-40CC-EF2125A3E636}"/>
          </ac:spMkLst>
        </pc:spChg>
        <pc:spChg chg="mod">
          <ac:chgData name="Annemarija Apine (LV)" userId="546f5c59-3b8d-47fd-b739-a8fadc631053" providerId="ADAL" clId="{34473802-5904-426F-ADDF-0D0D1B44876C}" dt="2024-03-04T11:50:12.830" v="8714" actId="1035"/>
          <ac:spMkLst>
            <pc:docMk/>
            <pc:sldMk cId="1735191326" sldId="900"/>
            <ac:spMk id="40" creationId="{57B73D69-1346-AB3E-2B83-74CE4618BD54}"/>
          </ac:spMkLst>
        </pc:spChg>
        <pc:spChg chg="mod">
          <ac:chgData name="Annemarija Apine (LV)" userId="546f5c59-3b8d-47fd-b739-a8fadc631053" providerId="ADAL" clId="{34473802-5904-426F-ADDF-0D0D1B44876C}" dt="2024-03-04T11:50:12.830" v="8714" actId="1035"/>
          <ac:spMkLst>
            <pc:docMk/>
            <pc:sldMk cId="1735191326" sldId="900"/>
            <ac:spMk id="43" creationId="{B7165ACE-6816-8C1A-0E1A-FCA6963F41F4}"/>
          </ac:spMkLst>
        </pc:spChg>
        <pc:spChg chg="mod">
          <ac:chgData name="Annemarija Apine (LV)" userId="546f5c59-3b8d-47fd-b739-a8fadc631053" providerId="ADAL" clId="{34473802-5904-426F-ADDF-0D0D1B44876C}" dt="2024-03-04T11:50:12.830" v="8714" actId="1035"/>
          <ac:spMkLst>
            <pc:docMk/>
            <pc:sldMk cId="1735191326" sldId="900"/>
            <ac:spMk id="44" creationId="{7B06B257-212B-0CF9-9F65-466A796A3B21}"/>
          </ac:spMkLst>
        </pc:spChg>
        <pc:spChg chg="mod">
          <ac:chgData name="Annemarija Apine (LV)" userId="546f5c59-3b8d-47fd-b739-a8fadc631053" providerId="ADAL" clId="{34473802-5904-426F-ADDF-0D0D1B44876C}" dt="2024-03-04T11:50:12.830" v="8714" actId="1035"/>
          <ac:spMkLst>
            <pc:docMk/>
            <pc:sldMk cId="1735191326" sldId="900"/>
            <ac:spMk id="45" creationId="{D55CC03F-D983-B21C-EA37-379DE9F97A03}"/>
          </ac:spMkLst>
        </pc:spChg>
        <pc:spChg chg="mod">
          <ac:chgData name="Annemarija Apine (LV)" userId="546f5c59-3b8d-47fd-b739-a8fadc631053" providerId="ADAL" clId="{34473802-5904-426F-ADDF-0D0D1B44876C}" dt="2024-03-08T11:55:36.386" v="8945" actId="207"/>
          <ac:spMkLst>
            <pc:docMk/>
            <pc:sldMk cId="1735191326" sldId="900"/>
            <ac:spMk id="47" creationId="{2DD24A6F-2555-7D50-6B9E-19589A959683}"/>
          </ac:spMkLst>
        </pc:spChg>
        <pc:spChg chg="mod">
          <ac:chgData name="Annemarija Apine (LV)" userId="546f5c59-3b8d-47fd-b739-a8fadc631053" providerId="ADAL" clId="{34473802-5904-426F-ADDF-0D0D1B44876C}" dt="2024-03-04T11:50:12.830" v="8714" actId="1035"/>
          <ac:spMkLst>
            <pc:docMk/>
            <pc:sldMk cId="1735191326" sldId="900"/>
            <ac:spMk id="48" creationId="{CAAFFC2F-2EFD-CD7C-DEEE-DBA02C9CB423}"/>
          </ac:spMkLst>
        </pc:spChg>
        <pc:spChg chg="mod">
          <ac:chgData name="Annemarija Apine (LV)" userId="546f5c59-3b8d-47fd-b739-a8fadc631053" providerId="ADAL" clId="{34473802-5904-426F-ADDF-0D0D1B44876C}" dt="2024-03-04T11:50:12.830" v="8714" actId="1035"/>
          <ac:spMkLst>
            <pc:docMk/>
            <pc:sldMk cId="1735191326" sldId="900"/>
            <ac:spMk id="49" creationId="{53548C78-2935-71B8-851B-769FCB896034}"/>
          </ac:spMkLst>
        </pc:spChg>
        <pc:spChg chg="mod">
          <ac:chgData name="Annemarija Apine (LV)" userId="546f5c59-3b8d-47fd-b739-a8fadc631053" providerId="ADAL" clId="{34473802-5904-426F-ADDF-0D0D1B44876C}" dt="2024-03-08T11:55:36.386" v="8945" actId="207"/>
          <ac:spMkLst>
            <pc:docMk/>
            <pc:sldMk cId="1735191326" sldId="900"/>
            <ac:spMk id="55" creationId="{D19AF0DB-E5A6-2252-087C-6AA7A679E44D}"/>
          </ac:spMkLst>
        </pc:spChg>
        <pc:spChg chg="mod">
          <ac:chgData name="Annemarija Apine (LV)" userId="546f5c59-3b8d-47fd-b739-a8fadc631053" providerId="ADAL" clId="{34473802-5904-426F-ADDF-0D0D1B44876C}" dt="2024-03-04T11:50:12.830" v="8714" actId="1035"/>
          <ac:spMkLst>
            <pc:docMk/>
            <pc:sldMk cId="1735191326" sldId="900"/>
            <ac:spMk id="56" creationId="{3A969FC1-A5DF-7F7A-364B-B4B37D4AA186}"/>
          </ac:spMkLst>
        </pc:spChg>
        <pc:spChg chg="mod">
          <ac:chgData name="Annemarija Apine (LV)" userId="546f5c59-3b8d-47fd-b739-a8fadc631053" providerId="ADAL" clId="{34473802-5904-426F-ADDF-0D0D1B44876C}" dt="2024-03-04T11:50:12.830" v="8714" actId="1035"/>
          <ac:spMkLst>
            <pc:docMk/>
            <pc:sldMk cId="1735191326" sldId="900"/>
            <ac:spMk id="57" creationId="{6E357888-D229-2881-630B-92EDB810D202}"/>
          </ac:spMkLst>
        </pc:spChg>
        <pc:spChg chg="mod">
          <ac:chgData name="Annemarija Apine (LV)" userId="546f5c59-3b8d-47fd-b739-a8fadc631053" providerId="ADAL" clId="{34473802-5904-426F-ADDF-0D0D1B44876C}" dt="2024-03-04T11:50:12.830" v="8714" actId="1035"/>
          <ac:spMkLst>
            <pc:docMk/>
            <pc:sldMk cId="1735191326" sldId="900"/>
            <ac:spMk id="58" creationId="{73A5DA40-EC68-C1DD-E470-027AE8CCAA6A}"/>
          </ac:spMkLst>
        </pc:spChg>
        <pc:spChg chg="mod">
          <ac:chgData name="Annemarija Apine (LV)" userId="546f5c59-3b8d-47fd-b739-a8fadc631053" providerId="ADAL" clId="{34473802-5904-426F-ADDF-0D0D1B44876C}" dt="2024-03-04T11:50:12.830" v="8714" actId="1035"/>
          <ac:spMkLst>
            <pc:docMk/>
            <pc:sldMk cId="1735191326" sldId="900"/>
            <ac:spMk id="59" creationId="{69BA0589-D566-AAB4-31E4-35DD4F0EA8AD}"/>
          </ac:spMkLst>
        </pc:spChg>
        <pc:spChg chg="mod">
          <ac:chgData name="Annemarija Apine (LV)" userId="546f5c59-3b8d-47fd-b739-a8fadc631053" providerId="ADAL" clId="{34473802-5904-426F-ADDF-0D0D1B44876C}" dt="2024-03-04T11:50:12.830" v="8714" actId="1035"/>
          <ac:spMkLst>
            <pc:docMk/>
            <pc:sldMk cId="1735191326" sldId="900"/>
            <ac:spMk id="60" creationId="{CB6722E8-D1A5-E761-7A03-E5BE22B6FF50}"/>
          </ac:spMkLst>
        </pc:spChg>
        <pc:spChg chg="mod">
          <ac:chgData name="Annemarija Apine (LV)" userId="546f5c59-3b8d-47fd-b739-a8fadc631053" providerId="ADAL" clId="{34473802-5904-426F-ADDF-0D0D1B44876C}" dt="2024-03-04T11:50:12.830" v="8714" actId="1035"/>
          <ac:spMkLst>
            <pc:docMk/>
            <pc:sldMk cId="1735191326" sldId="900"/>
            <ac:spMk id="61" creationId="{B96B44FD-B302-C466-E087-68303F31E913}"/>
          </ac:spMkLst>
        </pc:spChg>
        <pc:spChg chg="mod">
          <ac:chgData name="Annemarija Apine (LV)" userId="546f5c59-3b8d-47fd-b739-a8fadc631053" providerId="ADAL" clId="{34473802-5904-426F-ADDF-0D0D1B44876C}" dt="2024-03-04T11:50:12.830" v="8714" actId="1035"/>
          <ac:spMkLst>
            <pc:docMk/>
            <pc:sldMk cId="1735191326" sldId="900"/>
            <ac:spMk id="62" creationId="{AAF63E4B-E49D-0898-F096-917EC5BB8784}"/>
          </ac:spMkLst>
        </pc:spChg>
        <pc:spChg chg="mod">
          <ac:chgData name="Annemarija Apine (LV)" userId="546f5c59-3b8d-47fd-b739-a8fadc631053" providerId="ADAL" clId="{34473802-5904-426F-ADDF-0D0D1B44876C}" dt="2024-03-04T11:50:12.830" v="8714" actId="1035"/>
          <ac:spMkLst>
            <pc:docMk/>
            <pc:sldMk cId="1735191326" sldId="900"/>
            <ac:spMk id="63" creationId="{C107C544-9363-E16D-C21A-14EB3086FD5E}"/>
          </ac:spMkLst>
        </pc:spChg>
        <pc:spChg chg="mod">
          <ac:chgData name="Annemarija Apine (LV)" userId="546f5c59-3b8d-47fd-b739-a8fadc631053" providerId="ADAL" clId="{34473802-5904-426F-ADDF-0D0D1B44876C}" dt="2024-03-04T11:50:12.830" v="8714" actId="1035"/>
          <ac:spMkLst>
            <pc:docMk/>
            <pc:sldMk cId="1735191326" sldId="900"/>
            <ac:spMk id="64" creationId="{BAC6FD31-C415-55AA-743A-8F036F3BF365}"/>
          </ac:spMkLst>
        </pc:spChg>
        <pc:spChg chg="mod">
          <ac:chgData name="Annemarija Apine (LV)" userId="546f5c59-3b8d-47fd-b739-a8fadc631053" providerId="ADAL" clId="{34473802-5904-426F-ADDF-0D0D1B44876C}" dt="2024-03-04T11:50:12.830" v="8714" actId="1035"/>
          <ac:spMkLst>
            <pc:docMk/>
            <pc:sldMk cId="1735191326" sldId="900"/>
            <ac:spMk id="65" creationId="{DFB0571C-3F32-08BC-2216-A09604DF1E6C}"/>
          </ac:spMkLst>
        </pc:spChg>
        <pc:spChg chg="mod">
          <ac:chgData name="Annemarija Apine (LV)" userId="546f5c59-3b8d-47fd-b739-a8fadc631053" providerId="ADAL" clId="{34473802-5904-426F-ADDF-0D0D1B44876C}" dt="2024-03-04T11:50:12.830" v="8714" actId="1035"/>
          <ac:spMkLst>
            <pc:docMk/>
            <pc:sldMk cId="1735191326" sldId="900"/>
            <ac:spMk id="81" creationId="{DDCA628C-F107-F2EE-29A3-F9E29FA8073D}"/>
          </ac:spMkLst>
        </pc:spChg>
        <pc:grpChg chg="mod">
          <ac:chgData name="Annemarija Apine (LV)" userId="546f5c59-3b8d-47fd-b739-a8fadc631053" providerId="ADAL" clId="{34473802-5904-426F-ADDF-0D0D1B44876C}" dt="2024-03-04T11:50:49.856" v="8718" actId="1076"/>
          <ac:grpSpMkLst>
            <pc:docMk/>
            <pc:sldMk cId="1735191326" sldId="900"/>
            <ac:grpSpMk id="80" creationId="{A4F7EE97-2488-C4D0-BB25-B488D03588E8}"/>
          </ac:grpSpMkLst>
        </pc:grpChg>
        <pc:grpChg chg="mod">
          <ac:chgData name="Annemarija Apine (LV)" userId="546f5c59-3b8d-47fd-b739-a8fadc631053" providerId="ADAL" clId="{34473802-5904-426F-ADDF-0D0D1B44876C}" dt="2024-03-04T11:50:12.830" v="8714" actId="1035"/>
          <ac:grpSpMkLst>
            <pc:docMk/>
            <pc:sldMk cId="1735191326" sldId="900"/>
            <ac:grpSpMk id="82" creationId="{496FB1E0-A56A-675A-A493-CE87F37A3B9E}"/>
          </ac:grpSpMkLst>
        </pc:grpChg>
        <pc:grpChg chg="mod">
          <ac:chgData name="Annemarija Apine (LV)" userId="546f5c59-3b8d-47fd-b739-a8fadc631053" providerId="ADAL" clId="{34473802-5904-426F-ADDF-0D0D1B44876C}" dt="2024-03-04T11:50:12.830" v="8714" actId="1035"/>
          <ac:grpSpMkLst>
            <pc:docMk/>
            <pc:sldMk cId="1735191326" sldId="900"/>
            <ac:grpSpMk id="88" creationId="{35189943-8174-BDC5-E00B-6AA3B261EF4D}"/>
          </ac:grpSpMkLst>
        </pc:grpChg>
        <pc:grpChg chg="mod">
          <ac:chgData name="Annemarija Apine (LV)" userId="546f5c59-3b8d-47fd-b739-a8fadc631053" providerId="ADAL" clId="{34473802-5904-426F-ADDF-0D0D1B44876C}" dt="2024-03-04T11:50:12.830" v="8714" actId="1035"/>
          <ac:grpSpMkLst>
            <pc:docMk/>
            <pc:sldMk cId="1735191326" sldId="900"/>
            <ac:grpSpMk id="94" creationId="{594AAC2C-5B65-E8F9-8ECC-13E411076E0A}"/>
          </ac:grpSpMkLst>
        </pc:grpChg>
        <pc:grpChg chg="mod">
          <ac:chgData name="Annemarija Apine (LV)" userId="546f5c59-3b8d-47fd-b739-a8fadc631053" providerId="ADAL" clId="{34473802-5904-426F-ADDF-0D0D1B44876C}" dt="2024-03-04T11:50:12.830" v="8714" actId="1035"/>
          <ac:grpSpMkLst>
            <pc:docMk/>
            <pc:sldMk cId="1735191326" sldId="900"/>
            <ac:grpSpMk id="111" creationId="{25E49F92-0710-7B61-8355-C954630A29B3}"/>
          </ac:grpSpMkLst>
        </pc:grpChg>
        <pc:extLst>
          <p:ext xmlns:p="http://schemas.openxmlformats.org/presentationml/2006/main" uri="{D6D511B9-2390-475A-947B-AFAB55BFBCF1}">
            <pc226:cmChg xmlns:pc226="http://schemas.microsoft.com/office/powerpoint/2022/06/main/command" chg="add del">
              <pc226:chgData name="Annemarija Apine (LV)" userId="546f5c59-3b8d-47fd-b739-a8fadc631053" providerId="ADAL" clId="{34473802-5904-426F-ADDF-0D0D1B44876C}" dt="2024-03-01T15:37:38.176" v="6874"/>
              <pc2:cmMkLst xmlns:pc2="http://schemas.microsoft.com/office/powerpoint/2019/9/main/command">
                <pc:docMk/>
                <pc:sldMk cId="1735191326" sldId="900"/>
                <pc2:cmMk id="{C4902351-19A0-4C9B-8AB4-BDDA6FC0D33F}"/>
              </pc2:cmMkLst>
            </pc226:cmChg>
          </p:ext>
        </pc:extLst>
      </pc:sldChg>
      <pc:sldChg chg="modSp new mod">
        <pc:chgData name="Annemarija Apine (LV)" userId="546f5c59-3b8d-47fd-b739-a8fadc631053" providerId="ADAL" clId="{34473802-5904-426F-ADDF-0D0D1B44876C}" dt="2024-02-25T22:20:11.217" v="645" actId="20577"/>
        <pc:sldMkLst>
          <pc:docMk/>
          <pc:sldMk cId="1633958630" sldId="901"/>
        </pc:sldMkLst>
        <pc:spChg chg="mod">
          <ac:chgData name="Annemarija Apine (LV)" userId="546f5c59-3b8d-47fd-b739-a8fadc631053" providerId="ADAL" clId="{34473802-5904-426F-ADDF-0D0D1B44876C}" dt="2024-02-25T22:20:11.217" v="645" actId="20577"/>
          <ac:spMkLst>
            <pc:docMk/>
            <pc:sldMk cId="1633958630" sldId="901"/>
            <ac:spMk id="2" creationId="{DFA3F87B-F232-7860-4612-ADEBE46AD28C}"/>
          </ac:spMkLst>
        </pc:spChg>
      </pc:sldChg>
      <pc:sldChg chg="modSp add mod ord">
        <pc:chgData name="Annemarija Apine (LV)" userId="546f5c59-3b8d-47fd-b739-a8fadc631053" providerId="ADAL" clId="{34473802-5904-426F-ADDF-0D0D1B44876C}" dt="2024-02-25T22:21:23.491" v="702"/>
        <pc:sldMkLst>
          <pc:docMk/>
          <pc:sldMk cId="3784150892" sldId="902"/>
        </pc:sldMkLst>
        <pc:spChg chg="mod">
          <ac:chgData name="Annemarija Apine (LV)" userId="546f5c59-3b8d-47fd-b739-a8fadc631053" providerId="ADAL" clId="{34473802-5904-426F-ADDF-0D0D1B44876C}" dt="2024-02-25T22:21:21.530" v="700" actId="20577"/>
          <ac:spMkLst>
            <pc:docMk/>
            <pc:sldMk cId="3784150892" sldId="902"/>
            <ac:spMk id="2" creationId="{DFA3F87B-F232-7860-4612-ADEBE46AD28C}"/>
          </ac:spMkLst>
        </pc:spChg>
      </pc:sldChg>
      <pc:sldChg chg="addSp delSp modSp new mod modNotesTx">
        <pc:chgData name="Annemarija Apine (LV)" userId="546f5c59-3b8d-47fd-b739-a8fadc631053" providerId="ADAL" clId="{34473802-5904-426F-ADDF-0D0D1B44876C}" dt="2024-03-04T09:09:39.746" v="7734" actId="255"/>
        <pc:sldMkLst>
          <pc:docMk/>
          <pc:sldMk cId="3011875620" sldId="903"/>
        </pc:sldMkLst>
        <pc:spChg chg="mod">
          <ac:chgData name="Annemarija Apine (LV)" userId="546f5c59-3b8d-47fd-b739-a8fadc631053" providerId="ADAL" clId="{34473802-5904-426F-ADDF-0D0D1B44876C}" dt="2024-02-25T22:22:31.991" v="757" actId="20577"/>
          <ac:spMkLst>
            <pc:docMk/>
            <pc:sldMk cId="3011875620" sldId="903"/>
            <ac:spMk id="2" creationId="{EDFBCEAB-7D4A-91D0-E036-AAFACC3ABE8D}"/>
          </ac:spMkLst>
        </pc:spChg>
        <pc:spChg chg="mod">
          <ac:chgData name="Annemarija Apine (LV)" userId="546f5c59-3b8d-47fd-b739-a8fadc631053" providerId="ADAL" clId="{34473802-5904-426F-ADDF-0D0D1B44876C}" dt="2024-02-29T08:29:26.207" v="5006" actId="207"/>
          <ac:spMkLst>
            <pc:docMk/>
            <pc:sldMk cId="3011875620" sldId="903"/>
            <ac:spMk id="3" creationId="{26614F0E-2835-BB69-9173-4B170029D0DD}"/>
          </ac:spMkLst>
        </pc:spChg>
        <pc:spChg chg="add mod">
          <ac:chgData name="Annemarija Apine (LV)" userId="546f5c59-3b8d-47fd-b739-a8fadc631053" providerId="ADAL" clId="{34473802-5904-426F-ADDF-0D0D1B44876C}" dt="2024-03-04T09:09:39.746" v="7734" actId="255"/>
          <ac:spMkLst>
            <pc:docMk/>
            <pc:sldMk cId="3011875620" sldId="903"/>
            <ac:spMk id="7" creationId="{ABE8EE39-C466-6083-2B14-0237C935C96B}"/>
          </ac:spMkLst>
        </pc:spChg>
        <pc:spChg chg="add mod">
          <ac:chgData name="Annemarija Apine (LV)" userId="546f5c59-3b8d-47fd-b739-a8fadc631053" providerId="ADAL" clId="{34473802-5904-426F-ADDF-0D0D1B44876C}" dt="2024-03-04T09:09:39.746" v="7734" actId="255"/>
          <ac:spMkLst>
            <pc:docMk/>
            <pc:sldMk cId="3011875620" sldId="903"/>
            <ac:spMk id="8" creationId="{D3075EA9-222C-FBAB-0F0E-D4775F00C87E}"/>
          </ac:spMkLst>
        </pc:spChg>
        <pc:spChg chg="add mod">
          <ac:chgData name="Annemarija Apine (LV)" userId="546f5c59-3b8d-47fd-b739-a8fadc631053" providerId="ADAL" clId="{34473802-5904-426F-ADDF-0D0D1B44876C}" dt="2024-03-04T09:09:39.746" v="7734" actId="255"/>
          <ac:spMkLst>
            <pc:docMk/>
            <pc:sldMk cId="3011875620" sldId="903"/>
            <ac:spMk id="9" creationId="{08B6A8B7-7C80-74FA-BFD5-B86DDE664F74}"/>
          </ac:spMkLst>
        </pc:spChg>
        <pc:spChg chg="add mod">
          <ac:chgData name="Annemarija Apine (LV)" userId="546f5c59-3b8d-47fd-b739-a8fadc631053" providerId="ADAL" clId="{34473802-5904-426F-ADDF-0D0D1B44876C}" dt="2024-02-25T22:21:51.206" v="715" actId="1076"/>
          <ac:spMkLst>
            <pc:docMk/>
            <pc:sldMk cId="3011875620" sldId="903"/>
            <ac:spMk id="10" creationId="{B337C822-0ACB-7395-4E9F-FE78A0258C7B}"/>
          </ac:spMkLst>
        </pc:spChg>
        <pc:spChg chg="add mod">
          <ac:chgData name="Annemarija Apine (LV)" userId="546f5c59-3b8d-47fd-b739-a8fadc631053" providerId="ADAL" clId="{34473802-5904-426F-ADDF-0D0D1B44876C}" dt="2024-02-25T22:21:51.206" v="715" actId="1076"/>
          <ac:spMkLst>
            <pc:docMk/>
            <pc:sldMk cId="3011875620" sldId="903"/>
            <ac:spMk id="11" creationId="{BEFB8D44-5692-BC7D-1631-1623E5005441}"/>
          </ac:spMkLst>
        </pc:spChg>
        <pc:spChg chg="add mod">
          <ac:chgData name="Annemarija Apine (LV)" userId="546f5c59-3b8d-47fd-b739-a8fadc631053" providerId="ADAL" clId="{34473802-5904-426F-ADDF-0D0D1B44876C}" dt="2024-02-29T08:30:11.360" v="5127" actId="207"/>
          <ac:spMkLst>
            <pc:docMk/>
            <pc:sldMk cId="3011875620" sldId="903"/>
            <ac:spMk id="12" creationId="{DBFB2BB3-C6FD-C05A-7AC0-6ECF93BB1AD1}"/>
          </ac:spMkLst>
        </pc:spChg>
        <pc:spChg chg="add mod">
          <ac:chgData name="Annemarija Apine (LV)" userId="546f5c59-3b8d-47fd-b739-a8fadc631053" providerId="ADAL" clId="{34473802-5904-426F-ADDF-0D0D1B44876C}" dt="2024-02-29T08:30:40.809" v="5183" actId="12"/>
          <ac:spMkLst>
            <pc:docMk/>
            <pc:sldMk cId="3011875620" sldId="903"/>
            <ac:spMk id="13" creationId="{9483E848-E37C-5DCE-0BB4-A09AE6853B17}"/>
          </ac:spMkLst>
        </pc:spChg>
        <pc:spChg chg="add del mod">
          <ac:chgData name="Annemarija Apine (LV)" userId="546f5c59-3b8d-47fd-b739-a8fadc631053" providerId="ADAL" clId="{34473802-5904-426F-ADDF-0D0D1B44876C}" dt="2024-02-29T08:30:17.995" v="5130" actId="478"/>
          <ac:spMkLst>
            <pc:docMk/>
            <pc:sldMk cId="3011875620" sldId="903"/>
            <ac:spMk id="14" creationId="{F403939B-2395-3E1A-3449-786201A90C7E}"/>
          </ac:spMkLst>
        </pc:spChg>
        <pc:spChg chg="add del mod">
          <ac:chgData name="Annemarija Apine (LV)" userId="546f5c59-3b8d-47fd-b739-a8fadc631053" providerId="ADAL" clId="{34473802-5904-426F-ADDF-0D0D1B44876C}" dt="2024-02-29T08:30:16.880" v="5129" actId="478"/>
          <ac:spMkLst>
            <pc:docMk/>
            <pc:sldMk cId="3011875620" sldId="903"/>
            <ac:spMk id="15" creationId="{51A50EE3-6FA8-B20D-030B-8CC29A56A44F}"/>
          </ac:spMkLst>
        </pc:spChg>
      </pc:sldChg>
      <pc:sldChg chg="add del ord">
        <pc:chgData name="Annemarija Apine (LV)" userId="546f5c59-3b8d-47fd-b739-a8fadc631053" providerId="ADAL" clId="{34473802-5904-426F-ADDF-0D0D1B44876C}" dt="2024-02-25T22:21:28.367" v="708" actId="47"/>
        <pc:sldMkLst>
          <pc:docMk/>
          <pc:sldMk cId="8239825" sldId="904"/>
        </pc:sldMkLst>
      </pc:sldChg>
      <pc:sldChg chg="addSp delSp modSp add mod addCm delCm modNotesTx">
        <pc:chgData name="Annemarija Apine (LV)" userId="546f5c59-3b8d-47fd-b739-a8fadc631053" providerId="ADAL" clId="{34473802-5904-426F-ADDF-0D0D1B44876C}" dt="2024-03-04T09:16:34.867" v="7851" actId="20577"/>
        <pc:sldMkLst>
          <pc:docMk/>
          <pc:sldMk cId="795685229" sldId="904"/>
        </pc:sldMkLst>
        <pc:spChg chg="mod">
          <ac:chgData name="Annemarija Apine (LV)" userId="546f5c59-3b8d-47fd-b739-a8fadc631053" providerId="ADAL" clId="{34473802-5904-426F-ADDF-0D0D1B44876C}" dt="2024-02-25T22:30:12.144" v="1123" actId="20577"/>
          <ac:spMkLst>
            <pc:docMk/>
            <pc:sldMk cId="795685229" sldId="904"/>
            <ac:spMk id="2" creationId="{EDFBCEAB-7D4A-91D0-E036-AAFACC3ABE8D}"/>
          </ac:spMkLst>
        </pc:spChg>
        <pc:spChg chg="mod">
          <ac:chgData name="Annemarija Apine (LV)" userId="546f5c59-3b8d-47fd-b739-a8fadc631053" providerId="ADAL" clId="{34473802-5904-426F-ADDF-0D0D1B44876C}" dt="2024-02-25T22:35:47.605" v="1414" actId="13926"/>
          <ac:spMkLst>
            <pc:docMk/>
            <pc:sldMk cId="795685229" sldId="904"/>
            <ac:spMk id="3" creationId="{26614F0E-2835-BB69-9173-4B170029D0DD}"/>
          </ac:spMkLst>
        </pc:spChg>
        <pc:spChg chg="mod">
          <ac:chgData name="Annemarija Apine (LV)" userId="546f5c59-3b8d-47fd-b739-a8fadc631053" providerId="ADAL" clId="{34473802-5904-426F-ADDF-0D0D1B44876C}" dt="2024-02-25T22:27:06.195" v="1058" actId="208"/>
          <ac:spMkLst>
            <pc:docMk/>
            <pc:sldMk cId="795685229" sldId="904"/>
            <ac:spMk id="7" creationId="{ABE8EE39-C466-6083-2B14-0237C935C96B}"/>
          </ac:spMkLst>
        </pc:spChg>
        <pc:spChg chg="mod">
          <ac:chgData name="Annemarija Apine (LV)" userId="546f5c59-3b8d-47fd-b739-a8fadc631053" providerId="ADAL" clId="{34473802-5904-426F-ADDF-0D0D1B44876C}" dt="2024-02-25T22:27:15.292" v="1060" actId="208"/>
          <ac:spMkLst>
            <pc:docMk/>
            <pc:sldMk cId="795685229" sldId="904"/>
            <ac:spMk id="8" creationId="{D3075EA9-222C-FBAB-0F0E-D4775F00C87E}"/>
          </ac:spMkLst>
        </pc:spChg>
        <pc:spChg chg="mod">
          <ac:chgData name="Annemarija Apine (LV)" userId="546f5c59-3b8d-47fd-b739-a8fadc631053" providerId="ADAL" clId="{34473802-5904-426F-ADDF-0D0D1B44876C}" dt="2024-02-25T22:33:48.966" v="1251" actId="1076"/>
          <ac:spMkLst>
            <pc:docMk/>
            <pc:sldMk cId="795685229" sldId="904"/>
            <ac:spMk id="12" creationId="{DBFB2BB3-C6FD-C05A-7AC0-6ECF93BB1AD1}"/>
          </ac:spMkLst>
        </pc:spChg>
        <pc:spChg chg="del mod">
          <ac:chgData name="Annemarija Apine (LV)" userId="546f5c59-3b8d-47fd-b739-a8fadc631053" providerId="ADAL" clId="{34473802-5904-426F-ADDF-0D0D1B44876C}" dt="2024-02-25T22:31:09.510" v="1158" actId="478"/>
          <ac:spMkLst>
            <pc:docMk/>
            <pc:sldMk cId="795685229" sldId="904"/>
            <ac:spMk id="13" creationId="{9483E848-E37C-5DCE-0BB4-A09AE6853B17}"/>
          </ac:spMkLst>
        </pc:spChg>
        <pc:spChg chg="del">
          <ac:chgData name="Annemarija Apine (LV)" userId="546f5c59-3b8d-47fd-b739-a8fadc631053" providerId="ADAL" clId="{34473802-5904-426F-ADDF-0D0D1B44876C}" dt="2024-02-25T22:30:14.706" v="1124" actId="478"/>
          <ac:spMkLst>
            <pc:docMk/>
            <pc:sldMk cId="795685229" sldId="904"/>
            <ac:spMk id="14" creationId="{F403939B-2395-3E1A-3449-786201A90C7E}"/>
          </ac:spMkLst>
        </pc:spChg>
        <pc:spChg chg="add del mod">
          <ac:chgData name="Annemarija Apine (LV)" userId="546f5c59-3b8d-47fd-b739-a8fadc631053" providerId="ADAL" clId="{34473802-5904-426F-ADDF-0D0D1B44876C}" dt="2024-02-25T22:32:34.834" v="1208"/>
          <ac:spMkLst>
            <pc:docMk/>
            <pc:sldMk cId="795685229" sldId="904"/>
            <ac:spMk id="17" creationId="{F3826855-E239-ACC8-4554-9C77BAF8FAE5}"/>
          </ac:spMkLst>
        </pc:spChg>
        <pc:spChg chg="add del mod">
          <ac:chgData name="Annemarija Apine (LV)" userId="546f5c59-3b8d-47fd-b739-a8fadc631053" providerId="ADAL" clId="{34473802-5904-426F-ADDF-0D0D1B44876C}" dt="2024-02-25T22:32:34.834" v="1208"/>
          <ac:spMkLst>
            <pc:docMk/>
            <pc:sldMk cId="795685229" sldId="904"/>
            <ac:spMk id="18" creationId="{F6F63F30-30E9-54C5-C606-8963AAA21943}"/>
          </ac:spMkLst>
        </pc:spChg>
        <pc:spChg chg="add mod">
          <ac:chgData name="Annemarija Apine (LV)" userId="546f5c59-3b8d-47fd-b739-a8fadc631053" providerId="ADAL" clId="{34473802-5904-426F-ADDF-0D0D1B44876C}" dt="2024-02-29T08:33:30.236" v="5190" actId="20577"/>
          <ac:spMkLst>
            <pc:docMk/>
            <pc:sldMk cId="795685229" sldId="904"/>
            <ac:spMk id="19" creationId="{048A5838-6D25-2779-8C89-C2A6CF8D5120}"/>
          </ac:spMkLst>
        </pc:spChg>
        <pc:spChg chg="add mod">
          <ac:chgData name="Annemarija Apine (LV)" userId="546f5c59-3b8d-47fd-b739-a8fadc631053" providerId="ADAL" clId="{34473802-5904-426F-ADDF-0D0D1B44876C}" dt="2024-02-29T08:33:41.663" v="5199" actId="20577"/>
          <ac:spMkLst>
            <pc:docMk/>
            <pc:sldMk cId="795685229" sldId="904"/>
            <ac:spMk id="20" creationId="{13D2366C-A215-8EED-AC5E-4C4A9ACD1E0F}"/>
          </ac:spMkLst>
        </pc:spChg>
        <pc:spChg chg="add mod">
          <ac:chgData name="Annemarija Apine (LV)" userId="546f5c59-3b8d-47fd-b739-a8fadc631053" providerId="ADAL" clId="{34473802-5904-426F-ADDF-0D0D1B44876C}" dt="2024-02-29T08:33:52.367" v="5200" actId="20577"/>
          <ac:spMkLst>
            <pc:docMk/>
            <pc:sldMk cId="795685229" sldId="904"/>
            <ac:spMk id="21" creationId="{2F5D67B3-FA6B-A9D2-F814-CB68500CCB66}"/>
          </ac:spMkLst>
        </pc:spChg>
        <pc:spChg chg="add mod">
          <ac:chgData name="Annemarija Apine (LV)" userId="546f5c59-3b8d-47fd-b739-a8fadc631053" providerId="ADAL" clId="{34473802-5904-426F-ADDF-0D0D1B44876C}" dt="2024-02-25T22:35:34.931" v="1413" actId="20577"/>
          <ac:spMkLst>
            <pc:docMk/>
            <pc:sldMk cId="795685229" sldId="904"/>
            <ac:spMk id="22" creationId="{FD456066-D6DB-ED05-F1F7-BFB8E89B2676}"/>
          </ac:spMkLst>
        </pc:spChg>
        <pc:spChg chg="mod">
          <ac:chgData name="Annemarija Apine (LV)" userId="546f5c59-3b8d-47fd-b739-a8fadc631053" providerId="ADAL" clId="{34473802-5904-426F-ADDF-0D0D1B44876C}" dt="2024-03-04T09:09:45.848" v="7736" actId="255"/>
          <ac:spMkLst>
            <pc:docMk/>
            <pc:sldMk cId="795685229" sldId="904"/>
            <ac:spMk id="26" creationId="{CA90F111-E668-30BE-440B-5CC38462EB08}"/>
          </ac:spMkLst>
        </pc:spChg>
        <pc:spChg chg="mod">
          <ac:chgData name="Annemarija Apine (LV)" userId="546f5c59-3b8d-47fd-b739-a8fadc631053" providerId="ADAL" clId="{34473802-5904-426F-ADDF-0D0D1B44876C}" dt="2024-03-04T09:09:45.848" v="7736" actId="255"/>
          <ac:spMkLst>
            <pc:docMk/>
            <pc:sldMk cId="795685229" sldId="904"/>
            <ac:spMk id="27" creationId="{172E5147-E792-A60A-3E58-BBA21B93A3CD}"/>
          </ac:spMkLst>
        </pc:spChg>
        <pc:spChg chg="mod">
          <ac:chgData name="Annemarija Apine (LV)" userId="546f5c59-3b8d-47fd-b739-a8fadc631053" providerId="ADAL" clId="{34473802-5904-426F-ADDF-0D0D1B44876C}" dt="2024-03-04T09:09:45.848" v="7736" actId="255"/>
          <ac:spMkLst>
            <pc:docMk/>
            <pc:sldMk cId="795685229" sldId="904"/>
            <ac:spMk id="28" creationId="{113D09D0-B233-D26A-50AA-AAC45C1DB393}"/>
          </ac:spMkLst>
        </pc:spChg>
        <pc:spChg chg="mod">
          <ac:chgData name="Annemarija Apine (LV)" userId="546f5c59-3b8d-47fd-b739-a8fadc631053" providerId="ADAL" clId="{34473802-5904-426F-ADDF-0D0D1B44876C}" dt="2024-03-04T09:09:10.565" v="7728" actId="20577"/>
          <ac:spMkLst>
            <pc:docMk/>
            <pc:sldMk cId="795685229" sldId="904"/>
            <ac:spMk id="59" creationId="{34CAA65D-F32B-4FFB-DA56-9F4BF785AA35}"/>
          </ac:spMkLst>
        </pc:spChg>
        <pc:spChg chg="mod">
          <ac:chgData name="Annemarija Apine (LV)" userId="546f5c59-3b8d-47fd-b739-a8fadc631053" providerId="ADAL" clId="{34473802-5904-426F-ADDF-0D0D1B44876C}" dt="2024-03-04T09:15:10.357" v="7831" actId="20577"/>
          <ac:spMkLst>
            <pc:docMk/>
            <pc:sldMk cId="795685229" sldId="904"/>
            <ac:spMk id="125" creationId="{1734212E-2EA2-B135-55B3-866F1CF570E1}"/>
          </ac:spMkLst>
        </pc:spChg>
        <pc:grpChg chg="mod">
          <ac:chgData name="Annemarija Apine (LV)" userId="546f5c59-3b8d-47fd-b739-a8fadc631053" providerId="ADAL" clId="{34473802-5904-426F-ADDF-0D0D1B44876C}" dt="2024-03-04T09:09:21.366" v="7730" actId="1076"/>
          <ac:grpSpMkLst>
            <pc:docMk/>
            <pc:sldMk cId="795685229" sldId="904"/>
            <ac:grpSpMk id="25" creationId="{BACE7719-6924-A295-8F4C-2DE5F6D26049}"/>
          </ac:grpSpMkLst>
        </pc:grpChg>
        <pc:picChg chg="add mod">
          <ac:chgData name="Annemarija Apine (LV)" userId="546f5c59-3b8d-47fd-b739-a8fadc631053" providerId="ADAL" clId="{34473802-5904-426F-ADDF-0D0D1B44876C}" dt="2024-02-25T22:34:42.511" v="1348" actId="1076"/>
          <ac:picMkLst>
            <pc:docMk/>
            <pc:sldMk cId="795685229" sldId="904"/>
            <ac:picMk id="16" creationId="{7CBA6D7D-8652-84AD-7984-01250C47A431}"/>
          </ac:picMkLst>
        </pc:picChg>
        <pc:extLst>
          <p:ext xmlns:p="http://schemas.openxmlformats.org/presentationml/2006/main" uri="{D6D511B9-2390-475A-947B-AFAB55BFBCF1}">
            <pc226:cmChg xmlns:pc226="http://schemas.microsoft.com/office/powerpoint/2022/06/main/command" chg="add del">
              <pc226:chgData name="Annemarija Apine (LV)" userId="546f5c59-3b8d-47fd-b739-a8fadc631053" providerId="ADAL" clId="{34473802-5904-426F-ADDF-0D0D1B44876C}" dt="2024-02-29T08:28:11.183" v="4792"/>
              <pc2:cmMkLst xmlns:pc2="http://schemas.microsoft.com/office/powerpoint/2019/9/main/command">
                <pc:docMk/>
                <pc:sldMk cId="795685229" sldId="904"/>
                <pc2:cmMk id="{2D3D7C13-53F8-4650-B7B3-9A019D02621E}"/>
              </pc2:cmMkLst>
            </pc226:cmChg>
          </p:ext>
        </pc:extLst>
      </pc:sldChg>
      <pc:sldChg chg="addSp delSp modSp add mod ord addCm modCm modNotesTx">
        <pc:chgData name="Annemarija Apine (LV)" userId="546f5c59-3b8d-47fd-b739-a8fadc631053" providerId="ADAL" clId="{34473802-5904-426F-ADDF-0D0D1B44876C}" dt="2024-03-04T09:13:32.451" v="7796"/>
        <pc:sldMkLst>
          <pc:docMk/>
          <pc:sldMk cId="507333055" sldId="905"/>
        </pc:sldMkLst>
        <pc:spChg chg="del">
          <ac:chgData name="Annemarija Apine (LV)" userId="546f5c59-3b8d-47fd-b739-a8fadc631053" providerId="ADAL" clId="{34473802-5904-426F-ADDF-0D0D1B44876C}" dt="2024-02-25T22:43:11.854" v="1456" actId="478"/>
          <ac:spMkLst>
            <pc:docMk/>
            <pc:sldMk cId="507333055" sldId="905"/>
            <ac:spMk id="3" creationId="{26614F0E-2835-BB69-9173-4B170029D0DD}"/>
          </ac:spMkLst>
        </pc:spChg>
        <pc:spChg chg="mod">
          <ac:chgData name="Annemarija Apine (LV)" userId="546f5c59-3b8d-47fd-b739-a8fadc631053" providerId="ADAL" clId="{34473802-5904-426F-ADDF-0D0D1B44876C}" dt="2024-02-25T22:36:19.768" v="1423" actId="208"/>
          <ac:spMkLst>
            <pc:docMk/>
            <pc:sldMk cId="507333055" sldId="905"/>
            <ac:spMk id="7" creationId="{ABE8EE39-C466-6083-2B14-0237C935C96B}"/>
          </ac:spMkLst>
        </pc:spChg>
        <pc:spChg chg="mod">
          <ac:chgData name="Annemarija Apine (LV)" userId="546f5c59-3b8d-47fd-b739-a8fadc631053" providerId="ADAL" clId="{34473802-5904-426F-ADDF-0D0D1B44876C}" dt="2024-02-25T22:36:25.447" v="1425" actId="207"/>
          <ac:spMkLst>
            <pc:docMk/>
            <pc:sldMk cId="507333055" sldId="905"/>
            <ac:spMk id="9" creationId="{08B6A8B7-7C80-74FA-BFD5-B86DDE664F74}"/>
          </ac:spMkLst>
        </pc:spChg>
        <pc:spChg chg="del mod">
          <ac:chgData name="Annemarija Apine (LV)" userId="546f5c59-3b8d-47fd-b739-a8fadc631053" providerId="ADAL" clId="{34473802-5904-426F-ADDF-0D0D1B44876C}" dt="2024-02-25T22:43:13.870" v="1458" actId="478"/>
          <ac:spMkLst>
            <pc:docMk/>
            <pc:sldMk cId="507333055" sldId="905"/>
            <ac:spMk id="12" creationId="{DBFB2BB3-C6FD-C05A-7AC0-6ECF93BB1AD1}"/>
          </ac:spMkLst>
        </pc:spChg>
        <pc:spChg chg="del">
          <ac:chgData name="Annemarija Apine (LV)" userId="546f5c59-3b8d-47fd-b739-a8fadc631053" providerId="ADAL" clId="{34473802-5904-426F-ADDF-0D0D1B44876C}" dt="2024-02-25T22:43:16.709" v="1460" actId="478"/>
          <ac:spMkLst>
            <pc:docMk/>
            <pc:sldMk cId="507333055" sldId="905"/>
            <ac:spMk id="13" creationId="{9483E848-E37C-5DCE-0BB4-A09AE6853B17}"/>
          </ac:spMkLst>
        </pc:spChg>
        <pc:spChg chg="del mod">
          <ac:chgData name="Annemarija Apine (LV)" userId="546f5c59-3b8d-47fd-b739-a8fadc631053" providerId="ADAL" clId="{34473802-5904-426F-ADDF-0D0D1B44876C}" dt="2024-02-25T22:36:29.028" v="1427" actId="478"/>
          <ac:spMkLst>
            <pc:docMk/>
            <pc:sldMk cId="507333055" sldId="905"/>
            <ac:spMk id="14" creationId="{F403939B-2395-3E1A-3449-786201A90C7E}"/>
          </ac:spMkLst>
        </pc:spChg>
        <pc:spChg chg="add del mod">
          <ac:chgData name="Annemarija Apine (LV)" userId="546f5c59-3b8d-47fd-b739-a8fadc631053" providerId="ADAL" clId="{34473802-5904-426F-ADDF-0D0D1B44876C}" dt="2024-02-25T22:43:14.373" v="1459" actId="478"/>
          <ac:spMkLst>
            <pc:docMk/>
            <pc:sldMk cId="507333055" sldId="905"/>
            <ac:spMk id="16" creationId="{48642E50-065F-12D7-6D52-C3BFA0979F2A}"/>
          </ac:spMkLst>
        </pc:spChg>
        <pc:spChg chg="add mod">
          <ac:chgData name="Annemarija Apine (LV)" userId="546f5c59-3b8d-47fd-b739-a8fadc631053" providerId="ADAL" clId="{34473802-5904-426F-ADDF-0D0D1B44876C}" dt="2024-02-29T08:34:30.127" v="5212" actId="20577"/>
          <ac:spMkLst>
            <pc:docMk/>
            <pc:sldMk cId="507333055" sldId="905"/>
            <ac:spMk id="18" creationId="{22980002-C01F-4035-66FB-BB909C9376A3}"/>
          </ac:spMkLst>
        </pc:spChg>
        <pc:spChg chg="add mod">
          <ac:chgData name="Annemarija Apine (LV)" userId="546f5c59-3b8d-47fd-b739-a8fadc631053" providerId="ADAL" clId="{34473802-5904-426F-ADDF-0D0D1B44876C}" dt="2024-02-25T22:43:35.518" v="1489" actId="207"/>
          <ac:spMkLst>
            <pc:docMk/>
            <pc:sldMk cId="507333055" sldId="905"/>
            <ac:spMk id="19" creationId="{E0084A30-D99D-E96E-31F4-0E0CFAAD99C4}"/>
          </ac:spMkLst>
        </pc:spChg>
        <pc:spChg chg="mod">
          <ac:chgData name="Annemarija Apine (LV)" userId="546f5c59-3b8d-47fd-b739-a8fadc631053" providerId="ADAL" clId="{34473802-5904-426F-ADDF-0D0D1B44876C}" dt="2024-03-04T09:09:57.241" v="7738" actId="255"/>
          <ac:spMkLst>
            <pc:docMk/>
            <pc:sldMk cId="507333055" sldId="905"/>
            <ac:spMk id="21" creationId="{38BB8091-1076-C602-6CED-C2AE6678F5A9}"/>
          </ac:spMkLst>
        </pc:spChg>
        <pc:spChg chg="mod">
          <ac:chgData name="Annemarija Apine (LV)" userId="546f5c59-3b8d-47fd-b739-a8fadc631053" providerId="ADAL" clId="{34473802-5904-426F-ADDF-0D0D1B44876C}" dt="2024-03-04T09:09:57.241" v="7738" actId="255"/>
          <ac:spMkLst>
            <pc:docMk/>
            <pc:sldMk cId="507333055" sldId="905"/>
            <ac:spMk id="22" creationId="{14F35E1A-2C93-B6CB-918D-868C9B06B0A7}"/>
          </ac:spMkLst>
        </pc:spChg>
        <pc:spChg chg="mod">
          <ac:chgData name="Annemarija Apine (LV)" userId="546f5c59-3b8d-47fd-b739-a8fadc631053" providerId="ADAL" clId="{34473802-5904-426F-ADDF-0D0D1B44876C}" dt="2024-03-04T09:09:57.241" v="7738" actId="255"/>
          <ac:spMkLst>
            <pc:docMk/>
            <pc:sldMk cId="507333055" sldId="905"/>
            <ac:spMk id="23" creationId="{F97CB2C5-7142-8223-7214-B1FDFDA9926A}"/>
          </ac:spMkLst>
        </pc:s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4T09:13:32.451" v="7796"/>
              <pc2:cmMkLst xmlns:pc2="http://schemas.microsoft.com/office/powerpoint/2019/9/main/command">
                <pc:docMk/>
                <pc:sldMk cId="507333055" sldId="905"/>
                <pc2:cmMk id="{043AF3E3-9509-4AC0-99BD-DC4BF84F371C}"/>
              </pc2:cmMkLst>
              <pc226:cmRplyChg chg="add">
                <pc226:chgData name="Annemarija Apine (LV)" userId="546f5c59-3b8d-47fd-b739-a8fadc631053" providerId="ADAL" clId="{34473802-5904-426F-ADDF-0D0D1B44876C}" dt="2024-03-04T09:13:32.451" v="7796"/>
                <pc2:cmRplyMkLst xmlns:pc2="http://schemas.microsoft.com/office/powerpoint/2019/9/main/command">
                  <pc:docMk/>
                  <pc:sldMk cId="507333055" sldId="905"/>
                  <pc2:cmMk id="{043AF3E3-9509-4AC0-99BD-DC4BF84F371C}"/>
                  <pc2:cmRplyMk id="{1F928A31-189D-4F4F-8DE1-48F41019596D}"/>
                </pc2:cmRplyMkLst>
              </pc226:cmRplyChg>
            </pc226:cmChg>
          </p:ext>
        </pc:extLst>
      </pc:sldChg>
      <pc:sldChg chg="modSp new mod">
        <pc:chgData name="Annemarija Apine (LV)" userId="546f5c59-3b8d-47fd-b739-a8fadc631053" providerId="ADAL" clId="{34473802-5904-426F-ADDF-0D0D1B44876C}" dt="2024-03-01T10:37:58.101" v="5376" actId="20577"/>
        <pc:sldMkLst>
          <pc:docMk/>
          <pc:sldMk cId="1164346809" sldId="906"/>
        </pc:sldMkLst>
        <pc:spChg chg="mod">
          <ac:chgData name="Annemarija Apine (LV)" userId="546f5c59-3b8d-47fd-b739-a8fadc631053" providerId="ADAL" clId="{34473802-5904-426F-ADDF-0D0D1B44876C}" dt="2024-02-25T22:40:28.877" v="1452" actId="21"/>
          <ac:spMkLst>
            <pc:docMk/>
            <pc:sldMk cId="1164346809" sldId="906"/>
            <ac:spMk id="2" creationId="{C4A22B0F-AF4B-A2E9-A8E1-27275AED3C0E}"/>
          </ac:spMkLst>
        </pc:spChg>
        <pc:spChg chg="mod">
          <ac:chgData name="Annemarija Apine (LV)" userId="546f5c59-3b8d-47fd-b739-a8fadc631053" providerId="ADAL" clId="{34473802-5904-426F-ADDF-0D0D1B44876C}" dt="2024-02-25T22:40:29.493" v="1453"/>
          <ac:spMkLst>
            <pc:docMk/>
            <pc:sldMk cId="1164346809" sldId="906"/>
            <ac:spMk id="3" creationId="{686732B2-5FB3-221B-0CA8-0EE49D36265B}"/>
          </ac:spMkLst>
        </pc:spChg>
        <pc:spChg chg="mod">
          <ac:chgData name="Annemarija Apine (LV)" userId="546f5c59-3b8d-47fd-b739-a8fadc631053" providerId="ADAL" clId="{34473802-5904-426F-ADDF-0D0D1B44876C}" dt="2024-03-01T10:37:58.101" v="5376" actId="20577"/>
          <ac:spMkLst>
            <pc:docMk/>
            <pc:sldMk cId="1164346809" sldId="906"/>
            <ac:spMk id="25" creationId="{D0C17218-A0C6-A96B-4B0D-6C054C03A15C}"/>
          </ac:spMkLst>
        </pc:spChg>
      </pc:sldChg>
      <pc:sldChg chg="new del">
        <pc:chgData name="Annemarija Apine (LV)" userId="546f5c59-3b8d-47fd-b739-a8fadc631053" providerId="ADAL" clId="{34473802-5904-426F-ADDF-0D0D1B44876C}" dt="2024-02-25T22:38:30.861" v="1432" actId="47"/>
        <pc:sldMkLst>
          <pc:docMk/>
          <pc:sldMk cId="3596295574" sldId="906"/>
        </pc:sldMkLst>
      </pc:sldChg>
      <pc:sldChg chg="modSp new mod">
        <pc:chgData name="Annemarija Apine (LV)" userId="546f5c59-3b8d-47fd-b739-a8fadc631053" providerId="ADAL" clId="{34473802-5904-426F-ADDF-0D0D1B44876C}" dt="2024-02-25T22:44:00.686" v="1518" actId="20577"/>
        <pc:sldMkLst>
          <pc:docMk/>
          <pc:sldMk cId="1763387258" sldId="907"/>
        </pc:sldMkLst>
        <pc:spChg chg="mod">
          <ac:chgData name="Annemarija Apine (LV)" userId="546f5c59-3b8d-47fd-b739-a8fadc631053" providerId="ADAL" clId="{34473802-5904-426F-ADDF-0D0D1B44876C}" dt="2024-02-25T22:44:00.686" v="1518" actId="20577"/>
          <ac:spMkLst>
            <pc:docMk/>
            <pc:sldMk cId="1763387258" sldId="907"/>
            <ac:spMk id="2" creationId="{A60D9000-B106-EBC6-D720-BB2BD8542F11}"/>
          </ac:spMkLst>
        </pc:spChg>
      </pc:sldChg>
      <pc:sldChg chg="addSp delSp modSp new mod addCm modCm modNotesTx">
        <pc:chgData name="Annemarija Apine (LV)" userId="546f5c59-3b8d-47fd-b739-a8fadc631053" providerId="ADAL" clId="{34473802-5904-426F-ADDF-0D0D1B44876C}" dt="2024-03-10T23:46:46.716" v="9918" actId="207"/>
        <pc:sldMkLst>
          <pc:docMk/>
          <pc:sldMk cId="2300626159" sldId="908"/>
        </pc:sldMkLst>
        <pc:spChg chg="del">
          <ac:chgData name="Annemarija Apine (LV)" userId="546f5c59-3b8d-47fd-b739-a8fadc631053" providerId="ADAL" clId="{34473802-5904-426F-ADDF-0D0D1B44876C}" dt="2024-02-25T22:44:27.175" v="1523" actId="478"/>
          <ac:spMkLst>
            <pc:docMk/>
            <pc:sldMk cId="2300626159" sldId="908"/>
            <ac:spMk id="2" creationId="{4BED1570-714C-005E-0A38-E97100372231}"/>
          </ac:spMkLst>
        </pc:spChg>
        <pc:spChg chg="mod">
          <ac:chgData name="Annemarija Apine (LV)" userId="546f5c59-3b8d-47fd-b739-a8fadc631053" providerId="ADAL" clId="{34473802-5904-426F-ADDF-0D0D1B44876C}" dt="2024-03-10T23:46:15.229" v="9843" actId="20577"/>
          <ac:spMkLst>
            <pc:docMk/>
            <pc:sldMk cId="2300626159" sldId="908"/>
            <ac:spMk id="2" creationId="{B3B9B40C-89D0-00A8-E1FD-6C775139BEFB}"/>
          </ac:spMkLst>
        </pc:spChg>
        <pc:spChg chg="mod">
          <ac:chgData name="Annemarija Apine (LV)" userId="546f5c59-3b8d-47fd-b739-a8fadc631053" providerId="ADAL" clId="{34473802-5904-426F-ADDF-0D0D1B44876C}" dt="2024-02-25T22:44:44.164" v="1565" actId="20577"/>
          <ac:spMkLst>
            <pc:docMk/>
            <pc:sldMk cId="2300626159" sldId="908"/>
            <ac:spMk id="3" creationId="{18D846C5-0FE1-0722-5504-7D4D452EA64C}"/>
          </ac:spMkLst>
        </pc:spChg>
        <pc:spChg chg="add mod">
          <ac:chgData name="Annemarija Apine (LV)" userId="546f5c59-3b8d-47fd-b739-a8fadc631053" providerId="ADAL" clId="{34473802-5904-426F-ADDF-0D0D1B44876C}" dt="2024-03-10T23:46:46.716" v="9918" actId="207"/>
          <ac:spMkLst>
            <pc:docMk/>
            <pc:sldMk cId="2300626159" sldId="908"/>
            <ac:spMk id="6" creationId="{0AFC7914-6E3C-A739-5002-91A3B8F51557}"/>
          </ac:spMkLst>
        </pc:spChg>
        <pc:spChg chg="add mod">
          <ac:chgData name="Annemarija Apine (LV)" userId="546f5c59-3b8d-47fd-b739-a8fadc631053" providerId="ADAL" clId="{34473802-5904-426F-ADDF-0D0D1B44876C}" dt="2024-02-25T22:44:31.185" v="1524"/>
          <ac:spMkLst>
            <pc:docMk/>
            <pc:sldMk cId="2300626159" sldId="908"/>
            <ac:spMk id="9" creationId="{A2B233A5-ED06-3246-BD46-B7B39150B709}"/>
          </ac:spMkLst>
        </pc:spChg>
        <pc:spChg chg="add mod">
          <ac:chgData name="Annemarija Apine (LV)" userId="546f5c59-3b8d-47fd-b739-a8fadc631053" providerId="ADAL" clId="{34473802-5904-426F-ADDF-0D0D1B44876C}" dt="2024-02-25T22:44:31.185" v="1524"/>
          <ac:spMkLst>
            <pc:docMk/>
            <pc:sldMk cId="2300626159" sldId="908"/>
            <ac:spMk id="10" creationId="{C3DFDFF4-18D2-A047-B0B2-4C063F2C571A}"/>
          </ac:spMkLst>
        </pc:spChg>
        <pc:spChg chg="add mod">
          <ac:chgData name="Annemarija Apine (LV)" userId="546f5c59-3b8d-47fd-b739-a8fadc631053" providerId="ADAL" clId="{34473802-5904-426F-ADDF-0D0D1B44876C}" dt="2024-02-25T22:44:31.185" v="1524"/>
          <ac:spMkLst>
            <pc:docMk/>
            <pc:sldMk cId="2300626159" sldId="908"/>
            <ac:spMk id="11" creationId="{ABB70BD2-60C1-064D-95BB-38DE736A1572}"/>
          </ac:spMkLst>
        </pc:spChg>
        <pc:spChg chg="add mod">
          <ac:chgData name="Annemarija Apine (LV)" userId="546f5c59-3b8d-47fd-b739-a8fadc631053" providerId="ADAL" clId="{34473802-5904-426F-ADDF-0D0D1B44876C}" dt="2024-02-25T22:44:31.185" v="1524"/>
          <ac:spMkLst>
            <pc:docMk/>
            <pc:sldMk cId="2300626159" sldId="908"/>
            <ac:spMk id="12" creationId="{90E04B7C-9E41-4641-A5D6-FF34530482E0}"/>
          </ac:spMkLst>
        </pc:spChg>
        <pc:spChg chg="add mod">
          <ac:chgData name="Annemarija Apine (LV)" userId="546f5c59-3b8d-47fd-b739-a8fadc631053" providerId="ADAL" clId="{34473802-5904-426F-ADDF-0D0D1B44876C}" dt="2024-02-25T22:44:31.185" v="1524"/>
          <ac:spMkLst>
            <pc:docMk/>
            <pc:sldMk cId="2300626159" sldId="908"/>
            <ac:spMk id="13" creationId="{FFA0AA22-B08B-7F4A-B365-587EEE2D842D}"/>
          </ac:spMkLst>
        </pc:spChg>
        <pc:spChg chg="add mod">
          <ac:chgData name="Annemarija Apine (LV)" userId="546f5c59-3b8d-47fd-b739-a8fadc631053" providerId="ADAL" clId="{34473802-5904-426F-ADDF-0D0D1B44876C}" dt="2024-02-25T22:44:31.185" v="1524"/>
          <ac:spMkLst>
            <pc:docMk/>
            <pc:sldMk cId="2300626159" sldId="908"/>
            <ac:spMk id="15" creationId="{817192BF-33DA-6E42-944F-7B2F09E52C43}"/>
          </ac:spMkLst>
        </pc:spChg>
        <pc:spChg chg="add mod">
          <ac:chgData name="Annemarija Apine (LV)" userId="546f5c59-3b8d-47fd-b739-a8fadc631053" providerId="ADAL" clId="{34473802-5904-426F-ADDF-0D0D1B44876C}" dt="2024-02-25T22:44:31.185" v="1524"/>
          <ac:spMkLst>
            <pc:docMk/>
            <pc:sldMk cId="2300626159" sldId="908"/>
            <ac:spMk id="16" creationId="{2AA0056B-1B3F-9647-9399-DD6B5207FA3B}"/>
          </ac:spMkLst>
        </pc:spChg>
        <pc:spChg chg="add mod">
          <ac:chgData name="Annemarija Apine (LV)" userId="546f5c59-3b8d-47fd-b739-a8fadc631053" providerId="ADAL" clId="{34473802-5904-426F-ADDF-0D0D1B44876C}" dt="2024-02-25T22:44:31.185" v="1524"/>
          <ac:spMkLst>
            <pc:docMk/>
            <pc:sldMk cId="2300626159" sldId="908"/>
            <ac:spMk id="17" creationId="{C1683A97-5B75-9940-AD67-614A9DFD6627}"/>
          </ac:spMkLst>
        </pc:spChg>
        <pc:spChg chg="add mod">
          <ac:chgData name="Annemarija Apine (LV)" userId="546f5c59-3b8d-47fd-b739-a8fadc631053" providerId="ADAL" clId="{34473802-5904-426F-ADDF-0D0D1B44876C}" dt="2024-02-25T22:44:31.185" v="1524"/>
          <ac:spMkLst>
            <pc:docMk/>
            <pc:sldMk cId="2300626159" sldId="908"/>
            <ac:spMk id="18" creationId="{E4C5F8F0-E4BD-274A-8190-28583D21E512}"/>
          </ac:spMkLst>
        </pc:spChg>
        <pc:spChg chg="add mod">
          <ac:chgData name="Annemarija Apine (LV)" userId="546f5c59-3b8d-47fd-b739-a8fadc631053" providerId="ADAL" clId="{34473802-5904-426F-ADDF-0D0D1B44876C}" dt="2024-02-25T22:44:31.185" v="1524"/>
          <ac:spMkLst>
            <pc:docMk/>
            <pc:sldMk cId="2300626159" sldId="908"/>
            <ac:spMk id="23" creationId="{1DFA226E-CAF3-2D42-AC96-11A51BD07541}"/>
          </ac:spMkLst>
        </pc:spChg>
        <pc:spChg chg="add mod">
          <ac:chgData name="Annemarija Apine (LV)" userId="546f5c59-3b8d-47fd-b739-a8fadc631053" providerId="ADAL" clId="{34473802-5904-426F-ADDF-0D0D1B44876C}" dt="2024-02-25T22:44:31.185" v="1524"/>
          <ac:spMkLst>
            <pc:docMk/>
            <pc:sldMk cId="2300626159" sldId="908"/>
            <ac:spMk id="24" creationId="{10B15265-346F-0349-AF94-74C872CA65DD}"/>
          </ac:spMkLst>
        </pc:spChg>
        <pc:spChg chg="add mod">
          <ac:chgData name="Annemarija Apine (LV)" userId="546f5c59-3b8d-47fd-b739-a8fadc631053" providerId="ADAL" clId="{34473802-5904-426F-ADDF-0D0D1B44876C}" dt="2024-02-25T22:44:31.185" v="1524"/>
          <ac:spMkLst>
            <pc:docMk/>
            <pc:sldMk cId="2300626159" sldId="908"/>
            <ac:spMk id="25" creationId="{73F30B4C-A440-674A-9472-8F1EB39DA9F2}"/>
          </ac:spMkLst>
        </pc:spChg>
        <pc:spChg chg="add mod">
          <ac:chgData name="Annemarija Apine (LV)" userId="546f5c59-3b8d-47fd-b739-a8fadc631053" providerId="ADAL" clId="{34473802-5904-426F-ADDF-0D0D1B44876C}" dt="2024-03-01T12:33:45.930" v="5543" actId="20577"/>
          <ac:spMkLst>
            <pc:docMk/>
            <pc:sldMk cId="2300626159" sldId="908"/>
            <ac:spMk id="26" creationId="{8B070493-BB90-AA4F-AE2F-427F4E058BD7}"/>
          </ac:spMkLst>
        </pc:spChg>
        <pc:spChg chg="add mod">
          <ac:chgData name="Annemarija Apine (LV)" userId="546f5c59-3b8d-47fd-b739-a8fadc631053" providerId="ADAL" clId="{34473802-5904-426F-ADDF-0D0D1B44876C}" dt="2024-02-25T22:45:30.256" v="1607" actId="207"/>
          <ac:spMkLst>
            <pc:docMk/>
            <pc:sldMk cId="2300626159" sldId="908"/>
            <ac:spMk id="29" creationId="{1C1F5916-342D-144A-EBAF-E126E12E2DB7}"/>
          </ac:spMkLst>
        </pc:spChg>
        <pc:spChg chg="add del mod">
          <ac:chgData name="Annemarija Apine (LV)" userId="546f5c59-3b8d-47fd-b739-a8fadc631053" providerId="ADAL" clId="{34473802-5904-426F-ADDF-0D0D1B44876C}" dt="2024-02-28T12:49:37.594" v="4422" actId="478"/>
          <ac:spMkLst>
            <pc:docMk/>
            <pc:sldMk cId="2300626159" sldId="908"/>
            <ac:spMk id="30" creationId="{8F9292AA-0E3D-C981-C963-559CC0C93D0B}"/>
          </ac:spMkLst>
        </pc:spChg>
        <pc:grpChg chg="add mod">
          <ac:chgData name="Annemarija Apine (LV)" userId="546f5c59-3b8d-47fd-b739-a8fadc631053" providerId="ADAL" clId="{34473802-5904-426F-ADDF-0D0D1B44876C}" dt="2024-02-25T22:52:08.236" v="1718" actId="1076"/>
          <ac:grpSpMkLst>
            <pc:docMk/>
            <pc:sldMk cId="2300626159" sldId="908"/>
            <ac:grpSpMk id="7" creationId="{D6EAC053-21F2-E444-83CB-A1A2DC51780B}"/>
          </ac:grpSpMkLst>
        </pc:grpChg>
        <pc:grpChg chg="add mod">
          <ac:chgData name="Annemarija Apine (LV)" userId="546f5c59-3b8d-47fd-b739-a8fadc631053" providerId="ADAL" clId="{34473802-5904-426F-ADDF-0D0D1B44876C}" dt="2024-02-25T22:44:31.185" v="1524"/>
          <ac:grpSpMkLst>
            <pc:docMk/>
            <pc:sldMk cId="2300626159" sldId="908"/>
            <ac:grpSpMk id="8" creationId="{86977D4D-C135-A840-81B7-0E87940ADF9D}"/>
          </ac:grpSpMkLst>
        </pc:grpChg>
        <pc:grpChg chg="add mod">
          <ac:chgData name="Annemarija Apine (LV)" userId="546f5c59-3b8d-47fd-b739-a8fadc631053" providerId="ADAL" clId="{34473802-5904-426F-ADDF-0D0D1B44876C}" dt="2024-02-25T22:44:31.185" v="1524"/>
          <ac:grpSpMkLst>
            <pc:docMk/>
            <pc:sldMk cId="2300626159" sldId="908"/>
            <ac:grpSpMk id="22" creationId="{B4EA56F4-F992-AF49-B00A-59645909B400}"/>
          </ac:grpSpMkLst>
        </pc:grpChg>
        <pc:picChg chg="add del mod">
          <ac:chgData name="Annemarija Apine (LV)" userId="546f5c59-3b8d-47fd-b739-a8fadc631053" providerId="ADAL" clId="{34473802-5904-426F-ADDF-0D0D1B44876C}" dt="2024-03-04T09:17:11.776" v="7857" actId="478"/>
          <ac:picMkLst>
            <pc:docMk/>
            <pc:sldMk cId="2300626159" sldId="908"/>
            <ac:picMk id="28" creationId="{AD222C1E-263F-07AF-2E47-D775770A7384}"/>
          </ac:picMkLst>
        </pc:picChg>
        <pc:cxnChg chg="add mod">
          <ac:chgData name="Annemarija Apine (LV)" userId="546f5c59-3b8d-47fd-b739-a8fadc631053" providerId="ADAL" clId="{34473802-5904-426F-ADDF-0D0D1B44876C}" dt="2024-02-25T22:44:31.185" v="1524"/>
          <ac:cxnSpMkLst>
            <pc:docMk/>
            <pc:sldMk cId="2300626159" sldId="908"/>
            <ac:cxnSpMk id="14" creationId="{E144EF51-9752-2643-8FD1-0B2B33AE78C8}"/>
          </ac:cxnSpMkLst>
        </pc:cxnChg>
        <pc:cxnChg chg="add mod">
          <ac:chgData name="Annemarija Apine (LV)" userId="546f5c59-3b8d-47fd-b739-a8fadc631053" providerId="ADAL" clId="{34473802-5904-426F-ADDF-0D0D1B44876C}" dt="2024-02-25T22:44:31.185" v="1524"/>
          <ac:cxnSpMkLst>
            <pc:docMk/>
            <pc:sldMk cId="2300626159" sldId="908"/>
            <ac:cxnSpMk id="19" creationId="{9284D3D4-0D07-EA44-BBB7-4997056954EB}"/>
          </ac:cxnSpMkLst>
        </pc:cxnChg>
        <pc:cxnChg chg="add mod">
          <ac:chgData name="Annemarija Apine (LV)" userId="546f5c59-3b8d-47fd-b739-a8fadc631053" providerId="ADAL" clId="{34473802-5904-426F-ADDF-0D0D1B44876C}" dt="2024-02-25T22:44:31.185" v="1524"/>
          <ac:cxnSpMkLst>
            <pc:docMk/>
            <pc:sldMk cId="2300626159" sldId="908"/>
            <ac:cxnSpMk id="20" creationId="{7E5909C4-5B13-6F4C-A109-9212461D0EC8}"/>
          </ac:cxnSpMkLst>
        </pc:cxnChg>
        <pc:cxnChg chg="add mod">
          <ac:chgData name="Annemarija Apine (LV)" userId="546f5c59-3b8d-47fd-b739-a8fadc631053" providerId="ADAL" clId="{34473802-5904-426F-ADDF-0D0D1B44876C}" dt="2024-02-25T22:44:31.185" v="1524"/>
          <ac:cxnSpMkLst>
            <pc:docMk/>
            <pc:sldMk cId="2300626159" sldId="908"/>
            <ac:cxnSpMk id="21" creationId="{3F449FC9-9CBC-9C40-9884-03C02B0890C5}"/>
          </ac:cxnSpMkLst>
        </pc:cxnChg>
        <pc:extLst>
          <p:ext xmlns:p="http://schemas.openxmlformats.org/presentationml/2006/main" uri="{D6D511B9-2390-475A-947B-AFAB55BFBCF1}">
            <pc226:cmChg xmlns:pc226="http://schemas.microsoft.com/office/powerpoint/2022/06/main/command" chg="add mod">
              <pc226:chgData name="Annemarija Apine (LV)" userId="546f5c59-3b8d-47fd-b739-a8fadc631053" providerId="ADAL" clId="{34473802-5904-426F-ADDF-0D0D1B44876C}" dt="2024-03-04T09:15:47.627" v="7840"/>
              <pc2:cmMkLst xmlns:pc2="http://schemas.microsoft.com/office/powerpoint/2019/9/main/command">
                <pc:docMk/>
                <pc:sldMk cId="2300626159" sldId="908"/>
                <pc2:cmMk id="{9EB49911-F31C-40DF-85BF-E42ABCAEF3DF}"/>
              </pc2:cmMkLst>
            </pc226:cmChg>
            <pc226:cmChg xmlns:pc226="http://schemas.microsoft.com/office/powerpoint/2022/06/main/command" chg="add">
              <pc226:chgData name="Annemarija Apine (LV)" userId="546f5c59-3b8d-47fd-b739-a8fadc631053" providerId="ADAL" clId="{34473802-5904-426F-ADDF-0D0D1B44876C}" dt="2024-03-01T15:42:09.112" v="6887"/>
              <pc2:cmMkLst xmlns:pc2="http://schemas.microsoft.com/office/powerpoint/2019/9/main/command">
                <pc:docMk/>
                <pc:sldMk cId="2300626159" sldId="908"/>
                <pc2:cmMk id="{FC7E61B3-0B67-4E2A-96C5-34AA02841D10}"/>
              </pc2:cmMkLst>
            </pc226:cmChg>
            <pc226:cmChg xmlns:pc226="http://schemas.microsoft.com/office/powerpoint/2022/06/main/command" chg="add">
              <pc226:chgData name="Annemarija Apine (LV)" userId="546f5c59-3b8d-47fd-b739-a8fadc631053" providerId="ADAL" clId="{34473802-5904-426F-ADDF-0D0D1B44876C}" dt="2024-03-01T15:38:38.288" v="6882"/>
              <pc2:cmMkLst xmlns:pc2="http://schemas.microsoft.com/office/powerpoint/2019/9/main/command">
                <pc:docMk/>
                <pc:sldMk cId="2300626159" sldId="908"/>
                <pc2:cmMk id="{EB40C0CD-5758-4469-A4F4-96B6F7B1BF19}"/>
              </pc2:cmMkLst>
            </pc226:cmChg>
          </p:ext>
        </pc:extLst>
      </pc:sldChg>
      <pc:sldChg chg="addSp delSp modSp add mod modNotesTx">
        <pc:chgData name="Annemarija Apine (LV)" userId="546f5c59-3b8d-47fd-b739-a8fadc631053" providerId="ADAL" clId="{34473802-5904-426F-ADDF-0D0D1B44876C}" dt="2024-03-04T09:17:29.529" v="7861" actId="20577"/>
        <pc:sldMkLst>
          <pc:docMk/>
          <pc:sldMk cId="1764034675" sldId="909"/>
        </pc:sldMkLst>
        <pc:spChg chg="mod">
          <ac:chgData name="Annemarija Apine (LV)" userId="546f5c59-3b8d-47fd-b739-a8fadc631053" providerId="ADAL" clId="{34473802-5904-426F-ADDF-0D0D1B44876C}" dt="2024-02-25T22:46:28.029" v="1640"/>
          <ac:spMkLst>
            <pc:docMk/>
            <pc:sldMk cId="1764034675" sldId="909"/>
            <ac:spMk id="3" creationId="{18D846C5-0FE1-0722-5504-7D4D452EA64C}"/>
          </ac:spMkLst>
        </pc:spChg>
        <pc:spChg chg="mod">
          <ac:chgData name="Annemarija Apine (LV)" userId="546f5c59-3b8d-47fd-b739-a8fadc631053" providerId="ADAL" clId="{34473802-5904-426F-ADDF-0D0D1B44876C}" dt="2024-03-04T09:17:29.529" v="7861" actId="20577"/>
          <ac:spMkLst>
            <pc:docMk/>
            <pc:sldMk cId="1764034675" sldId="909"/>
            <ac:spMk id="19" creationId="{EF4D8BEF-8566-D43D-9B28-E036D42EE6BC}"/>
          </ac:spMkLst>
        </pc:spChg>
        <pc:spChg chg="add mod">
          <ac:chgData name="Annemarija Apine (LV)" userId="546f5c59-3b8d-47fd-b739-a8fadc631053" providerId="ADAL" clId="{34473802-5904-426F-ADDF-0D0D1B44876C}" dt="2024-02-25T22:46:38.719" v="1645" actId="1076"/>
          <ac:spMkLst>
            <pc:docMk/>
            <pc:sldMk cId="1764034675" sldId="909"/>
            <ac:spMk id="27" creationId="{1268ADC1-4788-3BD9-6185-9FFA4639C3A2}"/>
          </ac:spMkLst>
        </pc:spChg>
        <pc:spChg chg="del">
          <ac:chgData name="Annemarija Apine (LV)" userId="546f5c59-3b8d-47fd-b739-a8fadc631053" providerId="ADAL" clId="{34473802-5904-426F-ADDF-0D0D1B44876C}" dt="2024-02-25T22:45:52.010" v="1613" actId="478"/>
          <ac:spMkLst>
            <pc:docMk/>
            <pc:sldMk cId="1764034675" sldId="909"/>
            <ac:spMk id="29" creationId="{1C1F5916-342D-144A-EBAF-E126E12E2DB7}"/>
          </ac:spMkLst>
        </pc:spChg>
        <pc:spChg chg="add del mod">
          <ac:chgData name="Annemarija Apine (LV)" userId="546f5c59-3b8d-47fd-b739-a8fadc631053" providerId="ADAL" clId="{34473802-5904-426F-ADDF-0D0D1B44876C}" dt="2024-03-01T12:34:01.305" v="5546" actId="478"/>
          <ac:spMkLst>
            <pc:docMk/>
            <pc:sldMk cId="1764034675" sldId="909"/>
            <ac:spMk id="32" creationId="{07B47C77-2929-B899-4FE7-A074A3441532}"/>
          </ac:spMkLst>
        </pc:spChg>
        <pc:spChg chg="add del mod">
          <ac:chgData name="Annemarija Apine (LV)" userId="546f5c59-3b8d-47fd-b739-a8fadc631053" providerId="ADAL" clId="{34473802-5904-426F-ADDF-0D0D1B44876C}" dt="2024-03-01T12:34:07.174" v="5549" actId="478"/>
          <ac:spMkLst>
            <pc:docMk/>
            <pc:sldMk cId="1764034675" sldId="909"/>
            <ac:spMk id="33" creationId="{58A662B3-2A79-7B9A-8B47-853A3D730B8F}"/>
          </ac:spMkLst>
        </pc:spChg>
        <pc:grpChg chg="del mod">
          <ac:chgData name="Annemarija Apine (LV)" userId="546f5c59-3b8d-47fd-b739-a8fadc631053" providerId="ADAL" clId="{34473802-5904-426F-ADDF-0D0D1B44876C}" dt="2024-02-25T22:46:01.202" v="1616" actId="478"/>
          <ac:grpSpMkLst>
            <pc:docMk/>
            <pc:sldMk cId="1764034675" sldId="909"/>
            <ac:grpSpMk id="7" creationId="{D6EAC053-21F2-E444-83CB-A1A2DC51780B}"/>
          </ac:grpSpMkLst>
        </pc:grpChg>
        <pc:picChg chg="del">
          <ac:chgData name="Annemarija Apine (LV)" userId="546f5c59-3b8d-47fd-b739-a8fadc631053" providerId="ADAL" clId="{34473802-5904-426F-ADDF-0D0D1B44876C}" dt="2024-02-25T22:45:52.705" v="1614" actId="478"/>
          <ac:picMkLst>
            <pc:docMk/>
            <pc:sldMk cId="1764034675" sldId="909"/>
            <ac:picMk id="28" creationId="{AD222C1E-263F-07AF-2E47-D775770A7384}"/>
          </ac:picMkLst>
        </pc:picChg>
        <pc:picChg chg="add del mod">
          <ac:chgData name="Annemarija Apine (LV)" userId="546f5c59-3b8d-47fd-b739-a8fadc631053" providerId="ADAL" clId="{34473802-5904-426F-ADDF-0D0D1B44876C}" dt="2024-03-01T12:33:59.946" v="5545" actId="478"/>
          <ac:picMkLst>
            <pc:docMk/>
            <pc:sldMk cId="1764034675" sldId="909"/>
            <ac:picMk id="31" creationId="{DAB24842-7F5B-C11C-5CF1-06E1F8554D0B}"/>
          </ac:picMkLst>
        </pc:picChg>
        <pc:cxnChg chg="mod">
          <ac:chgData name="Annemarija Apine (LV)" userId="546f5c59-3b8d-47fd-b739-a8fadc631053" providerId="ADAL" clId="{34473802-5904-426F-ADDF-0D0D1B44876C}" dt="2024-02-25T22:46:01.202" v="1616" actId="478"/>
          <ac:cxnSpMkLst>
            <pc:docMk/>
            <pc:sldMk cId="1764034675" sldId="909"/>
            <ac:cxnSpMk id="14" creationId="{E144EF51-9752-2643-8FD1-0B2B33AE78C8}"/>
          </ac:cxnSpMkLst>
        </pc:cxnChg>
      </pc:sldChg>
      <pc:sldChg chg="modSp add mod ord">
        <pc:chgData name="Annemarija Apine (LV)" userId="546f5c59-3b8d-47fd-b739-a8fadc631053" providerId="ADAL" clId="{34473802-5904-426F-ADDF-0D0D1B44876C}" dt="2024-02-26T00:00:30.690" v="1875" actId="20577"/>
        <pc:sldMkLst>
          <pc:docMk/>
          <pc:sldMk cId="3199894501" sldId="910"/>
        </pc:sldMkLst>
        <pc:spChg chg="mod">
          <ac:chgData name="Annemarija Apine (LV)" userId="546f5c59-3b8d-47fd-b739-a8fadc631053" providerId="ADAL" clId="{34473802-5904-426F-ADDF-0D0D1B44876C}" dt="2024-02-26T00:00:30.690" v="1875" actId="20577"/>
          <ac:spMkLst>
            <pc:docMk/>
            <pc:sldMk cId="3199894501" sldId="910"/>
            <ac:spMk id="2" creationId="{A60D9000-B106-EBC6-D720-BB2BD8542F11}"/>
          </ac:spMkLst>
        </pc:spChg>
      </pc:sldChg>
      <pc:sldChg chg="addSp delSp modSp new mod ord modNotesTx">
        <pc:chgData name="Annemarija Apine (LV)" userId="546f5c59-3b8d-47fd-b739-a8fadc631053" providerId="ADAL" clId="{34473802-5904-426F-ADDF-0D0D1B44876C}" dt="2024-03-04T09:20:41.109" v="7940" actId="20577"/>
        <pc:sldMkLst>
          <pc:docMk/>
          <pc:sldMk cId="2040534611" sldId="911"/>
        </pc:sldMkLst>
        <pc:spChg chg="mod">
          <ac:chgData name="Annemarija Apine (LV)" userId="546f5c59-3b8d-47fd-b739-a8fadc631053" providerId="ADAL" clId="{34473802-5904-426F-ADDF-0D0D1B44876C}" dt="2024-02-26T00:05:47.301" v="2322"/>
          <ac:spMkLst>
            <pc:docMk/>
            <pc:sldMk cId="2040534611" sldId="911"/>
            <ac:spMk id="2" creationId="{A1EA5253-E431-DFFC-E94A-6F8E087CC2C0}"/>
          </ac:spMkLst>
        </pc:spChg>
        <pc:spChg chg="mod">
          <ac:chgData name="Annemarija Apine (LV)" userId="546f5c59-3b8d-47fd-b739-a8fadc631053" providerId="ADAL" clId="{34473802-5904-426F-ADDF-0D0D1B44876C}" dt="2024-03-04T09:20:41.109" v="7940" actId="20577"/>
          <ac:spMkLst>
            <pc:docMk/>
            <pc:sldMk cId="2040534611" sldId="911"/>
            <ac:spMk id="3" creationId="{F4CCF02E-F3C4-C376-8F56-61BD85A2E74B}"/>
          </ac:spMkLst>
        </pc:spChg>
        <pc:spChg chg="add mod">
          <ac:chgData name="Annemarija Apine (LV)" userId="546f5c59-3b8d-47fd-b739-a8fadc631053" providerId="ADAL" clId="{34473802-5904-426F-ADDF-0D0D1B44876C}" dt="2024-02-26T00:09:36.721" v="2426" actId="20577"/>
          <ac:spMkLst>
            <pc:docMk/>
            <pc:sldMk cId="2040534611" sldId="911"/>
            <ac:spMk id="7" creationId="{C808DA25-FA14-FF3C-E908-05869001F803}"/>
          </ac:spMkLst>
        </pc:spChg>
        <pc:spChg chg="add del mod">
          <ac:chgData name="Annemarija Apine (LV)" userId="546f5c59-3b8d-47fd-b739-a8fadc631053" providerId="ADAL" clId="{34473802-5904-426F-ADDF-0D0D1B44876C}" dt="2024-02-26T00:05:08.334" v="2289" actId="478"/>
          <ac:spMkLst>
            <pc:docMk/>
            <pc:sldMk cId="2040534611" sldId="911"/>
            <ac:spMk id="8" creationId="{2292A5BD-BBCF-E009-4522-732CB9873538}"/>
          </ac:spMkLst>
        </pc:spChg>
        <pc:spChg chg="add mod">
          <ac:chgData name="Annemarija Apine (LV)" userId="546f5c59-3b8d-47fd-b739-a8fadc631053" providerId="ADAL" clId="{34473802-5904-426F-ADDF-0D0D1B44876C}" dt="2024-02-26T00:06:07.221" v="2327"/>
          <ac:spMkLst>
            <pc:docMk/>
            <pc:sldMk cId="2040534611" sldId="911"/>
            <ac:spMk id="9" creationId="{87836C41-8052-C603-D229-3FB1E5E9CE1A}"/>
          </ac:spMkLst>
        </pc:spChg>
        <pc:spChg chg="add mod">
          <ac:chgData name="Annemarija Apine (LV)" userId="546f5c59-3b8d-47fd-b739-a8fadc631053" providerId="ADAL" clId="{34473802-5904-426F-ADDF-0D0D1B44876C}" dt="2024-02-26T00:05:06.388" v="2288"/>
          <ac:spMkLst>
            <pc:docMk/>
            <pc:sldMk cId="2040534611" sldId="911"/>
            <ac:spMk id="10" creationId="{489B7680-E5EE-2A50-7733-37F2F144B869}"/>
          </ac:spMkLst>
        </pc:spChg>
        <pc:spChg chg="add mod">
          <ac:chgData name="Annemarija Apine (LV)" userId="546f5c59-3b8d-47fd-b739-a8fadc631053" providerId="ADAL" clId="{34473802-5904-426F-ADDF-0D0D1B44876C}" dt="2024-02-26T00:07:47.761" v="2379" actId="20577"/>
          <ac:spMkLst>
            <pc:docMk/>
            <pc:sldMk cId="2040534611" sldId="911"/>
            <ac:spMk id="11" creationId="{597D3F9D-B1C1-4C06-C77E-3378939A3472}"/>
          </ac:spMkLst>
        </pc:spChg>
      </pc:sldChg>
      <pc:sldChg chg="addSp modSp add mod ord">
        <pc:chgData name="Annemarija Apine (LV)" userId="546f5c59-3b8d-47fd-b739-a8fadc631053" providerId="ADAL" clId="{34473802-5904-426F-ADDF-0D0D1B44876C}" dt="2024-02-29T08:35:27.215" v="5232" actId="20577"/>
        <pc:sldMkLst>
          <pc:docMk/>
          <pc:sldMk cId="1829617463" sldId="912"/>
        </pc:sldMkLst>
        <pc:spChg chg="mod">
          <ac:chgData name="Annemarija Apine (LV)" userId="546f5c59-3b8d-47fd-b739-a8fadc631053" providerId="ADAL" clId="{34473802-5904-426F-ADDF-0D0D1B44876C}" dt="2024-02-26T00:05:32.883" v="2318" actId="20577"/>
          <ac:spMkLst>
            <pc:docMk/>
            <pc:sldMk cId="1829617463" sldId="912"/>
            <ac:spMk id="3" creationId="{F4CCF02E-F3C4-C376-8F56-61BD85A2E74B}"/>
          </ac:spMkLst>
        </pc:spChg>
        <pc:spChg chg="mod">
          <ac:chgData name="Annemarija Apine (LV)" userId="546f5c59-3b8d-47fd-b739-a8fadc631053" providerId="ADAL" clId="{34473802-5904-426F-ADDF-0D0D1B44876C}" dt="2024-02-29T08:35:27.215" v="5232" actId="20577"/>
          <ac:spMkLst>
            <pc:docMk/>
            <pc:sldMk cId="1829617463" sldId="912"/>
            <ac:spMk id="8" creationId="{2292A5BD-BBCF-E009-4522-732CB9873538}"/>
          </ac:spMkLst>
        </pc:spChg>
        <pc:spChg chg="add mod">
          <ac:chgData name="Annemarija Apine (LV)" userId="546f5c59-3b8d-47fd-b739-a8fadc631053" providerId="ADAL" clId="{34473802-5904-426F-ADDF-0D0D1B44876C}" dt="2024-02-26T00:04:49.695" v="2250" actId="207"/>
          <ac:spMkLst>
            <pc:docMk/>
            <pc:sldMk cId="1829617463" sldId="912"/>
            <ac:spMk id="10" creationId="{6F55AA3F-6103-110B-C367-10711AC49356}"/>
          </ac:spMkLst>
        </pc:spChg>
      </pc:sldChg>
      <pc:sldChg chg="modSp add del mod modNotesTx">
        <pc:chgData name="Annemarija Apine (LV)" userId="546f5c59-3b8d-47fd-b739-a8fadc631053" providerId="ADAL" clId="{34473802-5904-426F-ADDF-0D0D1B44876C}" dt="2024-02-26T22:59:40.571" v="3204" actId="47"/>
        <pc:sldMkLst>
          <pc:docMk/>
          <pc:sldMk cId="447902919" sldId="913"/>
        </pc:sldMkLst>
        <pc:spChg chg="mod">
          <ac:chgData name="Annemarija Apine (LV)" userId="546f5c59-3b8d-47fd-b739-a8fadc631053" providerId="ADAL" clId="{34473802-5904-426F-ADDF-0D0D1B44876C}" dt="2024-02-26T00:07:08.974" v="2342"/>
          <ac:spMkLst>
            <pc:docMk/>
            <pc:sldMk cId="447902919" sldId="913"/>
            <ac:spMk id="2" creationId="{A1EA5253-E431-DFFC-E94A-6F8E087CC2C0}"/>
          </ac:spMkLst>
        </pc:spChg>
        <pc:spChg chg="mod">
          <ac:chgData name="Annemarija Apine (LV)" userId="546f5c59-3b8d-47fd-b739-a8fadc631053" providerId="ADAL" clId="{34473802-5904-426F-ADDF-0D0D1B44876C}" dt="2024-02-26T00:06:51.247" v="2339" actId="20577"/>
          <ac:spMkLst>
            <pc:docMk/>
            <pc:sldMk cId="447902919" sldId="913"/>
            <ac:spMk id="3" creationId="{F4CCF02E-F3C4-C376-8F56-61BD85A2E74B}"/>
          </ac:spMkLst>
        </pc:spChg>
        <pc:spChg chg="mod">
          <ac:chgData name="Annemarija Apine (LV)" userId="546f5c59-3b8d-47fd-b739-a8fadc631053" providerId="ADAL" clId="{34473802-5904-426F-ADDF-0D0D1B44876C}" dt="2024-02-26T00:09:40.443" v="2428" actId="20577"/>
          <ac:spMkLst>
            <pc:docMk/>
            <pc:sldMk cId="447902919" sldId="913"/>
            <ac:spMk id="7" creationId="{C808DA25-FA14-FF3C-E908-05869001F803}"/>
          </ac:spMkLst>
        </pc:spChg>
        <pc:spChg chg="mod">
          <ac:chgData name="Annemarija Apine (LV)" userId="546f5c59-3b8d-47fd-b739-a8fadc631053" providerId="ADAL" clId="{34473802-5904-426F-ADDF-0D0D1B44876C}" dt="2024-02-26T00:07:30.192" v="2347" actId="20577"/>
          <ac:spMkLst>
            <pc:docMk/>
            <pc:sldMk cId="447902919" sldId="913"/>
            <ac:spMk id="9" creationId="{87836C41-8052-C603-D229-3FB1E5E9CE1A}"/>
          </ac:spMkLst>
        </pc:spChg>
      </pc:sldChg>
      <pc:sldChg chg="modSp add mod modNotesTx">
        <pc:chgData name="Annemarija Apine (LV)" userId="546f5c59-3b8d-47fd-b739-a8fadc631053" providerId="ADAL" clId="{34473802-5904-426F-ADDF-0D0D1B44876C}" dt="2024-03-04T09:23:38.921" v="8187" actId="20577"/>
        <pc:sldMkLst>
          <pc:docMk/>
          <pc:sldMk cId="3429470186" sldId="914"/>
        </pc:sldMkLst>
        <pc:spChg chg="mod">
          <ac:chgData name="Annemarija Apine (LV)" userId="546f5c59-3b8d-47fd-b739-a8fadc631053" providerId="ADAL" clId="{34473802-5904-426F-ADDF-0D0D1B44876C}" dt="2024-03-04T09:21:16.111" v="8008" actId="20577"/>
          <ac:spMkLst>
            <pc:docMk/>
            <pc:sldMk cId="3429470186" sldId="914"/>
            <ac:spMk id="3" creationId="{F4CCF02E-F3C4-C376-8F56-61BD85A2E74B}"/>
          </ac:spMkLst>
        </pc:spChg>
        <pc:spChg chg="mod">
          <ac:chgData name="Annemarija Apine (LV)" userId="546f5c59-3b8d-47fd-b739-a8fadc631053" providerId="ADAL" clId="{34473802-5904-426F-ADDF-0D0D1B44876C}" dt="2024-02-26T00:09:42.897" v="2430" actId="20577"/>
          <ac:spMkLst>
            <pc:docMk/>
            <pc:sldMk cId="3429470186" sldId="914"/>
            <ac:spMk id="7" creationId="{C808DA25-FA14-FF3C-E908-05869001F803}"/>
          </ac:spMkLst>
        </pc:spChg>
        <pc:spChg chg="mod">
          <ac:chgData name="Annemarija Apine (LV)" userId="546f5c59-3b8d-47fd-b739-a8fadc631053" providerId="ADAL" clId="{34473802-5904-426F-ADDF-0D0D1B44876C}" dt="2024-02-26T00:08:37.760" v="2398" actId="20577"/>
          <ac:spMkLst>
            <pc:docMk/>
            <pc:sldMk cId="3429470186" sldId="914"/>
            <ac:spMk id="9" creationId="{87836C41-8052-C603-D229-3FB1E5E9CE1A}"/>
          </ac:spMkLst>
        </pc:spChg>
        <pc:spChg chg="mod">
          <ac:chgData name="Annemarija Apine (LV)" userId="546f5c59-3b8d-47fd-b739-a8fadc631053" providerId="ADAL" clId="{34473802-5904-426F-ADDF-0D0D1B44876C}" dt="2024-03-04T09:23:32.252" v="8186" actId="20577"/>
          <ac:spMkLst>
            <pc:docMk/>
            <pc:sldMk cId="3429470186" sldId="914"/>
            <ac:spMk id="16" creationId="{25A25F16-3DF9-5BEF-8F70-42FAB50A6BCE}"/>
          </ac:spMkLst>
        </pc:spChg>
      </pc:sldChg>
      <pc:sldChg chg="addSp delSp modSp add mod addCm modNotesTx">
        <pc:chgData name="Annemarija Apine (LV)" userId="546f5c59-3b8d-47fd-b739-a8fadc631053" providerId="ADAL" clId="{34473802-5904-426F-ADDF-0D0D1B44876C}" dt="2024-03-11T14:41:59.591" v="10300" actId="21"/>
        <pc:sldMkLst>
          <pc:docMk/>
          <pc:sldMk cId="1981412866" sldId="915"/>
        </pc:sldMkLst>
        <pc:spChg chg="mod">
          <ac:chgData name="Annemarija Apine (LV)" userId="546f5c59-3b8d-47fd-b739-a8fadc631053" providerId="ADAL" clId="{34473802-5904-426F-ADDF-0D0D1B44876C}" dt="2024-02-26T00:10:35.842" v="2519" actId="14100"/>
          <ac:spMkLst>
            <pc:docMk/>
            <pc:sldMk cId="1981412866" sldId="915"/>
            <ac:spMk id="2" creationId="{A1EA5253-E431-DFFC-E94A-6F8E087CC2C0}"/>
          </ac:spMkLst>
        </pc:spChg>
        <pc:spChg chg="mod">
          <ac:chgData name="Annemarija Apine (LV)" userId="546f5c59-3b8d-47fd-b739-a8fadc631053" providerId="ADAL" clId="{34473802-5904-426F-ADDF-0D0D1B44876C}" dt="2024-02-26T00:09:24.419" v="2418" actId="20577"/>
          <ac:spMkLst>
            <pc:docMk/>
            <pc:sldMk cId="1981412866" sldId="915"/>
            <ac:spMk id="3" creationId="{F4CCF02E-F3C4-C376-8F56-61BD85A2E74B}"/>
          </ac:spMkLst>
        </pc:spChg>
        <pc:spChg chg="del mod">
          <ac:chgData name="Annemarija Apine (LV)" userId="546f5c59-3b8d-47fd-b739-a8fadc631053" providerId="ADAL" clId="{34473802-5904-426F-ADDF-0D0D1B44876C}" dt="2024-02-26T00:09:50.030" v="2433" actId="478"/>
          <ac:spMkLst>
            <pc:docMk/>
            <pc:sldMk cId="1981412866" sldId="915"/>
            <ac:spMk id="7" creationId="{C808DA25-FA14-FF3C-E908-05869001F803}"/>
          </ac:spMkLst>
        </pc:spChg>
        <pc:spChg chg="add mod">
          <ac:chgData name="Annemarija Apine (LV)" userId="546f5c59-3b8d-47fd-b739-a8fadc631053" providerId="ADAL" clId="{34473802-5904-426F-ADDF-0D0D1B44876C}" dt="2024-02-26T14:51:02.537" v="2657" actId="20577"/>
          <ac:spMkLst>
            <pc:docMk/>
            <pc:sldMk cId="1981412866" sldId="915"/>
            <ac:spMk id="8" creationId="{598AB23C-0BF9-85FE-4B7A-DC0CF1A85603}"/>
          </ac:spMkLst>
        </pc:spChg>
        <pc:spChg chg="del mod">
          <ac:chgData name="Annemarija Apine (LV)" userId="546f5c59-3b8d-47fd-b739-a8fadc631053" providerId="ADAL" clId="{34473802-5904-426F-ADDF-0D0D1B44876C}" dt="2024-02-26T00:10:51.200" v="2523" actId="478"/>
          <ac:spMkLst>
            <pc:docMk/>
            <pc:sldMk cId="1981412866" sldId="915"/>
            <ac:spMk id="9" creationId="{87836C41-8052-C603-D229-3FB1E5E9CE1A}"/>
          </ac:spMkLst>
        </pc:spChg>
        <pc:spChg chg="add mod">
          <ac:chgData name="Annemarija Apine (LV)" userId="546f5c59-3b8d-47fd-b739-a8fadc631053" providerId="ADAL" clId="{34473802-5904-426F-ADDF-0D0D1B44876C}" dt="2024-02-26T00:12:33.428" v="2562" actId="12"/>
          <ac:spMkLst>
            <pc:docMk/>
            <pc:sldMk cId="1981412866" sldId="915"/>
            <ac:spMk id="11" creationId="{327B1A4B-6980-7B00-091C-6006703B82A0}"/>
          </ac:spMkLst>
        </pc:spChg>
        <pc:spChg chg="add del mod">
          <ac:chgData name="Annemarija Apine (LV)" userId="546f5c59-3b8d-47fd-b739-a8fadc631053" providerId="ADAL" clId="{34473802-5904-426F-ADDF-0D0D1B44876C}" dt="2024-02-26T22:53:03.232" v="2715" actId="21"/>
          <ac:spMkLst>
            <pc:docMk/>
            <pc:sldMk cId="1981412866" sldId="915"/>
            <ac:spMk id="12" creationId="{659F5A23-83C2-3FB5-5C9C-13F41BA750FF}"/>
          </ac:spMkLst>
        </pc:spChg>
        <pc:grpChg chg="add del">
          <ac:chgData name="Annemarija Apine (LV)" userId="546f5c59-3b8d-47fd-b739-a8fadc631053" providerId="ADAL" clId="{34473802-5904-426F-ADDF-0D0D1B44876C}" dt="2024-03-11T14:41:59.591" v="10300" actId="21"/>
          <ac:grpSpMkLst>
            <pc:docMk/>
            <pc:sldMk cId="1981412866" sldId="915"/>
            <ac:grpSpMk id="18" creationId="{A49FE20D-FD8B-8459-9736-4ADAB34854A3}"/>
          </ac:grpSpMkLst>
        </pc:gr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4T09:27:33.350" v="8216"/>
              <pc2:cmMkLst xmlns:pc2="http://schemas.microsoft.com/office/powerpoint/2019/9/main/command">
                <pc:docMk/>
                <pc:sldMk cId="1981412866" sldId="915"/>
                <pc2:cmMk id="{0A2FB834-DE41-4211-88A4-807F40A0D977}"/>
              </pc2:cmMkLst>
            </pc226:cmChg>
          </p:ext>
        </pc:extLst>
      </pc:sldChg>
      <pc:sldChg chg="addSp delSp modSp add mod addCm modNotesTx">
        <pc:chgData name="Annemarija Apine (LV)" userId="546f5c59-3b8d-47fd-b739-a8fadc631053" providerId="ADAL" clId="{34473802-5904-426F-ADDF-0D0D1B44876C}" dt="2024-03-11T14:42:02.099" v="10325"/>
        <pc:sldMkLst>
          <pc:docMk/>
          <pc:sldMk cId="64855802" sldId="916"/>
        </pc:sldMkLst>
        <pc:spChg chg="mod">
          <ac:chgData name="Annemarija Apine (LV)" userId="546f5c59-3b8d-47fd-b739-a8fadc631053" providerId="ADAL" clId="{34473802-5904-426F-ADDF-0D0D1B44876C}" dt="2024-02-26T23:02:55.995" v="3376" actId="113"/>
          <ac:spMkLst>
            <pc:docMk/>
            <pc:sldMk cId="64855802" sldId="916"/>
            <ac:spMk id="2" creationId="{A1EA5253-E431-DFFC-E94A-6F8E087CC2C0}"/>
          </ac:spMkLst>
        </pc:spChg>
        <pc:spChg chg="mod">
          <ac:chgData name="Annemarija Apine (LV)" userId="546f5c59-3b8d-47fd-b739-a8fadc631053" providerId="ADAL" clId="{34473802-5904-426F-ADDF-0D0D1B44876C}" dt="2024-02-26T22:55:25.472" v="2812" actId="20577"/>
          <ac:spMkLst>
            <pc:docMk/>
            <pc:sldMk cId="64855802" sldId="916"/>
            <ac:spMk id="3" creationId="{F4CCF02E-F3C4-C376-8F56-61BD85A2E74B}"/>
          </ac:spMkLst>
        </pc:spChg>
        <pc:spChg chg="add mod">
          <ac:chgData name="Annemarija Apine (LV)" userId="546f5c59-3b8d-47fd-b739-a8fadc631053" providerId="ADAL" clId="{34473802-5904-426F-ADDF-0D0D1B44876C}" dt="2024-02-26T22:56:43.481" v="3088" actId="20577"/>
          <ac:spMkLst>
            <pc:docMk/>
            <pc:sldMk cId="64855802" sldId="916"/>
            <ac:spMk id="7" creationId="{8E846963-540E-9336-DE83-B87EC3AB5727}"/>
          </ac:spMkLst>
        </pc:spChg>
        <pc:spChg chg="mod">
          <ac:chgData name="Annemarija Apine (LV)" userId="546f5c59-3b8d-47fd-b739-a8fadc631053" providerId="ADAL" clId="{34473802-5904-426F-ADDF-0D0D1B44876C}" dt="2024-02-26T22:58:07.835" v="3126" actId="20577"/>
          <ac:spMkLst>
            <pc:docMk/>
            <pc:sldMk cId="64855802" sldId="916"/>
            <ac:spMk id="8" creationId="{598AB23C-0BF9-85FE-4B7A-DC0CF1A85603}"/>
          </ac:spMkLst>
        </pc:spChg>
        <pc:spChg chg="add del mod">
          <ac:chgData name="Annemarija Apine (LV)" userId="546f5c59-3b8d-47fd-b739-a8fadc631053" providerId="ADAL" clId="{34473802-5904-426F-ADDF-0D0D1B44876C}" dt="2024-02-29T08:35:50.179" v="5239" actId="478"/>
          <ac:spMkLst>
            <pc:docMk/>
            <pc:sldMk cId="64855802" sldId="916"/>
            <ac:spMk id="9" creationId="{60EA8C9A-B4E1-ED83-7F05-80E8B89E3E1B}"/>
          </ac:spMkLst>
        </pc:spChg>
        <pc:spChg chg="mod">
          <ac:chgData name="Annemarija Apine (LV)" userId="546f5c59-3b8d-47fd-b739-a8fadc631053" providerId="ADAL" clId="{34473802-5904-426F-ADDF-0D0D1B44876C}" dt="2024-02-26T22:54:22.737" v="2763" actId="20577"/>
          <ac:spMkLst>
            <pc:docMk/>
            <pc:sldMk cId="64855802" sldId="916"/>
            <ac:spMk id="10" creationId="{489B7680-E5EE-2A50-7733-37F2F144B869}"/>
          </ac:spMkLst>
        </pc:spChg>
        <pc:spChg chg="mod">
          <ac:chgData name="Annemarija Apine (LV)" userId="546f5c59-3b8d-47fd-b739-a8fadc631053" providerId="ADAL" clId="{34473802-5904-426F-ADDF-0D0D1B44876C}" dt="2024-02-26T22:58:30.084" v="3139" actId="12"/>
          <ac:spMkLst>
            <pc:docMk/>
            <pc:sldMk cId="64855802" sldId="916"/>
            <ac:spMk id="11" creationId="{327B1A4B-6980-7B00-091C-6006703B82A0}"/>
          </ac:spMkLst>
        </pc:spChg>
        <pc:spChg chg="mod">
          <ac:chgData name="Annemarija Apine (LV)" userId="546f5c59-3b8d-47fd-b739-a8fadc631053" providerId="ADAL" clId="{34473802-5904-426F-ADDF-0D0D1B44876C}" dt="2024-03-11T14:42:02.099" v="10325"/>
          <ac:spMkLst>
            <pc:docMk/>
            <pc:sldMk cId="64855802" sldId="916"/>
            <ac:spMk id="11" creationId="{836441A3-6385-8323-B08A-0073B0FB5CA5}"/>
          </ac:spMkLst>
        </pc:spChg>
        <pc:spChg chg="mod">
          <ac:chgData name="Annemarija Apine (LV)" userId="546f5c59-3b8d-47fd-b739-a8fadc631053" providerId="ADAL" clId="{34473802-5904-426F-ADDF-0D0D1B44876C}" dt="2024-03-11T14:42:02.099" v="10325"/>
          <ac:spMkLst>
            <pc:docMk/>
            <pc:sldMk cId="64855802" sldId="916"/>
            <ac:spMk id="13" creationId="{BDBF5004-C333-4FCF-D7DD-775EDB7F58B0}"/>
          </ac:spMkLst>
        </pc:spChg>
        <pc:spChg chg="mod">
          <ac:chgData name="Annemarija Apine (LV)" userId="546f5c59-3b8d-47fd-b739-a8fadc631053" providerId="ADAL" clId="{34473802-5904-426F-ADDF-0D0D1B44876C}" dt="2024-03-11T14:42:02.099" v="10325"/>
          <ac:spMkLst>
            <pc:docMk/>
            <pc:sldMk cId="64855802" sldId="916"/>
            <ac:spMk id="14" creationId="{B17E22AC-3FD7-B294-7CD8-82EAC265809C}"/>
          </ac:spMkLst>
        </pc:spChg>
        <pc:spChg chg="mod">
          <ac:chgData name="Annemarija Apine (LV)" userId="546f5c59-3b8d-47fd-b739-a8fadc631053" providerId="ADAL" clId="{34473802-5904-426F-ADDF-0D0D1B44876C}" dt="2024-03-11T14:42:02.099" v="10325"/>
          <ac:spMkLst>
            <pc:docMk/>
            <pc:sldMk cId="64855802" sldId="916"/>
            <ac:spMk id="15" creationId="{D49BE480-993F-A60E-DE5C-66CDA3B9CB2B}"/>
          </ac:spMkLst>
        </pc:spChg>
        <pc:spChg chg="mod">
          <ac:chgData name="Annemarija Apine (LV)" userId="546f5c59-3b8d-47fd-b739-a8fadc631053" providerId="ADAL" clId="{34473802-5904-426F-ADDF-0D0D1B44876C}" dt="2024-03-11T14:42:02.099" v="10325"/>
          <ac:spMkLst>
            <pc:docMk/>
            <pc:sldMk cId="64855802" sldId="916"/>
            <ac:spMk id="16" creationId="{8AF1A61C-47A7-4B2E-F520-BA19D1D2C0D3}"/>
          </ac:spMkLst>
        </pc:spChg>
        <pc:spChg chg="mod">
          <ac:chgData name="Annemarija Apine (LV)" userId="546f5c59-3b8d-47fd-b739-a8fadc631053" providerId="ADAL" clId="{34473802-5904-426F-ADDF-0D0D1B44876C}" dt="2024-03-11T14:42:02.099" v="10325"/>
          <ac:spMkLst>
            <pc:docMk/>
            <pc:sldMk cId="64855802" sldId="916"/>
            <ac:spMk id="17" creationId="{1308B33E-95B7-5E7E-A01B-E7A6B278F425}"/>
          </ac:spMkLst>
        </pc:spChg>
        <pc:grpChg chg="add mod">
          <ac:chgData name="Annemarija Apine (LV)" userId="546f5c59-3b8d-47fd-b739-a8fadc631053" providerId="ADAL" clId="{34473802-5904-426F-ADDF-0D0D1B44876C}" dt="2024-03-11T14:42:02.099" v="10325"/>
          <ac:grpSpMkLst>
            <pc:docMk/>
            <pc:sldMk cId="64855802" sldId="916"/>
            <ac:grpSpMk id="10" creationId="{5BE53770-39DA-EF55-A7D3-DDA3519DA828}"/>
          </ac:grpSpMkLst>
        </pc:gr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4T09:27:43.146" v="8218"/>
              <pc2:cmMkLst xmlns:pc2="http://schemas.microsoft.com/office/powerpoint/2019/9/main/command">
                <pc:docMk/>
                <pc:sldMk cId="64855802" sldId="916"/>
                <pc2:cmMk id="{E19E04FF-80D3-4B5A-AF99-4359BE452283}"/>
              </pc2:cmMkLst>
            </pc226:cmChg>
          </p:ext>
        </pc:extLst>
      </pc:sldChg>
      <pc:sldChg chg="add del">
        <pc:chgData name="Annemarija Apine (LV)" userId="546f5c59-3b8d-47fd-b739-a8fadc631053" providerId="ADAL" clId="{34473802-5904-426F-ADDF-0D0D1B44876C}" dt="2024-02-26T23:00:30.411" v="3298"/>
        <pc:sldMkLst>
          <pc:docMk/>
          <pc:sldMk cId="1789607969" sldId="917"/>
        </pc:sldMkLst>
      </pc:sldChg>
      <pc:sldChg chg="addSp delSp modSp add mod ord addCm delCm modNotesTx">
        <pc:chgData name="Annemarija Apine (LV)" userId="546f5c59-3b8d-47fd-b739-a8fadc631053" providerId="ADAL" clId="{34473802-5904-426F-ADDF-0D0D1B44876C}" dt="2024-03-04T09:40:36.309" v="8394" actId="20577"/>
        <pc:sldMkLst>
          <pc:docMk/>
          <pc:sldMk cId="4273639525" sldId="917"/>
        </pc:sldMkLst>
        <pc:spChg chg="del">
          <ac:chgData name="Annemarija Apine (LV)" userId="546f5c59-3b8d-47fd-b739-a8fadc631053" providerId="ADAL" clId="{34473802-5904-426F-ADDF-0D0D1B44876C}" dt="2024-02-26T23:01:10.646" v="3332" actId="478"/>
          <ac:spMkLst>
            <pc:docMk/>
            <pc:sldMk cId="4273639525" sldId="917"/>
            <ac:spMk id="2" creationId="{A1EA5253-E431-DFFC-E94A-6F8E087CC2C0}"/>
          </ac:spMkLst>
        </pc:spChg>
        <pc:spChg chg="mod">
          <ac:chgData name="Annemarija Apine (LV)" userId="546f5c59-3b8d-47fd-b739-a8fadc631053" providerId="ADAL" clId="{34473802-5904-426F-ADDF-0D0D1B44876C}" dt="2024-02-26T23:01:06.194" v="3331" actId="20577"/>
          <ac:spMkLst>
            <pc:docMk/>
            <pc:sldMk cId="4273639525" sldId="917"/>
            <ac:spMk id="3" creationId="{F4CCF02E-F3C4-C376-8F56-61BD85A2E74B}"/>
          </ac:spMkLst>
        </pc:spChg>
        <pc:spChg chg="mod">
          <ac:chgData name="Annemarija Apine (LV)" userId="546f5c59-3b8d-47fd-b739-a8fadc631053" providerId="ADAL" clId="{34473802-5904-426F-ADDF-0D0D1B44876C}" dt="2024-02-26T23:01:22.710" v="3340"/>
          <ac:spMkLst>
            <pc:docMk/>
            <pc:sldMk cId="4273639525" sldId="917"/>
            <ac:spMk id="8" creationId="{598AB23C-0BF9-85FE-4B7A-DC0CF1A85603}"/>
          </ac:spMkLst>
        </pc:spChg>
        <pc:spChg chg="del">
          <ac:chgData name="Annemarija Apine (LV)" userId="546f5c59-3b8d-47fd-b739-a8fadc631053" providerId="ADAL" clId="{34473802-5904-426F-ADDF-0D0D1B44876C}" dt="2024-02-29T13:25:46.614" v="5266" actId="478"/>
          <ac:spMkLst>
            <pc:docMk/>
            <pc:sldMk cId="4273639525" sldId="917"/>
            <ac:spMk id="9" creationId="{60EA8C9A-B4E1-ED83-7F05-80E8B89E3E1B}"/>
          </ac:spMkLst>
        </pc:spChg>
        <pc:spChg chg="mod">
          <ac:chgData name="Annemarija Apine (LV)" userId="546f5c59-3b8d-47fd-b739-a8fadc631053" providerId="ADAL" clId="{34473802-5904-426F-ADDF-0D0D1B44876C}" dt="2024-02-26T23:01:39.313" v="3343"/>
          <ac:spMkLst>
            <pc:docMk/>
            <pc:sldMk cId="4273639525" sldId="917"/>
            <ac:spMk id="11" creationId="{327B1A4B-6980-7B00-091C-6006703B82A0}"/>
          </ac:spMkLst>
        </pc:spChg>
        <pc:spChg chg="add del mod">
          <ac:chgData name="Annemarija Apine (LV)" userId="546f5c59-3b8d-47fd-b739-a8fadc631053" providerId="ADAL" clId="{34473802-5904-426F-ADDF-0D0D1B44876C}" dt="2024-02-26T23:01:12.131" v="3333" actId="478"/>
          <ac:spMkLst>
            <pc:docMk/>
            <pc:sldMk cId="4273639525" sldId="917"/>
            <ac:spMk id="13" creationId="{7CE55637-75BA-5139-15F4-26E122CEF9A9}"/>
          </ac:spMkLst>
        </pc:spChg>
        <pc:spChg chg="mod">
          <ac:chgData name="Annemarija Apine (LV)" userId="546f5c59-3b8d-47fd-b739-a8fadc631053" providerId="ADAL" clId="{34473802-5904-426F-ADDF-0D0D1B44876C}" dt="2024-03-04T09:32:06.688" v="8232" actId="14100"/>
          <ac:spMkLst>
            <pc:docMk/>
            <pc:sldMk cId="4273639525" sldId="917"/>
            <ac:spMk id="20" creationId="{71A7C7C0-2A0C-7790-FB11-2C935A397516}"/>
          </ac:spMkLst>
        </pc:spChg>
        <pc:spChg chg="mod">
          <ac:chgData name="Annemarija Apine (LV)" userId="546f5c59-3b8d-47fd-b739-a8fadc631053" providerId="ADAL" clId="{34473802-5904-426F-ADDF-0D0D1B44876C}" dt="2024-03-04T09:32:28.976" v="8238" actId="1036"/>
          <ac:spMkLst>
            <pc:docMk/>
            <pc:sldMk cId="4273639525" sldId="917"/>
            <ac:spMk id="21" creationId="{2AE882DB-6A87-19F7-49D2-A2C7AF5D76FD}"/>
          </ac:spMkLst>
        </pc:spChg>
        <pc:spChg chg="mod">
          <ac:chgData name="Annemarija Apine (LV)" userId="546f5c59-3b8d-47fd-b739-a8fadc631053" providerId="ADAL" clId="{34473802-5904-426F-ADDF-0D0D1B44876C}" dt="2024-03-04T09:32:28.976" v="8238" actId="1036"/>
          <ac:spMkLst>
            <pc:docMk/>
            <pc:sldMk cId="4273639525" sldId="917"/>
            <ac:spMk id="22" creationId="{D512C8CC-021C-3D02-627D-E9AFCCFA9CAF}"/>
          </ac:spMkLst>
        </pc:spChg>
        <pc:spChg chg="mod">
          <ac:chgData name="Annemarija Apine (LV)" userId="546f5c59-3b8d-47fd-b739-a8fadc631053" providerId="ADAL" clId="{34473802-5904-426F-ADDF-0D0D1B44876C}" dt="2024-03-04T09:32:28.976" v="8238" actId="1036"/>
          <ac:spMkLst>
            <pc:docMk/>
            <pc:sldMk cId="4273639525" sldId="917"/>
            <ac:spMk id="23" creationId="{5365EF17-B219-A2D9-E9C0-8D98FAFA07D9}"/>
          </ac:spMkLst>
        </pc:spChg>
        <pc:spChg chg="mod">
          <ac:chgData name="Annemarija Apine (LV)" userId="546f5c59-3b8d-47fd-b739-a8fadc631053" providerId="ADAL" clId="{34473802-5904-426F-ADDF-0D0D1B44876C}" dt="2024-03-04T09:32:28.976" v="8238" actId="1036"/>
          <ac:spMkLst>
            <pc:docMk/>
            <pc:sldMk cId="4273639525" sldId="917"/>
            <ac:spMk id="24" creationId="{EDAAB878-3F85-4CF2-D593-26F5C6B40D68}"/>
          </ac:spMkLst>
        </pc:spChg>
        <pc:spChg chg="mod">
          <ac:chgData name="Annemarija Apine (LV)" userId="546f5c59-3b8d-47fd-b739-a8fadc631053" providerId="ADAL" clId="{34473802-5904-426F-ADDF-0D0D1B44876C}" dt="2024-03-04T09:31:55.601" v="8231" actId="1036"/>
          <ac:spMkLst>
            <pc:docMk/>
            <pc:sldMk cId="4273639525" sldId="917"/>
            <ac:spMk id="25" creationId="{F25DA104-C4AB-B1D2-2A0D-66C0FB817D87}"/>
          </ac:spMkLst>
        </pc:spChg>
        <pc:spChg chg="mod">
          <ac:chgData name="Annemarija Apine (LV)" userId="546f5c59-3b8d-47fd-b739-a8fadc631053" providerId="ADAL" clId="{34473802-5904-426F-ADDF-0D0D1B44876C}" dt="2024-03-04T09:31:33.615" v="8225" actId="14100"/>
          <ac:spMkLst>
            <pc:docMk/>
            <pc:sldMk cId="4273639525" sldId="917"/>
            <ac:spMk id="48" creationId="{EBAA83D0-B767-9E96-1B47-C078CEEE614B}"/>
          </ac:spMkLst>
        </pc:spChg>
        <pc:spChg chg="mod">
          <ac:chgData name="Annemarija Apine (LV)" userId="546f5c59-3b8d-47fd-b739-a8fadc631053" providerId="ADAL" clId="{34473802-5904-426F-ADDF-0D0D1B44876C}" dt="2024-03-04T09:31:33.615" v="8225" actId="14100"/>
          <ac:spMkLst>
            <pc:docMk/>
            <pc:sldMk cId="4273639525" sldId="917"/>
            <ac:spMk id="49" creationId="{61741A74-5C7B-7766-FAC2-162B3E3B5946}"/>
          </ac:spMkLst>
        </pc:spChg>
        <pc:spChg chg="mod">
          <ac:chgData name="Annemarija Apine (LV)" userId="546f5c59-3b8d-47fd-b739-a8fadc631053" providerId="ADAL" clId="{34473802-5904-426F-ADDF-0D0D1B44876C}" dt="2024-03-04T09:31:33.615" v="8225" actId="14100"/>
          <ac:spMkLst>
            <pc:docMk/>
            <pc:sldMk cId="4273639525" sldId="917"/>
            <ac:spMk id="50" creationId="{A0C0290C-4BE9-3776-4546-3DEF56D11991}"/>
          </ac:spMkLst>
        </pc:spChg>
        <pc:spChg chg="mod">
          <ac:chgData name="Annemarija Apine (LV)" userId="546f5c59-3b8d-47fd-b739-a8fadc631053" providerId="ADAL" clId="{34473802-5904-426F-ADDF-0D0D1B44876C}" dt="2024-03-04T09:31:33.615" v="8225" actId="14100"/>
          <ac:spMkLst>
            <pc:docMk/>
            <pc:sldMk cId="4273639525" sldId="917"/>
            <ac:spMk id="51" creationId="{BAB0F656-869B-B0AF-322D-5E8BBB041A61}"/>
          </ac:spMkLst>
        </pc:spChg>
        <pc:spChg chg="mod">
          <ac:chgData name="Annemarija Apine (LV)" userId="546f5c59-3b8d-47fd-b739-a8fadc631053" providerId="ADAL" clId="{34473802-5904-426F-ADDF-0D0D1B44876C}" dt="2024-03-04T09:31:33.615" v="8225" actId="14100"/>
          <ac:spMkLst>
            <pc:docMk/>
            <pc:sldMk cId="4273639525" sldId="917"/>
            <ac:spMk id="52" creationId="{DAED98C7-E0EF-C092-E3F8-D2FBD65700E3}"/>
          </ac:spMkLst>
        </pc:spChg>
        <pc:spChg chg="mod">
          <ac:chgData name="Annemarija Apine (LV)" userId="546f5c59-3b8d-47fd-b739-a8fadc631053" providerId="ADAL" clId="{34473802-5904-426F-ADDF-0D0D1B44876C}" dt="2024-03-04T09:31:33.615" v="8225" actId="14100"/>
          <ac:spMkLst>
            <pc:docMk/>
            <pc:sldMk cId="4273639525" sldId="917"/>
            <ac:spMk id="53" creationId="{18418CB4-C7BA-DDC9-0605-BD3AD04DF988}"/>
          </ac:spMkLst>
        </pc:spChg>
        <pc:grpChg chg="mod">
          <ac:chgData name="Annemarija Apine (LV)" userId="546f5c59-3b8d-47fd-b739-a8fadc631053" providerId="ADAL" clId="{34473802-5904-426F-ADDF-0D0D1B44876C}" dt="2024-03-04T09:31:49.541" v="8229" actId="1076"/>
          <ac:grpSpMkLst>
            <pc:docMk/>
            <pc:sldMk cId="4273639525" sldId="917"/>
            <ac:grpSpMk id="26" creationId="{E3370077-1573-2794-544A-AE97973345F5}"/>
          </ac:grpSpMkLst>
        </pc:grpChg>
        <pc:cxnChg chg="mod">
          <ac:chgData name="Annemarija Apine (LV)" userId="546f5c59-3b8d-47fd-b739-a8fadc631053" providerId="ADAL" clId="{34473802-5904-426F-ADDF-0D0D1B44876C}" dt="2024-03-04T09:31:33.615" v="8225" actId="14100"/>
          <ac:cxnSpMkLst>
            <pc:docMk/>
            <pc:sldMk cId="4273639525" sldId="917"/>
            <ac:cxnSpMk id="54" creationId="{4281C6C9-CAE5-FE3D-692E-4632AFDD42D6}"/>
          </ac:cxnSpMkLst>
        </pc:cxnChg>
        <pc:cxnChg chg="mod">
          <ac:chgData name="Annemarija Apine (LV)" userId="546f5c59-3b8d-47fd-b739-a8fadc631053" providerId="ADAL" clId="{34473802-5904-426F-ADDF-0D0D1B44876C}" dt="2024-03-04T09:31:33.615" v="8225" actId="14100"/>
          <ac:cxnSpMkLst>
            <pc:docMk/>
            <pc:sldMk cId="4273639525" sldId="917"/>
            <ac:cxnSpMk id="55" creationId="{C204DE99-827A-F3C1-EF6A-10E3F0F8DA85}"/>
          </ac:cxnSpMkLst>
        </pc:cxnChg>
        <pc:cxnChg chg="mod">
          <ac:chgData name="Annemarija Apine (LV)" userId="546f5c59-3b8d-47fd-b739-a8fadc631053" providerId="ADAL" clId="{34473802-5904-426F-ADDF-0D0D1B44876C}" dt="2024-03-04T09:31:33.615" v="8225" actId="14100"/>
          <ac:cxnSpMkLst>
            <pc:docMk/>
            <pc:sldMk cId="4273639525" sldId="917"/>
            <ac:cxnSpMk id="56" creationId="{3747D388-5C9D-8CB8-22C8-4081EA6BC8AE}"/>
          </ac:cxnSpMkLst>
        </pc:cxnChg>
        <pc:cxnChg chg="mod">
          <ac:chgData name="Annemarija Apine (LV)" userId="546f5c59-3b8d-47fd-b739-a8fadc631053" providerId="ADAL" clId="{34473802-5904-426F-ADDF-0D0D1B44876C}" dt="2024-03-04T09:31:33.615" v="8225" actId="14100"/>
          <ac:cxnSpMkLst>
            <pc:docMk/>
            <pc:sldMk cId="4273639525" sldId="917"/>
            <ac:cxnSpMk id="57" creationId="{3756723B-C315-85E8-1B45-2DA50AA203A1}"/>
          </ac:cxnSpMkLst>
        </pc:cxnChg>
        <pc:cxnChg chg="mod">
          <ac:chgData name="Annemarija Apine (LV)" userId="546f5c59-3b8d-47fd-b739-a8fadc631053" providerId="ADAL" clId="{34473802-5904-426F-ADDF-0D0D1B44876C}" dt="2024-03-04T09:31:33.615" v="8225" actId="14100"/>
          <ac:cxnSpMkLst>
            <pc:docMk/>
            <pc:sldMk cId="4273639525" sldId="917"/>
            <ac:cxnSpMk id="58" creationId="{BBCE494F-89AF-8E94-59B9-02836329B37E}"/>
          </ac:cxnSpMkLst>
        </pc:cxn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34473802-5904-426F-ADDF-0D0D1B44876C}" dt="2024-03-04T09:32:43.406" v="8240"/>
              <pc2:cmMkLst xmlns:pc2="http://schemas.microsoft.com/office/powerpoint/2019/9/main/command">
                <pc:docMk/>
                <pc:sldMk cId="4273639525" sldId="917"/>
                <pc2:cmMk id="{19204F20-0AF8-4CA6-A7B8-DC2E12DB89C6}"/>
              </pc2:cmMkLst>
            </pc226:cmChg>
            <pc226:cmChg xmlns:pc226="http://schemas.microsoft.com/office/powerpoint/2022/06/main/command" chg="add del">
              <pc226:chgData name="Annemarija Apine (LV)" userId="546f5c59-3b8d-47fd-b739-a8fadc631053" providerId="ADAL" clId="{34473802-5904-426F-ADDF-0D0D1B44876C}" dt="2024-03-04T09:32:47.916" v="8242"/>
              <pc2:cmMkLst xmlns:pc2="http://schemas.microsoft.com/office/powerpoint/2019/9/main/command">
                <pc:docMk/>
                <pc:sldMk cId="4273639525" sldId="917"/>
                <pc2:cmMk id="{999E2BEA-97E0-49F6-8878-F15FDC1D7E8E}"/>
              </pc2:cmMkLst>
            </pc226:cmChg>
          </p:ext>
        </pc:extLst>
      </pc:sldChg>
      <pc:sldChg chg="addSp delSp modSp add mod addCm modNotesTx">
        <pc:chgData name="Annemarija Apine (LV)" userId="546f5c59-3b8d-47fd-b739-a8fadc631053" providerId="ADAL" clId="{34473802-5904-426F-ADDF-0D0D1B44876C}" dt="2024-03-11T14:42:04.440" v="10327"/>
        <pc:sldMkLst>
          <pc:docMk/>
          <pc:sldMk cId="785221003" sldId="918"/>
        </pc:sldMkLst>
        <pc:spChg chg="mod">
          <ac:chgData name="Annemarija Apine (LV)" userId="546f5c59-3b8d-47fd-b739-a8fadc631053" providerId="ADAL" clId="{34473802-5904-426F-ADDF-0D0D1B44876C}" dt="2024-02-26T23:02:13.657" v="3359"/>
          <ac:spMkLst>
            <pc:docMk/>
            <pc:sldMk cId="785221003" sldId="918"/>
            <ac:spMk id="2" creationId="{A1EA5253-E431-DFFC-E94A-6F8E087CC2C0}"/>
          </ac:spMkLst>
        </pc:spChg>
        <pc:spChg chg="mod">
          <ac:chgData name="Annemarija Apine (LV)" userId="546f5c59-3b8d-47fd-b739-a8fadc631053" providerId="ADAL" clId="{34473802-5904-426F-ADDF-0D0D1B44876C}" dt="2024-02-26T23:01:53.223" v="3356" actId="20577"/>
          <ac:spMkLst>
            <pc:docMk/>
            <pc:sldMk cId="785221003" sldId="918"/>
            <ac:spMk id="3" creationId="{F4CCF02E-F3C4-C376-8F56-61BD85A2E74B}"/>
          </ac:spMkLst>
        </pc:spChg>
        <pc:spChg chg="mod">
          <ac:chgData name="Annemarija Apine (LV)" userId="546f5c59-3b8d-47fd-b739-a8fadc631053" providerId="ADAL" clId="{34473802-5904-426F-ADDF-0D0D1B44876C}" dt="2024-02-26T23:02:28.374" v="3364"/>
          <ac:spMkLst>
            <pc:docMk/>
            <pc:sldMk cId="785221003" sldId="918"/>
            <ac:spMk id="8" creationId="{598AB23C-0BF9-85FE-4B7A-DC0CF1A85603}"/>
          </ac:spMkLst>
        </pc:spChg>
        <pc:spChg chg="del">
          <ac:chgData name="Annemarija Apine (LV)" userId="546f5c59-3b8d-47fd-b739-a8fadc631053" providerId="ADAL" clId="{34473802-5904-426F-ADDF-0D0D1B44876C}" dt="2024-02-29T08:36:10.795" v="5264" actId="478"/>
          <ac:spMkLst>
            <pc:docMk/>
            <pc:sldMk cId="785221003" sldId="918"/>
            <ac:spMk id="9" creationId="{60EA8C9A-B4E1-ED83-7F05-80E8B89E3E1B}"/>
          </ac:spMkLst>
        </pc:spChg>
        <pc:spChg chg="mod">
          <ac:chgData name="Annemarija Apine (LV)" userId="546f5c59-3b8d-47fd-b739-a8fadc631053" providerId="ADAL" clId="{34473802-5904-426F-ADDF-0D0D1B44876C}" dt="2024-02-26T23:02:44.771" v="3371" actId="20577"/>
          <ac:spMkLst>
            <pc:docMk/>
            <pc:sldMk cId="785221003" sldId="918"/>
            <ac:spMk id="11" creationId="{327B1A4B-6980-7B00-091C-6006703B82A0}"/>
          </ac:spMkLst>
        </pc:spChg>
        <pc:spChg chg="mod">
          <ac:chgData name="Annemarija Apine (LV)" userId="546f5c59-3b8d-47fd-b739-a8fadc631053" providerId="ADAL" clId="{34473802-5904-426F-ADDF-0D0D1B44876C}" dt="2024-03-11T14:42:04.440" v="10327"/>
          <ac:spMkLst>
            <pc:docMk/>
            <pc:sldMk cId="785221003" sldId="918"/>
            <ac:spMk id="11" creationId="{3BB8DDA8-6E9E-E89E-5EB1-3986BA7C0A66}"/>
          </ac:spMkLst>
        </pc:spChg>
        <pc:spChg chg="mod">
          <ac:chgData name="Annemarija Apine (LV)" userId="546f5c59-3b8d-47fd-b739-a8fadc631053" providerId="ADAL" clId="{34473802-5904-426F-ADDF-0D0D1B44876C}" dt="2024-03-11T14:42:04.440" v="10327"/>
          <ac:spMkLst>
            <pc:docMk/>
            <pc:sldMk cId="785221003" sldId="918"/>
            <ac:spMk id="13" creationId="{FCB3A33B-C3BD-CC5A-1618-FC030AC3C161}"/>
          </ac:spMkLst>
        </pc:spChg>
        <pc:spChg chg="mod">
          <ac:chgData name="Annemarija Apine (LV)" userId="546f5c59-3b8d-47fd-b739-a8fadc631053" providerId="ADAL" clId="{34473802-5904-426F-ADDF-0D0D1B44876C}" dt="2024-03-11T14:42:04.440" v="10327"/>
          <ac:spMkLst>
            <pc:docMk/>
            <pc:sldMk cId="785221003" sldId="918"/>
            <ac:spMk id="14" creationId="{29C18273-6E97-44B9-C7D9-D122E2E17BEA}"/>
          </ac:spMkLst>
        </pc:spChg>
        <pc:spChg chg="mod">
          <ac:chgData name="Annemarija Apine (LV)" userId="546f5c59-3b8d-47fd-b739-a8fadc631053" providerId="ADAL" clId="{34473802-5904-426F-ADDF-0D0D1B44876C}" dt="2024-03-11T14:42:04.440" v="10327"/>
          <ac:spMkLst>
            <pc:docMk/>
            <pc:sldMk cId="785221003" sldId="918"/>
            <ac:spMk id="15" creationId="{A956B9E1-B0E3-A2E1-A1A5-7F3C2028F3B1}"/>
          </ac:spMkLst>
        </pc:spChg>
        <pc:spChg chg="mod">
          <ac:chgData name="Annemarija Apine (LV)" userId="546f5c59-3b8d-47fd-b739-a8fadc631053" providerId="ADAL" clId="{34473802-5904-426F-ADDF-0D0D1B44876C}" dt="2024-03-11T14:42:04.440" v="10327"/>
          <ac:spMkLst>
            <pc:docMk/>
            <pc:sldMk cId="785221003" sldId="918"/>
            <ac:spMk id="16" creationId="{732870EA-A930-D5B4-F3F5-AA77B65E94EF}"/>
          </ac:spMkLst>
        </pc:spChg>
        <pc:spChg chg="mod">
          <ac:chgData name="Annemarija Apine (LV)" userId="546f5c59-3b8d-47fd-b739-a8fadc631053" providerId="ADAL" clId="{34473802-5904-426F-ADDF-0D0D1B44876C}" dt="2024-03-11T14:42:04.440" v="10327"/>
          <ac:spMkLst>
            <pc:docMk/>
            <pc:sldMk cId="785221003" sldId="918"/>
            <ac:spMk id="17" creationId="{2B421268-2127-1DCE-13F8-A905570B0169}"/>
          </ac:spMkLst>
        </pc:spChg>
        <pc:grpChg chg="add mod">
          <ac:chgData name="Annemarija Apine (LV)" userId="546f5c59-3b8d-47fd-b739-a8fadc631053" providerId="ADAL" clId="{34473802-5904-426F-ADDF-0D0D1B44876C}" dt="2024-03-11T14:42:04.440" v="10327"/>
          <ac:grpSpMkLst>
            <pc:docMk/>
            <pc:sldMk cId="785221003" sldId="918"/>
            <ac:grpSpMk id="10" creationId="{0A9E14BE-BB67-3821-9712-D3263A75FD11}"/>
          </ac:grpSpMkLst>
        </pc:gr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4T09:27:52.113" v="8220"/>
              <pc2:cmMkLst xmlns:pc2="http://schemas.microsoft.com/office/powerpoint/2019/9/main/command">
                <pc:docMk/>
                <pc:sldMk cId="785221003" sldId="918"/>
                <pc2:cmMk id="{39B106E8-C7E7-4FB5-92B8-011F0FC0D0A6}"/>
              </pc2:cmMkLst>
            </pc226:cmChg>
          </p:ext>
        </pc:extLst>
      </pc:sldChg>
      <pc:sldChg chg="addSp delSp modSp add mod addCm modNotesTx">
        <pc:chgData name="Annemarija Apine (LV)" userId="546f5c59-3b8d-47fd-b739-a8fadc631053" providerId="ADAL" clId="{34473802-5904-426F-ADDF-0D0D1B44876C}" dt="2024-03-04T09:41:51.098" v="8416"/>
        <pc:sldMkLst>
          <pc:docMk/>
          <pc:sldMk cId="2008209705" sldId="919"/>
        </pc:sldMkLst>
        <pc:spChg chg="add mod">
          <ac:chgData name="Annemarija Apine (LV)" userId="546f5c59-3b8d-47fd-b739-a8fadc631053" providerId="ADAL" clId="{34473802-5904-426F-ADDF-0D0D1B44876C}" dt="2024-02-26T23:06:05.206" v="3577" actId="207"/>
          <ac:spMkLst>
            <pc:docMk/>
            <pc:sldMk cId="2008209705" sldId="919"/>
            <ac:spMk id="2" creationId="{C9BF2A51-7557-EA83-DCCB-BCD30FDA6886}"/>
          </ac:spMkLst>
        </pc:spChg>
        <pc:spChg chg="mod">
          <ac:chgData name="Annemarija Apine (LV)" userId="546f5c59-3b8d-47fd-b739-a8fadc631053" providerId="ADAL" clId="{34473802-5904-426F-ADDF-0D0D1B44876C}" dt="2024-02-26T23:04:52.293" v="3461" actId="6549"/>
          <ac:spMkLst>
            <pc:docMk/>
            <pc:sldMk cId="2008209705" sldId="919"/>
            <ac:spMk id="3" creationId="{F4CCF02E-F3C4-C376-8F56-61BD85A2E74B}"/>
          </ac:spMkLst>
        </pc:spChg>
        <pc:spChg chg="del">
          <ac:chgData name="Annemarija Apine (LV)" userId="546f5c59-3b8d-47fd-b739-a8fadc631053" providerId="ADAL" clId="{34473802-5904-426F-ADDF-0D0D1B44876C}" dt="2024-02-26T23:04:04.562" v="3380" actId="478"/>
          <ac:spMkLst>
            <pc:docMk/>
            <pc:sldMk cId="2008209705" sldId="919"/>
            <ac:spMk id="7" creationId="{8E846963-540E-9336-DE83-B87EC3AB5727}"/>
          </ac:spMkLst>
        </pc:spChg>
        <pc:spChg chg="mod">
          <ac:chgData name="Annemarija Apine (LV)" userId="546f5c59-3b8d-47fd-b739-a8fadc631053" providerId="ADAL" clId="{34473802-5904-426F-ADDF-0D0D1B44876C}" dt="2024-02-26T23:08:34.880" v="3632" actId="1036"/>
          <ac:spMkLst>
            <pc:docMk/>
            <pc:sldMk cId="2008209705" sldId="919"/>
            <ac:spMk id="8" creationId="{598AB23C-0BF9-85FE-4B7A-DC0CF1A85603}"/>
          </ac:spMkLst>
        </pc:spChg>
        <pc:spChg chg="del">
          <ac:chgData name="Annemarija Apine (LV)" userId="546f5c59-3b8d-47fd-b739-a8fadc631053" providerId="ADAL" clId="{34473802-5904-426F-ADDF-0D0D1B44876C}" dt="2024-02-26T23:04:19.172" v="3402" actId="478"/>
          <ac:spMkLst>
            <pc:docMk/>
            <pc:sldMk cId="2008209705" sldId="919"/>
            <ac:spMk id="9" creationId="{60EA8C9A-B4E1-ED83-7F05-80E8B89E3E1B}"/>
          </ac:spMkLst>
        </pc:spChg>
        <pc:spChg chg="mod">
          <ac:chgData name="Annemarija Apine (LV)" userId="546f5c59-3b8d-47fd-b739-a8fadc631053" providerId="ADAL" clId="{34473802-5904-426F-ADDF-0D0D1B44876C}" dt="2024-02-26T23:04:14.976" v="3401" actId="20577"/>
          <ac:spMkLst>
            <pc:docMk/>
            <pc:sldMk cId="2008209705" sldId="919"/>
            <ac:spMk id="10" creationId="{489B7680-E5EE-2A50-7733-37F2F144B869}"/>
          </ac:spMkLst>
        </pc:spChg>
        <pc:spChg chg="mod">
          <ac:chgData name="Annemarija Apine (LV)" userId="546f5c59-3b8d-47fd-b739-a8fadc631053" providerId="ADAL" clId="{34473802-5904-426F-ADDF-0D0D1B44876C}" dt="2024-02-26T23:08:34.880" v="3632" actId="1036"/>
          <ac:spMkLst>
            <pc:docMk/>
            <pc:sldMk cId="2008209705" sldId="919"/>
            <ac:spMk id="11" creationId="{327B1A4B-6980-7B00-091C-6006703B82A0}"/>
          </ac:spMkLst>
        </pc:spChg>
        <pc:spChg chg="add mod">
          <ac:chgData name="Annemarija Apine (LV)" userId="546f5c59-3b8d-47fd-b739-a8fadc631053" providerId="ADAL" clId="{34473802-5904-426F-ADDF-0D0D1B44876C}" dt="2024-02-26T23:06:35.007" v="3594" actId="14100"/>
          <ac:spMkLst>
            <pc:docMk/>
            <pc:sldMk cId="2008209705" sldId="919"/>
            <ac:spMk id="12" creationId="{F17E280A-26FF-1631-ADC9-96AE3A637C2C}"/>
          </ac:spMkLst>
        </pc:spChg>
        <pc:spChg chg="add mod">
          <ac:chgData name="Annemarija Apine (LV)" userId="546f5c59-3b8d-47fd-b739-a8fadc631053" providerId="ADAL" clId="{34473802-5904-426F-ADDF-0D0D1B44876C}" dt="2024-02-26T23:06:32.400" v="3593" actId="1076"/>
          <ac:spMkLst>
            <pc:docMk/>
            <pc:sldMk cId="2008209705" sldId="919"/>
            <ac:spMk id="13" creationId="{318FD8EE-145C-CF57-FA8A-2208CA63BD22}"/>
          </ac:spMkLst>
        </pc:spChg>
        <pc:spChg chg="add del mod">
          <ac:chgData name="Annemarija Apine (LV)" userId="546f5c59-3b8d-47fd-b739-a8fadc631053" providerId="ADAL" clId="{34473802-5904-426F-ADDF-0D0D1B44876C}" dt="2024-02-26T23:06:45.136" v="3597" actId="767"/>
          <ac:spMkLst>
            <pc:docMk/>
            <pc:sldMk cId="2008209705" sldId="919"/>
            <ac:spMk id="14" creationId="{EE939C52-F826-4F1C-D9B7-0DCC64431867}"/>
          </ac:spMkLst>
        </pc:spChg>
        <pc:spChg chg="add mod">
          <ac:chgData name="Annemarija Apine (LV)" userId="546f5c59-3b8d-47fd-b739-a8fadc631053" providerId="ADAL" clId="{34473802-5904-426F-ADDF-0D0D1B44876C}" dt="2024-02-26T23:07:19.404" v="3603" actId="1076"/>
          <ac:spMkLst>
            <pc:docMk/>
            <pc:sldMk cId="2008209705" sldId="919"/>
            <ac:spMk id="16" creationId="{30819613-CE74-49B6-0807-44FDBB81D466}"/>
          </ac:spMkLst>
        </pc:spChg>
        <pc:spChg chg="add mod">
          <ac:chgData name="Annemarija Apine (LV)" userId="546f5c59-3b8d-47fd-b739-a8fadc631053" providerId="ADAL" clId="{34473802-5904-426F-ADDF-0D0D1B44876C}" dt="2024-02-26T23:07:29.496" v="3606" actId="14100"/>
          <ac:spMkLst>
            <pc:docMk/>
            <pc:sldMk cId="2008209705" sldId="919"/>
            <ac:spMk id="18" creationId="{E1D4AC8F-0322-E8A8-E509-5AF71473A8F4}"/>
          </ac:spMkLst>
        </pc:spChg>
        <pc:spChg chg="add mod">
          <ac:chgData name="Annemarija Apine (LV)" userId="546f5c59-3b8d-47fd-b739-a8fadc631053" providerId="ADAL" clId="{34473802-5904-426F-ADDF-0D0D1B44876C}" dt="2024-02-26T23:07:38.434" v="3609" actId="14100"/>
          <ac:spMkLst>
            <pc:docMk/>
            <pc:sldMk cId="2008209705" sldId="919"/>
            <ac:spMk id="20" creationId="{BCB0856A-D775-E9B2-A22B-A661D9F8D43C}"/>
          </ac:spMkLst>
        </pc:spChg>
        <pc:spChg chg="add mod">
          <ac:chgData name="Annemarija Apine (LV)" userId="546f5c59-3b8d-47fd-b739-a8fadc631053" providerId="ADAL" clId="{34473802-5904-426F-ADDF-0D0D1B44876C}" dt="2024-02-26T23:07:56.792" v="3615" actId="14100"/>
          <ac:spMkLst>
            <pc:docMk/>
            <pc:sldMk cId="2008209705" sldId="919"/>
            <ac:spMk id="22" creationId="{044C1CE5-09D8-63ED-7E23-4A59A70CC41B}"/>
          </ac:spMkLst>
        </pc:spChg>
        <pc:spChg chg="add mod">
          <ac:chgData name="Annemarija Apine (LV)" userId="546f5c59-3b8d-47fd-b739-a8fadc631053" providerId="ADAL" clId="{34473802-5904-426F-ADDF-0D0D1B44876C}" dt="2024-02-26T23:09:12.221" v="3646" actId="1076"/>
          <ac:spMkLst>
            <pc:docMk/>
            <pc:sldMk cId="2008209705" sldId="919"/>
            <ac:spMk id="23" creationId="{EEA0E558-7D58-6458-34C2-801898E3B0F7}"/>
          </ac:spMkLst>
        </pc:s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4T09:41:51.098" v="8416"/>
              <pc2:cmMkLst xmlns:pc2="http://schemas.microsoft.com/office/powerpoint/2019/9/main/command">
                <pc:docMk/>
                <pc:sldMk cId="2008209705" sldId="919"/>
                <pc2:cmMk id="{26D3AAD2-275A-49BD-8B7A-0A67E598B3CB}"/>
              </pc2:cmMkLst>
            </pc226:cmChg>
          </p:ext>
        </pc:extLst>
      </pc:sldChg>
      <pc:sldChg chg="addSp delSp modSp add mod ord modNotesTx">
        <pc:chgData name="Annemarija Apine (LV)" userId="546f5c59-3b8d-47fd-b739-a8fadc631053" providerId="ADAL" clId="{34473802-5904-426F-ADDF-0D0D1B44876C}" dt="2024-02-28T12:50:12.720" v="4438" actId="478"/>
        <pc:sldMkLst>
          <pc:docMk/>
          <pc:sldMk cId="2755231185" sldId="920"/>
        </pc:sldMkLst>
        <pc:spChg chg="mod">
          <ac:chgData name="Annemarija Apine (LV)" userId="546f5c59-3b8d-47fd-b739-a8fadc631053" providerId="ADAL" clId="{34473802-5904-426F-ADDF-0D0D1B44876C}" dt="2024-02-26T23:14:29.596" v="3866" actId="20577"/>
          <ac:spMkLst>
            <pc:docMk/>
            <pc:sldMk cId="2755231185" sldId="920"/>
            <ac:spMk id="2" creationId="{C9BF2A51-7557-EA83-DCCB-BCD30FDA6886}"/>
          </ac:spMkLst>
        </pc:spChg>
        <pc:spChg chg="mod">
          <ac:chgData name="Annemarija Apine (LV)" userId="546f5c59-3b8d-47fd-b739-a8fadc631053" providerId="ADAL" clId="{34473802-5904-426F-ADDF-0D0D1B44876C}" dt="2024-02-26T23:12:14.715" v="3753" actId="20577"/>
          <ac:spMkLst>
            <pc:docMk/>
            <pc:sldMk cId="2755231185" sldId="920"/>
            <ac:spMk id="3" creationId="{F4CCF02E-F3C4-C376-8F56-61BD85A2E74B}"/>
          </ac:spMkLst>
        </pc:spChg>
        <pc:spChg chg="add del mod">
          <ac:chgData name="Annemarija Apine (LV)" userId="546f5c59-3b8d-47fd-b739-a8fadc631053" providerId="ADAL" clId="{34473802-5904-426F-ADDF-0D0D1B44876C}" dt="2024-02-28T12:50:12.720" v="4438" actId="478"/>
          <ac:spMkLst>
            <pc:docMk/>
            <pc:sldMk cId="2755231185" sldId="920"/>
            <ac:spMk id="7" creationId="{2959ED89-020D-39EB-ED4B-E25E11857D1B}"/>
          </ac:spMkLst>
        </pc:spChg>
        <pc:spChg chg="mod">
          <ac:chgData name="Annemarija Apine (LV)" userId="546f5c59-3b8d-47fd-b739-a8fadc631053" providerId="ADAL" clId="{34473802-5904-426F-ADDF-0D0D1B44876C}" dt="2024-02-26T23:11:49.219" v="3726" actId="20577"/>
          <ac:spMkLst>
            <pc:docMk/>
            <pc:sldMk cId="2755231185" sldId="920"/>
            <ac:spMk id="10" creationId="{489B7680-E5EE-2A50-7733-37F2F144B869}"/>
          </ac:spMkLst>
        </pc:spChg>
        <pc:spChg chg="mod">
          <ac:chgData name="Annemarija Apine (LV)" userId="546f5c59-3b8d-47fd-b739-a8fadc631053" providerId="ADAL" clId="{34473802-5904-426F-ADDF-0D0D1B44876C}" dt="2024-02-26T23:12:31.064" v="3756"/>
          <ac:spMkLst>
            <pc:docMk/>
            <pc:sldMk cId="2755231185" sldId="920"/>
            <ac:spMk id="12" creationId="{F17E280A-26FF-1631-ADC9-96AE3A637C2C}"/>
          </ac:spMkLst>
        </pc:spChg>
        <pc:spChg chg="mod">
          <ac:chgData name="Annemarija Apine (LV)" userId="546f5c59-3b8d-47fd-b739-a8fadc631053" providerId="ADAL" clId="{34473802-5904-426F-ADDF-0D0D1B44876C}" dt="2024-02-26T23:12:43.656" v="3757"/>
          <ac:spMkLst>
            <pc:docMk/>
            <pc:sldMk cId="2755231185" sldId="920"/>
            <ac:spMk id="13" creationId="{318FD8EE-145C-CF57-FA8A-2208CA63BD22}"/>
          </ac:spMkLst>
        </pc:spChg>
        <pc:spChg chg="mod">
          <ac:chgData name="Annemarija Apine (LV)" userId="546f5c59-3b8d-47fd-b739-a8fadc631053" providerId="ADAL" clId="{34473802-5904-426F-ADDF-0D0D1B44876C}" dt="2024-02-27T07:11:41.289" v="3937" actId="20577"/>
          <ac:spMkLst>
            <pc:docMk/>
            <pc:sldMk cId="2755231185" sldId="920"/>
            <ac:spMk id="16" creationId="{30819613-CE74-49B6-0807-44FDBB81D466}"/>
          </ac:spMkLst>
        </pc:spChg>
        <pc:spChg chg="mod">
          <ac:chgData name="Annemarija Apine (LV)" userId="546f5c59-3b8d-47fd-b739-a8fadc631053" providerId="ADAL" clId="{34473802-5904-426F-ADDF-0D0D1B44876C}" dt="2024-02-26T23:13:05.908" v="3759"/>
          <ac:spMkLst>
            <pc:docMk/>
            <pc:sldMk cId="2755231185" sldId="920"/>
            <ac:spMk id="18" creationId="{E1D4AC8F-0322-E8A8-E509-5AF71473A8F4}"/>
          </ac:spMkLst>
        </pc:spChg>
        <pc:spChg chg="mod">
          <ac:chgData name="Annemarija Apine (LV)" userId="546f5c59-3b8d-47fd-b739-a8fadc631053" providerId="ADAL" clId="{34473802-5904-426F-ADDF-0D0D1B44876C}" dt="2024-02-26T23:13:19.229" v="3773" actId="6549"/>
          <ac:spMkLst>
            <pc:docMk/>
            <pc:sldMk cId="2755231185" sldId="920"/>
            <ac:spMk id="20" creationId="{BCB0856A-D775-E9B2-A22B-A661D9F8D43C}"/>
          </ac:spMkLst>
        </pc:spChg>
        <pc:spChg chg="mod">
          <ac:chgData name="Annemarija Apine (LV)" userId="546f5c59-3b8d-47fd-b739-a8fadc631053" providerId="ADAL" clId="{34473802-5904-426F-ADDF-0D0D1B44876C}" dt="2024-02-26T23:13:33.017" v="3775" actId="1076"/>
          <ac:spMkLst>
            <pc:docMk/>
            <pc:sldMk cId="2755231185" sldId="920"/>
            <ac:spMk id="22" creationId="{044C1CE5-09D8-63ED-7E23-4A59A70CC41B}"/>
          </ac:spMkLst>
        </pc:spChg>
        <pc:spChg chg="del">
          <ac:chgData name="Annemarija Apine (LV)" userId="546f5c59-3b8d-47fd-b739-a8fadc631053" providerId="ADAL" clId="{34473802-5904-426F-ADDF-0D0D1B44876C}" dt="2024-02-26T23:11:17.879" v="3702" actId="478"/>
          <ac:spMkLst>
            <pc:docMk/>
            <pc:sldMk cId="2755231185" sldId="920"/>
            <ac:spMk id="23" creationId="{EEA0E558-7D58-6458-34C2-801898E3B0F7}"/>
          </ac:spMkLst>
        </pc:spChg>
      </pc:sldChg>
      <pc:sldChg chg="modSp add mod modNotesTx">
        <pc:chgData name="Annemarija Apine (LV)" userId="546f5c59-3b8d-47fd-b739-a8fadc631053" providerId="ADAL" clId="{34473802-5904-426F-ADDF-0D0D1B44876C}" dt="2024-03-04T09:40:44.107" v="8401" actId="20577"/>
        <pc:sldMkLst>
          <pc:docMk/>
          <pc:sldMk cId="1632897735" sldId="921"/>
        </pc:sldMkLst>
        <pc:spChg chg="mod">
          <ac:chgData name="Annemarija Apine (LV)" userId="546f5c59-3b8d-47fd-b739-a8fadc631053" providerId="ADAL" clId="{34473802-5904-426F-ADDF-0D0D1B44876C}" dt="2024-03-04T09:38:44.865" v="8340" actId="947"/>
          <ac:spMkLst>
            <pc:docMk/>
            <pc:sldMk cId="1632897735" sldId="921"/>
            <ac:spMk id="41" creationId="{A5FCE91E-7750-1062-5437-D153B9C8E110}"/>
          </ac:spMkLst>
        </pc:spChg>
      </pc:sldChg>
      <pc:sldChg chg="delSp modSp add mod ord addCm modCm modNotesTx">
        <pc:chgData name="Annemarija Apine (LV)" userId="546f5c59-3b8d-47fd-b739-a8fadc631053" providerId="ADAL" clId="{34473802-5904-426F-ADDF-0D0D1B44876C}" dt="2024-03-10T23:47:26.441" v="9940" actId="20577"/>
        <pc:sldMkLst>
          <pc:docMk/>
          <pc:sldMk cId="3183596888" sldId="922"/>
        </pc:sldMkLst>
        <pc:spChg chg="mod">
          <ac:chgData name="Annemarija Apine (LV)" userId="546f5c59-3b8d-47fd-b739-a8fadc631053" providerId="ADAL" clId="{34473802-5904-426F-ADDF-0D0D1B44876C}" dt="2024-02-27T08:21:40.301" v="4001" actId="20577"/>
          <ac:spMkLst>
            <pc:docMk/>
            <pc:sldMk cId="3183596888" sldId="922"/>
            <ac:spMk id="3" creationId="{F4CCF02E-F3C4-C376-8F56-61BD85A2E74B}"/>
          </ac:spMkLst>
        </pc:spChg>
        <pc:spChg chg="mod">
          <ac:chgData name="Annemarija Apine (LV)" userId="546f5c59-3b8d-47fd-b739-a8fadc631053" providerId="ADAL" clId="{34473802-5904-426F-ADDF-0D0D1B44876C}" dt="2024-02-27T08:24:17.172" v="4181" actId="20577"/>
          <ac:spMkLst>
            <pc:docMk/>
            <pc:sldMk cId="3183596888" sldId="922"/>
            <ac:spMk id="7" creationId="{8E846963-540E-9336-DE83-B87EC3AB5727}"/>
          </ac:spMkLst>
        </pc:spChg>
        <pc:spChg chg="mod">
          <ac:chgData name="Annemarija Apine (LV)" userId="546f5c59-3b8d-47fd-b739-a8fadc631053" providerId="ADAL" clId="{34473802-5904-426F-ADDF-0D0D1B44876C}" dt="2024-02-27T08:22:58.727" v="4059" actId="20577"/>
          <ac:spMkLst>
            <pc:docMk/>
            <pc:sldMk cId="3183596888" sldId="922"/>
            <ac:spMk id="8" creationId="{598AB23C-0BF9-85FE-4B7A-DC0CF1A85603}"/>
          </ac:spMkLst>
        </pc:spChg>
        <pc:spChg chg="del mod">
          <ac:chgData name="Annemarija Apine (LV)" userId="546f5c59-3b8d-47fd-b739-a8fadc631053" providerId="ADAL" clId="{34473802-5904-426F-ADDF-0D0D1B44876C}" dt="2024-02-28T12:50:19.324" v="4441" actId="478"/>
          <ac:spMkLst>
            <pc:docMk/>
            <pc:sldMk cId="3183596888" sldId="922"/>
            <ac:spMk id="9" creationId="{60EA8C9A-B4E1-ED83-7F05-80E8B89E3E1B}"/>
          </ac:spMkLst>
        </pc:spChg>
        <pc:spChg chg="mod">
          <ac:chgData name="Annemarija Apine (LV)" userId="546f5c59-3b8d-47fd-b739-a8fadc631053" providerId="ADAL" clId="{34473802-5904-426F-ADDF-0D0D1B44876C}" dt="2024-02-27T08:21:51.773" v="4026" actId="20577"/>
          <ac:spMkLst>
            <pc:docMk/>
            <pc:sldMk cId="3183596888" sldId="922"/>
            <ac:spMk id="10" creationId="{489B7680-E5EE-2A50-7733-37F2F144B869}"/>
          </ac:spMkLst>
        </pc:spChg>
        <pc:spChg chg="mod">
          <ac:chgData name="Annemarija Apine (LV)" userId="546f5c59-3b8d-47fd-b739-a8fadc631053" providerId="ADAL" clId="{34473802-5904-426F-ADDF-0D0D1B44876C}" dt="2024-02-27T08:23:51.317" v="4075" actId="12"/>
          <ac:spMkLst>
            <pc:docMk/>
            <pc:sldMk cId="3183596888" sldId="922"/>
            <ac:spMk id="11" creationId="{327B1A4B-6980-7B00-091C-6006703B82A0}"/>
          </ac:spMkLst>
        </pc:spChg>
        <pc:spChg chg="mod">
          <ac:chgData name="Annemarija Apine (LV)" userId="546f5c59-3b8d-47fd-b739-a8fadc631053" providerId="ADAL" clId="{34473802-5904-426F-ADDF-0D0D1B44876C}" dt="2024-03-10T23:47:26.441" v="9940" actId="20577"/>
          <ac:spMkLst>
            <pc:docMk/>
            <pc:sldMk cId="3183596888" sldId="922"/>
            <ac:spMk id="17" creationId="{6FA36F9D-90F9-114F-5453-39394D16CFF6}"/>
          </ac:spMkLst>
        </pc:spChg>
        <pc:extLst>
          <p:ext xmlns:p="http://schemas.openxmlformats.org/presentationml/2006/main" uri="{D6D511B9-2390-475A-947B-AFAB55BFBCF1}">
            <pc226:cmChg xmlns:pc226="http://schemas.microsoft.com/office/powerpoint/2022/06/main/command" chg="add mod">
              <pc226:chgData name="Annemarija Apine (LV)" userId="546f5c59-3b8d-47fd-b739-a8fadc631053" providerId="ADAL" clId="{34473802-5904-426F-ADDF-0D0D1B44876C}" dt="2024-03-10T23:47:26.441" v="9940" actId="20577"/>
              <pc2:cmMkLst xmlns:pc2="http://schemas.microsoft.com/office/powerpoint/2019/9/main/command">
                <pc:docMk/>
                <pc:sldMk cId="3183596888" sldId="922"/>
                <pc2:cmMk id="{C97982E5-43BF-453B-B11A-79E886B6EB60}"/>
              </pc2:cmMkLst>
            </pc226:cmChg>
          </p:ext>
        </pc:extLst>
      </pc:sldChg>
      <pc:sldChg chg="delSp modSp add del mod modNotesTx">
        <pc:chgData name="Annemarija Apine (LV)" userId="546f5c59-3b8d-47fd-b739-a8fadc631053" providerId="ADAL" clId="{34473802-5904-426F-ADDF-0D0D1B44876C}" dt="2024-03-01T14:22:30.360" v="5656" actId="47"/>
        <pc:sldMkLst>
          <pc:docMk/>
          <pc:sldMk cId="1997891973" sldId="923"/>
        </pc:sldMkLst>
        <pc:spChg chg="mod">
          <ac:chgData name="Annemarija Apine (LV)" userId="546f5c59-3b8d-47fd-b739-a8fadc631053" providerId="ADAL" clId="{34473802-5904-426F-ADDF-0D0D1B44876C}" dt="2024-02-27T08:26:16.705" v="4226" actId="20577"/>
          <ac:spMkLst>
            <pc:docMk/>
            <pc:sldMk cId="1997891973" sldId="923"/>
            <ac:spMk id="3" creationId="{F4CCF02E-F3C4-C376-8F56-61BD85A2E74B}"/>
          </ac:spMkLst>
        </pc:spChg>
        <pc:spChg chg="mod">
          <ac:chgData name="Annemarija Apine (LV)" userId="546f5c59-3b8d-47fd-b739-a8fadc631053" providerId="ADAL" clId="{34473802-5904-426F-ADDF-0D0D1B44876C}" dt="2024-02-28T12:50:47.393" v="4481" actId="20577"/>
          <ac:spMkLst>
            <pc:docMk/>
            <pc:sldMk cId="1997891973" sldId="923"/>
            <ac:spMk id="7" creationId="{8E846963-540E-9336-DE83-B87EC3AB5727}"/>
          </ac:spMkLst>
        </pc:spChg>
        <pc:spChg chg="del">
          <ac:chgData name="Annemarija Apine (LV)" userId="546f5c59-3b8d-47fd-b739-a8fadc631053" providerId="ADAL" clId="{34473802-5904-426F-ADDF-0D0D1B44876C}" dt="2024-02-28T12:50:37.929" v="4457" actId="478"/>
          <ac:spMkLst>
            <pc:docMk/>
            <pc:sldMk cId="1997891973" sldId="923"/>
            <ac:spMk id="9" creationId="{60EA8C9A-B4E1-ED83-7F05-80E8B89E3E1B}"/>
          </ac:spMkLst>
        </pc:spChg>
        <pc:spChg chg="mod">
          <ac:chgData name="Annemarija Apine (LV)" userId="546f5c59-3b8d-47fd-b739-a8fadc631053" providerId="ADAL" clId="{34473802-5904-426F-ADDF-0D0D1B44876C}" dt="2024-02-27T08:26:00.717" v="4190" actId="20577"/>
          <ac:spMkLst>
            <pc:docMk/>
            <pc:sldMk cId="1997891973" sldId="923"/>
            <ac:spMk id="10" creationId="{489B7680-E5EE-2A50-7733-37F2F144B869}"/>
          </ac:spMkLst>
        </pc:spChg>
      </pc:sldChg>
      <pc:sldChg chg="add">
        <pc:chgData name="Annemarija Apine (LV)" userId="546f5c59-3b8d-47fd-b739-a8fadc631053" providerId="ADAL" clId="{34473802-5904-426F-ADDF-0D0D1B44876C}" dt="2024-02-29T08:18:18.489" v="4502" actId="2890"/>
        <pc:sldMkLst>
          <pc:docMk/>
          <pc:sldMk cId="2333946943" sldId="924"/>
        </pc:sldMkLst>
      </pc:sldChg>
      <pc:sldChg chg="modNotesTx">
        <pc:chgData name="Annemarija Apine (LV)" userId="546f5c59-3b8d-47fd-b739-a8fadc631053" providerId="ADAL" clId="{34473802-5904-426F-ADDF-0D0D1B44876C}" dt="2024-03-04T09:05:23.513" v="7624" actId="20577"/>
        <pc:sldMkLst>
          <pc:docMk/>
          <pc:sldMk cId="4107124933" sldId="925"/>
        </pc:sldMkLst>
      </pc:sldChg>
      <pc:sldChg chg="addCm delCm modNotesTx">
        <pc:chgData name="Annemarija Apine (LV)" userId="546f5c59-3b8d-47fd-b739-a8fadc631053" providerId="ADAL" clId="{34473802-5904-426F-ADDF-0D0D1B44876C}" dt="2024-03-08T12:14:24.397" v="9067"/>
        <pc:sldMkLst>
          <pc:docMk/>
          <pc:sldMk cId="76717427" sldId="926"/>
        </pc:sldMkLst>
        <pc:extLst>
          <p:ext xmlns:p="http://schemas.openxmlformats.org/presentationml/2006/main" uri="{D6D511B9-2390-475A-947B-AFAB55BFBCF1}">
            <pc226:cmChg xmlns:pc226="http://schemas.microsoft.com/office/powerpoint/2022/06/main/command" chg="add del">
              <pc226:chgData name="Annemarija Apine (LV)" userId="546f5c59-3b8d-47fd-b739-a8fadc631053" providerId="ADAL" clId="{34473802-5904-426F-ADDF-0D0D1B44876C}" dt="2024-03-08T12:14:24.397" v="9067"/>
              <pc2:cmMkLst xmlns:pc2="http://schemas.microsoft.com/office/powerpoint/2019/9/main/command">
                <pc:docMk/>
                <pc:sldMk cId="76717427" sldId="926"/>
                <pc2:cmMk id="{7D249D45-DA2C-45D9-BD4B-DE48CDC5B5E6}"/>
              </pc2:cmMkLst>
            </pc226:cmChg>
          </p:ext>
        </pc:extLst>
      </pc:sldChg>
      <pc:sldChg chg="modNotesTx">
        <pc:chgData name="Annemarija Apine (LV)" userId="546f5c59-3b8d-47fd-b739-a8fadc631053" providerId="ADAL" clId="{34473802-5904-426F-ADDF-0D0D1B44876C}" dt="2024-03-04T09:05:36.990" v="7629" actId="20577"/>
        <pc:sldMkLst>
          <pc:docMk/>
          <pc:sldMk cId="4266541344" sldId="927"/>
        </pc:sldMkLst>
      </pc:sldChg>
      <pc:sldChg chg="modSp mod modNotesTx">
        <pc:chgData name="Annemarija Apine (LV)" userId="546f5c59-3b8d-47fd-b739-a8fadc631053" providerId="ADAL" clId="{34473802-5904-426F-ADDF-0D0D1B44876C}" dt="2024-03-08T12:30:26.319" v="9188" actId="20577"/>
        <pc:sldMkLst>
          <pc:docMk/>
          <pc:sldMk cId="2463822678" sldId="928"/>
        </pc:sldMkLst>
        <pc:spChg chg="mod">
          <ac:chgData name="Annemarija Apine (LV)" userId="546f5c59-3b8d-47fd-b739-a8fadc631053" providerId="ADAL" clId="{34473802-5904-426F-ADDF-0D0D1B44876C}" dt="2024-03-08T12:30:26.319" v="9188" actId="20577"/>
          <ac:spMkLst>
            <pc:docMk/>
            <pc:sldMk cId="2463822678" sldId="928"/>
            <ac:spMk id="2" creationId="{00000000-0000-0000-0000-000000000000}"/>
          </ac:spMkLst>
        </pc:spChg>
      </pc:sldChg>
      <pc:sldChg chg="new del">
        <pc:chgData name="Annemarija Apine (LV)" userId="546f5c59-3b8d-47fd-b739-a8fadc631053" providerId="ADAL" clId="{34473802-5904-426F-ADDF-0D0D1B44876C}" dt="2024-03-01T10:34:41.679" v="5322" actId="680"/>
        <pc:sldMkLst>
          <pc:docMk/>
          <pc:sldMk cId="3082569772" sldId="928"/>
        </pc:sldMkLst>
      </pc:sldChg>
      <pc:sldChg chg="modSp mod">
        <pc:chgData name="Annemarija Apine (LV)" userId="546f5c59-3b8d-47fd-b739-a8fadc631053" providerId="ADAL" clId="{34473802-5904-426F-ADDF-0D0D1B44876C}" dt="2024-03-01T12:19:56.186" v="5504" actId="20577"/>
        <pc:sldMkLst>
          <pc:docMk/>
          <pc:sldMk cId="2616931998" sldId="929"/>
        </pc:sldMkLst>
        <pc:spChg chg="mod">
          <ac:chgData name="Annemarija Apine (LV)" userId="546f5c59-3b8d-47fd-b739-a8fadc631053" providerId="ADAL" clId="{34473802-5904-426F-ADDF-0D0D1B44876C}" dt="2024-03-01T12:19:56.186" v="5504" actId="20577"/>
          <ac:spMkLst>
            <pc:docMk/>
            <pc:sldMk cId="2616931998" sldId="929"/>
            <ac:spMk id="3" creationId="{F4CCF02E-F3C4-C376-8F56-61BD85A2E74B}"/>
          </ac:spMkLst>
        </pc:spChg>
      </pc:sldChg>
      <pc:sldChg chg="addSp delSp modSp add mod modShow addCm modNotesTx">
        <pc:chgData name="Annemarija Apine (LV)" userId="546f5c59-3b8d-47fd-b739-a8fadc631053" providerId="ADAL" clId="{34473802-5904-426F-ADDF-0D0D1B44876C}" dt="2024-03-04T09:20:05.494" v="7902"/>
        <pc:sldMkLst>
          <pc:docMk/>
          <pc:sldMk cId="3431578971" sldId="931"/>
        </pc:sldMkLst>
        <pc:spChg chg="add mod ord">
          <ac:chgData name="Annemarija Apine (LV)" userId="546f5c59-3b8d-47fd-b739-a8fadc631053" providerId="ADAL" clId="{34473802-5904-426F-ADDF-0D0D1B44876C}" dt="2024-03-01T12:48:21.688" v="5594" actId="1036"/>
          <ac:spMkLst>
            <pc:docMk/>
            <pc:sldMk cId="3431578971" sldId="931"/>
            <ac:spMk id="2" creationId="{6CA1ECBA-9098-2617-476E-BB53C42ACEE3}"/>
          </ac:spMkLst>
        </pc:spChg>
        <pc:spChg chg="mod">
          <ac:chgData name="Annemarija Apine (LV)" userId="546f5c59-3b8d-47fd-b739-a8fadc631053" providerId="ADAL" clId="{34473802-5904-426F-ADDF-0D0D1B44876C}" dt="2024-03-04T09:18:59.838" v="7894" actId="947"/>
          <ac:spMkLst>
            <pc:docMk/>
            <pc:sldMk cId="3431578971" sldId="931"/>
            <ac:spMk id="3" creationId="{F4CCF02E-F3C4-C376-8F56-61BD85A2E74B}"/>
          </ac:spMkLst>
        </pc:spChg>
        <pc:spChg chg="del mod">
          <ac:chgData name="Annemarija Apine (LV)" userId="546f5c59-3b8d-47fd-b739-a8fadc631053" providerId="ADAL" clId="{34473802-5904-426F-ADDF-0D0D1B44876C}" dt="2024-03-01T12:46:11.939" v="5558" actId="478"/>
          <ac:spMkLst>
            <pc:docMk/>
            <pc:sldMk cId="3431578971" sldId="931"/>
            <ac:spMk id="5" creationId="{D8F58FFE-2BDD-A155-DB37-C866E8C978C1}"/>
          </ac:spMkLst>
        </pc:spChg>
        <pc:spChg chg="add mod">
          <ac:chgData name="Annemarija Apine (LV)" userId="546f5c59-3b8d-47fd-b739-a8fadc631053" providerId="ADAL" clId="{34473802-5904-426F-ADDF-0D0D1B44876C}" dt="2024-03-01T12:46:39.348" v="5563" actId="571"/>
          <ac:spMkLst>
            <pc:docMk/>
            <pc:sldMk cId="3431578971" sldId="931"/>
            <ac:spMk id="8" creationId="{59CB14AA-79AB-DB70-324D-96C3469B17A9}"/>
          </ac:spMkLst>
        </pc:spChg>
        <pc:spChg chg="add mod">
          <ac:chgData name="Annemarija Apine (LV)" userId="546f5c59-3b8d-47fd-b739-a8fadc631053" providerId="ADAL" clId="{34473802-5904-426F-ADDF-0D0D1B44876C}" dt="2024-03-01T12:46:39.348" v="5563" actId="571"/>
          <ac:spMkLst>
            <pc:docMk/>
            <pc:sldMk cId="3431578971" sldId="931"/>
            <ac:spMk id="16" creationId="{8717827A-02B2-2F0F-D731-6875C980A6C9}"/>
          </ac:spMkLst>
        </pc:spChg>
        <pc:spChg chg="add mod">
          <ac:chgData name="Annemarija Apine (LV)" userId="546f5c59-3b8d-47fd-b739-a8fadc631053" providerId="ADAL" clId="{34473802-5904-426F-ADDF-0D0D1B44876C}" dt="2024-03-01T12:48:48.997" v="5600" actId="1076"/>
          <ac:spMkLst>
            <pc:docMk/>
            <pc:sldMk cId="3431578971" sldId="931"/>
            <ac:spMk id="17" creationId="{1B3B2816-7084-FA8B-9573-B5304273EF81}"/>
          </ac:spMkLst>
        </pc:spChg>
        <pc:spChg chg="add del mod">
          <ac:chgData name="Annemarija Apine (LV)" userId="546f5c59-3b8d-47fd-b739-a8fadc631053" providerId="ADAL" clId="{34473802-5904-426F-ADDF-0D0D1B44876C}" dt="2024-03-01T15:58:38.850" v="7173" actId="478"/>
          <ac:spMkLst>
            <pc:docMk/>
            <pc:sldMk cId="3431578971" sldId="931"/>
            <ac:spMk id="18" creationId="{D51AA6A0-2863-BFDE-A808-1CE0E6EC7241}"/>
          </ac:spMkLst>
        </pc:spChg>
        <pc:spChg chg="mod ord">
          <ac:chgData name="Annemarija Apine (LV)" userId="546f5c59-3b8d-47fd-b739-a8fadc631053" providerId="ADAL" clId="{34473802-5904-426F-ADDF-0D0D1B44876C}" dt="2024-03-01T12:48:17.282" v="5584" actId="166"/>
          <ac:spMkLst>
            <pc:docMk/>
            <pc:sldMk cId="3431578971" sldId="931"/>
            <ac:spMk id="47" creationId="{53CB8D3C-9648-B17B-BD59-60EED0CCD133}"/>
          </ac:spMkLst>
        </pc:spChg>
        <pc:spChg chg="mod">
          <ac:chgData name="Annemarija Apine (LV)" userId="546f5c59-3b8d-47fd-b739-a8fadc631053" providerId="ADAL" clId="{34473802-5904-426F-ADDF-0D0D1B44876C}" dt="2024-03-01T12:48:43.176" v="5598" actId="14100"/>
          <ac:spMkLst>
            <pc:docMk/>
            <pc:sldMk cId="3431578971" sldId="931"/>
            <ac:spMk id="61" creationId="{2A14CA01-2350-21C6-16E6-E9CEAF43B441}"/>
          </ac:spMkLst>
        </pc:spChg>
        <pc:spChg chg="mod">
          <ac:chgData name="Annemarija Apine (LV)" userId="546f5c59-3b8d-47fd-b739-a8fadc631053" providerId="ADAL" clId="{34473802-5904-426F-ADDF-0D0D1B44876C}" dt="2024-03-01T12:48:46.228" v="5599" actId="14100"/>
          <ac:spMkLst>
            <pc:docMk/>
            <pc:sldMk cId="3431578971" sldId="931"/>
            <ac:spMk id="64" creationId="{19794A8F-A922-1A21-17E6-1B4B21C8F596}"/>
          </ac:spMkLst>
        </pc:s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1T15:42:41.805" v="6897"/>
              <pc2:cmMkLst xmlns:pc2="http://schemas.microsoft.com/office/powerpoint/2019/9/main/command">
                <pc:docMk/>
                <pc:sldMk cId="3431578971" sldId="931"/>
                <pc2:cmMk id="{E9ACF3A7-DB3E-4086-9C56-15ADFB324CFF}"/>
              </pc2:cmMkLst>
            </pc226:cmChg>
            <pc226:cmChg xmlns:pc226="http://schemas.microsoft.com/office/powerpoint/2022/06/main/command" chg="add">
              <pc226:chgData name="Annemarija Apine (LV)" userId="546f5c59-3b8d-47fd-b739-a8fadc631053" providerId="ADAL" clId="{34473802-5904-426F-ADDF-0D0D1B44876C}" dt="2024-03-04T09:20:05.494" v="7902"/>
              <pc2:cmMkLst xmlns:pc2="http://schemas.microsoft.com/office/powerpoint/2019/9/main/command">
                <pc:docMk/>
                <pc:sldMk cId="3431578971" sldId="931"/>
                <pc2:cmMk id="{5B7B49C2-CE96-4F1F-9FE5-4CF603BB0FF1}"/>
              </pc2:cmMkLst>
            </pc226:cmChg>
          </p:ext>
        </pc:extLst>
      </pc:sldChg>
      <pc:sldChg chg="addSp modSp add mod ord modShow modNotesTx">
        <pc:chgData name="Annemarija Apine (LV)" userId="546f5c59-3b8d-47fd-b739-a8fadc631053" providerId="ADAL" clId="{34473802-5904-426F-ADDF-0D0D1B44876C}" dt="2024-03-04T09:41:18.536" v="8414" actId="20577"/>
        <pc:sldMkLst>
          <pc:docMk/>
          <pc:sldMk cId="2630099657" sldId="933"/>
        </pc:sldMkLst>
        <pc:spChg chg="add mod">
          <ac:chgData name="Annemarija Apine (LV)" userId="546f5c59-3b8d-47fd-b739-a8fadc631053" providerId="ADAL" clId="{34473802-5904-426F-ADDF-0D0D1B44876C}" dt="2024-03-01T14:30:07.764" v="5745" actId="207"/>
          <ac:spMkLst>
            <pc:docMk/>
            <pc:sldMk cId="2630099657" sldId="933"/>
            <ac:spMk id="2" creationId="{F6B088C4-896F-0BB6-190E-567264B27E74}"/>
          </ac:spMkLst>
        </pc:spChg>
        <pc:spChg chg="mod">
          <ac:chgData name="Annemarija Apine (LV)" userId="546f5c59-3b8d-47fd-b739-a8fadc631053" providerId="ADAL" clId="{34473802-5904-426F-ADDF-0D0D1B44876C}" dt="2024-03-01T14:28:57.682" v="5693" actId="20577"/>
          <ac:spMkLst>
            <pc:docMk/>
            <pc:sldMk cId="2630099657" sldId="933"/>
            <ac:spMk id="3" creationId="{F4CCF02E-F3C4-C376-8F56-61BD85A2E74B}"/>
          </ac:spMkLst>
        </pc:spChg>
        <pc:spChg chg="mod">
          <ac:chgData name="Annemarija Apine (LV)" userId="546f5c59-3b8d-47fd-b739-a8fadc631053" providerId="ADAL" clId="{34473802-5904-426F-ADDF-0D0D1B44876C}" dt="2024-03-01T14:29:10.166" v="5704" actId="20577"/>
          <ac:spMkLst>
            <pc:docMk/>
            <pc:sldMk cId="2630099657" sldId="933"/>
            <ac:spMk id="16" creationId="{30819613-CE74-49B6-0807-44FDBB81D466}"/>
          </ac:spMkLst>
        </pc:spChg>
        <pc:spChg chg="mod">
          <ac:chgData name="Annemarija Apine (LV)" userId="546f5c59-3b8d-47fd-b739-a8fadc631053" providerId="ADAL" clId="{34473802-5904-426F-ADDF-0D0D1B44876C}" dt="2024-03-01T14:29:25.470" v="5714" actId="20577"/>
          <ac:spMkLst>
            <pc:docMk/>
            <pc:sldMk cId="2630099657" sldId="933"/>
            <ac:spMk id="18" creationId="{E1D4AC8F-0322-E8A8-E509-5AF71473A8F4}"/>
          </ac:spMkLst>
        </pc:spChg>
        <pc:spChg chg="mod">
          <ac:chgData name="Annemarija Apine (LV)" userId="546f5c59-3b8d-47fd-b739-a8fadc631053" providerId="ADAL" clId="{34473802-5904-426F-ADDF-0D0D1B44876C}" dt="2024-03-01T14:29:43.538" v="5727" actId="20577"/>
          <ac:spMkLst>
            <pc:docMk/>
            <pc:sldMk cId="2630099657" sldId="933"/>
            <ac:spMk id="20" creationId="{BCB0856A-D775-E9B2-A22B-A661D9F8D43C}"/>
          </ac:spMkLst>
        </pc:spChg>
        <pc:spChg chg="mod">
          <ac:chgData name="Annemarija Apine (LV)" userId="546f5c59-3b8d-47fd-b739-a8fadc631053" providerId="ADAL" clId="{34473802-5904-426F-ADDF-0D0D1B44876C}" dt="2024-03-01T14:29:52.537" v="5736" actId="20577"/>
          <ac:spMkLst>
            <pc:docMk/>
            <pc:sldMk cId="2630099657" sldId="933"/>
            <ac:spMk id="22" creationId="{044C1CE5-09D8-63ED-7E23-4A59A70CC41B}"/>
          </ac:spMkLst>
        </pc:spChg>
        <pc:spChg chg="mod">
          <ac:chgData name="Annemarija Apine (LV)" userId="546f5c59-3b8d-47fd-b739-a8fadc631053" providerId="ADAL" clId="{34473802-5904-426F-ADDF-0D0D1B44876C}" dt="2024-03-01T14:28:00.806" v="5667"/>
          <ac:spMkLst>
            <pc:docMk/>
            <pc:sldMk cId="2630099657" sldId="933"/>
            <ac:spMk id="23" creationId="{F0F92295-EBAE-39D7-7494-D9035179A285}"/>
          </ac:spMkLst>
        </pc:spChg>
        <pc:spChg chg="mod">
          <ac:chgData name="Annemarija Apine (LV)" userId="546f5c59-3b8d-47fd-b739-a8fadc631053" providerId="ADAL" clId="{34473802-5904-426F-ADDF-0D0D1B44876C}" dt="2024-03-01T14:30:56.367" v="5759" actId="113"/>
          <ac:spMkLst>
            <pc:docMk/>
            <pc:sldMk cId="2630099657" sldId="933"/>
            <ac:spMk id="36" creationId="{A8F39C25-781C-A7DA-387A-D92FCABEE1F5}"/>
          </ac:spMkLst>
        </pc:spChg>
        <pc:spChg chg="mod">
          <ac:chgData name="Annemarija Apine (LV)" userId="546f5c59-3b8d-47fd-b739-a8fadc631053" providerId="ADAL" clId="{34473802-5904-426F-ADDF-0D0D1B44876C}" dt="2024-03-01T14:31:18.231" v="5771" actId="20577"/>
          <ac:spMkLst>
            <pc:docMk/>
            <pc:sldMk cId="2630099657" sldId="933"/>
            <ac:spMk id="37" creationId="{BD11DB78-D65B-9D3C-EED7-1721F1C9BCF6}"/>
          </ac:spMkLst>
        </pc:spChg>
      </pc:sldChg>
      <pc:sldChg chg="modSp add mod modNotesTx">
        <pc:chgData name="Annemarija Apine (LV)" userId="546f5c59-3b8d-47fd-b739-a8fadc631053" providerId="ADAL" clId="{34473802-5904-426F-ADDF-0D0D1B44876C}" dt="2024-03-04T09:42:24.646" v="8432" actId="20577"/>
        <pc:sldMkLst>
          <pc:docMk/>
          <pc:sldMk cId="156182905" sldId="934"/>
        </pc:sldMkLst>
        <pc:spChg chg="mod">
          <ac:chgData name="Annemarija Apine (LV)" userId="546f5c59-3b8d-47fd-b739-a8fadc631053" providerId="ADAL" clId="{34473802-5904-426F-ADDF-0D0D1B44876C}" dt="2024-03-01T14:32:12.483" v="5803" actId="20577"/>
          <ac:spMkLst>
            <pc:docMk/>
            <pc:sldMk cId="156182905" sldId="934"/>
            <ac:spMk id="16" creationId="{30819613-CE74-49B6-0807-44FDBB81D466}"/>
          </ac:spMkLst>
        </pc:spChg>
        <pc:spChg chg="mod">
          <ac:chgData name="Annemarija Apine (LV)" userId="546f5c59-3b8d-47fd-b739-a8fadc631053" providerId="ADAL" clId="{34473802-5904-426F-ADDF-0D0D1B44876C}" dt="2024-03-01T14:32:31.110" v="5812" actId="20577"/>
          <ac:spMkLst>
            <pc:docMk/>
            <pc:sldMk cId="156182905" sldId="934"/>
            <ac:spMk id="18" creationId="{E1D4AC8F-0322-E8A8-E509-5AF71473A8F4}"/>
          </ac:spMkLst>
        </pc:spChg>
        <pc:spChg chg="mod">
          <ac:chgData name="Annemarija Apine (LV)" userId="546f5c59-3b8d-47fd-b739-a8fadc631053" providerId="ADAL" clId="{34473802-5904-426F-ADDF-0D0D1B44876C}" dt="2024-03-01T14:32:45.693" v="5825" actId="20577"/>
          <ac:spMkLst>
            <pc:docMk/>
            <pc:sldMk cId="156182905" sldId="934"/>
            <ac:spMk id="20" creationId="{BCB0856A-D775-E9B2-A22B-A661D9F8D43C}"/>
          </ac:spMkLst>
        </pc:spChg>
        <pc:spChg chg="mod">
          <ac:chgData name="Annemarija Apine (LV)" userId="546f5c59-3b8d-47fd-b739-a8fadc631053" providerId="ADAL" clId="{34473802-5904-426F-ADDF-0D0D1B44876C}" dt="2024-03-01T14:32:56.938" v="5830" actId="20577"/>
          <ac:spMkLst>
            <pc:docMk/>
            <pc:sldMk cId="156182905" sldId="934"/>
            <ac:spMk id="22" creationId="{044C1CE5-09D8-63ED-7E23-4A59A70CC41B}"/>
          </ac:spMkLst>
        </pc:spChg>
        <pc:spChg chg="mod">
          <ac:chgData name="Annemarija Apine (LV)" userId="546f5c59-3b8d-47fd-b739-a8fadc631053" providerId="ADAL" clId="{34473802-5904-426F-ADDF-0D0D1B44876C}" dt="2024-03-01T14:31:44.121" v="5777"/>
          <ac:spMkLst>
            <pc:docMk/>
            <pc:sldMk cId="156182905" sldId="934"/>
            <ac:spMk id="36" creationId="{A8F39C25-781C-A7DA-387A-D92FCABEE1F5}"/>
          </ac:spMkLst>
        </pc:spChg>
        <pc:spChg chg="mod">
          <ac:chgData name="Annemarija Apine (LV)" userId="546f5c59-3b8d-47fd-b739-a8fadc631053" providerId="ADAL" clId="{34473802-5904-426F-ADDF-0D0D1B44876C}" dt="2024-03-01T14:31:51.567" v="5780"/>
          <ac:spMkLst>
            <pc:docMk/>
            <pc:sldMk cId="156182905" sldId="934"/>
            <ac:spMk id="37" creationId="{BD11DB78-D65B-9D3C-EED7-1721F1C9BCF6}"/>
          </ac:spMkLst>
        </pc:spChg>
      </pc:sldChg>
      <pc:sldChg chg="delSp modSp add mod addCm modNotesTx">
        <pc:chgData name="Annemarija Apine (LV)" userId="546f5c59-3b8d-47fd-b739-a8fadc631053" providerId="ADAL" clId="{34473802-5904-426F-ADDF-0D0D1B44876C}" dt="2024-03-08T12:28:04.360" v="9148"/>
        <pc:sldMkLst>
          <pc:docMk/>
          <pc:sldMk cId="2803239078" sldId="935"/>
        </pc:sldMkLst>
        <pc:spChg chg="mod">
          <ac:chgData name="Annemarija Apine (LV)" userId="546f5c59-3b8d-47fd-b739-a8fadc631053" providerId="ADAL" clId="{34473802-5904-426F-ADDF-0D0D1B44876C}" dt="2024-03-01T14:33:54.500" v="5867" actId="20577"/>
          <ac:spMkLst>
            <pc:docMk/>
            <pc:sldMk cId="2803239078" sldId="935"/>
            <ac:spMk id="16" creationId="{30819613-CE74-49B6-0807-44FDBB81D466}"/>
          </ac:spMkLst>
        </pc:spChg>
        <pc:spChg chg="mod">
          <ac:chgData name="Annemarija Apine (LV)" userId="546f5c59-3b8d-47fd-b739-a8fadc631053" providerId="ADAL" clId="{34473802-5904-426F-ADDF-0D0D1B44876C}" dt="2024-03-01T14:33:47.673" v="5855" actId="20577"/>
          <ac:spMkLst>
            <pc:docMk/>
            <pc:sldMk cId="2803239078" sldId="935"/>
            <ac:spMk id="18" creationId="{E1D4AC8F-0322-E8A8-E509-5AF71473A8F4}"/>
          </ac:spMkLst>
        </pc:spChg>
        <pc:spChg chg="del">
          <ac:chgData name="Annemarija Apine (LV)" userId="546f5c59-3b8d-47fd-b739-a8fadc631053" providerId="ADAL" clId="{34473802-5904-426F-ADDF-0D0D1B44876C}" dt="2024-03-01T14:33:19.176" v="5839" actId="478"/>
          <ac:spMkLst>
            <pc:docMk/>
            <pc:sldMk cId="2803239078" sldId="935"/>
            <ac:spMk id="20" creationId="{BCB0856A-D775-E9B2-A22B-A661D9F8D43C}"/>
          </ac:spMkLst>
        </pc:spChg>
        <pc:spChg chg="del">
          <ac:chgData name="Annemarija Apine (LV)" userId="546f5c59-3b8d-47fd-b739-a8fadc631053" providerId="ADAL" clId="{34473802-5904-426F-ADDF-0D0D1B44876C}" dt="2024-03-01T14:33:19.176" v="5839" actId="478"/>
          <ac:spMkLst>
            <pc:docMk/>
            <pc:sldMk cId="2803239078" sldId="935"/>
            <ac:spMk id="22" creationId="{044C1CE5-09D8-63ED-7E23-4A59A70CC41B}"/>
          </ac:spMkLst>
        </pc:spChg>
        <pc:spChg chg="del">
          <ac:chgData name="Annemarija Apine (LV)" userId="546f5c59-3b8d-47fd-b739-a8fadc631053" providerId="ADAL" clId="{34473802-5904-426F-ADDF-0D0D1B44876C}" dt="2024-03-01T14:33:19.176" v="5839" actId="478"/>
          <ac:spMkLst>
            <pc:docMk/>
            <pc:sldMk cId="2803239078" sldId="935"/>
            <ac:spMk id="34" creationId="{F1D573D1-C07D-A943-A741-380994F48A4F}"/>
          </ac:spMkLst>
        </pc:spChg>
        <pc:spChg chg="mod">
          <ac:chgData name="Annemarija Apine (LV)" userId="546f5c59-3b8d-47fd-b739-a8fadc631053" providerId="ADAL" clId="{34473802-5904-426F-ADDF-0D0D1B44876C}" dt="2024-03-01T14:33:15.328" v="5838" actId="20577"/>
          <ac:spMkLst>
            <pc:docMk/>
            <pc:sldMk cId="2803239078" sldId="935"/>
            <ac:spMk id="36" creationId="{A8F39C25-781C-A7DA-387A-D92FCABEE1F5}"/>
          </ac:spMkLst>
        </pc:spChg>
        <pc:spChg chg="del">
          <ac:chgData name="Annemarija Apine (LV)" userId="546f5c59-3b8d-47fd-b739-a8fadc631053" providerId="ADAL" clId="{34473802-5904-426F-ADDF-0D0D1B44876C}" dt="2024-03-01T14:33:19.176" v="5839" actId="478"/>
          <ac:spMkLst>
            <pc:docMk/>
            <pc:sldMk cId="2803239078" sldId="935"/>
            <ac:spMk id="37" creationId="{BD11DB78-D65B-9D3C-EED7-1721F1C9BCF6}"/>
          </ac:spMkLst>
        </pc:spChg>
        <pc:spChg chg="del">
          <ac:chgData name="Annemarija Apine (LV)" userId="546f5c59-3b8d-47fd-b739-a8fadc631053" providerId="ADAL" clId="{34473802-5904-426F-ADDF-0D0D1B44876C}" dt="2024-03-01T14:33:19.176" v="5839" actId="478"/>
          <ac:spMkLst>
            <pc:docMk/>
            <pc:sldMk cId="2803239078" sldId="935"/>
            <ac:spMk id="39" creationId="{DCB78F50-A328-CF00-9A1A-F2F677D9CB38}"/>
          </ac:spMkLst>
        </pc:s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8T12:28:04.360" v="9148"/>
              <pc2:cmMkLst xmlns:pc2="http://schemas.microsoft.com/office/powerpoint/2019/9/main/command">
                <pc:docMk/>
                <pc:sldMk cId="2803239078" sldId="935"/>
                <pc2:cmMk id="{72897B42-C198-4AF9-86AB-C561B281055B}"/>
              </pc2:cmMkLst>
            </pc226:cmChg>
            <pc226:cmChg xmlns:pc226="http://schemas.microsoft.com/office/powerpoint/2022/06/main/command" chg="add">
              <pc226:chgData name="Annemarija Apine (LV)" userId="546f5c59-3b8d-47fd-b739-a8fadc631053" providerId="ADAL" clId="{34473802-5904-426F-ADDF-0D0D1B44876C}" dt="2024-03-04T09:42:57.471" v="8435"/>
              <pc2:cmMkLst xmlns:pc2="http://schemas.microsoft.com/office/powerpoint/2019/9/main/command">
                <pc:docMk/>
                <pc:sldMk cId="2803239078" sldId="935"/>
                <pc2:cmMk id="{F7C00153-39D8-4846-8D47-915BF0FEF30D}"/>
              </pc2:cmMkLst>
            </pc226:cmChg>
          </p:ext>
        </pc:extLst>
      </pc:sldChg>
      <pc:sldChg chg="addSp delSp modSp add mod ord addCm modNotesTx">
        <pc:chgData name="Annemarija Apine (LV)" userId="546f5c59-3b8d-47fd-b739-a8fadc631053" providerId="ADAL" clId="{34473802-5904-426F-ADDF-0D0D1B44876C}" dt="2024-03-10T23:48:48.460" v="10003"/>
        <pc:sldMkLst>
          <pc:docMk/>
          <pc:sldMk cId="1939332489" sldId="936"/>
        </pc:sldMkLst>
        <pc:spChg chg="add mod">
          <ac:chgData name="Annemarija Apine (LV)" userId="546f5c59-3b8d-47fd-b739-a8fadc631053" providerId="ADAL" clId="{34473802-5904-426F-ADDF-0D0D1B44876C}" dt="2024-03-01T14:44:58.979" v="5893"/>
          <ac:spMkLst>
            <pc:docMk/>
            <pc:sldMk cId="1939332489" sldId="936"/>
            <ac:spMk id="2" creationId="{7ED4D46D-04AD-7DC4-4216-971E04043EA7}"/>
          </ac:spMkLst>
        </pc:spChg>
        <pc:spChg chg="mod">
          <ac:chgData name="Annemarija Apine (LV)" userId="546f5c59-3b8d-47fd-b739-a8fadc631053" providerId="ADAL" clId="{34473802-5904-426F-ADDF-0D0D1B44876C}" dt="2024-03-10T23:48:29.561" v="9990" actId="20577"/>
          <ac:spMkLst>
            <pc:docMk/>
            <pc:sldMk cId="1939332489" sldId="936"/>
            <ac:spMk id="2" creationId="{ECED2237-CB7F-C2CD-11A3-62DC16CCA5B1}"/>
          </ac:spMkLst>
        </pc:spChg>
        <pc:spChg chg="mod">
          <ac:chgData name="Annemarija Apine (LV)" userId="546f5c59-3b8d-47fd-b739-a8fadc631053" providerId="ADAL" clId="{34473802-5904-426F-ADDF-0D0D1B44876C}" dt="2024-03-01T14:51:02.501" v="6141" actId="20577"/>
          <ac:spMkLst>
            <pc:docMk/>
            <pc:sldMk cId="1939332489" sldId="936"/>
            <ac:spMk id="3" creationId="{F4CCF02E-F3C4-C376-8F56-61BD85A2E74B}"/>
          </ac:spMkLst>
        </pc:spChg>
        <pc:spChg chg="add del mod">
          <ac:chgData name="Annemarija Apine (LV)" userId="546f5c59-3b8d-47fd-b739-a8fadc631053" providerId="ADAL" clId="{34473802-5904-426F-ADDF-0D0D1B44876C}" dt="2024-03-01T14:46:45.164" v="6001" actId="478"/>
          <ac:spMkLst>
            <pc:docMk/>
            <pc:sldMk cId="1939332489" sldId="936"/>
            <ac:spMk id="5" creationId="{2F0C18C5-296B-3AD0-69E9-02B9171B2A78}"/>
          </ac:spMkLst>
        </pc:spChg>
        <pc:spChg chg="add del mod">
          <ac:chgData name="Annemarija Apine (LV)" userId="546f5c59-3b8d-47fd-b739-a8fadc631053" providerId="ADAL" clId="{34473802-5904-426F-ADDF-0D0D1B44876C}" dt="2024-03-01T14:46:45.164" v="6001" actId="478"/>
          <ac:spMkLst>
            <pc:docMk/>
            <pc:sldMk cId="1939332489" sldId="936"/>
            <ac:spMk id="6" creationId="{39897C61-A04A-BBD5-DE4D-220D25DA3288}"/>
          </ac:spMkLst>
        </pc:spChg>
        <pc:spChg chg="add del mod">
          <ac:chgData name="Annemarija Apine (LV)" userId="546f5c59-3b8d-47fd-b739-a8fadc631053" providerId="ADAL" clId="{34473802-5904-426F-ADDF-0D0D1B44876C}" dt="2024-03-01T14:46:45.164" v="6001" actId="478"/>
          <ac:spMkLst>
            <pc:docMk/>
            <pc:sldMk cId="1939332489" sldId="936"/>
            <ac:spMk id="9" creationId="{ACB01482-7BDB-2357-21F1-2BB5DD2D84D5}"/>
          </ac:spMkLst>
        </pc:spChg>
        <pc:spChg chg="del">
          <ac:chgData name="Annemarija Apine (LV)" userId="546f5c59-3b8d-47fd-b739-a8fadc631053" providerId="ADAL" clId="{34473802-5904-426F-ADDF-0D0D1B44876C}" dt="2024-03-01T14:44:56.477" v="5892" actId="478"/>
          <ac:spMkLst>
            <pc:docMk/>
            <pc:sldMk cId="1939332489" sldId="936"/>
            <ac:spMk id="10" creationId="{489B7680-E5EE-2A50-7733-37F2F144B869}"/>
          </ac:spMkLst>
        </pc:spChg>
        <pc:spChg chg="add mod">
          <ac:chgData name="Annemarija Apine (LV)" userId="546f5c59-3b8d-47fd-b739-a8fadc631053" providerId="ADAL" clId="{34473802-5904-426F-ADDF-0D0D1B44876C}" dt="2024-03-01T14:50:17.383" v="6088" actId="20577"/>
          <ac:spMkLst>
            <pc:docMk/>
            <pc:sldMk cId="1939332489" sldId="936"/>
            <ac:spMk id="11" creationId="{ECEF24F5-E26D-2531-E4A1-337E326AC9CB}"/>
          </ac:spMkLst>
        </pc:spChg>
        <pc:spChg chg="mod">
          <ac:chgData name="Annemarija Apine (LV)" userId="546f5c59-3b8d-47fd-b739-a8fadc631053" providerId="ADAL" clId="{34473802-5904-426F-ADDF-0D0D1B44876C}" dt="2024-03-01T14:45:10.650" v="5918" actId="20577"/>
          <ac:spMkLst>
            <pc:docMk/>
            <pc:sldMk cId="1939332489" sldId="936"/>
            <ac:spMk id="15" creationId="{E629ACA0-19AA-6B2C-F2D4-5BA2027E48BA}"/>
          </ac:spMkLst>
        </pc:spChg>
        <pc:spChg chg="mod">
          <ac:chgData name="Annemarija Apine (LV)" userId="546f5c59-3b8d-47fd-b739-a8fadc631053" providerId="ADAL" clId="{34473802-5904-426F-ADDF-0D0D1B44876C}" dt="2024-03-01T14:50:37.392" v="6097" actId="20577"/>
          <ac:spMkLst>
            <pc:docMk/>
            <pc:sldMk cId="1939332489" sldId="936"/>
            <ac:spMk id="16" creationId="{25A25F16-3DF9-5BEF-8F70-42FAB50A6BCE}"/>
          </ac:spMkLst>
        </pc:spChg>
        <pc:spChg chg="del">
          <ac:chgData name="Annemarija Apine (LV)" userId="546f5c59-3b8d-47fd-b739-a8fadc631053" providerId="ADAL" clId="{34473802-5904-426F-ADDF-0D0D1B44876C}" dt="2024-03-01T14:46:09.381" v="5990" actId="478"/>
          <ac:spMkLst>
            <pc:docMk/>
            <pc:sldMk cId="1939332489" sldId="936"/>
            <ac:spMk id="17" creationId="{8A128ED3-6DA0-A56A-B5CE-670FD97F3136}"/>
          </ac:spMkLst>
        </pc:spChg>
        <pc:spChg chg="add del mod">
          <ac:chgData name="Annemarija Apine (LV)" userId="546f5c59-3b8d-47fd-b739-a8fadc631053" providerId="ADAL" clId="{34473802-5904-426F-ADDF-0D0D1B44876C}" dt="2024-03-10T23:48:46.572" v="10001" actId="21"/>
          <ac:spMkLst>
            <pc:docMk/>
            <pc:sldMk cId="1939332489" sldId="936"/>
            <ac:spMk id="18" creationId="{886AD49E-750A-3B38-15A3-AAFA1E691A51}"/>
          </ac:spMkLst>
        </pc:spChg>
        <pc:spChg chg="add mod">
          <ac:chgData name="Annemarija Apine (LV)" userId="546f5c59-3b8d-47fd-b739-a8fadc631053" providerId="ADAL" clId="{34473802-5904-426F-ADDF-0D0D1B44876C}" dt="2024-03-10T23:48:48.301" v="10002" actId="571"/>
          <ac:spMkLst>
            <pc:docMk/>
            <pc:sldMk cId="1939332489" sldId="936"/>
            <ac:spMk id="19" creationId="{44282A17-2D47-C3D0-8E97-8DAEAA96CA33}"/>
          </ac:spMkLst>
        </pc:spChg>
        <pc:spChg chg="add mod">
          <ac:chgData name="Annemarija Apine (LV)" userId="546f5c59-3b8d-47fd-b739-a8fadc631053" providerId="ADAL" clId="{34473802-5904-426F-ADDF-0D0D1B44876C}" dt="2024-03-10T23:48:48.460" v="10003"/>
          <ac:spMkLst>
            <pc:docMk/>
            <pc:sldMk cId="1939332489" sldId="936"/>
            <ac:spMk id="20" creationId="{386F5C3C-46A1-7C80-6266-6DEA8D8647DB}"/>
          </ac:spMkLst>
        </pc:spChg>
        <pc:spChg chg="del">
          <ac:chgData name="Annemarija Apine (LV)" userId="546f5c59-3b8d-47fd-b739-a8fadc631053" providerId="ADAL" clId="{34473802-5904-426F-ADDF-0D0D1B44876C}" dt="2024-03-01T14:46:09.381" v="5990" actId="478"/>
          <ac:spMkLst>
            <pc:docMk/>
            <pc:sldMk cId="1939332489" sldId="936"/>
            <ac:spMk id="24" creationId="{7976A404-DCE0-7582-8C59-C64068CD6711}"/>
          </ac:spMkLst>
        </pc:spChg>
        <pc:spChg chg="del">
          <ac:chgData name="Annemarija Apine (LV)" userId="546f5c59-3b8d-47fd-b739-a8fadc631053" providerId="ADAL" clId="{34473802-5904-426F-ADDF-0D0D1B44876C}" dt="2024-03-01T14:46:09.381" v="5990" actId="478"/>
          <ac:spMkLst>
            <pc:docMk/>
            <pc:sldMk cId="1939332489" sldId="936"/>
            <ac:spMk id="25" creationId="{CAEF1BFA-4F5E-5ECC-B05E-7D8BEAB50690}"/>
          </ac:spMkLst>
        </pc:spChg>
        <pc:spChg chg="del">
          <ac:chgData name="Annemarija Apine (LV)" userId="546f5c59-3b8d-47fd-b739-a8fadc631053" providerId="ADAL" clId="{34473802-5904-426F-ADDF-0D0D1B44876C}" dt="2024-03-01T14:46:09.381" v="5990" actId="478"/>
          <ac:spMkLst>
            <pc:docMk/>
            <pc:sldMk cId="1939332489" sldId="936"/>
            <ac:spMk id="26" creationId="{B81EDABD-64F3-49A6-E323-8C6185048BF8}"/>
          </ac:spMkLst>
        </pc:spChg>
        <pc:spChg chg="del">
          <ac:chgData name="Annemarija Apine (LV)" userId="546f5c59-3b8d-47fd-b739-a8fadc631053" providerId="ADAL" clId="{34473802-5904-426F-ADDF-0D0D1B44876C}" dt="2024-03-01T14:46:09.381" v="5990" actId="478"/>
          <ac:spMkLst>
            <pc:docMk/>
            <pc:sldMk cId="1939332489" sldId="936"/>
            <ac:spMk id="27" creationId="{E1CF9F97-1AD2-680B-5387-753B47FD3F5E}"/>
          </ac:spMkLst>
        </pc:spChg>
        <pc:spChg chg="del">
          <ac:chgData name="Annemarija Apine (LV)" userId="546f5c59-3b8d-47fd-b739-a8fadc631053" providerId="ADAL" clId="{34473802-5904-426F-ADDF-0D0D1B44876C}" dt="2024-03-01T14:46:09.381" v="5990" actId="478"/>
          <ac:spMkLst>
            <pc:docMk/>
            <pc:sldMk cId="1939332489" sldId="936"/>
            <ac:spMk id="28" creationId="{05646684-037D-FB27-E857-FE90B3511B0B}"/>
          </ac:spMkLst>
        </pc:spChg>
        <pc:spChg chg="del">
          <ac:chgData name="Annemarija Apine (LV)" userId="546f5c59-3b8d-47fd-b739-a8fadc631053" providerId="ADAL" clId="{34473802-5904-426F-ADDF-0D0D1B44876C}" dt="2024-03-01T14:46:09.381" v="5990" actId="478"/>
          <ac:spMkLst>
            <pc:docMk/>
            <pc:sldMk cId="1939332489" sldId="936"/>
            <ac:spMk id="29" creationId="{42FA7EA8-D762-11AE-4131-888CA48F2894}"/>
          </ac:spMkLst>
        </pc:spChg>
        <pc:spChg chg="del">
          <ac:chgData name="Annemarija Apine (LV)" userId="546f5c59-3b8d-47fd-b739-a8fadc631053" providerId="ADAL" clId="{34473802-5904-426F-ADDF-0D0D1B44876C}" dt="2024-03-01T14:46:09.381" v="5990" actId="478"/>
          <ac:spMkLst>
            <pc:docMk/>
            <pc:sldMk cId="1939332489" sldId="936"/>
            <ac:spMk id="30" creationId="{EC7F10C8-AA0B-EE40-2DBC-EE94DB6D204B}"/>
          </ac:spMkLst>
        </pc:spChg>
        <pc:spChg chg="del">
          <ac:chgData name="Annemarija Apine (LV)" userId="546f5c59-3b8d-47fd-b739-a8fadc631053" providerId="ADAL" clId="{34473802-5904-426F-ADDF-0D0D1B44876C}" dt="2024-03-01T14:46:09.381" v="5990" actId="478"/>
          <ac:spMkLst>
            <pc:docMk/>
            <pc:sldMk cId="1939332489" sldId="936"/>
            <ac:spMk id="31" creationId="{3ED63378-9AD4-6F7B-AA83-0757250B3655}"/>
          </ac:spMkLst>
        </pc:spChg>
        <pc:spChg chg="del">
          <ac:chgData name="Annemarija Apine (LV)" userId="546f5c59-3b8d-47fd-b739-a8fadc631053" providerId="ADAL" clId="{34473802-5904-426F-ADDF-0D0D1B44876C}" dt="2024-03-01T14:46:09.381" v="5990" actId="478"/>
          <ac:spMkLst>
            <pc:docMk/>
            <pc:sldMk cId="1939332489" sldId="936"/>
            <ac:spMk id="32" creationId="{368867CA-1A92-D7C5-1747-4DA72A1913A3}"/>
          </ac:spMkLst>
        </pc:spChg>
        <pc:spChg chg="del">
          <ac:chgData name="Annemarija Apine (LV)" userId="546f5c59-3b8d-47fd-b739-a8fadc631053" providerId="ADAL" clId="{34473802-5904-426F-ADDF-0D0D1B44876C}" dt="2024-03-01T14:46:09.381" v="5990" actId="478"/>
          <ac:spMkLst>
            <pc:docMk/>
            <pc:sldMk cId="1939332489" sldId="936"/>
            <ac:spMk id="33" creationId="{C4D43AE7-C8F7-08A9-8215-1FA9C3039CB2}"/>
          </ac:spMkLst>
        </pc:spChg>
        <pc:spChg chg="del">
          <ac:chgData name="Annemarija Apine (LV)" userId="546f5c59-3b8d-47fd-b739-a8fadc631053" providerId="ADAL" clId="{34473802-5904-426F-ADDF-0D0D1B44876C}" dt="2024-03-01T14:46:09.381" v="5990" actId="478"/>
          <ac:spMkLst>
            <pc:docMk/>
            <pc:sldMk cId="1939332489" sldId="936"/>
            <ac:spMk id="34" creationId="{A44E1DFA-63E7-6696-A512-35660567BC8E}"/>
          </ac:spMkLst>
        </pc:spChg>
        <pc:spChg chg="del">
          <ac:chgData name="Annemarija Apine (LV)" userId="546f5c59-3b8d-47fd-b739-a8fadc631053" providerId="ADAL" clId="{34473802-5904-426F-ADDF-0D0D1B44876C}" dt="2024-03-01T14:46:09.381" v="5990" actId="478"/>
          <ac:spMkLst>
            <pc:docMk/>
            <pc:sldMk cId="1939332489" sldId="936"/>
            <ac:spMk id="35" creationId="{0E3889E8-6CBA-B9D9-B3CF-37BF7D2AD588}"/>
          </ac:spMkLst>
        </pc:spChg>
        <pc:spChg chg="del">
          <ac:chgData name="Annemarija Apine (LV)" userId="546f5c59-3b8d-47fd-b739-a8fadc631053" providerId="ADAL" clId="{34473802-5904-426F-ADDF-0D0D1B44876C}" dt="2024-03-01T14:46:09.381" v="5990" actId="478"/>
          <ac:spMkLst>
            <pc:docMk/>
            <pc:sldMk cId="1939332489" sldId="936"/>
            <ac:spMk id="36" creationId="{1AE54009-C4AA-42A0-6C3E-5B591C01E340}"/>
          </ac:spMkLst>
        </pc:spChg>
        <pc:spChg chg="del">
          <ac:chgData name="Annemarija Apine (LV)" userId="546f5c59-3b8d-47fd-b739-a8fadc631053" providerId="ADAL" clId="{34473802-5904-426F-ADDF-0D0D1B44876C}" dt="2024-03-01T14:46:09.381" v="5990" actId="478"/>
          <ac:spMkLst>
            <pc:docMk/>
            <pc:sldMk cId="1939332489" sldId="936"/>
            <ac:spMk id="37" creationId="{E0CFB0A4-DBFE-D718-60F7-B518BBA84C50}"/>
          </ac:spMkLst>
        </pc:spChg>
        <pc:spChg chg="del">
          <ac:chgData name="Annemarija Apine (LV)" userId="546f5c59-3b8d-47fd-b739-a8fadc631053" providerId="ADAL" clId="{34473802-5904-426F-ADDF-0D0D1B44876C}" dt="2024-03-01T14:46:09.381" v="5990" actId="478"/>
          <ac:spMkLst>
            <pc:docMk/>
            <pc:sldMk cId="1939332489" sldId="936"/>
            <ac:spMk id="47" creationId="{BFB5D4D5-E118-6D3B-1F42-9A2DB96589BB}"/>
          </ac:spMkLst>
        </pc:spChg>
        <pc:spChg chg="del">
          <ac:chgData name="Annemarija Apine (LV)" userId="546f5c59-3b8d-47fd-b739-a8fadc631053" providerId="ADAL" clId="{34473802-5904-426F-ADDF-0D0D1B44876C}" dt="2024-03-01T14:46:09.381" v="5990" actId="478"/>
          <ac:spMkLst>
            <pc:docMk/>
            <pc:sldMk cId="1939332489" sldId="936"/>
            <ac:spMk id="49" creationId="{CBA276DE-FC82-7DC9-C0DE-E912A56FECAA}"/>
          </ac:spMkLst>
        </pc:spChg>
        <pc:spChg chg="del">
          <ac:chgData name="Annemarija Apine (LV)" userId="546f5c59-3b8d-47fd-b739-a8fadc631053" providerId="ADAL" clId="{34473802-5904-426F-ADDF-0D0D1B44876C}" dt="2024-03-01T14:46:09.381" v="5990" actId="478"/>
          <ac:spMkLst>
            <pc:docMk/>
            <pc:sldMk cId="1939332489" sldId="936"/>
            <ac:spMk id="50" creationId="{2AAD1ED9-717D-5C71-0350-C325B79C9D61}"/>
          </ac:spMkLst>
        </pc:spChg>
        <pc:spChg chg="del">
          <ac:chgData name="Annemarija Apine (LV)" userId="546f5c59-3b8d-47fd-b739-a8fadc631053" providerId="ADAL" clId="{34473802-5904-426F-ADDF-0D0D1B44876C}" dt="2024-03-01T14:46:09.381" v="5990" actId="478"/>
          <ac:spMkLst>
            <pc:docMk/>
            <pc:sldMk cId="1939332489" sldId="936"/>
            <ac:spMk id="51" creationId="{C85C2095-DDB1-C189-7E39-FB1EAB5D20D8}"/>
          </ac:spMkLst>
        </pc:spChg>
        <pc:spChg chg="del">
          <ac:chgData name="Annemarija Apine (LV)" userId="546f5c59-3b8d-47fd-b739-a8fadc631053" providerId="ADAL" clId="{34473802-5904-426F-ADDF-0D0D1B44876C}" dt="2024-03-01T14:46:09.381" v="5990" actId="478"/>
          <ac:spMkLst>
            <pc:docMk/>
            <pc:sldMk cId="1939332489" sldId="936"/>
            <ac:spMk id="52" creationId="{0EA929E4-70A4-853F-054A-08FE8E8A7FD9}"/>
          </ac:spMkLst>
        </pc:spChg>
        <pc:spChg chg="del">
          <ac:chgData name="Annemarija Apine (LV)" userId="546f5c59-3b8d-47fd-b739-a8fadc631053" providerId="ADAL" clId="{34473802-5904-426F-ADDF-0D0D1B44876C}" dt="2024-03-01T14:46:09.381" v="5990" actId="478"/>
          <ac:spMkLst>
            <pc:docMk/>
            <pc:sldMk cId="1939332489" sldId="936"/>
            <ac:spMk id="53" creationId="{18815909-39A8-057A-E892-017B041D3041}"/>
          </ac:spMkLst>
        </pc:spChg>
        <pc:spChg chg="del">
          <ac:chgData name="Annemarija Apine (LV)" userId="546f5c59-3b8d-47fd-b739-a8fadc631053" providerId="ADAL" clId="{34473802-5904-426F-ADDF-0D0D1B44876C}" dt="2024-03-01T14:46:09.381" v="5990" actId="478"/>
          <ac:spMkLst>
            <pc:docMk/>
            <pc:sldMk cId="1939332489" sldId="936"/>
            <ac:spMk id="54" creationId="{4742A4B9-ADF3-C3D5-A7C3-0EF2BC771ED8}"/>
          </ac:spMkLst>
        </pc:spChg>
        <pc:spChg chg="del">
          <ac:chgData name="Annemarija Apine (LV)" userId="546f5c59-3b8d-47fd-b739-a8fadc631053" providerId="ADAL" clId="{34473802-5904-426F-ADDF-0D0D1B44876C}" dt="2024-03-01T14:46:09.381" v="5990" actId="478"/>
          <ac:spMkLst>
            <pc:docMk/>
            <pc:sldMk cId="1939332489" sldId="936"/>
            <ac:spMk id="55" creationId="{366B0B67-EE35-2B7F-8A32-63885B0BAF18}"/>
          </ac:spMkLst>
        </pc:spChg>
        <pc:spChg chg="del">
          <ac:chgData name="Annemarija Apine (LV)" userId="546f5c59-3b8d-47fd-b739-a8fadc631053" providerId="ADAL" clId="{34473802-5904-426F-ADDF-0D0D1B44876C}" dt="2024-03-01T14:46:09.381" v="5990" actId="478"/>
          <ac:spMkLst>
            <pc:docMk/>
            <pc:sldMk cId="1939332489" sldId="936"/>
            <ac:spMk id="56" creationId="{3EB4BEBD-8A82-553F-3D2B-78822FBDB433}"/>
          </ac:spMkLst>
        </pc:spChg>
        <pc:spChg chg="del">
          <ac:chgData name="Annemarija Apine (LV)" userId="546f5c59-3b8d-47fd-b739-a8fadc631053" providerId="ADAL" clId="{34473802-5904-426F-ADDF-0D0D1B44876C}" dt="2024-03-01T14:46:09.381" v="5990" actId="478"/>
          <ac:spMkLst>
            <pc:docMk/>
            <pc:sldMk cId="1939332489" sldId="936"/>
            <ac:spMk id="57" creationId="{5624AA1C-D03F-87D7-BB7D-86AB8398DA97}"/>
          </ac:spMkLst>
        </pc:spChg>
        <pc:spChg chg="del">
          <ac:chgData name="Annemarija Apine (LV)" userId="546f5c59-3b8d-47fd-b739-a8fadc631053" providerId="ADAL" clId="{34473802-5904-426F-ADDF-0D0D1B44876C}" dt="2024-03-01T14:46:09.381" v="5990" actId="478"/>
          <ac:spMkLst>
            <pc:docMk/>
            <pc:sldMk cId="1939332489" sldId="936"/>
            <ac:spMk id="58" creationId="{CF3A810F-BF24-BFF9-4540-5B519710E40B}"/>
          </ac:spMkLst>
        </pc:spChg>
        <pc:spChg chg="del">
          <ac:chgData name="Annemarija Apine (LV)" userId="546f5c59-3b8d-47fd-b739-a8fadc631053" providerId="ADAL" clId="{34473802-5904-426F-ADDF-0D0D1B44876C}" dt="2024-03-01T14:46:09.381" v="5990" actId="478"/>
          <ac:spMkLst>
            <pc:docMk/>
            <pc:sldMk cId="1939332489" sldId="936"/>
            <ac:spMk id="59" creationId="{715ED03C-D3A9-521E-7134-1FACE564F40F}"/>
          </ac:spMkLst>
        </pc:spChg>
        <pc:spChg chg="del">
          <ac:chgData name="Annemarija Apine (LV)" userId="546f5c59-3b8d-47fd-b739-a8fadc631053" providerId="ADAL" clId="{34473802-5904-426F-ADDF-0D0D1B44876C}" dt="2024-03-01T14:46:09.381" v="5990" actId="478"/>
          <ac:spMkLst>
            <pc:docMk/>
            <pc:sldMk cId="1939332489" sldId="936"/>
            <ac:spMk id="62" creationId="{05D1587F-2220-61CF-C510-7EBB4EE50944}"/>
          </ac:spMkLst>
        </pc:spChg>
        <pc:cxnChg chg="add del mod">
          <ac:chgData name="Annemarija Apine (LV)" userId="546f5c59-3b8d-47fd-b739-a8fadc631053" providerId="ADAL" clId="{34473802-5904-426F-ADDF-0D0D1B44876C}" dt="2024-03-01T14:46:45.164" v="6001" actId="478"/>
          <ac:cxnSpMkLst>
            <pc:docMk/>
            <pc:sldMk cId="1939332489" sldId="936"/>
            <ac:cxnSpMk id="7" creationId="{1E09BDC4-C1AF-F9BF-4924-12E08DC5B79D}"/>
          </ac:cxnSpMkLst>
        </pc:cxnChg>
        <pc:cxnChg chg="del">
          <ac:chgData name="Annemarija Apine (LV)" userId="546f5c59-3b8d-47fd-b739-a8fadc631053" providerId="ADAL" clId="{34473802-5904-426F-ADDF-0D0D1B44876C}" dt="2024-03-01T14:46:09.381" v="5990" actId="478"/>
          <ac:cxnSpMkLst>
            <pc:docMk/>
            <pc:sldMk cId="1939332489" sldId="936"/>
            <ac:cxnSpMk id="38" creationId="{6C076618-B972-83FA-E91E-661AF9666BAC}"/>
          </ac:cxnSpMkLst>
        </pc:cxnChg>
        <pc:cxnChg chg="del">
          <ac:chgData name="Annemarija Apine (LV)" userId="546f5c59-3b8d-47fd-b739-a8fadc631053" providerId="ADAL" clId="{34473802-5904-426F-ADDF-0D0D1B44876C}" dt="2024-03-01T14:46:09.381" v="5990" actId="478"/>
          <ac:cxnSpMkLst>
            <pc:docMk/>
            <pc:sldMk cId="1939332489" sldId="936"/>
            <ac:cxnSpMk id="39" creationId="{AACFD71A-79C6-7413-5A81-A4AFD0F2E441}"/>
          </ac:cxnSpMkLst>
        </pc:cxnChg>
        <pc:cxnChg chg="del">
          <ac:chgData name="Annemarija Apine (LV)" userId="546f5c59-3b8d-47fd-b739-a8fadc631053" providerId="ADAL" clId="{34473802-5904-426F-ADDF-0D0D1B44876C}" dt="2024-03-01T14:46:09.381" v="5990" actId="478"/>
          <ac:cxnSpMkLst>
            <pc:docMk/>
            <pc:sldMk cId="1939332489" sldId="936"/>
            <ac:cxnSpMk id="40" creationId="{7ECA13E0-FA0D-1066-D038-F5C5F3ECD0DE}"/>
          </ac:cxnSpMkLst>
        </pc:cxnChg>
        <pc:cxnChg chg="del">
          <ac:chgData name="Annemarija Apine (LV)" userId="546f5c59-3b8d-47fd-b739-a8fadc631053" providerId="ADAL" clId="{34473802-5904-426F-ADDF-0D0D1B44876C}" dt="2024-03-01T14:46:09.381" v="5990" actId="478"/>
          <ac:cxnSpMkLst>
            <pc:docMk/>
            <pc:sldMk cId="1939332489" sldId="936"/>
            <ac:cxnSpMk id="41" creationId="{A235ECF1-4D0C-2C8E-6F14-C26295D9BD92}"/>
          </ac:cxnSpMkLst>
        </pc:cxnChg>
        <pc:cxnChg chg="del">
          <ac:chgData name="Annemarija Apine (LV)" userId="546f5c59-3b8d-47fd-b739-a8fadc631053" providerId="ADAL" clId="{34473802-5904-426F-ADDF-0D0D1B44876C}" dt="2024-03-01T14:46:09.381" v="5990" actId="478"/>
          <ac:cxnSpMkLst>
            <pc:docMk/>
            <pc:sldMk cId="1939332489" sldId="936"/>
            <ac:cxnSpMk id="42" creationId="{DBBD5D35-2B1D-A5AD-2FC3-6967356AB8AD}"/>
          </ac:cxnSpMkLst>
        </pc:cxnChg>
        <pc:cxnChg chg="del">
          <ac:chgData name="Annemarija Apine (LV)" userId="546f5c59-3b8d-47fd-b739-a8fadc631053" providerId="ADAL" clId="{34473802-5904-426F-ADDF-0D0D1B44876C}" dt="2024-03-01T14:46:09.381" v="5990" actId="478"/>
          <ac:cxnSpMkLst>
            <pc:docMk/>
            <pc:sldMk cId="1939332489" sldId="936"/>
            <ac:cxnSpMk id="43" creationId="{0FA02750-EEED-1294-ED4F-724A2B8FA344}"/>
          </ac:cxnSpMkLst>
        </pc:cxnChg>
        <pc:cxnChg chg="del">
          <ac:chgData name="Annemarija Apine (LV)" userId="546f5c59-3b8d-47fd-b739-a8fadc631053" providerId="ADAL" clId="{34473802-5904-426F-ADDF-0D0D1B44876C}" dt="2024-03-01T14:46:09.381" v="5990" actId="478"/>
          <ac:cxnSpMkLst>
            <pc:docMk/>
            <pc:sldMk cId="1939332489" sldId="936"/>
            <ac:cxnSpMk id="44" creationId="{9484F603-EFA7-CF51-3E25-A8C107ED1840}"/>
          </ac:cxnSpMkLst>
        </pc:cxnChg>
        <pc:cxnChg chg="del mod">
          <ac:chgData name="Annemarija Apine (LV)" userId="546f5c59-3b8d-47fd-b739-a8fadc631053" providerId="ADAL" clId="{34473802-5904-426F-ADDF-0D0D1B44876C}" dt="2024-03-01T14:46:09.381" v="5990" actId="478"/>
          <ac:cxnSpMkLst>
            <pc:docMk/>
            <pc:sldMk cId="1939332489" sldId="936"/>
            <ac:cxnSpMk id="48" creationId="{8C4D9F7B-7A3D-3318-A201-AF6934836B34}"/>
          </ac:cxnSpMkLst>
        </pc:cxnChg>
        <pc:cxnChg chg="del">
          <ac:chgData name="Annemarija Apine (LV)" userId="546f5c59-3b8d-47fd-b739-a8fadc631053" providerId="ADAL" clId="{34473802-5904-426F-ADDF-0D0D1B44876C}" dt="2024-03-01T14:46:09.381" v="5990" actId="478"/>
          <ac:cxnSpMkLst>
            <pc:docMk/>
            <pc:sldMk cId="1939332489" sldId="936"/>
            <ac:cxnSpMk id="61" creationId="{804E26DD-A68F-F1A2-ED8C-EB65BFE83319}"/>
          </ac:cxnSpMkLst>
        </pc:cxn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4T09:46:15.896" v="8475"/>
              <pc2:cmMkLst xmlns:pc2="http://schemas.microsoft.com/office/powerpoint/2019/9/main/command">
                <pc:docMk/>
                <pc:sldMk cId="1939332489" sldId="936"/>
                <pc2:cmMk id="{F7CBB20B-C670-4C10-BA6C-BE97153D81AD}"/>
              </pc2:cmMkLst>
            </pc226:cmChg>
            <pc226:cmChg xmlns:pc226="http://schemas.microsoft.com/office/powerpoint/2022/06/main/command" chg="add">
              <pc226:chgData name="Annemarija Apine (LV)" userId="546f5c59-3b8d-47fd-b739-a8fadc631053" providerId="ADAL" clId="{34473802-5904-426F-ADDF-0D0D1B44876C}" dt="2024-03-01T14:47:42.166" v="6027"/>
              <pc2:cmMkLst xmlns:pc2="http://schemas.microsoft.com/office/powerpoint/2019/9/main/command">
                <pc:docMk/>
                <pc:sldMk cId="1939332489" sldId="936"/>
                <pc2:cmMk id="{91AA2356-15CD-45EE-93C9-BC368C8EFAFC}"/>
              </pc2:cmMkLst>
            </pc226:cmChg>
          </p:ext>
        </pc:extLst>
      </pc:sldChg>
      <pc:sldChg chg="add del">
        <pc:chgData name="Annemarija Apine (LV)" userId="546f5c59-3b8d-47fd-b739-a8fadc631053" providerId="ADAL" clId="{34473802-5904-426F-ADDF-0D0D1B44876C}" dt="2024-03-01T14:33:31.722" v="5843"/>
        <pc:sldMkLst>
          <pc:docMk/>
          <pc:sldMk cId="3060842437" sldId="936"/>
        </pc:sldMkLst>
      </pc:sldChg>
      <pc:sldChg chg="modSp add del mod ord addCm">
        <pc:chgData name="Annemarija Apine (LV)" userId="546f5c59-3b8d-47fd-b739-a8fadc631053" providerId="ADAL" clId="{34473802-5904-426F-ADDF-0D0D1B44876C}" dt="2024-03-01T14:49:18.375" v="6058" actId="47"/>
        <pc:sldMkLst>
          <pc:docMk/>
          <pc:sldMk cId="461872333" sldId="937"/>
        </pc:sldMkLst>
        <pc:spChg chg="mod">
          <ac:chgData name="Annemarija Apine (LV)" userId="546f5c59-3b8d-47fd-b739-a8fadc631053" providerId="ADAL" clId="{34473802-5904-426F-ADDF-0D0D1B44876C}" dt="2024-03-01T14:48:19.685" v="6044" actId="20577"/>
          <ac:spMkLst>
            <pc:docMk/>
            <pc:sldMk cId="461872333" sldId="937"/>
            <ac:spMk id="3" creationId="{F4CCF02E-F3C4-C376-8F56-61BD85A2E74B}"/>
          </ac:spMkLst>
        </pc:spChg>
        <pc:spChg chg="mod">
          <ac:chgData name="Annemarija Apine (LV)" userId="546f5c59-3b8d-47fd-b739-a8fadc631053" providerId="ADAL" clId="{34473802-5904-426F-ADDF-0D0D1B44876C}" dt="2024-03-01T14:48:54.412" v="6056"/>
          <ac:spMkLst>
            <pc:docMk/>
            <pc:sldMk cId="461872333" sldId="937"/>
            <ac:spMk id="16" creationId="{30819613-CE74-49B6-0807-44FDBB81D466}"/>
          </ac:spMkLst>
        </pc:spChg>
        <pc:spChg chg="mod">
          <ac:chgData name="Annemarija Apine (LV)" userId="546f5c59-3b8d-47fd-b739-a8fadc631053" providerId="ADAL" clId="{34473802-5904-426F-ADDF-0D0D1B44876C}" dt="2024-03-01T14:48:04.171" v="6038"/>
          <ac:spMkLst>
            <pc:docMk/>
            <pc:sldMk cId="461872333" sldId="937"/>
            <ac:spMk id="23" creationId="{F0F92295-EBAE-39D7-7494-D9035179A285}"/>
          </ac:spMkLst>
        </pc:spChg>
        <pc:spChg chg="mod">
          <ac:chgData name="Annemarija Apine (LV)" userId="546f5c59-3b8d-47fd-b739-a8fadc631053" providerId="ADAL" clId="{34473802-5904-426F-ADDF-0D0D1B44876C}" dt="2024-03-01T14:48:28.440" v="6047"/>
          <ac:spMkLst>
            <pc:docMk/>
            <pc:sldMk cId="461872333" sldId="937"/>
            <ac:spMk id="36" creationId="{A8F39C25-781C-A7DA-387A-D92FCABEE1F5}"/>
          </ac:spMkLst>
        </pc:spChg>
        <pc:spChg chg="mod">
          <ac:chgData name="Annemarija Apine (LV)" userId="546f5c59-3b8d-47fd-b739-a8fadc631053" providerId="ADAL" clId="{34473802-5904-426F-ADDF-0D0D1B44876C}" dt="2024-03-01T14:48:33.216" v="6050"/>
          <ac:spMkLst>
            <pc:docMk/>
            <pc:sldMk cId="461872333" sldId="937"/>
            <ac:spMk id="37" creationId="{BD11DB78-D65B-9D3C-EED7-1721F1C9BCF6}"/>
          </ac:spMkLst>
        </pc:s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1T14:48:43.535" v="6052"/>
              <pc2:cmMkLst xmlns:pc2="http://schemas.microsoft.com/office/powerpoint/2019/9/main/command">
                <pc:docMk/>
                <pc:sldMk cId="461872333" sldId="937"/>
                <pc2:cmMk id="{63570115-8E50-40D8-9577-4A04E0589EF2}"/>
              </pc2:cmMkLst>
            </pc226:cmChg>
            <pc226:cmChg xmlns:pc226="http://schemas.microsoft.com/office/powerpoint/2022/06/main/command" chg="add">
              <pc226:chgData name="Annemarija Apine (LV)" userId="546f5c59-3b8d-47fd-b739-a8fadc631053" providerId="ADAL" clId="{34473802-5904-426F-ADDF-0D0D1B44876C}" dt="2024-03-01T14:48:38.291" v="6051"/>
              <pc2:cmMkLst xmlns:pc2="http://schemas.microsoft.com/office/powerpoint/2019/9/main/command">
                <pc:docMk/>
                <pc:sldMk cId="461872333" sldId="937"/>
                <pc2:cmMk id="{B02C022E-A40F-4398-AFE7-4628D5E56822}"/>
              </pc2:cmMkLst>
            </pc226:cmChg>
          </p:ext>
        </pc:extLst>
      </pc:sldChg>
      <pc:sldChg chg="add modCm modNotesTx">
        <pc:chgData name="Annemarija Apine (LV)" userId="546f5c59-3b8d-47fd-b739-a8fadc631053" providerId="ADAL" clId="{34473802-5904-426F-ADDF-0D0D1B44876C}" dt="2024-03-04T09:43:25.136" v="8466" actId="113"/>
        <pc:sldMkLst>
          <pc:docMk/>
          <pc:sldMk cId="1263375755" sldId="937"/>
        </pc:sldMkLst>
        <pc:extLst>
          <p:ext xmlns:p="http://schemas.openxmlformats.org/presentationml/2006/main" uri="{D6D511B9-2390-475A-947B-AFAB55BFBCF1}">
            <pc226:cmChg xmlns:pc226="http://schemas.microsoft.com/office/powerpoint/2022/06/main/command" chg="mod">
              <pc226:chgData name="Annemarija Apine (LV)" userId="546f5c59-3b8d-47fd-b739-a8fadc631053" providerId="ADAL" clId="{34473802-5904-426F-ADDF-0D0D1B44876C}" dt="2024-03-01T14:49:38.405" v="6066"/>
              <pc2:cmMkLst xmlns:pc2="http://schemas.microsoft.com/office/powerpoint/2019/9/main/command">
                <pc:docMk/>
                <pc:sldMk cId="1263375755" sldId="937"/>
                <pc2:cmMk id="{B43CF2A4-07EF-486D-ABE3-FCC5F57ABF34}"/>
              </pc2:cmMkLst>
            </pc226:cmChg>
          </p:ext>
        </pc:extLst>
      </pc:sldChg>
      <pc:sldChg chg="modSp add mod modCm modNotesTx">
        <pc:chgData name="Annemarija Apine (LV)" userId="546f5c59-3b8d-47fd-b739-a8fadc631053" providerId="ADAL" clId="{34473802-5904-426F-ADDF-0D0D1B44876C}" dt="2024-03-04T09:47:07.913" v="8500"/>
        <pc:sldMkLst>
          <pc:docMk/>
          <pc:sldMk cId="2976985460" sldId="938"/>
        </pc:sldMkLst>
        <pc:spChg chg="mod">
          <ac:chgData name="Annemarija Apine (LV)" userId="546f5c59-3b8d-47fd-b739-a8fadc631053" providerId="ADAL" clId="{34473802-5904-426F-ADDF-0D0D1B44876C}" dt="2024-03-01T14:51:09.894" v="6159" actId="20577"/>
          <ac:spMkLst>
            <pc:docMk/>
            <pc:sldMk cId="2976985460" sldId="938"/>
            <ac:spMk id="3" creationId="{F4CCF02E-F3C4-C376-8F56-61BD85A2E74B}"/>
          </ac:spMkLst>
        </pc:spChg>
        <pc:spChg chg="mod">
          <ac:chgData name="Annemarija Apine (LV)" userId="546f5c59-3b8d-47fd-b739-a8fadc631053" providerId="ADAL" clId="{34473802-5904-426F-ADDF-0D0D1B44876C}" dt="2024-03-01T14:51:33.532" v="6185" actId="20577"/>
          <ac:spMkLst>
            <pc:docMk/>
            <pc:sldMk cId="2976985460" sldId="938"/>
            <ac:spMk id="11" creationId="{ECEF24F5-E26D-2531-E4A1-337E326AC9CB}"/>
          </ac:spMkLst>
        </pc:spChg>
        <pc:spChg chg="mod">
          <ac:chgData name="Annemarija Apine (LV)" userId="546f5c59-3b8d-47fd-b739-a8fadc631053" providerId="ADAL" clId="{34473802-5904-426F-ADDF-0D0D1B44876C}" dt="2024-03-01T14:51:44.049" v="6190" actId="20577"/>
          <ac:spMkLst>
            <pc:docMk/>
            <pc:sldMk cId="2976985460" sldId="938"/>
            <ac:spMk id="16" creationId="{25A25F16-3DF9-5BEF-8F70-42FAB50A6BCE}"/>
          </ac:spMkLst>
        </pc:spChg>
        <pc:extLst>
          <p:ext xmlns:p="http://schemas.openxmlformats.org/presentationml/2006/main" uri="{D6D511B9-2390-475A-947B-AFAB55BFBCF1}">
            <pc226:cmChg xmlns:pc226="http://schemas.microsoft.com/office/powerpoint/2022/06/main/command" chg="mod">
              <pc226:chgData name="Annemarija Apine (LV)" userId="546f5c59-3b8d-47fd-b739-a8fadc631053" providerId="ADAL" clId="{34473802-5904-426F-ADDF-0D0D1B44876C}" dt="2024-03-01T14:49:50.494" v="6069"/>
              <pc2:cmMkLst xmlns:pc2="http://schemas.microsoft.com/office/powerpoint/2019/9/main/command">
                <pc:docMk/>
                <pc:sldMk cId="2976985460" sldId="938"/>
                <pc2:cmMk id="{E8E3E279-41EF-4EC9-96D4-87274249FA89}"/>
              </pc2:cmMkLst>
            </pc226:cmChg>
          </p:ext>
        </pc:extLst>
      </pc:sldChg>
      <pc:sldChg chg="modSp add mod ord addCm modCm modNotesTx">
        <pc:chgData name="Annemarija Apine (LV)" userId="546f5c59-3b8d-47fd-b739-a8fadc631053" providerId="ADAL" clId="{34473802-5904-426F-ADDF-0D0D1B44876C}" dt="2024-03-04T09:47:02.390" v="8496" actId="20577"/>
        <pc:sldMkLst>
          <pc:docMk/>
          <pc:sldMk cId="558100583" sldId="939"/>
        </pc:sldMkLst>
        <pc:spChg chg="mod">
          <ac:chgData name="Annemarija Apine (LV)" userId="546f5c59-3b8d-47fd-b739-a8fadc631053" providerId="ADAL" clId="{34473802-5904-426F-ADDF-0D0D1B44876C}" dt="2024-03-01T14:52:52.149" v="6270" actId="20577"/>
          <ac:spMkLst>
            <pc:docMk/>
            <pc:sldMk cId="558100583" sldId="939"/>
            <ac:spMk id="3" creationId="{F4CCF02E-F3C4-C376-8F56-61BD85A2E74B}"/>
          </ac:spMkLst>
        </pc:spChg>
        <pc:spChg chg="mod">
          <ac:chgData name="Annemarija Apine (LV)" userId="546f5c59-3b8d-47fd-b739-a8fadc631053" providerId="ADAL" clId="{34473802-5904-426F-ADDF-0D0D1B44876C}" dt="2024-03-01T14:56:19.226" v="6326" actId="20577"/>
          <ac:spMkLst>
            <pc:docMk/>
            <pc:sldMk cId="558100583" sldId="939"/>
            <ac:spMk id="16" creationId="{30819613-CE74-49B6-0807-44FDBB81D466}"/>
          </ac:spMkLst>
        </pc:spChg>
        <pc:spChg chg="mod">
          <ac:chgData name="Annemarija Apine (LV)" userId="546f5c59-3b8d-47fd-b739-a8fadc631053" providerId="ADAL" clId="{34473802-5904-426F-ADDF-0D0D1B44876C}" dt="2024-03-01T14:54:25.126" v="6299" actId="20577"/>
          <ac:spMkLst>
            <pc:docMk/>
            <pc:sldMk cId="558100583" sldId="939"/>
            <ac:spMk id="18" creationId="{E1D4AC8F-0322-E8A8-E509-5AF71473A8F4}"/>
          </ac:spMkLst>
        </pc:spChg>
        <pc:spChg chg="mod">
          <ac:chgData name="Annemarija Apine (LV)" userId="546f5c59-3b8d-47fd-b739-a8fadc631053" providerId="ADAL" clId="{34473802-5904-426F-ADDF-0D0D1B44876C}" dt="2024-03-01T14:53:50.814" v="6291" actId="5793"/>
          <ac:spMkLst>
            <pc:docMk/>
            <pc:sldMk cId="558100583" sldId="939"/>
            <ac:spMk id="20" creationId="{BCB0856A-D775-E9B2-A22B-A661D9F8D43C}"/>
          </ac:spMkLst>
        </pc:spChg>
        <pc:spChg chg="mod">
          <ac:chgData name="Annemarija Apine (LV)" userId="546f5c59-3b8d-47fd-b739-a8fadc631053" providerId="ADAL" clId="{34473802-5904-426F-ADDF-0D0D1B44876C}" dt="2024-03-01T14:54:45.013" v="6308" actId="20577"/>
          <ac:spMkLst>
            <pc:docMk/>
            <pc:sldMk cId="558100583" sldId="939"/>
            <ac:spMk id="22" creationId="{044C1CE5-09D8-63ED-7E23-4A59A70CC41B}"/>
          </ac:spMkLst>
        </pc:spChg>
        <pc:spChg chg="mod">
          <ac:chgData name="Annemarija Apine (LV)" userId="546f5c59-3b8d-47fd-b739-a8fadc631053" providerId="ADAL" clId="{34473802-5904-426F-ADDF-0D0D1B44876C}" dt="2024-03-01T14:52:24.890" v="6200"/>
          <ac:spMkLst>
            <pc:docMk/>
            <pc:sldMk cId="558100583" sldId="939"/>
            <ac:spMk id="23" creationId="{F0F92295-EBAE-39D7-7494-D9035179A285}"/>
          </ac:spMkLst>
        </pc:spChg>
        <pc:spChg chg="mod">
          <ac:chgData name="Annemarija Apine (LV)" userId="546f5c59-3b8d-47fd-b739-a8fadc631053" providerId="ADAL" clId="{34473802-5904-426F-ADDF-0D0D1B44876C}" dt="2024-03-01T14:52:57.479" v="6273"/>
          <ac:spMkLst>
            <pc:docMk/>
            <pc:sldMk cId="558100583" sldId="939"/>
            <ac:spMk id="36" creationId="{A8F39C25-781C-A7DA-387A-D92FCABEE1F5}"/>
          </ac:spMkLst>
        </pc:spChg>
        <pc:spChg chg="mod">
          <ac:chgData name="Annemarija Apine (LV)" userId="546f5c59-3b8d-47fd-b739-a8fadc631053" providerId="ADAL" clId="{34473802-5904-426F-ADDF-0D0D1B44876C}" dt="2024-03-01T14:53:04.165" v="6276"/>
          <ac:spMkLst>
            <pc:docMk/>
            <pc:sldMk cId="558100583" sldId="939"/>
            <ac:spMk id="37" creationId="{BD11DB78-D65B-9D3C-EED7-1721F1C9BCF6}"/>
          </ac:spMkLst>
        </pc:spChg>
        <pc:extLst>
          <p:ext xmlns:p="http://schemas.openxmlformats.org/presentationml/2006/main" uri="{D6D511B9-2390-475A-947B-AFAB55BFBCF1}">
            <pc226:cmChg xmlns:pc226="http://schemas.microsoft.com/office/powerpoint/2022/06/main/command" chg="add mod">
              <pc226:chgData name="Annemarija Apine (LV)" userId="546f5c59-3b8d-47fd-b739-a8fadc631053" providerId="ADAL" clId="{34473802-5904-426F-ADDF-0D0D1B44876C}" dt="2024-03-04T09:46:52.224" v="8480"/>
              <pc2:cmMkLst xmlns:pc2="http://schemas.microsoft.com/office/powerpoint/2019/9/main/command">
                <pc:docMk/>
                <pc:sldMk cId="558100583" sldId="939"/>
                <pc2:cmMk id="{B1F41855-E807-4805-BAAB-9374EF31217B}"/>
              </pc2:cmMkLst>
            </pc226:cmChg>
            <pc226:cmChg xmlns:pc226="http://schemas.microsoft.com/office/powerpoint/2022/06/main/command" chg="add">
              <pc226:chgData name="Annemarija Apine (LV)" userId="546f5c59-3b8d-47fd-b739-a8fadc631053" providerId="ADAL" clId="{34473802-5904-426F-ADDF-0D0D1B44876C}" dt="2024-03-01T14:54:07.711" v="6292"/>
              <pc2:cmMkLst xmlns:pc2="http://schemas.microsoft.com/office/powerpoint/2019/9/main/command">
                <pc:docMk/>
                <pc:sldMk cId="558100583" sldId="939"/>
                <pc2:cmMk id="{A570185F-E994-4EC6-A68A-E2C36FB87FD5}"/>
              </pc2:cmMkLst>
            </pc226:cmChg>
            <pc226:cmChg xmlns:pc226="http://schemas.microsoft.com/office/powerpoint/2022/06/main/command" chg="add">
              <pc226:chgData name="Annemarija Apine (LV)" userId="546f5c59-3b8d-47fd-b739-a8fadc631053" providerId="ADAL" clId="{34473802-5904-426F-ADDF-0D0D1B44876C}" dt="2024-03-01T14:53:11.326" v="6277"/>
              <pc2:cmMkLst xmlns:pc2="http://schemas.microsoft.com/office/powerpoint/2019/9/main/command">
                <pc:docMk/>
                <pc:sldMk cId="558100583" sldId="939"/>
                <pc2:cmMk id="{D899416F-60CC-4A08-8640-9B29D319EBA4}"/>
              </pc2:cmMkLst>
            </pc226:cmChg>
            <pc226:cmChg xmlns:pc226="http://schemas.microsoft.com/office/powerpoint/2022/06/main/command" chg="add">
              <pc226:chgData name="Annemarija Apine (LV)" userId="546f5c59-3b8d-47fd-b739-a8fadc631053" providerId="ADAL" clId="{34473802-5904-426F-ADDF-0D0D1B44876C}" dt="2024-03-01T14:53:16.728" v="6278"/>
              <pc2:cmMkLst xmlns:pc2="http://schemas.microsoft.com/office/powerpoint/2019/9/main/command">
                <pc:docMk/>
                <pc:sldMk cId="558100583" sldId="939"/>
                <pc2:cmMk id="{8E8DDBDA-6933-4C90-9A00-EDFEF31D1A4E}"/>
              </pc2:cmMkLst>
            </pc226:cmChg>
          </p:ext>
        </pc:extLst>
      </pc:sldChg>
      <pc:sldChg chg="delSp modSp add mod addCm delCm modCm modNotesTx">
        <pc:chgData name="Annemarija Apine (LV)" userId="546f5c59-3b8d-47fd-b739-a8fadc631053" providerId="ADAL" clId="{34473802-5904-426F-ADDF-0D0D1B44876C}" dt="2024-03-04T09:47:55.900" v="8522"/>
        <pc:sldMkLst>
          <pc:docMk/>
          <pc:sldMk cId="2169785454" sldId="940"/>
        </pc:sldMkLst>
        <pc:spChg chg="mod">
          <ac:chgData name="Annemarija Apine (LV)" userId="546f5c59-3b8d-47fd-b739-a8fadc631053" providerId="ADAL" clId="{34473802-5904-426F-ADDF-0D0D1B44876C}" dt="2024-03-01T14:57:28.212" v="6351" actId="207"/>
          <ac:spMkLst>
            <pc:docMk/>
            <pc:sldMk cId="2169785454" sldId="940"/>
            <ac:spMk id="16" creationId="{30819613-CE74-49B6-0807-44FDBB81D466}"/>
          </ac:spMkLst>
        </pc:spChg>
        <pc:spChg chg="del">
          <ac:chgData name="Annemarija Apine (LV)" userId="546f5c59-3b8d-47fd-b739-a8fadc631053" providerId="ADAL" clId="{34473802-5904-426F-ADDF-0D0D1B44876C}" dt="2024-03-01T14:57:39.308" v="6352" actId="478"/>
          <ac:spMkLst>
            <pc:docMk/>
            <pc:sldMk cId="2169785454" sldId="940"/>
            <ac:spMk id="18" creationId="{E1D4AC8F-0322-E8A8-E509-5AF71473A8F4}"/>
          </ac:spMkLst>
        </pc:spChg>
        <pc:spChg chg="del">
          <ac:chgData name="Annemarija Apine (LV)" userId="546f5c59-3b8d-47fd-b739-a8fadc631053" providerId="ADAL" clId="{34473802-5904-426F-ADDF-0D0D1B44876C}" dt="2024-03-01T14:55:53.976" v="6312" actId="478"/>
          <ac:spMkLst>
            <pc:docMk/>
            <pc:sldMk cId="2169785454" sldId="940"/>
            <ac:spMk id="20" creationId="{BCB0856A-D775-E9B2-A22B-A661D9F8D43C}"/>
          </ac:spMkLst>
        </pc:spChg>
        <pc:spChg chg="del">
          <ac:chgData name="Annemarija Apine (LV)" userId="546f5c59-3b8d-47fd-b739-a8fadc631053" providerId="ADAL" clId="{34473802-5904-426F-ADDF-0D0D1B44876C}" dt="2024-03-01T14:55:53.976" v="6312" actId="478"/>
          <ac:spMkLst>
            <pc:docMk/>
            <pc:sldMk cId="2169785454" sldId="940"/>
            <ac:spMk id="22" creationId="{044C1CE5-09D8-63ED-7E23-4A59A70CC41B}"/>
          </ac:spMkLst>
        </pc:spChg>
        <pc:spChg chg="mod">
          <ac:chgData name="Annemarija Apine (LV)" userId="546f5c59-3b8d-47fd-b739-a8fadc631053" providerId="ADAL" clId="{34473802-5904-426F-ADDF-0D0D1B44876C}" dt="2024-03-01T15:43:13.705" v="6918" actId="14100"/>
          <ac:spMkLst>
            <pc:docMk/>
            <pc:sldMk cId="2169785454" sldId="940"/>
            <ac:spMk id="24" creationId="{6291F660-4399-3100-7AA6-1A96F2BE2FA0}"/>
          </ac:spMkLst>
        </pc:spChg>
        <pc:spChg chg="del">
          <ac:chgData name="Annemarija Apine (LV)" userId="546f5c59-3b8d-47fd-b739-a8fadc631053" providerId="ADAL" clId="{34473802-5904-426F-ADDF-0D0D1B44876C}" dt="2024-03-01T14:57:39.308" v="6352" actId="478"/>
          <ac:spMkLst>
            <pc:docMk/>
            <pc:sldMk cId="2169785454" sldId="940"/>
            <ac:spMk id="25" creationId="{5EF755D9-3B19-3121-7148-7B4F37248EA8}"/>
          </ac:spMkLst>
        </pc:spChg>
        <pc:spChg chg="del">
          <ac:chgData name="Annemarija Apine (LV)" userId="546f5c59-3b8d-47fd-b739-a8fadc631053" providerId="ADAL" clId="{34473802-5904-426F-ADDF-0D0D1B44876C}" dt="2024-03-01T14:57:39.308" v="6352" actId="478"/>
          <ac:spMkLst>
            <pc:docMk/>
            <pc:sldMk cId="2169785454" sldId="940"/>
            <ac:spMk id="27" creationId="{C67C067A-BA44-E473-03E2-74C4CDD50A4F}"/>
          </ac:spMkLst>
        </pc:spChg>
        <pc:spChg chg="del">
          <ac:chgData name="Annemarija Apine (LV)" userId="546f5c59-3b8d-47fd-b739-a8fadc631053" providerId="ADAL" clId="{34473802-5904-426F-ADDF-0D0D1B44876C}" dt="2024-03-01T14:57:39.308" v="6352" actId="478"/>
          <ac:spMkLst>
            <pc:docMk/>
            <pc:sldMk cId="2169785454" sldId="940"/>
            <ac:spMk id="30" creationId="{AD97BBB0-7D2A-0CBE-6249-FB26EF157720}"/>
          </ac:spMkLst>
        </pc:spChg>
        <pc:spChg chg="del">
          <ac:chgData name="Annemarija Apine (LV)" userId="546f5c59-3b8d-47fd-b739-a8fadc631053" providerId="ADAL" clId="{34473802-5904-426F-ADDF-0D0D1B44876C}" dt="2024-03-01T14:57:39.308" v="6352" actId="478"/>
          <ac:spMkLst>
            <pc:docMk/>
            <pc:sldMk cId="2169785454" sldId="940"/>
            <ac:spMk id="31" creationId="{AE1F2CF7-12B2-2C61-02F4-8E90DCAB95C7}"/>
          </ac:spMkLst>
        </pc:spChg>
        <pc:spChg chg="del">
          <ac:chgData name="Annemarija Apine (LV)" userId="546f5c59-3b8d-47fd-b739-a8fadc631053" providerId="ADAL" clId="{34473802-5904-426F-ADDF-0D0D1B44876C}" dt="2024-03-01T14:57:39.308" v="6352" actId="478"/>
          <ac:spMkLst>
            <pc:docMk/>
            <pc:sldMk cId="2169785454" sldId="940"/>
            <ac:spMk id="33" creationId="{F92B9C6C-8C5B-AC82-5DDC-E8DB5ABA08D5}"/>
          </ac:spMkLst>
        </pc:spChg>
        <pc:spChg chg="del">
          <ac:chgData name="Annemarija Apine (LV)" userId="546f5c59-3b8d-47fd-b739-a8fadc631053" providerId="ADAL" clId="{34473802-5904-426F-ADDF-0D0D1B44876C}" dt="2024-03-01T14:55:53.976" v="6312" actId="478"/>
          <ac:spMkLst>
            <pc:docMk/>
            <pc:sldMk cId="2169785454" sldId="940"/>
            <ac:spMk id="34" creationId="{F1D573D1-C07D-A943-A741-380994F48A4F}"/>
          </ac:spMkLst>
        </pc:spChg>
        <pc:spChg chg="mod">
          <ac:chgData name="Annemarija Apine (LV)" userId="546f5c59-3b8d-47fd-b739-a8fadc631053" providerId="ADAL" clId="{34473802-5904-426F-ADDF-0D0D1B44876C}" dt="2024-03-01T15:43:29.117" v="6922" actId="14100"/>
          <ac:spMkLst>
            <pc:docMk/>
            <pc:sldMk cId="2169785454" sldId="940"/>
            <ac:spMk id="35" creationId="{4F177113-0781-5137-1CD7-3B2F5D62C022}"/>
          </ac:spMkLst>
        </pc:spChg>
        <pc:spChg chg="mod">
          <ac:chgData name="Annemarija Apine (LV)" userId="546f5c59-3b8d-47fd-b739-a8fadc631053" providerId="ADAL" clId="{34473802-5904-426F-ADDF-0D0D1B44876C}" dt="2024-03-01T15:43:19.401" v="6920" actId="14100"/>
          <ac:spMkLst>
            <pc:docMk/>
            <pc:sldMk cId="2169785454" sldId="940"/>
            <ac:spMk id="36" creationId="{A8F39C25-781C-A7DA-387A-D92FCABEE1F5}"/>
          </ac:spMkLst>
        </pc:spChg>
        <pc:spChg chg="del">
          <ac:chgData name="Annemarija Apine (LV)" userId="546f5c59-3b8d-47fd-b739-a8fadc631053" providerId="ADAL" clId="{34473802-5904-426F-ADDF-0D0D1B44876C}" dt="2024-03-01T14:55:53.976" v="6312" actId="478"/>
          <ac:spMkLst>
            <pc:docMk/>
            <pc:sldMk cId="2169785454" sldId="940"/>
            <ac:spMk id="37" creationId="{BD11DB78-D65B-9D3C-EED7-1721F1C9BCF6}"/>
          </ac:spMkLst>
        </pc:spChg>
        <pc:spChg chg="mod">
          <ac:chgData name="Annemarija Apine (LV)" userId="546f5c59-3b8d-47fd-b739-a8fadc631053" providerId="ADAL" clId="{34473802-5904-426F-ADDF-0D0D1B44876C}" dt="2024-03-01T15:43:22.710" v="6921" actId="14100"/>
          <ac:spMkLst>
            <pc:docMk/>
            <pc:sldMk cId="2169785454" sldId="940"/>
            <ac:spMk id="38" creationId="{7B1F3CCD-2DE1-C2A8-D340-EAF5B3993679}"/>
          </ac:spMkLst>
        </pc:spChg>
        <pc:spChg chg="del">
          <ac:chgData name="Annemarija Apine (LV)" userId="546f5c59-3b8d-47fd-b739-a8fadc631053" providerId="ADAL" clId="{34473802-5904-426F-ADDF-0D0D1B44876C}" dt="2024-03-01T14:55:53.976" v="6312" actId="478"/>
          <ac:spMkLst>
            <pc:docMk/>
            <pc:sldMk cId="2169785454" sldId="940"/>
            <ac:spMk id="39" creationId="{DCB78F50-A328-CF00-9A1A-F2F677D9CB38}"/>
          </ac:spMkLst>
        </pc:spChg>
        <pc:extLst>
          <p:ext xmlns:p="http://schemas.openxmlformats.org/presentationml/2006/main" uri="{D6D511B9-2390-475A-947B-AFAB55BFBCF1}">
            <pc226:cmChg xmlns:pc226="http://schemas.microsoft.com/office/powerpoint/2022/06/main/command" chg="mod">
              <pc226:chgData name="Annemarija Apine (LV)" userId="546f5c59-3b8d-47fd-b739-a8fadc631053" providerId="ADAL" clId="{34473802-5904-426F-ADDF-0D0D1B44876C}" dt="2024-03-01T14:55:53.976" v="6313" actId="2056"/>
              <pc2:cmMkLst xmlns:pc2="http://schemas.microsoft.com/office/powerpoint/2019/9/main/command">
                <pc:docMk/>
                <pc:sldMk cId="2169785454" sldId="940"/>
                <pc2:cmMk id="{D8D88415-B258-4414-B60D-60263E5E54CC}"/>
              </pc2:cmMkLst>
            </pc226:cmChg>
            <pc226:cmChg xmlns:pc226="http://schemas.microsoft.com/office/powerpoint/2022/06/main/command" chg="del mod">
              <pc226:chgData name="Annemarija Apine (LV)" userId="546f5c59-3b8d-47fd-b739-a8fadc631053" providerId="ADAL" clId="{34473802-5904-426F-ADDF-0D0D1B44876C}" dt="2024-03-01T14:56:54.249" v="6334"/>
              <pc2:cmMkLst xmlns:pc2="http://schemas.microsoft.com/office/powerpoint/2019/9/main/command">
                <pc:docMk/>
                <pc:sldMk cId="2169785454" sldId="940"/>
                <pc2:cmMk id="{BCCDEE57-AEF6-454F-B7D5-2CAD163603F2}"/>
              </pc2:cmMkLst>
            </pc226:cmChg>
            <pc226:cmChg xmlns:pc226="http://schemas.microsoft.com/office/powerpoint/2022/06/main/command" chg="mod">
              <pc226:chgData name="Annemarija Apine (LV)" userId="546f5c59-3b8d-47fd-b739-a8fadc631053" providerId="ADAL" clId="{34473802-5904-426F-ADDF-0D0D1B44876C}" dt="2024-03-01T14:56:51.147" v="6333"/>
              <pc2:cmMkLst xmlns:pc2="http://schemas.microsoft.com/office/powerpoint/2019/9/main/command">
                <pc:docMk/>
                <pc:sldMk cId="2169785454" sldId="940"/>
                <pc2:cmMk id="{B751C4A5-EDBC-4C47-B97D-33448EC4C89E}"/>
              </pc2:cmMkLst>
            </pc226:cmChg>
            <pc226:cmChg xmlns:pc226="http://schemas.microsoft.com/office/powerpoint/2022/06/main/command" chg="add">
              <pc226:chgData name="Annemarija Apine (LV)" userId="546f5c59-3b8d-47fd-b739-a8fadc631053" providerId="ADAL" clId="{34473802-5904-426F-ADDF-0D0D1B44876C}" dt="2024-03-04T09:47:27.852" v="8506"/>
              <pc2:cmMkLst xmlns:pc2="http://schemas.microsoft.com/office/powerpoint/2019/9/main/command">
                <pc:docMk/>
                <pc:sldMk cId="2169785454" sldId="940"/>
                <pc2:cmMk id="{3A4D3BAF-8104-4495-8DE3-4015667E4BE1}"/>
              </pc2:cmMkLst>
            </pc226:cmChg>
          </p:ext>
        </pc:extLst>
      </pc:sldChg>
      <pc:sldChg chg="addSp delSp modSp add mod ord addCm delCm modCm modNotesTx">
        <pc:chgData name="Annemarija Apine (LV)" userId="546f5c59-3b8d-47fd-b739-a8fadc631053" providerId="ADAL" clId="{34473802-5904-426F-ADDF-0D0D1B44876C}" dt="2024-03-11T14:44:45.530" v="10394" actId="20577"/>
        <pc:sldMkLst>
          <pc:docMk/>
          <pc:sldMk cId="4229434319" sldId="941"/>
        </pc:sldMkLst>
        <pc:spChg chg="add mod">
          <ac:chgData name="Annemarija Apine (LV)" userId="546f5c59-3b8d-47fd-b739-a8fadc631053" providerId="ADAL" clId="{34473802-5904-426F-ADDF-0D0D1B44876C}" dt="2024-03-10T23:48:52.353" v="10005"/>
          <ac:spMkLst>
            <pc:docMk/>
            <pc:sldMk cId="4229434319" sldId="941"/>
            <ac:spMk id="2" creationId="{9DF5DEA7-2B62-A714-2DA0-9BA52C8CF43D}"/>
          </ac:spMkLst>
        </pc:spChg>
        <pc:spChg chg="mod">
          <ac:chgData name="Annemarija Apine (LV)" userId="546f5c59-3b8d-47fd-b739-a8fadc631053" providerId="ADAL" clId="{34473802-5904-426F-ADDF-0D0D1B44876C}" dt="2024-03-01T14:58:37.938" v="6432" actId="20577"/>
          <ac:spMkLst>
            <pc:docMk/>
            <pc:sldMk cId="4229434319" sldId="941"/>
            <ac:spMk id="3" creationId="{F4CCF02E-F3C4-C376-8F56-61BD85A2E74B}"/>
          </ac:spMkLst>
        </pc:spChg>
        <pc:spChg chg="mod">
          <ac:chgData name="Annemarija Apine (LV)" userId="546f5c59-3b8d-47fd-b739-a8fadc631053" providerId="ADAL" clId="{34473802-5904-426F-ADDF-0D0D1B44876C}" dt="2024-03-01T15:03:31.328" v="6470" actId="20577"/>
          <ac:spMkLst>
            <pc:docMk/>
            <pc:sldMk cId="4229434319" sldId="941"/>
            <ac:spMk id="16" creationId="{30819613-CE74-49B6-0807-44FDBB81D466}"/>
          </ac:spMkLst>
        </pc:spChg>
        <pc:spChg chg="mod">
          <ac:chgData name="Annemarija Apine (LV)" userId="546f5c59-3b8d-47fd-b739-a8fadc631053" providerId="ADAL" clId="{34473802-5904-426F-ADDF-0D0D1B44876C}" dt="2024-03-01T15:04:03.503" v="6475" actId="20577"/>
          <ac:spMkLst>
            <pc:docMk/>
            <pc:sldMk cId="4229434319" sldId="941"/>
            <ac:spMk id="18" creationId="{E1D4AC8F-0322-E8A8-E509-5AF71473A8F4}"/>
          </ac:spMkLst>
        </pc:spChg>
        <pc:spChg chg="del mod">
          <ac:chgData name="Annemarija Apine (LV)" userId="546f5c59-3b8d-47fd-b739-a8fadc631053" providerId="ADAL" clId="{34473802-5904-426F-ADDF-0D0D1B44876C}" dt="2024-03-01T15:03:49.496" v="6471" actId="478"/>
          <ac:spMkLst>
            <pc:docMk/>
            <pc:sldMk cId="4229434319" sldId="941"/>
            <ac:spMk id="20" creationId="{BCB0856A-D775-E9B2-A22B-A661D9F8D43C}"/>
          </ac:spMkLst>
        </pc:spChg>
        <pc:spChg chg="mod">
          <ac:chgData name="Annemarija Apine (LV)" userId="546f5c59-3b8d-47fd-b739-a8fadc631053" providerId="ADAL" clId="{34473802-5904-426F-ADDF-0D0D1B44876C}" dt="2024-03-11T14:44:45.530" v="10394" actId="20577"/>
          <ac:spMkLst>
            <pc:docMk/>
            <pc:sldMk cId="4229434319" sldId="941"/>
            <ac:spMk id="21" creationId="{47F90413-FED8-5E76-8366-C80AC457EE4C}"/>
          </ac:spMkLst>
        </pc:spChg>
        <pc:spChg chg="del">
          <ac:chgData name="Annemarija Apine (LV)" userId="546f5c59-3b8d-47fd-b739-a8fadc631053" providerId="ADAL" clId="{34473802-5904-426F-ADDF-0D0D1B44876C}" dt="2024-03-01T15:03:49.496" v="6471" actId="478"/>
          <ac:spMkLst>
            <pc:docMk/>
            <pc:sldMk cId="4229434319" sldId="941"/>
            <ac:spMk id="22" creationId="{044C1CE5-09D8-63ED-7E23-4A59A70CC41B}"/>
          </ac:spMkLst>
        </pc:spChg>
        <pc:spChg chg="mod">
          <ac:chgData name="Annemarija Apine (LV)" userId="546f5c59-3b8d-47fd-b739-a8fadc631053" providerId="ADAL" clId="{34473802-5904-426F-ADDF-0D0D1B44876C}" dt="2024-03-01T14:58:17.388" v="6361"/>
          <ac:spMkLst>
            <pc:docMk/>
            <pc:sldMk cId="4229434319" sldId="941"/>
            <ac:spMk id="23" creationId="{F0F92295-EBAE-39D7-7494-D9035179A285}"/>
          </ac:spMkLst>
        </pc:spChg>
        <pc:spChg chg="del">
          <ac:chgData name="Annemarija Apine (LV)" userId="546f5c59-3b8d-47fd-b739-a8fadc631053" providerId="ADAL" clId="{34473802-5904-426F-ADDF-0D0D1B44876C}" dt="2024-03-01T15:03:49.496" v="6471" actId="478"/>
          <ac:spMkLst>
            <pc:docMk/>
            <pc:sldMk cId="4229434319" sldId="941"/>
            <ac:spMk id="34" creationId="{F1D573D1-C07D-A943-A741-380994F48A4F}"/>
          </ac:spMkLst>
        </pc:spChg>
        <pc:spChg chg="mod">
          <ac:chgData name="Annemarija Apine (LV)" userId="546f5c59-3b8d-47fd-b739-a8fadc631053" providerId="ADAL" clId="{34473802-5904-426F-ADDF-0D0D1B44876C}" dt="2024-03-01T15:01:24.368" v="6435"/>
          <ac:spMkLst>
            <pc:docMk/>
            <pc:sldMk cId="4229434319" sldId="941"/>
            <ac:spMk id="36" creationId="{A8F39C25-781C-A7DA-387A-D92FCABEE1F5}"/>
          </ac:spMkLst>
        </pc:spChg>
        <pc:spChg chg="del">
          <ac:chgData name="Annemarija Apine (LV)" userId="546f5c59-3b8d-47fd-b739-a8fadc631053" providerId="ADAL" clId="{34473802-5904-426F-ADDF-0D0D1B44876C}" dt="2024-03-01T15:03:49.496" v="6471" actId="478"/>
          <ac:spMkLst>
            <pc:docMk/>
            <pc:sldMk cId="4229434319" sldId="941"/>
            <ac:spMk id="37" creationId="{BD11DB78-D65B-9D3C-EED7-1721F1C9BCF6}"/>
          </ac:spMkLst>
        </pc:spChg>
        <pc:spChg chg="del">
          <ac:chgData name="Annemarija Apine (LV)" userId="546f5c59-3b8d-47fd-b739-a8fadc631053" providerId="ADAL" clId="{34473802-5904-426F-ADDF-0D0D1B44876C}" dt="2024-03-01T15:03:49.496" v="6471" actId="478"/>
          <ac:spMkLst>
            <pc:docMk/>
            <pc:sldMk cId="4229434319" sldId="941"/>
            <ac:spMk id="39" creationId="{DCB78F50-A328-CF00-9A1A-F2F677D9CB38}"/>
          </ac:spMkLst>
        </pc:sp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34473802-5904-426F-ADDF-0D0D1B44876C}" dt="2024-03-01T15:01:27.790" v="6437"/>
              <pc2:cmMkLst xmlns:pc2="http://schemas.microsoft.com/office/powerpoint/2019/9/main/command">
                <pc:docMk/>
                <pc:sldMk cId="4229434319" sldId="941"/>
                <pc2:cmMk id="{2AFAAD05-BFFB-4D2C-8352-7351BE47D473}"/>
              </pc2:cmMkLst>
            </pc226:cmChg>
            <pc226:cmChg xmlns:pc226="http://schemas.microsoft.com/office/powerpoint/2022/06/main/command" chg="del">
              <pc226:chgData name="Annemarija Apine (LV)" userId="546f5c59-3b8d-47fd-b739-a8fadc631053" providerId="ADAL" clId="{34473802-5904-426F-ADDF-0D0D1B44876C}" dt="2024-03-01T15:01:26.617" v="6436"/>
              <pc2:cmMkLst xmlns:pc2="http://schemas.microsoft.com/office/powerpoint/2019/9/main/command">
                <pc:docMk/>
                <pc:sldMk cId="4229434319" sldId="941"/>
                <pc2:cmMk id="{9D169064-B1F3-41F9-A758-1FBD802137C5}"/>
              </pc2:cmMkLst>
            </pc226:cmChg>
            <pc226:cmChg xmlns:pc226="http://schemas.microsoft.com/office/powerpoint/2022/06/main/command" chg="del">
              <pc226:chgData name="Annemarija Apine (LV)" userId="546f5c59-3b8d-47fd-b739-a8fadc631053" providerId="ADAL" clId="{34473802-5904-426F-ADDF-0D0D1B44876C}" dt="2024-03-01T15:01:30.389" v="6438"/>
              <pc2:cmMkLst xmlns:pc2="http://schemas.microsoft.com/office/powerpoint/2019/9/main/command">
                <pc:docMk/>
                <pc:sldMk cId="4229434319" sldId="941"/>
                <pc2:cmMk id="{6155B465-4A83-4371-9162-8DDF1DFCD7A8}"/>
              </pc2:cmMkLst>
            </pc226:cmChg>
            <pc226:cmChg xmlns:pc226="http://schemas.microsoft.com/office/powerpoint/2022/06/main/command" chg="add">
              <pc226:chgData name="Annemarija Apine (LV)" userId="546f5c59-3b8d-47fd-b739-a8fadc631053" providerId="ADAL" clId="{34473802-5904-426F-ADDF-0D0D1B44876C}" dt="2024-03-08T11:59:04.378" v="9021"/>
              <pc2:cmMkLst xmlns:pc2="http://schemas.microsoft.com/office/powerpoint/2019/9/main/command">
                <pc:docMk/>
                <pc:sldMk cId="4229434319" sldId="941"/>
                <pc2:cmMk id="{4B5F507B-5212-4E21-B0C3-C08158A94BED}"/>
              </pc2:cmMkLst>
            </pc226:cmChg>
            <pc226:cmChg xmlns:pc226="http://schemas.microsoft.com/office/powerpoint/2022/06/main/command" chg="del">
              <pc226:chgData name="Annemarija Apine (LV)" userId="546f5c59-3b8d-47fd-b739-a8fadc631053" providerId="ADAL" clId="{34473802-5904-426F-ADDF-0D0D1B44876C}" dt="2024-03-01T15:01:32.219" v="6439"/>
              <pc2:cmMkLst xmlns:pc2="http://schemas.microsoft.com/office/powerpoint/2019/9/main/command">
                <pc:docMk/>
                <pc:sldMk cId="4229434319" sldId="941"/>
                <pc2:cmMk id="{D9A5E5A2-BD0A-44DD-973D-5335C69F824B}"/>
              </pc2:cmMkLst>
            </pc226:cmChg>
            <pc226:cmChg xmlns:pc226="http://schemas.microsoft.com/office/powerpoint/2022/06/main/command" chg="add mod">
              <pc226:chgData name="Annemarija Apine (LV)" userId="546f5c59-3b8d-47fd-b739-a8fadc631053" providerId="ADAL" clId="{34473802-5904-426F-ADDF-0D0D1B44876C}" dt="2024-03-11T14:44:45.530" v="10394" actId="20577"/>
              <pc2:cmMkLst xmlns:pc2="http://schemas.microsoft.com/office/powerpoint/2019/9/main/command">
                <pc:docMk/>
                <pc:sldMk cId="4229434319" sldId="941"/>
                <pc2:cmMk id="{8590AEC1-A34A-45D3-8F8B-CA9F66F14848}"/>
              </pc2:cmMkLst>
            </pc226:cmChg>
            <pc226:cmChg xmlns:pc226="http://schemas.microsoft.com/office/powerpoint/2022/06/main/command" chg="add mod">
              <pc226:chgData name="Annemarija Apine (LV)" userId="546f5c59-3b8d-47fd-b739-a8fadc631053" providerId="ADAL" clId="{34473802-5904-426F-ADDF-0D0D1B44876C}" dt="2024-03-04T09:48:21.722" v="8526"/>
              <pc2:cmMkLst xmlns:pc2="http://schemas.microsoft.com/office/powerpoint/2019/9/main/command">
                <pc:docMk/>
                <pc:sldMk cId="4229434319" sldId="941"/>
                <pc2:cmMk id="{BDB956F7-3AF8-48A2-B57C-3B87C2A3F5EC}"/>
              </pc2:cmMkLst>
              <pc226:cmRplyChg chg="add">
                <pc226:chgData name="Annemarija Apine (LV)" userId="546f5c59-3b8d-47fd-b739-a8fadc631053" providerId="ADAL" clId="{34473802-5904-426F-ADDF-0D0D1B44876C}" dt="2024-03-01T15:12:55.909" v="6592"/>
                <pc2:cmRplyMkLst xmlns:pc2="http://schemas.microsoft.com/office/powerpoint/2019/9/main/command">
                  <pc:docMk/>
                  <pc:sldMk cId="4229434319" sldId="941"/>
                  <pc2:cmMk id="{BDB956F7-3AF8-48A2-B57C-3B87C2A3F5EC}"/>
                  <pc2:cmRplyMk id="{9FF9BC62-5451-4AB9-9BA7-CDEE0F2F9770}"/>
                </pc2:cmRplyMkLst>
              </pc226:cmRplyChg>
            </pc226:cmChg>
            <pc226:cmChg xmlns:pc226="http://schemas.microsoft.com/office/powerpoint/2022/06/main/command" chg="add del">
              <pc226:chgData name="Annemarija Apine (LV)" userId="546f5c59-3b8d-47fd-b739-a8fadc631053" providerId="ADAL" clId="{34473802-5904-426F-ADDF-0D0D1B44876C}" dt="2024-03-04T09:48:10.311" v="8525"/>
              <pc2:cmMkLst xmlns:pc2="http://schemas.microsoft.com/office/powerpoint/2019/9/main/command">
                <pc:docMk/>
                <pc:sldMk cId="4229434319" sldId="941"/>
                <pc2:cmMk id="{55754AFE-D500-4680-8539-23E02B9A5E31}"/>
              </pc2:cmMkLst>
            </pc226:cmChg>
          </p:ext>
        </pc:extLst>
      </pc:sldChg>
      <pc:sldChg chg="add del">
        <pc:chgData name="Annemarija Apine (LV)" userId="546f5c59-3b8d-47fd-b739-a8fadc631053" providerId="ADAL" clId="{34473802-5904-426F-ADDF-0D0D1B44876C}" dt="2024-03-01T15:05:23.955" v="6480" actId="47"/>
        <pc:sldMkLst>
          <pc:docMk/>
          <pc:sldMk cId="98990175" sldId="942"/>
        </pc:sldMkLst>
      </pc:sldChg>
      <pc:sldChg chg="addSp delSp modSp add mod ord addCm delCm modCm modNotesTx">
        <pc:chgData name="Annemarija Apine (LV)" userId="546f5c59-3b8d-47fd-b739-a8fadc631053" providerId="ADAL" clId="{34473802-5904-426F-ADDF-0D0D1B44876C}" dt="2024-03-04T09:48:40.200" v="8529"/>
        <pc:sldMkLst>
          <pc:docMk/>
          <pc:sldMk cId="3615584869" sldId="942"/>
        </pc:sldMkLst>
        <pc:spChg chg="mod">
          <ac:chgData name="Annemarija Apine (LV)" userId="546f5c59-3b8d-47fd-b739-a8fadc631053" providerId="ADAL" clId="{34473802-5904-426F-ADDF-0D0D1B44876C}" dt="2024-03-01T15:05:41.961" v="6492"/>
          <ac:spMkLst>
            <pc:docMk/>
            <pc:sldMk cId="3615584869" sldId="942"/>
            <ac:spMk id="3" creationId="{F4CCF02E-F3C4-C376-8F56-61BD85A2E74B}"/>
          </ac:spMkLst>
        </pc:spChg>
        <pc:spChg chg="add mod ord">
          <ac:chgData name="Annemarija Apine (LV)" userId="546f5c59-3b8d-47fd-b739-a8fadc631053" providerId="ADAL" clId="{34473802-5904-426F-ADDF-0D0D1B44876C}" dt="2024-03-01T15:09:36.422" v="6561" actId="1036"/>
          <ac:spMkLst>
            <pc:docMk/>
            <pc:sldMk cId="3615584869" sldId="942"/>
            <ac:spMk id="5" creationId="{729A689A-717A-CEB0-A1F7-C7FBD27BC821}"/>
          </ac:spMkLst>
        </pc:spChg>
        <pc:spChg chg="add mod ord">
          <ac:chgData name="Annemarija Apine (LV)" userId="546f5c59-3b8d-47fd-b739-a8fadc631053" providerId="ADAL" clId="{34473802-5904-426F-ADDF-0D0D1B44876C}" dt="2024-03-01T15:09:36.422" v="6561" actId="1036"/>
          <ac:spMkLst>
            <pc:docMk/>
            <pc:sldMk cId="3615584869" sldId="942"/>
            <ac:spMk id="6" creationId="{9FCB5464-71C0-8D26-F8EA-D639E3AD3942}"/>
          </ac:spMkLst>
        </pc:spChg>
        <pc:spChg chg="add mod ord">
          <ac:chgData name="Annemarija Apine (LV)" userId="546f5c59-3b8d-47fd-b739-a8fadc631053" providerId="ADAL" clId="{34473802-5904-426F-ADDF-0D0D1B44876C}" dt="2024-03-01T15:09:36.422" v="6561" actId="1036"/>
          <ac:spMkLst>
            <pc:docMk/>
            <pc:sldMk cId="3615584869" sldId="942"/>
            <ac:spMk id="7" creationId="{131CF737-7F8A-F69F-9074-8E1795165146}"/>
          </ac:spMkLst>
        </pc:spChg>
        <pc:spChg chg="add mod ord">
          <ac:chgData name="Annemarija Apine (LV)" userId="546f5c59-3b8d-47fd-b739-a8fadc631053" providerId="ADAL" clId="{34473802-5904-426F-ADDF-0D0D1B44876C}" dt="2024-03-01T15:09:36.422" v="6561" actId="1036"/>
          <ac:spMkLst>
            <pc:docMk/>
            <pc:sldMk cId="3615584869" sldId="942"/>
            <ac:spMk id="8" creationId="{DE394745-7D20-7CFE-FA0E-311E6546C320}"/>
          </ac:spMkLst>
        </pc:spChg>
        <pc:spChg chg="add mod ord">
          <ac:chgData name="Annemarija Apine (LV)" userId="546f5c59-3b8d-47fd-b739-a8fadc631053" providerId="ADAL" clId="{34473802-5904-426F-ADDF-0D0D1B44876C}" dt="2024-03-01T15:09:36.422" v="6561" actId="1036"/>
          <ac:spMkLst>
            <pc:docMk/>
            <pc:sldMk cId="3615584869" sldId="942"/>
            <ac:spMk id="10" creationId="{CEB10E6B-E2C2-E173-D397-F7696E76B2B3}"/>
          </ac:spMkLst>
        </pc:spChg>
        <pc:spChg chg="add mod">
          <ac:chgData name="Annemarija Apine (LV)" userId="546f5c59-3b8d-47fd-b739-a8fadc631053" providerId="ADAL" clId="{34473802-5904-426F-ADDF-0D0D1B44876C}" dt="2024-03-01T15:09:32.279" v="6553" actId="1076"/>
          <ac:spMkLst>
            <pc:docMk/>
            <pc:sldMk cId="3615584869" sldId="942"/>
            <ac:spMk id="11" creationId="{67F9DE6C-0200-93AD-A9AC-A39DC86C8387}"/>
          </ac:spMkLst>
        </pc:spChg>
        <pc:spChg chg="add mod">
          <ac:chgData name="Annemarija Apine (LV)" userId="546f5c59-3b8d-47fd-b739-a8fadc631053" providerId="ADAL" clId="{34473802-5904-426F-ADDF-0D0D1B44876C}" dt="2024-03-01T15:10:01.584" v="6570"/>
          <ac:spMkLst>
            <pc:docMk/>
            <pc:sldMk cId="3615584869" sldId="942"/>
            <ac:spMk id="12" creationId="{BCD23311-41AD-9807-EF29-568FF837616E}"/>
          </ac:spMkLst>
        </pc:spChg>
        <pc:spChg chg="add mod">
          <ac:chgData name="Annemarija Apine (LV)" userId="546f5c59-3b8d-47fd-b739-a8fadc631053" providerId="ADAL" clId="{34473802-5904-426F-ADDF-0D0D1B44876C}" dt="2024-03-01T15:09:32.279" v="6553" actId="1076"/>
          <ac:spMkLst>
            <pc:docMk/>
            <pc:sldMk cId="3615584869" sldId="942"/>
            <ac:spMk id="13" creationId="{71ED36E5-E465-D1F1-1E45-A8813A4B5D7F}"/>
          </ac:spMkLst>
        </pc:spChg>
        <pc:spChg chg="add mod">
          <ac:chgData name="Annemarija Apine (LV)" userId="546f5c59-3b8d-47fd-b739-a8fadc631053" providerId="ADAL" clId="{34473802-5904-426F-ADDF-0D0D1B44876C}" dt="2024-03-01T15:10:02.090" v="6571"/>
          <ac:spMkLst>
            <pc:docMk/>
            <pc:sldMk cId="3615584869" sldId="942"/>
            <ac:spMk id="14" creationId="{259DB89D-0663-813E-2C04-0B4D674C635D}"/>
          </ac:spMkLst>
        </pc:spChg>
        <pc:spChg chg="add mod">
          <ac:chgData name="Annemarija Apine (LV)" userId="546f5c59-3b8d-47fd-b739-a8fadc631053" providerId="ADAL" clId="{34473802-5904-426F-ADDF-0D0D1B44876C}" dt="2024-03-01T15:10:07.015" v="6576" actId="20577"/>
          <ac:spMkLst>
            <pc:docMk/>
            <pc:sldMk cId="3615584869" sldId="942"/>
            <ac:spMk id="15" creationId="{CD0345AC-E5CC-E9A5-9519-EA39D36AEABB}"/>
          </ac:spMkLst>
        </pc:spChg>
        <pc:spChg chg="mod">
          <ac:chgData name="Annemarija Apine (LV)" userId="546f5c59-3b8d-47fd-b739-a8fadc631053" providerId="ADAL" clId="{34473802-5904-426F-ADDF-0D0D1B44876C}" dt="2024-03-01T15:08:09.761" v="6532" actId="1076"/>
          <ac:spMkLst>
            <pc:docMk/>
            <pc:sldMk cId="3615584869" sldId="942"/>
            <ac:spMk id="16" creationId="{30819613-CE74-49B6-0807-44FDBB81D466}"/>
          </ac:spMkLst>
        </pc:spChg>
        <pc:spChg chg="mod">
          <ac:chgData name="Annemarija Apine (LV)" userId="546f5c59-3b8d-47fd-b739-a8fadc631053" providerId="ADAL" clId="{34473802-5904-426F-ADDF-0D0D1B44876C}" dt="2024-03-01T15:07:23.155" v="6523" actId="14100"/>
          <ac:spMkLst>
            <pc:docMk/>
            <pc:sldMk cId="3615584869" sldId="942"/>
            <ac:spMk id="18" creationId="{E1D4AC8F-0322-E8A8-E509-5AF71473A8F4}"/>
          </ac:spMkLst>
        </pc:spChg>
        <pc:spChg chg="del">
          <ac:chgData name="Annemarija Apine (LV)" userId="546f5c59-3b8d-47fd-b739-a8fadc631053" providerId="ADAL" clId="{34473802-5904-426F-ADDF-0D0D1B44876C}" dt="2024-03-01T15:07:27.517" v="6524" actId="478"/>
          <ac:spMkLst>
            <pc:docMk/>
            <pc:sldMk cId="3615584869" sldId="942"/>
            <ac:spMk id="20" creationId="{BCB0856A-D775-E9B2-A22B-A661D9F8D43C}"/>
          </ac:spMkLst>
        </pc:spChg>
        <pc:spChg chg="del">
          <ac:chgData name="Annemarija Apine (LV)" userId="546f5c59-3b8d-47fd-b739-a8fadc631053" providerId="ADAL" clId="{34473802-5904-426F-ADDF-0D0D1B44876C}" dt="2024-03-01T15:07:27.517" v="6524" actId="478"/>
          <ac:spMkLst>
            <pc:docMk/>
            <pc:sldMk cId="3615584869" sldId="942"/>
            <ac:spMk id="22" creationId="{044C1CE5-09D8-63ED-7E23-4A59A70CC41B}"/>
          </ac:spMkLst>
        </pc:spChg>
        <pc:spChg chg="mod">
          <ac:chgData name="Annemarija Apine (LV)" userId="546f5c59-3b8d-47fd-b739-a8fadc631053" providerId="ADAL" clId="{34473802-5904-426F-ADDF-0D0D1B44876C}" dt="2024-03-01T15:05:38.178" v="6489"/>
          <ac:spMkLst>
            <pc:docMk/>
            <pc:sldMk cId="3615584869" sldId="942"/>
            <ac:spMk id="23" creationId="{F0F92295-EBAE-39D7-7494-D9035179A285}"/>
          </ac:spMkLst>
        </pc:spChg>
        <pc:spChg chg="del">
          <ac:chgData name="Annemarija Apine (LV)" userId="546f5c59-3b8d-47fd-b739-a8fadc631053" providerId="ADAL" clId="{34473802-5904-426F-ADDF-0D0D1B44876C}" dt="2024-03-01T15:07:27.517" v="6524" actId="478"/>
          <ac:spMkLst>
            <pc:docMk/>
            <pc:sldMk cId="3615584869" sldId="942"/>
            <ac:spMk id="34" creationId="{F1D573D1-C07D-A943-A741-380994F48A4F}"/>
          </ac:spMkLst>
        </pc:spChg>
        <pc:spChg chg="mod">
          <ac:chgData name="Annemarija Apine (LV)" userId="546f5c59-3b8d-47fd-b739-a8fadc631053" providerId="ADAL" clId="{34473802-5904-426F-ADDF-0D0D1B44876C}" dt="2024-03-01T15:07:23.155" v="6523" actId="14100"/>
          <ac:spMkLst>
            <pc:docMk/>
            <pc:sldMk cId="3615584869" sldId="942"/>
            <ac:spMk id="35" creationId="{4F177113-0781-5137-1CD7-3B2F5D62C022}"/>
          </ac:spMkLst>
        </pc:spChg>
        <pc:spChg chg="mod">
          <ac:chgData name="Annemarija Apine (LV)" userId="546f5c59-3b8d-47fd-b739-a8fadc631053" providerId="ADAL" clId="{34473802-5904-426F-ADDF-0D0D1B44876C}" dt="2024-03-01T15:07:23.155" v="6523" actId="14100"/>
          <ac:spMkLst>
            <pc:docMk/>
            <pc:sldMk cId="3615584869" sldId="942"/>
            <ac:spMk id="36" creationId="{A8F39C25-781C-A7DA-387A-D92FCABEE1F5}"/>
          </ac:spMkLst>
        </pc:spChg>
        <pc:spChg chg="del">
          <ac:chgData name="Annemarija Apine (LV)" userId="546f5c59-3b8d-47fd-b739-a8fadc631053" providerId="ADAL" clId="{34473802-5904-426F-ADDF-0D0D1B44876C}" dt="2024-03-01T15:07:27.517" v="6524" actId="478"/>
          <ac:spMkLst>
            <pc:docMk/>
            <pc:sldMk cId="3615584869" sldId="942"/>
            <ac:spMk id="37" creationId="{BD11DB78-D65B-9D3C-EED7-1721F1C9BCF6}"/>
          </ac:spMkLst>
        </pc:spChg>
        <pc:spChg chg="mod">
          <ac:chgData name="Annemarija Apine (LV)" userId="546f5c59-3b8d-47fd-b739-a8fadc631053" providerId="ADAL" clId="{34473802-5904-426F-ADDF-0D0D1B44876C}" dt="2024-03-01T15:07:23.155" v="6523" actId="14100"/>
          <ac:spMkLst>
            <pc:docMk/>
            <pc:sldMk cId="3615584869" sldId="942"/>
            <ac:spMk id="38" creationId="{7B1F3CCD-2DE1-C2A8-D340-EAF5B3993679}"/>
          </ac:spMkLst>
        </pc:spChg>
        <pc:spChg chg="del">
          <ac:chgData name="Annemarija Apine (LV)" userId="546f5c59-3b8d-47fd-b739-a8fadc631053" providerId="ADAL" clId="{34473802-5904-426F-ADDF-0D0D1B44876C}" dt="2024-03-01T15:07:27.517" v="6524" actId="478"/>
          <ac:spMkLst>
            <pc:docMk/>
            <pc:sldMk cId="3615584869" sldId="942"/>
            <ac:spMk id="39" creationId="{DCB78F50-A328-CF00-9A1A-F2F677D9CB38}"/>
          </ac:spMkLst>
        </pc:spChg>
        <pc:extLst>
          <p:ext xmlns:p="http://schemas.openxmlformats.org/presentationml/2006/main" uri="{D6D511B9-2390-475A-947B-AFAB55BFBCF1}">
            <pc226:cmChg xmlns:pc226="http://schemas.microsoft.com/office/powerpoint/2022/06/main/command" chg="del mod">
              <pc226:chgData name="Annemarija Apine (LV)" userId="546f5c59-3b8d-47fd-b739-a8fadc631053" providerId="ADAL" clId="{34473802-5904-426F-ADDF-0D0D1B44876C}" dt="2024-03-01T15:06:35.924" v="6509"/>
              <pc2:cmMkLst xmlns:pc2="http://schemas.microsoft.com/office/powerpoint/2019/9/main/command">
                <pc:docMk/>
                <pc:sldMk cId="3615584869" sldId="942"/>
                <pc2:cmMk id="{3134F20F-1681-4149-880A-E88C70E4FD5B}"/>
              </pc2:cmMkLst>
            </pc226:cmChg>
            <pc226:cmChg xmlns:pc226="http://schemas.microsoft.com/office/powerpoint/2022/06/main/command" chg="del">
              <pc226:chgData name="Annemarija Apine (LV)" userId="546f5c59-3b8d-47fd-b739-a8fadc631053" providerId="ADAL" clId="{34473802-5904-426F-ADDF-0D0D1B44876C}" dt="2024-03-01T15:06:31.794" v="6507"/>
              <pc2:cmMkLst xmlns:pc2="http://schemas.microsoft.com/office/powerpoint/2019/9/main/command">
                <pc:docMk/>
                <pc:sldMk cId="3615584869" sldId="942"/>
                <pc2:cmMk id="{95D95929-8F19-456F-84F1-8C2DE5D8AD99}"/>
              </pc2:cmMkLst>
            </pc226:cmChg>
            <pc226:cmChg xmlns:pc226="http://schemas.microsoft.com/office/powerpoint/2022/06/main/command" chg="mod">
              <pc226:chgData name="Annemarija Apine (LV)" userId="546f5c59-3b8d-47fd-b739-a8fadc631053" providerId="ADAL" clId="{34473802-5904-426F-ADDF-0D0D1B44876C}" dt="2024-03-01T15:09:24.198" v="6551"/>
              <pc2:cmMkLst xmlns:pc2="http://schemas.microsoft.com/office/powerpoint/2019/9/main/command">
                <pc:docMk/>
                <pc:sldMk cId="3615584869" sldId="942"/>
                <pc2:cmMk id="{096D112C-449F-4189-90D1-E6E5D7CBF081}"/>
              </pc2:cmMkLst>
              <pc226:cmRplyChg chg="add">
                <pc226:chgData name="Annemarija Apine (LV)" userId="546f5c59-3b8d-47fd-b739-a8fadc631053" providerId="ADAL" clId="{34473802-5904-426F-ADDF-0D0D1B44876C}" dt="2024-03-01T15:09:24.198" v="6551"/>
                <pc2:cmRplyMkLst xmlns:pc2="http://schemas.microsoft.com/office/powerpoint/2019/9/main/command">
                  <pc:docMk/>
                  <pc:sldMk cId="3615584869" sldId="942"/>
                  <pc2:cmMk id="{096D112C-449F-4189-90D1-E6E5D7CBF081}"/>
                  <pc2:cmRplyMk id="{F9621DAD-56BB-4DB9-A74E-BE3CC5D20361}"/>
                </pc2:cmRplyMkLst>
              </pc226:cmRplyChg>
            </pc226:cmChg>
            <pc226:cmChg xmlns:pc226="http://schemas.microsoft.com/office/powerpoint/2022/06/main/command" chg="del">
              <pc226:chgData name="Annemarija Apine (LV)" userId="546f5c59-3b8d-47fd-b739-a8fadc631053" providerId="ADAL" clId="{34473802-5904-426F-ADDF-0D0D1B44876C}" dt="2024-03-01T15:06:33.691" v="6508"/>
              <pc2:cmMkLst xmlns:pc2="http://schemas.microsoft.com/office/powerpoint/2019/9/main/command">
                <pc:docMk/>
                <pc:sldMk cId="3615584869" sldId="942"/>
                <pc2:cmMk id="{DFFB6158-F66F-40EF-9A12-6B0D7A51FCC5}"/>
              </pc2:cmMkLst>
            </pc226:cmChg>
            <pc226:cmChg xmlns:pc226="http://schemas.microsoft.com/office/powerpoint/2022/06/main/command" chg="add">
              <pc226:chgData name="Annemarija Apine (LV)" userId="546f5c59-3b8d-47fd-b739-a8fadc631053" providerId="ADAL" clId="{34473802-5904-426F-ADDF-0D0D1B44876C}" dt="2024-03-01T15:08:24.216" v="6533"/>
              <pc2:cmMkLst xmlns:pc2="http://schemas.microsoft.com/office/powerpoint/2019/9/main/command">
                <pc:docMk/>
                <pc:sldMk cId="3615584869" sldId="942"/>
                <pc2:cmMk id="{C59F5F95-7CF3-471D-B137-CACBBEBB3858}"/>
              </pc2:cmMkLst>
            </pc226:cmChg>
          </p:ext>
        </pc:extLst>
      </pc:sldChg>
      <pc:sldChg chg="addSp delSp modSp add mod addCm delCm modNotesTx">
        <pc:chgData name="Annemarija Apine (LV)" userId="546f5c59-3b8d-47fd-b739-a8fadc631053" providerId="ADAL" clId="{34473802-5904-426F-ADDF-0D0D1B44876C}" dt="2024-03-10T23:49:16.492" v="10012" actId="1076"/>
        <pc:sldMkLst>
          <pc:docMk/>
          <pc:sldMk cId="256155706" sldId="943"/>
        </pc:sldMkLst>
        <pc:spChg chg="del">
          <ac:chgData name="Annemarija Apine (LV)" userId="546f5c59-3b8d-47fd-b739-a8fadc631053" providerId="ADAL" clId="{34473802-5904-426F-ADDF-0D0D1B44876C}" dt="2024-03-01T15:18:05.621" v="6676" actId="478"/>
          <ac:spMkLst>
            <pc:docMk/>
            <pc:sldMk cId="256155706" sldId="943"/>
            <ac:spMk id="2" creationId="{6CA1ECBA-9098-2617-476E-BB53C42ACEE3}"/>
          </ac:spMkLst>
        </pc:spChg>
        <pc:spChg chg="mod">
          <ac:chgData name="Annemarija Apine (LV)" userId="546f5c59-3b8d-47fd-b739-a8fadc631053" providerId="ADAL" clId="{34473802-5904-426F-ADDF-0D0D1B44876C}" dt="2024-03-01T15:17:33.006" v="6644" actId="20577"/>
          <ac:spMkLst>
            <pc:docMk/>
            <pc:sldMk cId="256155706" sldId="943"/>
            <ac:spMk id="3" creationId="{F4CCF02E-F3C4-C376-8F56-61BD85A2E74B}"/>
          </ac:spMkLst>
        </pc:spChg>
        <pc:spChg chg="ord">
          <ac:chgData name="Annemarija Apine (LV)" userId="546f5c59-3b8d-47fd-b739-a8fadc631053" providerId="ADAL" clId="{34473802-5904-426F-ADDF-0D0D1B44876C}" dt="2024-03-10T23:49:14.640" v="10011" actId="166"/>
          <ac:spMkLst>
            <pc:docMk/>
            <pc:sldMk cId="256155706" sldId="943"/>
            <ac:spMk id="6" creationId="{898887DF-9190-F283-B120-8AE08B7645FA}"/>
          </ac:spMkLst>
        </pc:spChg>
        <pc:spChg chg="add mod">
          <ac:chgData name="Annemarija Apine (LV)" userId="546f5c59-3b8d-47fd-b739-a8fadc631053" providerId="ADAL" clId="{34473802-5904-426F-ADDF-0D0D1B44876C}" dt="2024-03-01T15:18:18.939" v="6680" actId="1076"/>
          <ac:spMkLst>
            <pc:docMk/>
            <pc:sldMk cId="256155706" sldId="943"/>
            <ac:spMk id="8" creationId="{8F84A1C1-A3B2-78F7-2F05-EA937E442831}"/>
          </ac:spMkLst>
        </pc:spChg>
        <pc:spChg chg="mod">
          <ac:chgData name="Annemarija Apine (LV)" userId="546f5c59-3b8d-47fd-b739-a8fadc631053" providerId="ADAL" clId="{34473802-5904-426F-ADDF-0D0D1B44876C}" dt="2024-03-10T23:49:16.492" v="10012" actId="1076"/>
          <ac:spMkLst>
            <pc:docMk/>
            <pc:sldMk cId="256155706" sldId="943"/>
            <ac:spMk id="10" creationId="{164C9440-3E17-A4DC-F886-2B0A9EA3C538}"/>
          </ac:spMkLst>
        </pc:spChg>
        <pc:spChg chg="mod">
          <ac:chgData name="Annemarija Apine (LV)" userId="546f5c59-3b8d-47fd-b739-a8fadc631053" providerId="ADAL" clId="{34473802-5904-426F-ADDF-0D0D1B44876C}" dt="2024-03-01T15:17:04.485" v="6607" actId="20577"/>
          <ac:spMkLst>
            <pc:docMk/>
            <pc:sldMk cId="256155706" sldId="943"/>
            <ac:spMk id="10" creationId="{6F55AA3F-6103-110B-C367-10711AC49356}"/>
          </ac:spMkLst>
        </pc:spChg>
        <pc:spChg chg="del">
          <ac:chgData name="Annemarija Apine (LV)" userId="546f5c59-3b8d-47fd-b739-a8fadc631053" providerId="ADAL" clId="{34473802-5904-426F-ADDF-0D0D1B44876C}" dt="2024-03-01T15:18:05.621" v="6676" actId="478"/>
          <ac:spMkLst>
            <pc:docMk/>
            <pc:sldMk cId="256155706" sldId="943"/>
            <ac:spMk id="17" creationId="{1B3B2816-7084-FA8B-9573-B5304273EF81}"/>
          </ac:spMkLst>
        </pc:spChg>
        <pc:spChg chg="add del">
          <ac:chgData name="Annemarija Apine (LV)" userId="546f5c59-3b8d-47fd-b739-a8fadc631053" providerId="ADAL" clId="{34473802-5904-426F-ADDF-0D0D1B44876C}" dt="2024-03-01T15:18:39.500" v="6695" actId="22"/>
          <ac:spMkLst>
            <pc:docMk/>
            <pc:sldMk cId="256155706" sldId="943"/>
            <ac:spMk id="18" creationId="{0EE0866D-8805-B469-88A3-B2148DB90845}"/>
          </ac:spMkLst>
        </pc:spChg>
        <pc:spChg chg="add mod">
          <ac:chgData name="Annemarija Apine (LV)" userId="546f5c59-3b8d-47fd-b739-a8fadc631053" providerId="ADAL" clId="{34473802-5904-426F-ADDF-0D0D1B44876C}" dt="2024-03-01T15:57:41.480" v="7148" actId="20577"/>
          <ac:spMkLst>
            <pc:docMk/>
            <pc:sldMk cId="256155706" sldId="943"/>
            <ac:spMk id="19" creationId="{6540A5E1-A41A-D662-410E-E26837FEC171}"/>
          </ac:spMkLst>
        </pc:spChg>
        <pc:spChg chg="del">
          <ac:chgData name="Annemarija Apine (LV)" userId="546f5c59-3b8d-47fd-b739-a8fadc631053" providerId="ADAL" clId="{34473802-5904-426F-ADDF-0D0D1B44876C}" dt="2024-03-01T15:18:05.621" v="6676" actId="478"/>
          <ac:spMkLst>
            <pc:docMk/>
            <pc:sldMk cId="256155706" sldId="943"/>
            <ac:spMk id="21" creationId="{78DC1799-6B68-492D-BBE0-D7BECB3D58E6}"/>
          </ac:spMkLst>
        </pc:spChg>
        <pc:spChg chg="del">
          <ac:chgData name="Annemarija Apine (LV)" userId="546f5c59-3b8d-47fd-b739-a8fadc631053" providerId="ADAL" clId="{34473802-5904-426F-ADDF-0D0D1B44876C}" dt="2024-03-01T15:18:05.621" v="6676" actId="478"/>
          <ac:spMkLst>
            <pc:docMk/>
            <pc:sldMk cId="256155706" sldId="943"/>
            <ac:spMk id="23" creationId="{AF01EC8D-5F48-32D6-594A-E45D62E76E38}"/>
          </ac:spMkLst>
        </pc:spChg>
        <pc:spChg chg="mod">
          <ac:chgData name="Annemarija Apine (LV)" userId="546f5c59-3b8d-47fd-b739-a8fadc631053" providerId="ADAL" clId="{34473802-5904-426F-ADDF-0D0D1B44876C}" dt="2024-03-01T15:18:30.517" v="6689" actId="20577"/>
          <ac:spMkLst>
            <pc:docMk/>
            <pc:sldMk cId="256155706" sldId="943"/>
            <ac:spMk id="25" creationId="{2B261BF4-92C6-462D-AA95-793AE54DD688}"/>
          </ac:spMkLst>
        </pc:spChg>
        <pc:spChg chg="del">
          <ac:chgData name="Annemarija Apine (LV)" userId="546f5c59-3b8d-47fd-b739-a8fadc631053" providerId="ADAL" clId="{34473802-5904-426F-ADDF-0D0D1B44876C}" dt="2024-03-01T15:18:05.621" v="6676" actId="478"/>
          <ac:spMkLst>
            <pc:docMk/>
            <pc:sldMk cId="256155706" sldId="943"/>
            <ac:spMk id="36" creationId="{B685A229-84EC-B93B-3F43-6BFE2BE1F4CA}"/>
          </ac:spMkLst>
        </pc:spChg>
        <pc:spChg chg="del">
          <ac:chgData name="Annemarija Apine (LV)" userId="546f5c59-3b8d-47fd-b739-a8fadc631053" providerId="ADAL" clId="{34473802-5904-426F-ADDF-0D0D1B44876C}" dt="2024-03-01T15:18:05.621" v="6676" actId="478"/>
          <ac:spMkLst>
            <pc:docMk/>
            <pc:sldMk cId="256155706" sldId="943"/>
            <ac:spMk id="37" creationId="{9D96FB8A-4DBF-49F0-A6C2-FDA1251682FE}"/>
          </ac:spMkLst>
        </pc:spChg>
        <pc:spChg chg="del">
          <ac:chgData name="Annemarija Apine (LV)" userId="546f5c59-3b8d-47fd-b739-a8fadc631053" providerId="ADAL" clId="{34473802-5904-426F-ADDF-0D0D1B44876C}" dt="2024-03-01T15:18:05.621" v="6676" actId="478"/>
          <ac:spMkLst>
            <pc:docMk/>
            <pc:sldMk cId="256155706" sldId="943"/>
            <ac:spMk id="39" creationId="{E8BDE45B-79CA-CD3A-5214-E24D77B8609C}"/>
          </ac:spMkLst>
        </pc:spChg>
        <pc:spChg chg="del">
          <ac:chgData name="Annemarija Apine (LV)" userId="546f5c59-3b8d-47fd-b739-a8fadc631053" providerId="ADAL" clId="{34473802-5904-426F-ADDF-0D0D1B44876C}" dt="2024-03-01T15:18:05.621" v="6676" actId="478"/>
          <ac:spMkLst>
            <pc:docMk/>
            <pc:sldMk cId="256155706" sldId="943"/>
            <ac:spMk id="40" creationId="{D996275D-295E-F1D0-D67A-44A0A69B4C01}"/>
          </ac:spMkLst>
        </pc:spChg>
        <pc:spChg chg="del">
          <ac:chgData name="Annemarija Apine (LV)" userId="546f5c59-3b8d-47fd-b739-a8fadc631053" providerId="ADAL" clId="{34473802-5904-426F-ADDF-0D0D1B44876C}" dt="2024-03-01T15:18:05.621" v="6676" actId="478"/>
          <ac:spMkLst>
            <pc:docMk/>
            <pc:sldMk cId="256155706" sldId="943"/>
            <ac:spMk id="43" creationId="{45949670-5BCB-C59B-3D24-28AC2A6F87F3}"/>
          </ac:spMkLst>
        </pc:spChg>
        <pc:spChg chg="del">
          <ac:chgData name="Annemarija Apine (LV)" userId="546f5c59-3b8d-47fd-b739-a8fadc631053" providerId="ADAL" clId="{34473802-5904-426F-ADDF-0D0D1B44876C}" dt="2024-03-01T15:18:05.621" v="6676" actId="478"/>
          <ac:spMkLst>
            <pc:docMk/>
            <pc:sldMk cId="256155706" sldId="943"/>
            <ac:spMk id="47" creationId="{53CB8D3C-9648-B17B-BD59-60EED0CCD133}"/>
          </ac:spMkLst>
        </pc:spChg>
        <pc:spChg chg="del">
          <ac:chgData name="Annemarija Apine (LV)" userId="546f5c59-3b8d-47fd-b739-a8fadc631053" providerId="ADAL" clId="{34473802-5904-426F-ADDF-0D0D1B44876C}" dt="2024-03-01T15:18:05.621" v="6676" actId="478"/>
          <ac:spMkLst>
            <pc:docMk/>
            <pc:sldMk cId="256155706" sldId="943"/>
            <ac:spMk id="48" creationId="{9DA2A02A-BBDF-DCC7-18AC-878856D7A5B2}"/>
          </ac:spMkLst>
        </pc:spChg>
        <pc:spChg chg="mod">
          <ac:chgData name="Annemarija Apine (LV)" userId="546f5c59-3b8d-47fd-b739-a8fadc631053" providerId="ADAL" clId="{34473802-5904-426F-ADDF-0D0D1B44876C}" dt="2024-03-01T15:17:58.653" v="6675" actId="20577"/>
          <ac:spMkLst>
            <pc:docMk/>
            <pc:sldMk cId="256155706" sldId="943"/>
            <ac:spMk id="51" creationId="{AFEB1935-0849-FFDB-14A2-768E555E2F79}"/>
          </ac:spMkLst>
        </pc:spChg>
        <pc:spChg chg="del">
          <ac:chgData name="Annemarija Apine (LV)" userId="546f5c59-3b8d-47fd-b739-a8fadc631053" providerId="ADAL" clId="{34473802-5904-426F-ADDF-0D0D1B44876C}" dt="2024-03-01T15:18:05.621" v="6676" actId="478"/>
          <ac:spMkLst>
            <pc:docMk/>
            <pc:sldMk cId="256155706" sldId="943"/>
            <ac:spMk id="61" creationId="{2A14CA01-2350-21C6-16E6-E9CEAF43B441}"/>
          </ac:spMkLst>
        </pc:spChg>
        <pc:spChg chg="del">
          <ac:chgData name="Annemarija Apine (LV)" userId="546f5c59-3b8d-47fd-b739-a8fadc631053" providerId="ADAL" clId="{34473802-5904-426F-ADDF-0D0D1B44876C}" dt="2024-03-01T15:18:05.621" v="6676" actId="478"/>
          <ac:spMkLst>
            <pc:docMk/>
            <pc:sldMk cId="256155706" sldId="943"/>
            <ac:spMk id="64" creationId="{19794A8F-A922-1A21-17E6-1B4B21C8F596}"/>
          </ac:spMkLst>
        </pc:spChg>
        <pc:spChg chg="del">
          <ac:chgData name="Annemarija Apine (LV)" userId="546f5c59-3b8d-47fd-b739-a8fadc631053" providerId="ADAL" clId="{34473802-5904-426F-ADDF-0D0D1B44876C}" dt="2024-03-01T15:18:05.621" v="6676" actId="478"/>
          <ac:spMkLst>
            <pc:docMk/>
            <pc:sldMk cId="256155706" sldId="943"/>
            <ac:spMk id="67" creationId="{173D6274-53F8-0DD4-4E9A-1018104D2DCB}"/>
          </ac:spMkLst>
        </pc:spChg>
        <pc:spChg chg="del">
          <ac:chgData name="Annemarija Apine (LV)" userId="546f5c59-3b8d-47fd-b739-a8fadc631053" providerId="ADAL" clId="{34473802-5904-426F-ADDF-0D0D1B44876C}" dt="2024-03-01T15:18:05.621" v="6676" actId="478"/>
          <ac:spMkLst>
            <pc:docMk/>
            <pc:sldMk cId="256155706" sldId="943"/>
            <ac:spMk id="70" creationId="{8E071A3F-2B5A-7CD2-907D-0A46168AC360}"/>
          </ac:spMkLst>
        </pc:spChg>
        <pc:spChg chg="del">
          <ac:chgData name="Annemarija Apine (LV)" userId="546f5c59-3b8d-47fd-b739-a8fadc631053" providerId="ADAL" clId="{34473802-5904-426F-ADDF-0D0D1B44876C}" dt="2024-03-01T15:18:05.621" v="6676" actId="478"/>
          <ac:spMkLst>
            <pc:docMk/>
            <pc:sldMk cId="256155706" sldId="943"/>
            <ac:spMk id="73" creationId="{F861E25B-F987-831A-A602-44A1BC3C9C06}"/>
          </ac:spMkLst>
        </pc:spChg>
        <pc:spChg chg="del">
          <ac:chgData name="Annemarija Apine (LV)" userId="546f5c59-3b8d-47fd-b739-a8fadc631053" providerId="ADAL" clId="{34473802-5904-426F-ADDF-0D0D1B44876C}" dt="2024-03-01T15:18:05.621" v="6676" actId="478"/>
          <ac:spMkLst>
            <pc:docMk/>
            <pc:sldMk cId="256155706" sldId="943"/>
            <ac:spMk id="76" creationId="{48C1CD32-80B1-493D-9426-7B73B4755484}"/>
          </ac:spMkLst>
        </pc:spChg>
        <pc:spChg chg="del">
          <ac:chgData name="Annemarija Apine (LV)" userId="546f5c59-3b8d-47fd-b739-a8fadc631053" providerId="ADAL" clId="{34473802-5904-426F-ADDF-0D0D1B44876C}" dt="2024-03-01T15:18:05.621" v="6676" actId="478"/>
          <ac:spMkLst>
            <pc:docMk/>
            <pc:sldMk cId="256155706" sldId="943"/>
            <ac:spMk id="79" creationId="{84ACD26B-9585-F3C8-8179-0329BA741C8A}"/>
          </ac:spMkLst>
        </pc:spChg>
        <pc:spChg chg="del">
          <ac:chgData name="Annemarija Apine (LV)" userId="546f5c59-3b8d-47fd-b739-a8fadc631053" providerId="ADAL" clId="{34473802-5904-426F-ADDF-0D0D1B44876C}" dt="2024-03-01T15:18:05.621" v="6676" actId="478"/>
          <ac:spMkLst>
            <pc:docMk/>
            <pc:sldMk cId="256155706" sldId="943"/>
            <ac:spMk id="100" creationId="{6196419E-02BA-D21D-1546-F1EC7C2A2D38}"/>
          </ac:spMkLst>
        </pc:spChg>
        <pc:spChg chg="del">
          <ac:chgData name="Annemarija Apine (LV)" userId="546f5c59-3b8d-47fd-b739-a8fadc631053" providerId="ADAL" clId="{34473802-5904-426F-ADDF-0D0D1B44876C}" dt="2024-03-01T15:18:05.621" v="6676" actId="478"/>
          <ac:spMkLst>
            <pc:docMk/>
            <pc:sldMk cId="256155706" sldId="943"/>
            <ac:spMk id="101" creationId="{9ECA4B5E-E4A7-485E-4742-A7A24FB938CD}"/>
          </ac:spMkLst>
        </pc:spChg>
        <pc:spChg chg="del">
          <ac:chgData name="Annemarija Apine (LV)" userId="546f5c59-3b8d-47fd-b739-a8fadc631053" providerId="ADAL" clId="{34473802-5904-426F-ADDF-0D0D1B44876C}" dt="2024-03-01T15:18:05.621" v="6676" actId="478"/>
          <ac:spMkLst>
            <pc:docMk/>
            <pc:sldMk cId="256155706" sldId="943"/>
            <ac:spMk id="102" creationId="{6C2839D0-72C0-7347-1A1F-A4C976165D3B}"/>
          </ac:spMkLst>
        </pc:spChg>
        <pc:spChg chg="del">
          <ac:chgData name="Annemarija Apine (LV)" userId="546f5c59-3b8d-47fd-b739-a8fadc631053" providerId="ADAL" clId="{34473802-5904-426F-ADDF-0D0D1B44876C}" dt="2024-03-01T15:18:05.621" v="6676" actId="478"/>
          <ac:spMkLst>
            <pc:docMk/>
            <pc:sldMk cId="256155706" sldId="943"/>
            <ac:spMk id="103" creationId="{20162A1E-1272-A65F-9743-08A1C56CDD8F}"/>
          </ac:spMkLst>
        </pc:spChg>
        <pc:spChg chg="del">
          <ac:chgData name="Annemarija Apine (LV)" userId="546f5c59-3b8d-47fd-b739-a8fadc631053" providerId="ADAL" clId="{34473802-5904-426F-ADDF-0D0D1B44876C}" dt="2024-03-01T15:18:05.621" v="6676" actId="478"/>
          <ac:spMkLst>
            <pc:docMk/>
            <pc:sldMk cId="256155706" sldId="943"/>
            <ac:spMk id="104" creationId="{C489AEBB-7FB2-EC1A-2DC3-18B08D331418}"/>
          </ac:spMkLst>
        </pc:spChg>
        <pc:spChg chg="del">
          <ac:chgData name="Annemarija Apine (LV)" userId="546f5c59-3b8d-47fd-b739-a8fadc631053" providerId="ADAL" clId="{34473802-5904-426F-ADDF-0D0D1B44876C}" dt="2024-03-01T15:18:05.621" v="6676" actId="478"/>
          <ac:spMkLst>
            <pc:docMk/>
            <pc:sldMk cId="256155706" sldId="943"/>
            <ac:spMk id="107" creationId="{5E4C4BD5-129E-6AAF-672B-2CE5A9EA1809}"/>
          </ac:spMkLst>
        </pc:spChg>
        <pc:spChg chg="del">
          <ac:chgData name="Annemarija Apine (LV)" userId="546f5c59-3b8d-47fd-b739-a8fadc631053" providerId="ADAL" clId="{34473802-5904-426F-ADDF-0D0D1B44876C}" dt="2024-03-01T15:18:05.621" v="6676" actId="478"/>
          <ac:spMkLst>
            <pc:docMk/>
            <pc:sldMk cId="256155706" sldId="943"/>
            <ac:spMk id="108" creationId="{374ED229-16EB-16FE-4EEB-6C75D32758A7}"/>
          </ac:spMkLst>
        </pc:spChg>
        <pc:cxnChg chg="del">
          <ac:chgData name="Annemarija Apine (LV)" userId="546f5c59-3b8d-47fd-b739-a8fadc631053" providerId="ADAL" clId="{34473802-5904-426F-ADDF-0D0D1B44876C}" dt="2024-03-01T15:18:05.621" v="6676" actId="478"/>
          <ac:cxnSpMkLst>
            <pc:docMk/>
            <pc:sldMk cId="256155706" sldId="943"/>
            <ac:cxnSpMk id="6" creationId="{B3733624-6466-BD41-3C49-71F64E87C523}"/>
          </ac:cxnSpMkLst>
        </pc:cxnChg>
        <pc:cxnChg chg="del">
          <ac:chgData name="Annemarija Apine (LV)" userId="546f5c59-3b8d-47fd-b739-a8fadc631053" providerId="ADAL" clId="{34473802-5904-426F-ADDF-0D0D1B44876C}" dt="2024-03-01T15:18:05.621" v="6676" actId="478"/>
          <ac:cxnSpMkLst>
            <pc:docMk/>
            <pc:sldMk cId="256155706" sldId="943"/>
            <ac:cxnSpMk id="7" creationId="{5A2159BA-60F1-B7B5-DA22-2E5D2C4A8574}"/>
          </ac:cxnSpMkLst>
        </pc:cxnChg>
        <pc:cxnChg chg="del">
          <ac:chgData name="Annemarija Apine (LV)" userId="546f5c59-3b8d-47fd-b739-a8fadc631053" providerId="ADAL" clId="{34473802-5904-426F-ADDF-0D0D1B44876C}" dt="2024-03-01T15:18:05.621" v="6676" actId="478"/>
          <ac:cxnSpMkLst>
            <pc:docMk/>
            <pc:sldMk cId="256155706" sldId="943"/>
            <ac:cxnSpMk id="9" creationId="{CBCFB46D-F848-5D86-81ED-08C2DDBD6018}"/>
          </ac:cxnSpMkLst>
        </pc:cxnChg>
        <pc:cxnChg chg="del">
          <ac:chgData name="Annemarija Apine (LV)" userId="546f5c59-3b8d-47fd-b739-a8fadc631053" providerId="ADAL" clId="{34473802-5904-426F-ADDF-0D0D1B44876C}" dt="2024-03-01T15:18:05.621" v="6676" actId="478"/>
          <ac:cxnSpMkLst>
            <pc:docMk/>
            <pc:sldMk cId="256155706" sldId="943"/>
            <ac:cxnSpMk id="11" creationId="{A04A74A1-0026-74F8-2A50-1E9075544CF3}"/>
          </ac:cxnSpMkLst>
        </pc:cxnChg>
        <pc:cxnChg chg="del">
          <ac:chgData name="Annemarija Apine (LV)" userId="546f5c59-3b8d-47fd-b739-a8fadc631053" providerId="ADAL" clId="{34473802-5904-426F-ADDF-0D0D1B44876C}" dt="2024-03-01T15:18:05.621" v="6676" actId="478"/>
          <ac:cxnSpMkLst>
            <pc:docMk/>
            <pc:sldMk cId="256155706" sldId="943"/>
            <ac:cxnSpMk id="13" creationId="{CB152EF5-0E28-D564-BA70-371799026C17}"/>
          </ac:cxnSpMkLst>
        </pc:cxnChg>
        <pc:cxnChg chg="del">
          <ac:chgData name="Annemarija Apine (LV)" userId="546f5c59-3b8d-47fd-b739-a8fadc631053" providerId="ADAL" clId="{34473802-5904-426F-ADDF-0D0D1B44876C}" dt="2024-03-01T15:18:05.621" v="6676" actId="478"/>
          <ac:cxnSpMkLst>
            <pc:docMk/>
            <pc:sldMk cId="256155706" sldId="943"/>
            <ac:cxnSpMk id="14" creationId="{FEF121C9-BA2C-579A-87E4-3935103FF4BC}"/>
          </ac:cxnSpMkLst>
        </pc:cxnChg>
        <pc:cxnChg chg="del">
          <ac:chgData name="Annemarija Apine (LV)" userId="546f5c59-3b8d-47fd-b739-a8fadc631053" providerId="ADAL" clId="{34473802-5904-426F-ADDF-0D0D1B44876C}" dt="2024-03-01T15:18:05.621" v="6676" actId="478"/>
          <ac:cxnSpMkLst>
            <pc:docMk/>
            <pc:sldMk cId="256155706" sldId="943"/>
            <ac:cxnSpMk id="15" creationId="{3DE31210-26C3-2A63-15ED-FE32524A997D}"/>
          </ac:cxnSpMkLst>
        </pc:cxnChg>
        <pc:cxnChg chg="del mod">
          <ac:chgData name="Annemarija Apine (LV)" userId="546f5c59-3b8d-47fd-b739-a8fadc631053" providerId="ADAL" clId="{34473802-5904-426F-ADDF-0D0D1B44876C}" dt="2024-03-01T15:18:05.621" v="6676" actId="478"/>
          <ac:cxnSpMkLst>
            <pc:docMk/>
            <pc:sldMk cId="256155706" sldId="943"/>
            <ac:cxnSpMk id="20" creationId="{2864A4FB-5A6B-6282-1ED3-79348932303D}"/>
          </ac:cxnSpMkLst>
        </pc:cxnChg>
        <pc:extLst>
          <p:ext xmlns:p="http://schemas.openxmlformats.org/presentationml/2006/main" uri="{D6D511B9-2390-475A-947B-AFAB55BFBCF1}">
            <pc226:cmChg xmlns:pc226="http://schemas.microsoft.com/office/powerpoint/2022/06/main/command" chg="add del">
              <pc226:chgData name="Annemarija Apine (LV)" userId="546f5c59-3b8d-47fd-b739-a8fadc631053" providerId="ADAL" clId="{34473802-5904-426F-ADDF-0D0D1B44876C}" dt="2024-03-01T15:57:19.787" v="7053"/>
              <pc2:cmMkLst xmlns:pc2="http://schemas.microsoft.com/office/powerpoint/2019/9/main/command">
                <pc:docMk/>
                <pc:sldMk cId="256155706" sldId="943"/>
                <pc2:cmMk id="{5B55F156-74AF-4E13-8B19-DC04C2D817F4}"/>
              </pc2:cmMkLst>
            </pc226:cmChg>
            <pc226:cmChg xmlns:pc226="http://schemas.microsoft.com/office/powerpoint/2022/06/main/command" chg="add del">
              <pc226:chgData name="Annemarija Apine (LV)" userId="546f5c59-3b8d-47fd-b739-a8fadc631053" providerId="ADAL" clId="{34473802-5904-426F-ADDF-0D0D1B44876C}" dt="2024-03-01T15:57:20.728" v="7054"/>
              <pc2:cmMkLst xmlns:pc2="http://schemas.microsoft.com/office/powerpoint/2019/9/main/command">
                <pc:docMk/>
                <pc:sldMk cId="256155706" sldId="943"/>
                <pc2:cmMk id="{B00548AB-3AD4-4241-A2D9-9B34C9A635EF}"/>
              </pc2:cmMkLst>
            </pc226:cmChg>
            <pc226:cmChg xmlns:pc226="http://schemas.microsoft.com/office/powerpoint/2022/06/main/command" chg="add">
              <pc226:chgData name="Annemarija Apine (LV)" userId="546f5c59-3b8d-47fd-b739-a8fadc631053" providerId="ADAL" clId="{34473802-5904-426F-ADDF-0D0D1B44876C}" dt="2024-03-08T12:28:22.391" v="9156"/>
              <pc2:cmMkLst xmlns:pc2="http://schemas.microsoft.com/office/powerpoint/2019/9/main/command">
                <pc:docMk/>
                <pc:sldMk cId="256155706" sldId="943"/>
                <pc2:cmMk id="{C9ACB5CE-8196-4FDD-9B0B-DF019600B170}"/>
              </pc2:cmMkLst>
            </pc226:cmChg>
          </p:ext>
        </pc:extLst>
      </pc:sldChg>
      <pc:sldChg chg="delSp modSp add mod addCm modNotesTx">
        <pc:chgData name="Annemarija Apine (LV)" userId="546f5c59-3b8d-47fd-b739-a8fadc631053" providerId="ADAL" clId="{34473802-5904-426F-ADDF-0D0D1B44876C}" dt="2024-03-08T12:28:28.215" v="9159"/>
        <pc:sldMkLst>
          <pc:docMk/>
          <pc:sldMk cId="2143110826" sldId="944"/>
        </pc:sldMkLst>
        <pc:spChg chg="mod">
          <ac:chgData name="Annemarija Apine (LV)" userId="546f5c59-3b8d-47fd-b739-a8fadc631053" providerId="ADAL" clId="{34473802-5904-426F-ADDF-0D0D1B44876C}" dt="2024-03-01T15:33:02.118" v="6759" actId="20577"/>
          <ac:spMkLst>
            <pc:docMk/>
            <pc:sldMk cId="2143110826" sldId="944"/>
            <ac:spMk id="3" creationId="{F4CCF02E-F3C4-C376-8F56-61BD85A2E74B}"/>
          </ac:spMkLst>
        </pc:spChg>
        <pc:spChg chg="mod">
          <ac:chgData name="Annemarija Apine (LV)" userId="546f5c59-3b8d-47fd-b739-a8fadc631053" providerId="ADAL" clId="{34473802-5904-426F-ADDF-0D0D1B44876C}" dt="2024-03-01T15:33:40.483" v="6778" actId="20577"/>
          <ac:spMkLst>
            <pc:docMk/>
            <pc:sldMk cId="2143110826" sldId="944"/>
            <ac:spMk id="8" creationId="{8F84A1C1-A3B2-78F7-2F05-EA937E442831}"/>
          </ac:spMkLst>
        </pc:spChg>
        <pc:spChg chg="mod">
          <ac:chgData name="Annemarija Apine (LV)" userId="546f5c59-3b8d-47fd-b739-a8fadc631053" providerId="ADAL" clId="{34473802-5904-426F-ADDF-0D0D1B44876C}" dt="2024-03-01T15:33:58.073" v="6787" actId="20577"/>
          <ac:spMkLst>
            <pc:docMk/>
            <pc:sldMk cId="2143110826" sldId="944"/>
            <ac:spMk id="25" creationId="{2B261BF4-92C6-462D-AA95-793AE54DD688}"/>
          </ac:spMkLst>
        </pc:spChg>
        <pc:spChg chg="del">
          <ac:chgData name="Annemarija Apine (LV)" userId="546f5c59-3b8d-47fd-b739-a8fadc631053" providerId="ADAL" clId="{34473802-5904-426F-ADDF-0D0D1B44876C}" dt="2024-03-01T15:32:44.436" v="6724" actId="478"/>
          <ac:spMkLst>
            <pc:docMk/>
            <pc:sldMk cId="2143110826" sldId="944"/>
            <ac:spMk id="50" creationId="{0130363F-7CE7-F3D0-4AB5-F295FAC2DCBC}"/>
          </ac:spMkLst>
        </pc:spChg>
        <pc:spChg chg="del mod">
          <ac:chgData name="Annemarija Apine (LV)" userId="546f5c59-3b8d-47fd-b739-a8fadc631053" providerId="ADAL" clId="{34473802-5904-426F-ADDF-0D0D1B44876C}" dt="2024-03-01T15:32:47.034" v="6728" actId="478"/>
          <ac:spMkLst>
            <pc:docMk/>
            <pc:sldMk cId="2143110826" sldId="944"/>
            <ac:spMk id="51" creationId="{AFEB1935-0849-FFDB-14A2-768E555E2F79}"/>
          </ac:spMkLst>
        </pc:spChg>
        <pc:spChg chg="del">
          <ac:chgData name="Annemarija Apine (LV)" userId="546f5c59-3b8d-47fd-b739-a8fadc631053" providerId="ADAL" clId="{34473802-5904-426F-ADDF-0D0D1B44876C}" dt="2024-03-01T15:32:45.371" v="6725" actId="478"/>
          <ac:spMkLst>
            <pc:docMk/>
            <pc:sldMk cId="2143110826" sldId="944"/>
            <ac:spMk id="52" creationId="{C28EBB85-E5E0-FA58-8077-AD15508F23C6}"/>
          </ac:spMkLst>
        </pc:spChg>
        <pc:cxnChg chg="del">
          <ac:chgData name="Annemarija Apine (LV)" userId="546f5c59-3b8d-47fd-b739-a8fadc631053" providerId="ADAL" clId="{34473802-5904-426F-ADDF-0D0D1B44876C}" dt="2024-03-01T15:32:46.468" v="6727" actId="478"/>
          <ac:cxnSpMkLst>
            <pc:docMk/>
            <pc:sldMk cId="2143110826" sldId="944"/>
            <ac:cxnSpMk id="53" creationId="{F358E754-064A-5B8C-B2FC-4E612BA07893}"/>
          </ac:cxnSpMkLst>
        </pc:cxn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8T12:28:28.215" v="9159"/>
              <pc2:cmMkLst xmlns:pc2="http://schemas.microsoft.com/office/powerpoint/2019/9/main/command">
                <pc:docMk/>
                <pc:sldMk cId="2143110826" sldId="944"/>
                <pc2:cmMk id="{00F64B62-8E67-4267-B90E-8D01A894BC1C}"/>
              </pc2:cmMkLst>
            </pc226:cmChg>
            <pc226:cmChg xmlns:pc226="http://schemas.microsoft.com/office/powerpoint/2022/06/main/command" chg="add">
              <pc226:chgData name="Annemarija Apine (LV)" userId="546f5c59-3b8d-47fd-b739-a8fadc631053" providerId="ADAL" clId="{34473802-5904-426F-ADDF-0D0D1B44876C}" dt="2024-03-01T15:33:23.999" v="6763"/>
              <pc2:cmMkLst xmlns:pc2="http://schemas.microsoft.com/office/powerpoint/2019/9/main/command">
                <pc:docMk/>
                <pc:sldMk cId="2143110826" sldId="944"/>
                <pc2:cmMk id="{E4E4028E-C444-4B9A-9707-A02A265366EC}"/>
              </pc2:cmMkLst>
            </pc226:cmChg>
          </p:ext>
        </pc:extLst>
      </pc:sldChg>
      <pc:sldChg chg="modSp add mod addCm modCm modNotesTx">
        <pc:chgData name="Annemarija Apine (LV)" userId="546f5c59-3b8d-47fd-b739-a8fadc631053" providerId="ADAL" clId="{34473802-5904-426F-ADDF-0D0D1B44876C}" dt="2024-03-08T12:28:35.650" v="9161"/>
        <pc:sldMkLst>
          <pc:docMk/>
          <pc:sldMk cId="2603595337" sldId="945"/>
        </pc:sldMkLst>
        <pc:spChg chg="mod">
          <ac:chgData name="Annemarija Apine (LV)" userId="546f5c59-3b8d-47fd-b739-a8fadc631053" providerId="ADAL" clId="{34473802-5904-426F-ADDF-0D0D1B44876C}" dt="2024-03-01T15:34:46.270" v="6820" actId="20577"/>
          <ac:spMkLst>
            <pc:docMk/>
            <pc:sldMk cId="2603595337" sldId="945"/>
            <ac:spMk id="3" creationId="{F4CCF02E-F3C4-C376-8F56-61BD85A2E74B}"/>
          </ac:spMkLst>
        </pc:spChg>
        <pc:spChg chg="mod">
          <ac:chgData name="Annemarija Apine (LV)" userId="546f5c59-3b8d-47fd-b739-a8fadc631053" providerId="ADAL" clId="{34473802-5904-426F-ADDF-0D0D1B44876C}" dt="2024-03-01T15:34:58.589" v="6831" actId="20577"/>
          <ac:spMkLst>
            <pc:docMk/>
            <pc:sldMk cId="2603595337" sldId="945"/>
            <ac:spMk id="8" creationId="{8F84A1C1-A3B2-78F7-2F05-EA937E442831}"/>
          </ac:spMkLst>
        </pc:spChg>
        <pc:spChg chg="mod">
          <ac:chgData name="Annemarija Apine (LV)" userId="546f5c59-3b8d-47fd-b739-a8fadc631053" providerId="ADAL" clId="{34473802-5904-426F-ADDF-0D0D1B44876C}" dt="2024-03-01T15:35:49.955" v="6846" actId="20577"/>
          <ac:spMkLst>
            <pc:docMk/>
            <pc:sldMk cId="2603595337" sldId="945"/>
            <ac:spMk id="25" creationId="{2B261BF4-92C6-462D-AA95-793AE54DD688}"/>
          </ac:spMkLst>
        </pc:s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8T12:28:35.650" v="9161"/>
              <pc2:cmMkLst xmlns:pc2="http://schemas.microsoft.com/office/powerpoint/2019/9/main/command">
                <pc:docMk/>
                <pc:sldMk cId="2603595337" sldId="945"/>
                <pc2:cmMk id="{F3323D1F-DC8E-4C7E-A8C9-D860FBBA9998}"/>
              </pc2:cmMkLst>
            </pc226:cmChg>
            <pc226:cmChg xmlns:pc226="http://schemas.microsoft.com/office/powerpoint/2022/06/main/command" chg="mod">
              <pc226:chgData name="Annemarija Apine (LV)" userId="546f5c59-3b8d-47fd-b739-a8fadc631053" providerId="ADAL" clId="{34473802-5904-426F-ADDF-0D0D1B44876C}" dt="2024-03-01T15:34:30.298" v="6790"/>
              <pc2:cmMkLst xmlns:pc2="http://schemas.microsoft.com/office/powerpoint/2019/9/main/command">
                <pc:docMk/>
                <pc:sldMk cId="2603595337" sldId="945"/>
                <pc2:cmMk id="{D31A62EF-F815-4755-9A6E-9B7E3FAD370D}"/>
              </pc2:cmMkLst>
            </pc226:cmChg>
          </p:ext>
        </pc:extLst>
      </pc:sldChg>
      <pc:sldChg chg="addSp delSp modSp add mod addCm delCm modNotesTx">
        <pc:chgData name="Annemarija Apine (LV)" userId="546f5c59-3b8d-47fd-b739-a8fadc631053" providerId="ADAL" clId="{34473802-5904-426F-ADDF-0D0D1B44876C}" dt="2024-03-10T23:51:53.023" v="10058"/>
        <pc:sldMkLst>
          <pc:docMk/>
          <pc:sldMk cId="3488828484" sldId="946"/>
        </pc:sldMkLst>
        <pc:spChg chg="del mod">
          <ac:chgData name="Annemarija Apine (LV)" userId="546f5c59-3b8d-47fd-b739-a8fadc631053" providerId="ADAL" clId="{34473802-5904-426F-ADDF-0D0D1B44876C}" dt="2024-03-01T15:56:51.039" v="7041" actId="478"/>
          <ac:spMkLst>
            <pc:docMk/>
            <pc:sldMk cId="3488828484" sldId="946"/>
            <ac:spMk id="2" creationId="{6CA1ECBA-9098-2617-476E-BB53C42ACEE3}"/>
          </ac:spMkLst>
        </pc:spChg>
        <pc:spChg chg="mod">
          <ac:chgData name="Annemarija Apine (LV)" userId="546f5c59-3b8d-47fd-b739-a8fadc631053" providerId="ADAL" clId="{34473802-5904-426F-ADDF-0D0D1B44876C}" dt="2024-03-01T15:54:38.220" v="6962" actId="20577"/>
          <ac:spMkLst>
            <pc:docMk/>
            <pc:sldMk cId="3488828484" sldId="946"/>
            <ac:spMk id="3" creationId="{F4CCF02E-F3C4-C376-8F56-61BD85A2E74B}"/>
          </ac:spMkLst>
        </pc:spChg>
        <pc:spChg chg="add del mod">
          <ac:chgData name="Annemarija Apine (LV)" userId="546f5c59-3b8d-47fd-b739-a8fadc631053" providerId="ADAL" clId="{34473802-5904-426F-ADDF-0D0D1B44876C}" dt="2024-03-01T15:56:20.432" v="7038"/>
          <ac:spMkLst>
            <pc:docMk/>
            <pc:sldMk cId="3488828484" sldId="946"/>
            <ac:spMk id="5" creationId="{8636D03E-C3FA-9953-9923-FDFD8DF40DE2}"/>
          </ac:spMkLst>
        </pc:spChg>
        <pc:spChg chg="add del mod">
          <ac:chgData name="Annemarija Apine (LV)" userId="546f5c59-3b8d-47fd-b739-a8fadc631053" providerId="ADAL" clId="{34473802-5904-426F-ADDF-0D0D1B44876C}" dt="2024-03-01T15:56:20.432" v="7038"/>
          <ac:spMkLst>
            <pc:docMk/>
            <pc:sldMk cId="3488828484" sldId="946"/>
            <ac:spMk id="8" creationId="{2BBFCF86-207B-8BF6-938E-D970E37D9452}"/>
          </ac:spMkLst>
        </pc:spChg>
        <pc:spChg chg="add del mod">
          <ac:chgData name="Annemarija Apine (LV)" userId="546f5c59-3b8d-47fd-b739-a8fadc631053" providerId="ADAL" clId="{34473802-5904-426F-ADDF-0D0D1B44876C}" dt="2024-03-01T15:56:20.432" v="7038"/>
          <ac:spMkLst>
            <pc:docMk/>
            <pc:sldMk cId="3488828484" sldId="946"/>
            <ac:spMk id="16" creationId="{836373B3-ACAD-2103-A6C0-B0C75A42643C}"/>
          </ac:spMkLst>
        </pc:spChg>
        <pc:spChg chg="del mod">
          <ac:chgData name="Annemarija Apine (LV)" userId="546f5c59-3b8d-47fd-b739-a8fadc631053" providerId="ADAL" clId="{34473802-5904-426F-ADDF-0D0D1B44876C}" dt="2024-03-01T15:56:51.039" v="7041" actId="478"/>
          <ac:spMkLst>
            <pc:docMk/>
            <pc:sldMk cId="3488828484" sldId="946"/>
            <ac:spMk id="17" creationId="{1B3B2816-7084-FA8B-9573-B5304273EF81}"/>
          </ac:spMkLst>
        </pc:spChg>
        <pc:spChg chg="add del mod">
          <ac:chgData name="Annemarija Apine (LV)" userId="546f5c59-3b8d-47fd-b739-a8fadc631053" providerId="ADAL" clId="{34473802-5904-426F-ADDF-0D0D1B44876C}" dt="2024-03-01T15:56:22.620" v="7040"/>
          <ac:spMkLst>
            <pc:docMk/>
            <pc:sldMk cId="3488828484" sldId="946"/>
            <ac:spMk id="18" creationId="{B9835E27-26E7-28B6-C3DD-9E49377086A8}"/>
          </ac:spMkLst>
        </pc:spChg>
        <pc:spChg chg="add del mod">
          <ac:chgData name="Annemarija Apine (LV)" userId="546f5c59-3b8d-47fd-b739-a8fadc631053" providerId="ADAL" clId="{34473802-5904-426F-ADDF-0D0D1B44876C}" dt="2024-03-01T15:56:22.620" v="7040"/>
          <ac:spMkLst>
            <pc:docMk/>
            <pc:sldMk cId="3488828484" sldId="946"/>
            <ac:spMk id="19" creationId="{A6C1D6FC-0F2F-0038-DA65-4ECEDB0FA4A4}"/>
          </ac:spMkLst>
        </pc:spChg>
        <pc:spChg chg="del mod">
          <ac:chgData name="Annemarija Apine (LV)" userId="546f5c59-3b8d-47fd-b739-a8fadc631053" providerId="ADAL" clId="{34473802-5904-426F-ADDF-0D0D1B44876C}" dt="2024-03-01T15:56:51.039" v="7041" actId="478"/>
          <ac:spMkLst>
            <pc:docMk/>
            <pc:sldMk cId="3488828484" sldId="946"/>
            <ac:spMk id="21" creationId="{78DC1799-6B68-492D-BBE0-D7BECB3D58E6}"/>
          </ac:spMkLst>
        </pc:spChg>
        <pc:spChg chg="add del mod">
          <ac:chgData name="Annemarija Apine (LV)" userId="546f5c59-3b8d-47fd-b739-a8fadc631053" providerId="ADAL" clId="{34473802-5904-426F-ADDF-0D0D1B44876C}" dt="2024-03-01T15:56:22.620" v="7040"/>
          <ac:spMkLst>
            <pc:docMk/>
            <pc:sldMk cId="3488828484" sldId="946"/>
            <ac:spMk id="22" creationId="{58B8A8A9-C1F9-FE31-3608-2E8D6A02DBB9}"/>
          </ac:spMkLst>
        </pc:spChg>
        <pc:spChg chg="del mod">
          <ac:chgData name="Annemarija Apine (LV)" userId="546f5c59-3b8d-47fd-b739-a8fadc631053" providerId="ADAL" clId="{34473802-5904-426F-ADDF-0D0D1B44876C}" dt="2024-03-01T15:56:51.039" v="7041" actId="478"/>
          <ac:spMkLst>
            <pc:docMk/>
            <pc:sldMk cId="3488828484" sldId="946"/>
            <ac:spMk id="23" creationId="{AF01EC8D-5F48-32D6-594A-E45D62E76E38}"/>
          </ac:spMkLst>
        </pc:spChg>
        <pc:spChg chg="add del mod">
          <ac:chgData name="Annemarija Apine (LV)" userId="546f5c59-3b8d-47fd-b739-a8fadc631053" providerId="ADAL" clId="{34473802-5904-426F-ADDF-0D0D1B44876C}" dt="2024-03-01T15:56:22.620" v="7040"/>
          <ac:spMkLst>
            <pc:docMk/>
            <pc:sldMk cId="3488828484" sldId="946"/>
            <ac:spMk id="24" creationId="{F6831935-691B-1872-10D5-30CC44770E34}"/>
          </ac:spMkLst>
        </pc:spChg>
        <pc:spChg chg="mod">
          <ac:chgData name="Annemarija Apine (LV)" userId="546f5c59-3b8d-47fd-b739-a8fadc631053" providerId="ADAL" clId="{34473802-5904-426F-ADDF-0D0D1B44876C}" dt="2024-03-10T23:51:40.748" v="10053" actId="20577"/>
          <ac:spMkLst>
            <pc:docMk/>
            <pc:sldMk cId="3488828484" sldId="946"/>
            <ac:spMk id="25" creationId="{2B261BF4-92C6-462D-AA95-793AE54DD688}"/>
          </ac:spMkLst>
        </pc:spChg>
        <pc:spChg chg="mod">
          <ac:chgData name="Annemarija Apine (LV)" userId="546f5c59-3b8d-47fd-b739-a8fadc631053" providerId="ADAL" clId="{34473802-5904-426F-ADDF-0D0D1B44876C}" dt="2024-03-01T15:56:20.144" v="7037" actId="1036"/>
          <ac:spMkLst>
            <pc:docMk/>
            <pc:sldMk cId="3488828484" sldId="946"/>
            <ac:spMk id="26" creationId="{5EC1F9AE-82A4-85FE-592B-EF659F76F7EC}"/>
          </ac:spMkLst>
        </pc:spChg>
        <pc:spChg chg="mod">
          <ac:chgData name="Annemarija Apine (LV)" userId="546f5c59-3b8d-47fd-b739-a8fadc631053" providerId="ADAL" clId="{34473802-5904-426F-ADDF-0D0D1B44876C}" dt="2024-03-01T15:56:20.144" v="7037" actId="1036"/>
          <ac:spMkLst>
            <pc:docMk/>
            <pc:sldMk cId="3488828484" sldId="946"/>
            <ac:spMk id="27" creationId="{72D802D4-B169-1594-D931-40179675E33A}"/>
          </ac:spMkLst>
        </pc:spChg>
        <pc:spChg chg="add del mod">
          <ac:chgData name="Annemarija Apine (LV)" userId="546f5c59-3b8d-47fd-b739-a8fadc631053" providerId="ADAL" clId="{34473802-5904-426F-ADDF-0D0D1B44876C}" dt="2024-03-01T15:56:22.620" v="7040"/>
          <ac:spMkLst>
            <pc:docMk/>
            <pc:sldMk cId="3488828484" sldId="946"/>
            <ac:spMk id="28" creationId="{E48D4B8D-ECA4-C3FA-815E-5528790F344E}"/>
          </ac:spMkLst>
        </pc:spChg>
        <pc:spChg chg="mod">
          <ac:chgData name="Annemarija Apine (LV)" userId="546f5c59-3b8d-47fd-b739-a8fadc631053" providerId="ADAL" clId="{34473802-5904-426F-ADDF-0D0D1B44876C}" dt="2024-03-01T15:56:20.144" v="7037" actId="1036"/>
          <ac:spMkLst>
            <pc:docMk/>
            <pc:sldMk cId="3488828484" sldId="946"/>
            <ac:spMk id="29" creationId="{3915AD89-6428-4A75-0915-328643F1703C}"/>
          </ac:spMkLst>
        </pc:spChg>
        <pc:spChg chg="mod">
          <ac:chgData name="Annemarija Apine (LV)" userId="546f5c59-3b8d-47fd-b739-a8fadc631053" providerId="ADAL" clId="{34473802-5904-426F-ADDF-0D0D1B44876C}" dt="2024-03-01T15:56:20.144" v="7037" actId="1036"/>
          <ac:spMkLst>
            <pc:docMk/>
            <pc:sldMk cId="3488828484" sldId="946"/>
            <ac:spMk id="30" creationId="{373AB206-F1F0-CC72-8C15-85605D9AF2AC}"/>
          </ac:spMkLst>
        </pc:spChg>
        <pc:spChg chg="add del mod">
          <ac:chgData name="Annemarija Apine (LV)" userId="546f5c59-3b8d-47fd-b739-a8fadc631053" providerId="ADAL" clId="{34473802-5904-426F-ADDF-0D0D1B44876C}" dt="2024-03-01T15:56:22.620" v="7040"/>
          <ac:spMkLst>
            <pc:docMk/>
            <pc:sldMk cId="3488828484" sldId="946"/>
            <ac:spMk id="31" creationId="{68D8230E-1481-AAFB-C269-F2D47395D288}"/>
          </ac:spMkLst>
        </pc:spChg>
        <pc:spChg chg="add del mod">
          <ac:chgData name="Annemarija Apine (LV)" userId="546f5c59-3b8d-47fd-b739-a8fadc631053" providerId="ADAL" clId="{34473802-5904-426F-ADDF-0D0D1B44876C}" dt="2024-03-01T15:56:22.620" v="7040"/>
          <ac:spMkLst>
            <pc:docMk/>
            <pc:sldMk cId="3488828484" sldId="946"/>
            <ac:spMk id="32" creationId="{33A34C2D-A6B3-A4AC-BF4A-B5272AF3D93E}"/>
          </ac:spMkLst>
        </pc:spChg>
        <pc:spChg chg="add del mod">
          <ac:chgData name="Annemarija Apine (LV)" userId="546f5c59-3b8d-47fd-b739-a8fadc631053" providerId="ADAL" clId="{34473802-5904-426F-ADDF-0D0D1B44876C}" dt="2024-03-01T15:56:22.620" v="7040"/>
          <ac:spMkLst>
            <pc:docMk/>
            <pc:sldMk cId="3488828484" sldId="946"/>
            <ac:spMk id="33" creationId="{703D5530-629F-76AE-B565-B041E7784588}"/>
          </ac:spMkLst>
        </pc:spChg>
        <pc:spChg chg="add del mod">
          <ac:chgData name="Annemarija Apine (LV)" userId="546f5c59-3b8d-47fd-b739-a8fadc631053" providerId="ADAL" clId="{34473802-5904-426F-ADDF-0D0D1B44876C}" dt="2024-03-01T15:56:22.620" v="7040"/>
          <ac:spMkLst>
            <pc:docMk/>
            <pc:sldMk cId="3488828484" sldId="946"/>
            <ac:spMk id="34" creationId="{1051A6EF-C8F4-7B9D-C078-92D19E31D5DD}"/>
          </ac:spMkLst>
        </pc:spChg>
        <pc:spChg chg="add del mod">
          <ac:chgData name="Annemarija Apine (LV)" userId="546f5c59-3b8d-47fd-b739-a8fadc631053" providerId="ADAL" clId="{34473802-5904-426F-ADDF-0D0D1B44876C}" dt="2024-03-01T15:56:22.620" v="7040"/>
          <ac:spMkLst>
            <pc:docMk/>
            <pc:sldMk cId="3488828484" sldId="946"/>
            <ac:spMk id="35" creationId="{42E128C8-29C9-4248-B79C-8430827E67D2}"/>
          </ac:spMkLst>
        </pc:spChg>
        <pc:spChg chg="del mod">
          <ac:chgData name="Annemarija Apine (LV)" userId="546f5c59-3b8d-47fd-b739-a8fadc631053" providerId="ADAL" clId="{34473802-5904-426F-ADDF-0D0D1B44876C}" dt="2024-03-01T15:56:51.039" v="7041" actId="478"/>
          <ac:spMkLst>
            <pc:docMk/>
            <pc:sldMk cId="3488828484" sldId="946"/>
            <ac:spMk id="36" creationId="{B685A229-84EC-B93B-3F43-6BFE2BE1F4CA}"/>
          </ac:spMkLst>
        </pc:spChg>
        <pc:spChg chg="del mod">
          <ac:chgData name="Annemarija Apine (LV)" userId="546f5c59-3b8d-47fd-b739-a8fadc631053" providerId="ADAL" clId="{34473802-5904-426F-ADDF-0D0D1B44876C}" dt="2024-03-01T15:56:51.039" v="7041" actId="478"/>
          <ac:spMkLst>
            <pc:docMk/>
            <pc:sldMk cId="3488828484" sldId="946"/>
            <ac:spMk id="37" creationId="{9D96FB8A-4DBF-49F0-A6C2-FDA1251682FE}"/>
          </ac:spMkLst>
        </pc:spChg>
        <pc:spChg chg="add del mod">
          <ac:chgData name="Annemarija Apine (LV)" userId="546f5c59-3b8d-47fd-b739-a8fadc631053" providerId="ADAL" clId="{34473802-5904-426F-ADDF-0D0D1B44876C}" dt="2024-03-01T15:56:22.620" v="7040"/>
          <ac:spMkLst>
            <pc:docMk/>
            <pc:sldMk cId="3488828484" sldId="946"/>
            <ac:spMk id="38" creationId="{7596708A-CB15-E323-FBC8-BFA5A4E0A9B8}"/>
          </ac:spMkLst>
        </pc:spChg>
        <pc:spChg chg="del mod">
          <ac:chgData name="Annemarija Apine (LV)" userId="546f5c59-3b8d-47fd-b739-a8fadc631053" providerId="ADAL" clId="{34473802-5904-426F-ADDF-0D0D1B44876C}" dt="2024-03-01T15:56:51.039" v="7041" actId="478"/>
          <ac:spMkLst>
            <pc:docMk/>
            <pc:sldMk cId="3488828484" sldId="946"/>
            <ac:spMk id="39" creationId="{E8BDE45B-79CA-CD3A-5214-E24D77B8609C}"/>
          </ac:spMkLst>
        </pc:spChg>
        <pc:spChg chg="del mod">
          <ac:chgData name="Annemarija Apine (LV)" userId="546f5c59-3b8d-47fd-b739-a8fadc631053" providerId="ADAL" clId="{34473802-5904-426F-ADDF-0D0D1B44876C}" dt="2024-03-01T15:56:51.039" v="7041" actId="478"/>
          <ac:spMkLst>
            <pc:docMk/>
            <pc:sldMk cId="3488828484" sldId="946"/>
            <ac:spMk id="40" creationId="{D996275D-295E-F1D0-D67A-44A0A69B4C01}"/>
          </ac:spMkLst>
        </pc:spChg>
        <pc:spChg chg="del mod">
          <ac:chgData name="Annemarija Apine (LV)" userId="546f5c59-3b8d-47fd-b739-a8fadc631053" providerId="ADAL" clId="{34473802-5904-426F-ADDF-0D0D1B44876C}" dt="2024-03-01T15:56:51.039" v="7041" actId="478"/>
          <ac:spMkLst>
            <pc:docMk/>
            <pc:sldMk cId="3488828484" sldId="946"/>
            <ac:spMk id="43" creationId="{45949670-5BCB-C59B-3D24-28AC2A6F87F3}"/>
          </ac:spMkLst>
        </pc:spChg>
        <pc:spChg chg="mod">
          <ac:chgData name="Annemarija Apine (LV)" userId="546f5c59-3b8d-47fd-b739-a8fadc631053" providerId="ADAL" clId="{34473802-5904-426F-ADDF-0D0D1B44876C}" dt="2024-03-01T15:56:20.144" v="7037" actId="1036"/>
          <ac:spMkLst>
            <pc:docMk/>
            <pc:sldMk cId="3488828484" sldId="946"/>
            <ac:spMk id="44" creationId="{37325A5C-F07F-2313-782A-18E3E98D15F0}"/>
          </ac:spMkLst>
        </pc:spChg>
        <pc:spChg chg="mod">
          <ac:chgData name="Annemarija Apine (LV)" userId="546f5c59-3b8d-47fd-b739-a8fadc631053" providerId="ADAL" clId="{34473802-5904-426F-ADDF-0D0D1B44876C}" dt="2024-03-01T15:56:20.144" v="7037" actId="1036"/>
          <ac:spMkLst>
            <pc:docMk/>
            <pc:sldMk cId="3488828484" sldId="946"/>
            <ac:spMk id="45" creationId="{5A4A472A-422C-56F4-A0F5-AE422E82D144}"/>
          </ac:spMkLst>
        </pc:spChg>
        <pc:spChg chg="mod">
          <ac:chgData name="Annemarija Apine (LV)" userId="546f5c59-3b8d-47fd-b739-a8fadc631053" providerId="ADAL" clId="{34473802-5904-426F-ADDF-0D0D1B44876C}" dt="2024-03-01T15:56:20.144" v="7037" actId="1036"/>
          <ac:spMkLst>
            <pc:docMk/>
            <pc:sldMk cId="3488828484" sldId="946"/>
            <ac:spMk id="46" creationId="{09BF84D6-F468-7005-FAB5-AA0B6AE5CFB4}"/>
          </ac:spMkLst>
        </pc:spChg>
        <pc:spChg chg="del mod">
          <ac:chgData name="Annemarija Apine (LV)" userId="546f5c59-3b8d-47fd-b739-a8fadc631053" providerId="ADAL" clId="{34473802-5904-426F-ADDF-0D0D1B44876C}" dt="2024-03-01T15:56:51.039" v="7041" actId="478"/>
          <ac:spMkLst>
            <pc:docMk/>
            <pc:sldMk cId="3488828484" sldId="946"/>
            <ac:spMk id="47" creationId="{53CB8D3C-9648-B17B-BD59-60EED0CCD133}"/>
          </ac:spMkLst>
        </pc:spChg>
        <pc:spChg chg="del mod">
          <ac:chgData name="Annemarija Apine (LV)" userId="546f5c59-3b8d-47fd-b739-a8fadc631053" providerId="ADAL" clId="{34473802-5904-426F-ADDF-0D0D1B44876C}" dt="2024-03-01T15:56:51.039" v="7041" actId="478"/>
          <ac:spMkLst>
            <pc:docMk/>
            <pc:sldMk cId="3488828484" sldId="946"/>
            <ac:spMk id="48" creationId="{9DA2A02A-BBDF-DCC7-18AC-878856D7A5B2}"/>
          </ac:spMkLst>
        </pc:spChg>
        <pc:spChg chg="mod">
          <ac:chgData name="Annemarija Apine (LV)" userId="546f5c59-3b8d-47fd-b739-a8fadc631053" providerId="ADAL" clId="{34473802-5904-426F-ADDF-0D0D1B44876C}" dt="2024-03-01T15:56:20.144" v="7037" actId="1036"/>
          <ac:spMkLst>
            <pc:docMk/>
            <pc:sldMk cId="3488828484" sldId="946"/>
            <ac:spMk id="49" creationId="{DED3BED4-139F-CB4F-0A7B-7B90211550F4}"/>
          </ac:spMkLst>
        </pc:spChg>
        <pc:spChg chg="mod">
          <ac:chgData name="Annemarija Apine (LV)" userId="546f5c59-3b8d-47fd-b739-a8fadc631053" providerId="ADAL" clId="{34473802-5904-426F-ADDF-0D0D1B44876C}" dt="2024-03-01T15:54:50.840" v="6981" actId="20577"/>
          <ac:spMkLst>
            <pc:docMk/>
            <pc:sldMk cId="3488828484" sldId="946"/>
            <ac:spMk id="51" creationId="{AFEB1935-0849-FFDB-14A2-768E555E2F79}"/>
          </ac:spMkLst>
        </pc:spChg>
        <pc:spChg chg="add del mod">
          <ac:chgData name="Annemarija Apine (LV)" userId="546f5c59-3b8d-47fd-b739-a8fadc631053" providerId="ADAL" clId="{34473802-5904-426F-ADDF-0D0D1B44876C}" dt="2024-03-01T15:56:22.620" v="7040"/>
          <ac:spMkLst>
            <pc:docMk/>
            <pc:sldMk cId="3488828484" sldId="946"/>
            <ac:spMk id="54" creationId="{84C2FE73-3958-45B5-E8EE-57A4767CB59D}"/>
          </ac:spMkLst>
        </pc:spChg>
        <pc:spChg chg="add del mod">
          <ac:chgData name="Annemarija Apine (LV)" userId="546f5c59-3b8d-47fd-b739-a8fadc631053" providerId="ADAL" clId="{34473802-5904-426F-ADDF-0D0D1B44876C}" dt="2024-03-01T15:56:22.620" v="7040"/>
          <ac:spMkLst>
            <pc:docMk/>
            <pc:sldMk cId="3488828484" sldId="946"/>
            <ac:spMk id="55" creationId="{1DADEC72-C97F-D942-A61E-30942309BFBA}"/>
          </ac:spMkLst>
        </pc:spChg>
        <pc:spChg chg="add del mod">
          <ac:chgData name="Annemarija Apine (LV)" userId="546f5c59-3b8d-47fd-b739-a8fadc631053" providerId="ADAL" clId="{34473802-5904-426F-ADDF-0D0D1B44876C}" dt="2024-03-01T15:56:22.620" v="7040"/>
          <ac:spMkLst>
            <pc:docMk/>
            <pc:sldMk cId="3488828484" sldId="946"/>
            <ac:spMk id="56" creationId="{68A52EE4-5111-3743-4E30-06872AD91BFA}"/>
          </ac:spMkLst>
        </pc:spChg>
        <pc:spChg chg="mod">
          <ac:chgData name="Annemarija Apine (LV)" userId="546f5c59-3b8d-47fd-b739-a8fadc631053" providerId="ADAL" clId="{34473802-5904-426F-ADDF-0D0D1B44876C}" dt="2024-03-01T15:36:46.910" v="6861"/>
          <ac:spMkLst>
            <pc:docMk/>
            <pc:sldMk cId="3488828484" sldId="946"/>
            <ac:spMk id="57" creationId="{E0007A68-F3EF-5218-37FA-972FF8C8BB56}"/>
          </ac:spMkLst>
        </pc:spChg>
        <pc:spChg chg="add del mod">
          <ac:chgData name="Annemarija Apine (LV)" userId="546f5c59-3b8d-47fd-b739-a8fadc631053" providerId="ADAL" clId="{34473802-5904-426F-ADDF-0D0D1B44876C}" dt="2024-03-01T15:56:22.620" v="7040"/>
          <ac:spMkLst>
            <pc:docMk/>
            <pc:sldMk cId="3488828484" sldId="946"/>
            <ac:spMk id="58" creationId="{2A6D00C0-F871-203C-7CB6-BF4CA3C9CFE6}"/>
          </ac:spMkLst>
        </pc:spChg>
        <pc:spChg chg="add del mod">
          <ac:chgData name="Annemarija Apine (LV)" userId="546f5c59-3b8d-47fd-b739-a8fadc631053" providerId="ADAL" clId="{34473802-5904-426F-ADDF-0D0D1B44876C}" dt="2024-03-01T15:56:22.620" v="7040"/>
          <ac:spMkLst>
            <pc:docMk/>
            <pc:sldMk cId="3488828484" sldId="946"/>
            <ac:spMk id="59" creationId="{5E62F79A-A31E-79D1-61A5-4ED2C8F67519}"/>
          </ac:spMkLst>
        </pc:spChg>
        <pc:spChg chg="add del mod">
          <ac:chgData name="Annemarija Apine (LV)" userId="546f5c59-3b8d-47fd-b739-a8fadc631053" providerId="ADAL" clId="{34473802-5904-426F-ADDF-0D0D1B44876C}" dt="2024-03-01T15:56:22.620" v="7040"/>
          <ac:spMkLst>
            <pc:docMk/>
            <pc:sldMk cId="3488828484" sldId="946"/>
            <ac:spMk id="60" creationId="{D536F95F-9E33-46ED-17E9-F340E48A69F6}"/>
          </ac:spMkLst>
        </pc:spChg>
        <pc:spChg chg="del mod">
          <ac:chgData name="Annemarija Apine (LV)" userId="546f5c59-3b8d-47fd-b739-a8fadc631053" providerId="ADAL" clId="{34473802-5904-426F-ADDF-0D0D1B44876C}" dt="2024-03-01T15:56:51.039" v="7041" actId="478"/>
          <ac:spMkLst>
            <pc:docMk/>
            <pc:sldMk cId="3488828484" sldId="946"/>
            <ac:spMk id="61" creationId="{2A14CA01-2350-21C6-16E6-E9CEAF43B441}"/>
          </ac:spMkLst>
        </pc:spChg>
        <pc:spChg chg="add del mod">
          <ac:chgData name="Annemarija Apine (LV)" userId="546f5c59-3b8d-47fd-b739-a8fadc631053" providerId="ADAL" clId="{34473802-5904-426F-ADDF-0D0D1B44876C}" dt="2024-03-01T15:56:22.620" v="7040"/>
          <ac:spMkLst>
            <pc:docMk/>
            <pc:sldMk cId="3488828484" sldId="946"/>
            <ac:spMk id="62" creationId="{2D03D71E-5E4C-B4F9-3DA2-C1CCA0387CBF}"/>
          </ac:spMkLst>
        </pc:spChg>
        <pc:spChg chg="add del mod">
          <ac:chgData name="Annemarija Apine (LV)" userId="546f5c59-3b8d-47fd-b739-a8fadc631053" providerId="ADAL" clId="{34473802-5904-426F-ADDF-0D0D1B44876C}" dt="2024-03-01T15:56:22.620" v="7040"/>
          <ac:spMkLst>
            <pc:docMk/>
            <pc:sldMk cId="3488828484" sldId="946"/>
            <ac:spMk id="63" creationId="{573285A7-A836-CF90-649C-3E8D4B03AD8F}"/>
          </ac:spMkLst>
        </pc:spChg>
        <pc:spChg chg="del mod">
          <ac:chgData name="Annemarija Apine (LV)" userId="546f5c59-3b8d-47fd-b739-a8fadc631053" providerId="ADAL" clId="{34473802-5904-426F-ADDF-0D0D1B44876C}" dt="2024-03-01T15:56:51.039" v="7041" actId="478"/>
          <ac:spMkLst>
            <pc:docMk/>
            <pc:sldMk cId="3488828484" sldId="946"/>
            <ac:spMk id="64" creationId="{19794A8F-A922-1A21-17E6-1B4B21C8F596}"/>
          </ac:spMkLst>
        </pc:spChg>
        <pc:spChg chg="add del mod">
          <ac:chgData name="Annemarija Apine (LV)" userId="546f5c59-3b8d-47fd-b739-a8fadc631053" providerId="ADAL" clId="{34473802-5904-426F-ADDF-0D0D1B44876C}" dt="2024-03-01T15:56:22.620" v="7040"/>
          <ac:spMkLst>
            <pc:docMk/>
            <pc:sldMk cId="3488828484" sldId="946"/>
            <ac:spMk id="65" creationId="{3BF094E4-A78E-3F1A-CAD0-A5435BE666B4}"/>
          </ac:spMkLst>
        </pc:spChg>
        <pc:spChg chg="add del mod">
          <ac:chgData name="Annemarija Apine (LV)" userId="546f5c59-3b8d-47fd-b739-a8fadc631053" providerId="ADAL" clId="{34473802-5904-426F-ADDF-0D0D1B44876C}" dt="2024-03-01T15:56:22.620" v="7040"/>
          <ac:spMkLst>
            <pc:docMk/>
            <pc:sldMk cId="3488828484" sldId="946"/>
            <ac:spMk id="66" creationId="{366B4664-4268-1082-F3E5-5D5F8FAC9C0E}"/>
          </ac:spMkLst>
        </pc:spChg>
        <pc:spChg chg="del mod">
          <ac:chgData name="Annemarija Apine (LV)" userId="546f5c59-3b8d-47fd-b739-a8fadc631053" providerId="ADAL" clId="{34473802-5904-426F-ADDF-0D0D1B44876C}" dt="2024-03-01T15:56:51.039" v="7041" actId="478"/>
          <ac:spMkLst>
            <pc:docMk/>
            <pc:sldMk cId="3488828484" sldId="946"/>
            <ac:spMk id="67" creationId="{173D6274-53F8-0DD4-4E9A-1018104D2DCB}"/>
          </ac:spMkLst>
        </pc:spChg>
        <pc:spChg chg="add del mod">
          <ac:chgData name="Annemarija Apine (LV)" userId="546f5c59-3b8d-47fd-b739-a8fadc631053" providerId="ADAL" clId="{34473802-5904-426F-ADDF-0D0D1B44876C}" dt="2024-03-01T15:56:22.620" v="7040"/>
          <ac:spMkLst>
            <pc:docMk/>
            <pc:sldMk cId="3488828484" sldId="946"/>
            <ac:spMk id="68" creationId="{909CC635-65BC-986E-2A5F-A6CE517697E0}"/>
          </ac:spMkLst>
        </pc:spChg>
        <pc:spChg chg="del mod">
          <ac:chgData name="Annemarija Apine (LV)" userId="546f5c59-3b8d-47fd-b739-a8fadc631053" providerId="ADAL" clId="{34473802-5904-426F-ADDF-0D0D1B44876C}" dt="2024-03-01T15:56:51.039" v="7041" actId="478"/>
          <ac:spMkLst>
            <pc:docMk/>
            <pc:sldMk cId="3488828484" sldId="946"/>
            <ac:spMk id="70" creationId="{8E071A3F-2B5A-7CD2-907D-0A46168AC360}"/>
          </ac:spMkLst>
        </pc:spChg>
        <pc:spChg chg="del mod">
          <ac:chgData name="Annemarija Apine (LV)" userId="546f5c59-3b8d-47fd-b739-a8fadc631053" providerId="ADAL" clId="{34473802-5904-426F-ADDF-0D0D1B44876C}" dt="2024-03-01T15:56:51.039" v="7041" actId="478"/>
          <ac:spMkLst>
            <pc:docMk/>
            <pc:sldMk cId="3488828484" sldId="946"/>
            <ac:spMk id="73" creationId="{F861E25B-F987-831A-A602-44A1BC3C9C06}"/>
          </ac:spMkLst>
        </pc:spChg>
        <pc:spChg chg="del mod">
          <ac:chgData name="Annemarija Apine (LV)" userId="546f5c59-3b8d-47fd-b739-a8fadc631053" providerId="ADAL" clId="{34473802-5904-426F-ADDF-0D0D1B44876C}" dt="2024-03-01T15:56:51.039" v="7041" actId="478"/>
          <ac:spMkLst>
            <pc:docMk/>
            <pc:sldMk cId="3488828484" sldId="946"/>
            <ac:spMk id="76" creationId="{48C1CD32-80B1-493D-9426-7B73B4755484}"/>
          </ac:spMkLst>
        </pc:spChg>
        <pc:spChg chg="del mod">
          <ac:chgData name="Annemarija Apine (LV)" userId="546f5c59-3b8d-47fd-b739-a8fadc631053" providerId="ADAL" clId="{34473802-5904-426F-ADDF-0D0D1B44876C}" dt="2024-03-01T15:56:51.039" v="7041" actId="478"/>
          <ac:spMkLst>
            <pc:docMk/>
            <pc:sldMk cId="3488828484" sldId="946"/>
            <ac:spMk id="79" creationId="{84ACD26B-9585-F3C8-8179-0329BA741C8A}"/>
          </ac:spMkLst>
        </pc:spChg>
        <pc:spChg chg="add del mod">
          <ac:chgData name="Annemarija Apine (LV)" userId="546f5c59-3b8d-47fd-b739-a8fadc631053" providerId="ADAL" clId="{34473802-5904-426F-ADDF-0D0D1B44876C}" dt="2024-03-01T15:56:22.620" v="7040"/>
          <ac:spMkLst>
            <pc:docMk/>
            <pc:sldMk cId="3488828484" sldId="946"/>
            <ac:spMk id="80" creationId="{BE559B56-CEE6-039F-C415-107859B17CF2}"/>
          </ac:spMkLst>
        </pc:spChg>
        <pc:spChg chg="add del mod">
          <ac:chgData name="Annemarija Apine (LV)" userId="546f5c59-3b8d-47fd-b739-a8fadc631053" providerId="ADAL" clId="{34473802-5904-426F-ADDF-0D0D1B44876C}" dt="2024-03-01T15:56:22.620" v="7040"/>
          <ac:spMkLst>
            <pc:docMk/>
            <pc:sldMk cId="3488828484" sldId="946"/>
            <ac:spMk id="81" creationId="{0F2956E1-EF5A-EB8C-C16A-1D5C5694C5E6}"/>
          </ac:spMkLst>
        </pc:spChg>
        <pc:spChg chg="add del mod">
          <ac:chgData name="Annemarija Apine (LV)" userId="546f5c59-3b8d-47fd-b739-a8fadc631053" providerId="ADAL" clId="{34473802-5904-426F-ADDF-0D0D1B44876C}" dt="2024-03-01T15:56:22.620" v="7040"/>
          <ac:spMkLst>
            <pc:docMk/>
            <pc:sldMk cId="3488828484" sldId="946"/>
            <ac:spMk id="82" creationId="{5F003072-0A84-3A40-2FC5-5138724EE6EA}"/>
          </ac:spMkLst>
        </pc:spChg>
        <pc:spChg chg="add del mod">
          <ac:chgData name="Annemarija Apine (LV)" userId="546f5c59-3b8d-47fd-b739-a8fadc631053" providerId="ADAL" clId="{34473802-5904-426F-ADDF-0D0D1B44876C}" dt="2024-03-01T15:56:22.620" v="7040"/>
          <ac:spMkLst>
            <pc:docMk/>
            <pc:sldMk cId="3488828484" sldId="946"/>
            <ac:spMk id="84" creationId="{760ABCF7-5BBF-DD84-81C4-B5EA36A25470}"/>
          </ac:spMkLst>
        </pc:spChg>
        <pc:spChg chg="add del mod">
          <ac:chgData name="Annemarija Apine (LV)" userId="546f5c59-3b8d-47fd-b739-a8fadc631053" providerId="ADAL" clId="{34473802-5904-426F-ADDF-0D0D1B44876C}" dt="2024-03-01T15:56:22.620" v="7040"/>
          <ac:spMkLst>
            <pc:docMk/>
            <pc:sldMk cId="3488828484" sldId="946"/>
            <ac:spMk id="85" creationId="{E833AAEA-58FD-A6CE-E25A-E34FD10EB8E8}"/>
          </ac:spMkLst>
        </pc:spChg>
        <pc:spChg chg="add del mod">
          <ac:chgData name="Annemarija Apine (LV)" userId="546f5c59-3b8d-47fd-b739-a8fadc631053" providerId="ADAL" clId="{34473802-5904-426F-ADDF-0D0D1B44876C}" dt="2024-03-01T15:56:22.620" v="7040"/>
          <ac:spMkLst>
            <pc:docMk/>
            <pc:sldMk cId="3488828484" sldId="946"/>
            <ac:spMk id="86" creationId="{C9155987-1CDE-4FC0-B180-3E143AB46F97}"/>
          </ac:spMkLst>
        </pc:spChg>
        <pc:spChg chg="add del mod">
          <ac:chgData name="Annemarija Apine (LV)" userId="546f5c59-3b8d-47fd-b739-a8fadc631053" providerId="ADAL" clId="{34473802-5904-426F-ADDF-0D0D1B44876C}" dt="2024-03-01T15:56:22.620" v="7040"/>
          <ac:spMkLst>
            <pc:docMk/>
            <pc:sldMk cId="3488828484" sldId="946"/>
            <ac:spMk id="87" creationId="{A5FD6447-4B60-7E96-D721-6841D6A4E575}"/>
          </ac:spMkLst>
        </pc:spChg>
        <pc:spChg chg="add del mod">
          <ac:chgData name="Annemarija Apine (LV)" userId="546f5c59-3b8d-47fd-b739-a8fadc631053" providerId="ADAL" clId="{34473802-5904-426F-ADDF-0D0D1B44876C}" dt="2024-03-01T15:56:22.620" v="7040"/>
          <ac:spMkLst>
            <pc:docMk/>
            <pc:sldMk cId="3488828484" sldId="946"/>
            <ac:spMk id="88" creationId="{CC86E9B7-80D4-C388-3DDF-1CF825225844}"/>
          </ac:spMkLst>
        </pc:spChg>
        <pc:spChg chg="add del mod">
          <ac:chgData name="Annemarija Apine (LV)" userId="546f5c59-3b8d-47fd-b739-a8fadc631053" providerId="ADAL" clId="{34473802-5904-426F-ADDF-0D0D1B44876C}" dt="2024-03-01T15:56:22.620" v="7040"/>
          <ac:spMkLst>
            <pc:docMk/>
            <pc:sldMk cId="3488828484" sldId="946"/>
            <ac:spMk id="89" creationId="{88F0AE4F-9C84-35AC-272E-8C3BD6BF0D53}"/>
          </ac:spMkLst>
        </pc:spChg>
        <pc:spChg chg="add del mod">
          <ac:chgData name="Annemarija Apine (LV)" userId="546f5c59-3b8d-47fd-b739-a8fadc631053" providerId="ADAL" clId="{34473802-5904-426F-ADDF-0D0D1B44876C}" dt="2024-03-01T15:56:22.620" v="7040"/>
          <ac:spMkLst>
            <pc:docMk/>
            <pc:sldMk cId="3488828484" sldId="946"/>
            <ac:spMk id="90" creationId="{C501C847-B68E-7924-FB40-717A70044C88}"/>
          </ac:spMkLst>
        </pc:spChg>
        <pc:spChg chg="add del mod">
          <ac:chgData name="Annemarija Apine (LV)" userId="546f5c59-3b8d-47fd-b739-a8fadc631053" providerId="ADAL" clId="{34473802-5904-426F-ADDF-0D0D1B44876C}" dt="2024-03-01T15:56:22.620" v="7040"/>
          <ac:spMkLst>
            <pc:docMk/>
            <pc:sldMk cId="3488828484" sldId="946"/>
            <ac:spMk id="91" creationId="{C7D28287-6F94-4FAB-2F38-A5A5A3D5A10F}"/>
          </ac:spMkLst>
        </pc:spChg>
        <pc:spChg chg="add del mod">
          <ac:chgData name="Annemarija Apine (LV)" userId="546f5c59-3b8d-47fd-b739-a8fadc631053" providerId="ADAL" clId="{34473802-5904-426F-ADDF-0D0D1B44876C}" dt="2024-03-01T15:56:22.620" v="7040"/>
          <ac:spMkLst>
            <pc:docMk/>
            <pc:sldMk cId="3488828484" sldId="946"/>
            <ac:spMk id="92" creationId="{8396264C-2342-1C71-E7BE-C4C0D7615710}"/>
          </ac:spMkLst>
        </pc:spChg>
        <pc:spChg chg="add mod">
          <ac:chgData name="Annemarija Apine (LV)" userId="546f5c59-3b8d-47fd-b739-a8fadc631053" providerId="ADAL" clId="{34473802-5904-426F-ADDF-0D0D1B44876C}" dt="2024-03-01T16:00:49.063" v="7247" actId="14100"/>
          <ac:spMkLst>
            <pc:docMk/>
            <pc:sldMk cId="3488828484" sldId="946"/>
            <ac:spMk id="93" creationId="{5A55EC81-0AD5-CE05-4AAF-6599399D9BD3}"/>
          </ac:spMkLst>
        </pc:spChg>
        <pc:spChg chg="add mod">
          <ac:chgData name="Annemarija Apine (LV)" userId="546f5c59-3b8d-47fd-b739-a8fadc631053" providerId="ADAL" clId="{34473802-5904-426F-ADDF-0D0D1B44876C}" dt="2024-03-01T16:00:45.735" v="7246" actId="1076"/>
          <ac:spMkLst>
            <pc:docMk/>
            <pc:sldMk cId="3488828484" sldId="946"/>
            <ac:spMk id="94" creationId="{2945AFC3-C832-6045-1DDE-A189FFBEDD95}"/>
          </ac:spMkLst>
        </pc:spChg>
        <pc:spChg chg="add mod">
          <ac:chgData name="Annemarija Apine (LV)" userId="546f5c59-3b8d-47fd-b739-a8fadc631053" providerId="ADAL" clId="{34473802-5904-426F-ADDF-0D0D1B44876C}" dt="2024-03-01T15:57:13.292" v="7049" actId="1076"/>
          <ac:spMkLst>
            <pc:docMk/>
            <pc:sldMk cId="3488828484" sldId="946"/>
            <ac:spMk id="96" creationId="{2A913932-8BE1-F1EB-2C97-BB1A5EF0C629}"/>
          </ac:spMkLst>
        </pc:spChg>
        <pc:spChg chg="add del mod">
          <ac:chgData name="Annemarija Apine (LV)" userId="546f5c59-3b8d-47fd-b739-a8fadc631053" providerId="ADAL" clId="{34473802-5904-426F-ADDF-0D0D1B44876C}" dt="2024-03-01T16:00:57.176" v="7251" actId="22"/>
          <ac:spMkLst>
            <pc:docMk/>
            <pc:sldMk cId="3488828484" sldId="946"/>
            <ac:spMk id="98" creationId="{4C618111-C0B3-C2CC-EA6E-7219392D4C90}"/>
          </ac:spMkLst>
        </pc:spChg>
        <pc:spChg chg="add del mod">
          <ac:chgData name="Annemarija Apine (LV)" userId="546f5c59-3b8d-47fd-b739-a8fadc631053" providerId="ADAL" clId="{34473802-5904-426F-ADDF-0D0D1B44876C}" dt="2024-03-01T16:01:01.205" v="7253"/>
          <ac:spMkLst>
            <pc:docMk/>
            <pc:sldMk cId="3488828484" sldId="946"/>
            <ac:spMk id="99" creationId="{4B6053F6-F872-7BB6-0E22-3F49181F71F7}"/>
          </ac:spMkLst>
        </pc:spChg>
        <pc:spChg chg="del mod">
          <ac:chgData name="Annemarija Apine (LV)" userId="546f5c59-3b8d-47fd-b739-a8fadc631053" providerId="ADAL" clId="{34473802-5904-426F-ADDF-0D0D1B44876C}" dt="2024-03-01T15:56:51.039" v="7041" actId="478"/>
          <ac:spMkLst>
            <pc:docMk/>
            <pc:sldMk cId="3488828484" sldId="946"/>
            <ac:spMk id="100" creationId="{6196419E-02BA-D21D-1546-F1EC7C2A2D38}"/>
          </ac:spMkLst>
        </pc:spChg>
        <pc:spChg chg="del mod">
          <ac:chgData name="Annemarija Apine (LV)" userId="546f5c59-3b8d-47fd-b739-a8fadc631053" providerId="ADAL" clId="{34473802-5904-426F-ADDF-0D0D1B44876C}" dt="2024-03-01T15:56:51.039" v="7041" actId="478"/>
          <ac:spMkLst>
            <pc:docMk/>
            <pc:sldMk cId="3488828484" sldId="946"/>
            <ac:spMk id="101" creationId="{9ECA4B5E-E4A7-485E-4742-A7A24FB938CD}"/>
          </ac:spMkLst>
        </pc:spChg>
        <pc:spChg chg="del mod">
          <ac:chgData name="Annemarija Apine (LV)" userId="546f5c59-3b8d-47fd-b739-a8fadc631053" providerId="ADAL" clId="{34473802-5904-426F-ADDF-0D0D1B44876C}" dt="2024-03-01T15:56:51.039" v="7041" actId="478"/>
          <ac:spMkLst>
            <pc:docMk/>
            <pc:sldMk cId="3488828484" sldId="946"/>
            <ac:spMk id="102" creationId="{6C2839D0-72C0-7347-1A1F-A4C976165D3B}"/>
          </ac:spMkLst>
        </pc:spChg>
        <pc:spChg chg="del mod">
          <ac:chgData name="Annemarija Apine (LV)" userId="546f5c59-3b8d-47fd-b739-a8fadc631053" providerId="ADAL" clId="{34473802-5904-426F-ADDF-0D0D1B44876C}" dt="2024-03-01T15:56:51.039" v="7041" actId="478"/>
          <ac:spMkLst>
            <pc:docMk/>
            <pc:sldMk cId="3488828484" sldId="946"/>
            <ac:spMk id="103" creationId="{20162A1E-1272-A65F-9743-08A1C56CDD8F}"/>
          </ac:spMkLst>
        </pc:spChg>
        <pc:spChg chg="del mod">
          <ac:chgData name="Annemarija Apine (LV)" userId="546f5c59-3b8d-47fd-b739-a8fadc631053" providerId="ADAL" clId="{34473802-5904-426F-ADDF-0D0D1B44876C}" dt="2024-03-01T15:56:51.039" v="7041" actId="478"/>
          <ac:spMkLst>
            <pc:docMk/>
            <pc:sldMk cId="3488828484" sldId="946"/>
            <ac:spMk id="104" creationId="{C489AEBB-7FB2-EC1A-2DC3-18B08D331418}"/>
          </ac:spMkLst>
        </pc:spChg>
        <pc:spChg chg="add mod">
          <ac:chgData name="Annemarija Apine (LV)" userId="546f5c59-3b8d-47fd-b739-a8fadc631053" providerId="ADAL" clId="{34473802-5904-426F-ADDF-0D0D1B44876C}" dt="2024-03-01T16:01:26.459" v="7271" actId="14100"/>
          <ac:spMkLst>
            <pc:docMk/>
            <pc:sldMk cId="3488828484" sldId="946"/>
            <ac:spMk id="105" creationId="{C73B42A3-EA68-B90F-A6C9-5F7FF93DD187}"/>
          </ac:spMkLst>
        </pc:spChg>
        <pc:spChg chg="del mod">
          <ac:chgData name="Annemarija Apine (LV)" userId="546f5c59-3b8d-47fd-b739-a8fadc631053" providerId="ADAL" clId="{34473802-5904-426F-ADDF-0D0D1B44876C}" dt="2024-03-01T15:56:51.039" v="7041" actId="478"/>
          <ac:spMkLst>
            <pc:docMk/>
            <pc:sldMk cId="3488828484" sldId="946"/>
            <ac:spMk id="107" creationId="{5E4C4BD5-129E-6AAF-672B-2CE5A9EA1809}"/>
          </ac:spMkLst>
        </pc:spChg>
        <pc:spChg chg="del mod">
          <ac:chgData name="Annemarija Apine (LV)" userId="546f5c59-3b8d-47fd-b739-a8fadc631053" providerId="ADAL" clId="{34473802-5904-426F-ADDF-0D0D1B44876C}" dt="2024-03-01T15:56:51.039" v="7041" actId="478"/>
          <ac:spMkLst>
            <pc:docMk/>
            <pc:sldMk cId="3488828484" sldId="946"/>
            <ac:spMk id="108" creationId="{374ED229-16EB-16FE-4EEB-6C75D32758A7}"/>
          </ac:spMkLst>
        </pc:spChg>
        <pc:cxnChg chg="del mod">
          <ac:chgData name="Annemarija Apine (LV)" userId="546f5c59-3b8d-47fd-b739-a8fadc631053" providerId="ADAL" clId="{34473802-5904-426F-ADDF-0D0D1B44876C}" dt="2024-03-01T15:56:51.039" v="7041" actId="478"/>
          <ac:cxnSpMkLst>
            <pc:docMk/>
            <pc:sldMk cId="3488828484" sldId="946"/>
            <ac:cxnSpMk id="6" creationId="{B3733624-6466-BD41-3C49-71F64E87C523}"/>
          </ac:cxnSpMkLst>
        </pc:cxnChg>
        <pc:cxnChg chg="del mod">
          <ac:chgData name="Annemarija Apine (LV)" userId="546f5c59-3b8d-47fd-b739-a8fadc631053" providerId="ADAL" clId="{34473802-5904-426F-ADDF-0D0D1B44876C}" dt="2024-03-01T15:56:51.039" v="7041" actId="478"/>
          <ac:cxnSpMkLst>
            <pc:docMk/>
            <pc:sldMk cId="3488828484" sldId="946"/>
            <ac:cxnSpMk id="7" creationId="{5A2159BA-60F1-B7B5-DA22-2E5D2C4A8574}"/>
          </ac:cxnSpMkLst>
        </pc:cxnChg>
        <pc:cxnChg chg="del mod">
          <ac:chgData name="Annemarija Apine (LV)" userId="546f5c59-3b8d-47fd-b739-a8fadc631053" providerId="ADAL" clId="{34473802-5904-426F-ADDF-0D0D1B44876C}" dt="2024-03-01T15:56:51.039" v="7041" actId="478"/>
          <ac:cxnSpMkLst>
            <pc:docMk/>
            <pc:sldMk cId="3488828484" sldId="946"/>
            <ac:cxnSpMk id="9" creationId="{CBCFB46D-F848-5D86-81ED-08C2DDBD6018}"/>
          </ac:cxnSpMkLst>
        </pc:cxnChg>
        <pc:cxnChg chg="add del mod">
          <ac:chgData name="Annemarija Apine (LV)" userId="546f5c59-3b8d-47fd-b739-a8fadc631053" providerId="ADAL" clId="{34473802-5904-426F-ADDF-0D0D1B44876C}" dt="2024-03-01T15:56:20.432" v="7038"/>
          <ac:cxnSpMkLst>
            <pc:docMk/>
            <pc:sldMk cId="3488828484" sldId="946"/>
            <ac:cxnSpMk id="10" creationId="{B35BFB0D-2F30-05E0-31CE-FE2BE79BA95F}"/>
          </ac:cxnSpMkLst>
        </pc:cxnChg>
        <pc:cxnChg chg="del mod">
          <ac:chgData name="Annemarija Apine (LV)" userId="546f5c59-3b8d-47fd-b739-a8fadc631053" providerId="ADAL" clId="{34473802-5904-426F-ADDF-0D0D1B44876C}" dt="2024-03-01T15:56:51.039" v="7041" actId="478"/>
          <ac:cxnSpMkLst>
            <pc:docMk/>
            <pc:sldMk cId="3488828484" sldId="946"/>
            <ac:cxnSpMk id="11" creationId="{A04A74A1-0026-74F8-2A50-1E9075544CF3}"/>
          </ac:cxnSpMkLst>
        </pc:cxnChg>
        <pc:cxnChg chg="del mod">
          <ac:chgData name="Annemarija Apine (LV)" userId="546f5c59-3b8d-47fd-b739-a8fadc631053" providerId="ADAL" clId="{34473802-5904-426F-ADDF-0D0D1B44876C}" dt="2024-03-01T15:56:51.039" v="7041" actId="478"/>
          <ac:cxnSpMkLst>
            <pc:docMk/>
            <pc:sldMk cId="3488828484" sldId="946"/>
            <ac:cxnSpMk id="13" creationId="{CB152EF5-0E28-D564-BA70-371799026C17}"/>
          </ac:cxnSpMkLst>
        </pc:cxnChg>
        <pc:cxnChg chg="del mod">
          <ac:chgData name="Annemarija Apine (LV)" userId="546f5c59-3b8d-47fd-b739-a8fadc631053" providerId="ADAL" clId="{34473802-5904-426F-ADDF-0D0D1B44876C}" dt="2024-03-01T15:56:51.039" v="7041" actId="478"/>
          <ac:cxnSpMkLst>
            <pc:docMk/>
            <pc:sldMk cId="3488828484" sldId="946"/>
            <ac:cxnSpMk id="14" creationId="{FEF121C9-BA2C-579A-87E4-3935103FF4BC}"/>
          </ac:cxnSpMkLst>
        </pc:cxnChg>
        <pc:cxnChg chg="del mod">
          <ac:chgData name="Annemarija Apine (LV)" userId="546f5c59-3b8d-47fd-b739-a8fadc631053" providerId="ADAL" clId="{34473802-5904-426F-ADDF-0D0D1B44876C}" dt="2024-03-01T15:56:51.039" v="7041" actId="478"/>
          <ac:cxnSpMkLst>
            <pc:docMk/>
            <pc:sldMk cId="3488828484" sldId="946"/>
            <ac:cxnSpMk id="15" creationId="{3DE31210-26C3-2A63-15ED-FE32524A997D}"/>
          </ac:cxnSpMkLst>
        </pc:cxnChg>
        <pc:cxnChg chg="del mod">
          <ac:chgData name="Annemarija Apine (LV)" userId="546f5c59-3b8d-47fd-b739-a8fadc631053" providerId="ADAL" clId="{34473802-5904-426F-ADDF-0D0D1B44876C}" dt="2024-03-01T15:56:51.039" v="7041" actId="478"/>
          <ac:cxnSpMkLst>
            <pc:docMk/>
            <pc:sldMk cId="3488828484" sldId="946"/>
            <ac:cxnSpMk id="20" creationId="{2864A4FB-5A6B-6282-1ED3-79348932303D}"/>
          </ac:cxnSpMkLst>
        </pc:cxnChg>
        <pc:cxnChg chg="add del mod">
          <ac:chgData name="Annemarija Apine (LV)" userId="546f5c59-3b8d-47fd-b739-a8fadc631053" providerId="ADAL" clId="{34473802-5904-426F-ADDF-0D0D1B44876C}" dt="2024-03-01T15:56:22.620" v="7040"/>
          <ac:cxnSpMkLst>
            <pc:docMk/>
            <pc:sldMk cId="3488828484" sldId="946"/>
            <ac:cxnSpMk id="69" creationId="{9541F1B0-69E4-6DB8-58E5-F9A4F1DE7716}"/>
          </ac:cxnSpMkLst>
        </pc:cxnChg>
        <pc:cxnChg chg="add del mod">
          <ac:chgData name="Annemarija Apine (LV)" userId="546f5c59-3b8d-47fd-b739-a8fadc631053" providerId="ADAL" clId="{34473802-5904-426F-ADDF-0D0D1B44876C}" dt="2024-03-01T15:56:22.620" v="7040"/>
          <ac:cxnSpMkLst>
            <pc:docMk/>
            <pc:sldMk cId="3488828484" sldId="946"/>
            <ac:cxnSpMk id="71" creationId="{C8BDAE4A-C572-2DF9-9DAA-563EE5119D67}"/>
          </ac:cxnSpMkLst>
        </pc:cxnChg>
        <pc:cxnChg chg="add del mod">
          <ac:chgData name="Annemarija Apine (LV)" userId="546f5c59-3b8d-47fd-b739-a8fadc631053" providerId="ADAL" clId="{34473802-5904-426F-ADDF-0D0D1B44876C}" dt="2024-03-01T15:56:22.620" v="7040"/>
          <ac:cxnSpMkLst>
            <pc:docMk/>
            <pc:sldMk cId="3488828484" sldId="946"/>
            <ac:cxnSpMk id="72" creationId="{13BDCDEC-94D4-C8CE-8EBB-DBA633F8F5C5}"/>
          </ac:cxnSpMkLst>
        </pc:cxnChg>
        <pc:cxnChg chg="add del mod">
          <ac:chgData name="Annemarija Apine (LV)" userId="546f5c59-3b8d-47fd-b739-a8fadc631053" providerId="ADAL" clId="{34473802-5904-426F-ADDF-0D0D1B44876C}" dt="2024-03-01T15:56:22.620" v="7040"/>
          <ac:cxnSpMkLst>
            <pc:docMk/>
            <pc:sldMk cId="3488828484" sldId="946"/>
            <ac:cxnSpMk id="74" creationId="{AF4D4AC2-D795-19AF-081E-5B7D82E2B506}"/>
          </ac:cxnSpMkLst>
        </pc:cxnChg>
        <pc:cxnChg chg="add del mod">
          <ac:chgData name="Annemarija Apine (LV)" userId="546f5c59-3b8d-47fd-b739-a8fadc631053" providerId="ADAL" clId="{34473802-5904-426F-ADDF-0D0D1B44876C}" dt="2024-03-01T15:56:22.620" v="7040"/>
          <ac:cxnSpMkLst>
            <pc:docMk/>
            <pc:sldMk cId="3488828484" sldId="946"/>
            <ac:cxnSpMk id="75" creationId="{6BE299ED-784A-0E18-1E9F-1B6E22618E95}"/>
          </ac:cxnSpMkLst>
        </pc:cxnChg>
        <pc:cxnChg chg="add del mod">
          <ac:chgData name="Annemarija Apine (LV)" userId="546f5c59-3b8d-47fd-b739-a8fadc631053" providerId="ADAL" clId="{34473802-5904-426F-ADDF-0D0D1B44876C}" dt="2024-03-01T15:56:22.620" v="7040"/>
          <ac:cxnSpMkLst>
            <pc:docMk/>
            <pc:sldMk cId="3488828484" sldId="946"/>
            <ac:cxnSpMk id="77" creationId="{F2F39287-407A-51A3-9C2C-D3F1CB5F5427}"/>
          </ac:cxnSpMkLst>
        </pc:cxnChg>
        <pc:cxnChg chg="add del mod">
          <ac:chgData name="Annemarija Apine (LV)" userId="546f5c59-3b8d-47fd-b739-a8fadc631053" providerId="ADAL" clId="{34473802-5904-426F-ADDF-0D0D1B44876C}" dt="2024-03-01T15:56:22.620" v="7040"/>
          <ac:cxnSpMkLst>
            <pc:docMk/>
            <pc:sldMk cId="3488828484" sldId="946"/>
            <ac:cxnSpMk id="78" creationId="{35ADA99C-62A6-A99C-5F9C-EF0CDB362E24}"/>
          </ac:cxnSpMkLst>
        </pc:cxnChg>
        <pc:cxnChg chg="add del mod">
          <ac:chgData name="Annemarija Apine (LV)" userId="546f5c59-3b8d-47fd-b739-a8fadc631053" providerId="ADAL" clId="{34473802-5904-426F-ADDF-0D0D1B44876C}" dt="2024-03-01T15:56:22.620" v="7040"/>
          <ac:cxnSpMkLst>
            <pc:docMk/>
            <pc:sldMk cId="3488828484" sldId="946"/>
            <ac:cxnSpMk id="83" creationId="{53014058-E086-7B65-B3D2-26C9A3273218}"/>
          </ac:cxnSpMkLst>
        </pc:cxnChg>
        <pc:cxnChg chg="add mod">
          <ac:chgData name="Annemarija Apine (LV)" userId="546f5c59-3b8d-47fd-b739-a8fadc631053" providerId="ADAL" clId="{34473802-5904-426F-ADDF-0D0D1B44876C}" dt="2024-03-01T15:57:13.292" v="7049" actId="1076"/>
          <ac:cxnSpMkLst>
            <pc:docMk/>
            <pc:sldMk cId="3488828484" sldId="946"/>
            <ac:cxnSpMk id="95" creationId="{D4EEEA95-3B5D-59D7-CC7D-E49C940EDFA8}"/>
          </ac:cxnSpMkLst>
        </pc:cxn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34473802-5904-426F-ADDF-0D0D1B44876C}" dt="2024-03-10T23:51:53.023" v="10058"/>
              <pc2:cmMkLst xmlns:pc2="http://schemas.microsoft.com/office/powerpoint/2019/9/main/command">
                <pc:docMk/>
                <pc:sldMk cId="3488828484" sldId="946"/>
                <pc2:cmMk id="{AC23C74C-3720-4878-B4F8-7C07253CC342}"/>
              </pc2:cmMkLst>
            </pc226:cmChg>
            <pc226:cmChg xmlns:pc226="http://schemas.microsoft.com/office/powerpoint/2022/06/main/command" chg="add">
              <pc226:chgData name="Annemarija Apine (LV)" userId="546f5c59-3b8d-47fd-b739-a8fadc631053" providerId="ADAL" clId="{34473802-5904-426F-ADDF-0D0D1B44876C}" dt="2024-03-01T16:01:45.963" v="7275"/>
              <pc2:cmMkLst xmlns:pc2="http://schemas.microsoft.com/office/powerpoint/2019/9/main/command">
                <pc:docMk/>
                <pc:sldMk cId="3488828484" sldId="946"/>
                <pc2:cmMk id="{9B0D3FA9-9E12-42E0-8291-A58BCC6F688A}"/>
              </pc2:cmMkLst>
            </pc226:cmChg>
          </p:ext>
        </pc:extLst>
      </pc:sldChg>
      <pc:sldChg chg="modSp add mod modCm modNotesTx">
        <pc:chgData name="Annemarija Apine (LV)" userId="546f5c59-3b8d-47fd-b739-a8fadc631053" providerId="ADAL" clId="{34473802-5904-426F-ADDF-0D0D1B44876C}" dt="2024-03-04T12:37:13.968" v="8776" actId="2056"/>
        <pc:sldMkLst>
          <pc:docMk/>
          <pc:sldMk cId="3911462717" sldId="947"/>
        </pc:sldMkLst>
        <pc:spChg chg="mod">
          <ac:chgData name="Annemarija Apine (LV)" userId="546f5c59-3b8d-47fd-b739-a8fadc631053" providerId="ADAL" clId="{34473802-5904-426F-ADDF-0D0D1B44876C}" dt="2024-03-01T15:55:39.617" v="7001" actId="14100"/>
          <ac:spMkLst>
            <pc:docMk/>
            <pc:sldMk cId="3911462717" sldId="947"/>
            <ac:spMk id="50" creationId="{0130363F-7CE7-F3D0-4AB5-F295FAC2DCBC}"/>
          </ac:spMkLst>
        </pc:spChg>
        <pc:spChg chg="mod">
          <ac:chgData name="Annemarija Apine (LV)" userId="546f5c59-3b8d-47fd-b739-a8fadc631053" providerId="ADAL" clId="{34473802-5904-426F-ADDF-0D0D1B44876C}" dt="2024-03-01T15:55:36.005" v="7000" actId="14100"/>
          <ac:spMkLst>
            <pc:docMk/>
            <pc:sldMk cId="3911462717" sldId="947"/>
            <ac:spMk id="51" creationId="{AFEB1935-0849-FFDB-14A2-768E555E2F79}"/>
          </ac:spMkLst>
        </pc:spChg>
        <pc:extLst>
          <p:ext xmlns:p="http://schemas.openxmlformats.org/presentationml/2006/main" uri="{D6D511B9-2390-475A-947B-AFAB55BFBCF1}">
            <pc226:cmChg xmlns:pc226="http://schemas.microsoft.com/office/powerpoint/2022/06/main/command" chg="mod">
              <pc226:chgData name="Annemarija Apine (LV)" userId="546f5c59-3b8d-47fd-b739-a8fadc631053" providerId="ADAL" clId="{34473802-5904-426F-ADDF-0D0D1B44876C}" dt="2024-03-04T12:37:13.968" v="8776" actId="2056"/>
              <pc2:cmMkLst xmlns:pc2="http://schemas.microsoft.com/office/powerpoint/2019/9/main/command">
                <pc:docMk/>
                <pc:sldMk cId="3911462717" sldId="947"/>
                <pc2:cmMk id="{1428E94F-96AA-42F8-9E12-E7A740490D75}"/>
              </pc2:cmMkLst>
            </pc226:cmChg>
          </p:ext>
        </pc:extLst>
      </pc:sldChg>
      <pc:sldChg chg="addSp delSp modSp add mod modNotesTx">
        <pc:chgData name="Annemarija Apine (LV)" userId="546f5c59-3b8d-47fd-b739-a8fadc631053" providerId="ADAL" clId="{34473802-5904-426F-ADDF-0D0D1B44876C}" dt="2024-03-04T09:21:31.858" v="8016" actId="20577"/>
        <pc:sldMkLst>
          <pc:docMk/>
          <pc:sldMk cId="2283029669" sldId="948"/>
        </pc:sldMkLst>
        <pc:spChg chg="del">
          <ac:chgData name="Annemarija Apine (LV)" userId="546f5c59-3b8d-47fd-b739-a8fadc631053" providerId="ADAL" clId="{34473802-5904-426F-ADDF-0D0D1B44876C}" dt="2024-03-04T09:19:08.409" v="7896" actId="478"/>
          <ac:spMkLst>
            <pc:docMk/>
            <pc:sldMk cId="2283029669" sldId="948"/>
            <ac:spMk id="3" creationId="{F4CCF02E-F3C4-C376-8F56-61BD85A2E74B}"/>
          </ac:spMkLst>
        </pc:spChg>
        <pc:spChg chg="add del mod">
          <ac:chgData name="Annemarija Apine (LV)" userId="546f5c59-3b8d-47fd-b739-a8fadc631053" providerId="ADAL" clId="{34473802-5904-426F-ADDF-0D0D1B44876C}" dt="2024-03-04T09:19:11.912" v="7899" actId="478"/>
          <ac:spMkLst>
            <pc:docMk/>
            <pc:sldMk cId="2283029669" sldId="948"/>
            <ac:spMk id="8" creationId="{AFE82EF6-BF43-A2C7-937E-40653CB3DC55}"/>
          </ac:spMkLst>
        </pc:spChg>
        <pc:spChg chg="add del mod">
          <ac:chgData name="Annemarija Apine (LV)" userId="546f5c59-3b8d-47fd-b739-a8fadc631053" providerId="ADAL" clId="{34473802-5904-426F-ADDF-0D0D1B44876C}" dt="2024-03-04T09:19:10.840" v="7898"/>
          <ac:spMkLst>
            <pc:docMk/>
            <pc:sldMk cId="2283029669" sldId="948"/>
            <ac:spMk id="10" creationId="{BC2D5447-3523-800C-7AD7-0AD0247C1A54}"/>
          </ac:spMkLst>
        </pc:spChg>
        <pc:spChg chg="add mod">
          <ac:chgData name="Annemarija Apine (LV)" userId="546f5c59-3b8d-47fd-b739-a8fadc631053" providerId="ADAL" clId="{34473802-5904-426F-ADDF-0D0D1B44876C}" dt="2024-03-04T09:19:12.169" v="7900"/>
          <ac:spMkLst>
            <pc:docMk/>
            <pc:sldMk cId="2283029669" sldId="948"/>
            <ac:spMk id="16" creationId="{B71E2857-B3F3-7914-9BA0-B8B78513021C}"/>
          </ac:spMkLst>
        </pc:spChg>
        <pc:spChg chg="mod">
          <ac:chgData name="Annemarija Apine (LV)" userId="546f5c59-3b8d-47fd-b739-a8fadc631053" providerId="ADAL" clId="{34473802-5904-426F-ADDF-0D0D1B44876C}" dt="2024-03-01T15:58:55.603" v="7180" actId="14100"/>
          <ac:spMkLst>
            <pc:docMk/>
            <pc:sldMk cId="2283029669" sldId="948"/>
            <ac:spMk id="50" creationId="{0130363F-7CE7-F3D0-4AB5-F295FAC2DCBC}"/>
          </ac:spMkLst>
        </pc:spChg>
        <pc:spChg chg="mod">
          <ac:chgData name="Annemarija Apine (LV)" userId="546f5c59-3b8d-47fd-b739-a8fadc631053" providerId="ADAL" clId="{34473802-5904-426F-ADDF-0D0D1B44876C}" dt="2024-03-01T15:59:25.510" v="7209" actId="20577"/>
          <ac:spMkLst>
            <pc:docMk/>
            <pc:sldMk cId="2283029669" sldId="948"/>
            <ac:spMk id="51" creationId="{AFEB1935-0849-FFDB-14A2-768E555E2F79}"/>
          </ac:spMkLst>
        </pc:spChg>
      </pc:sldChg>
      <pc:sldChg chg="addSp modSp add mod modNotesTx">
        <pc:chgData name="Annemarija Apine (LV)" userId="546f5c59-3b8d-47fd-b739-a8fadc631053" providerId="ADAL" clId="{34473802-5904-426F-ADDF-0D0D1B44876C}" dt="2024-03-04T09:50:07.782" v="8549" actId="1076"/>
        <pc:sldMkLst>
          <pc:docMk/>
          <pc:sldMk cId="3348140347" sldId="949"/>
        </pc:sldMkLst>
        <pc:spChg chg="add mod">
          <ac:chgData name="Annemarija Apine (LV)" userId="546f5c59-3b8d-47fd-b739-a8fadc631053" providerId="ADAL" clId="{34473802-5904-426F-ADDF-0D0D1B44876C}" dt="2024-03-04T09:50:07.782" v="8549" actId="1076"/>
          <ac:spMkLst>
            <pc:docMk/>
            <pc:sldMk cId="3348140347" sldId="949"/>
            <ac:spMk id="2" creationId="{D4E26663-5B37-5DAA-CC19-B616D98179BA}"/>
          </ac:spMkLst>
        </pc:spChg>
        <pc:spChg chg="mod">
          <ac:chgData name="Annemarija Apine (LV)" userId="546f5c59-3b8d-47fd-b739-a8fadc631053" providerId="ADAL" clId="{34473802-5904-426F-ADDF-0D0D1B44876C}" dt="2024-03-01T16:15:28.950" v="7294" actId="20577"/>
          <ac:spMkLst>
            <pc:docMk/>
            <pc:sldMk cId="3348140347" sldId="949"/>
            <ac:spMk id="25" creationId="{2B261BF4-92C6-462D-AA95-793AE54DD688}"/>
          </ac:spMkLst>
        </pc:spChg>
        <pc:spChg chg="mod">
          <ac:chgData name="Annemarija Apine (LV)" userId="546f5c59-3b8d-47fd-b739-a8fadc631053" providerId="ADAL" clId="{34473802-5904-426F-ADDF-0D0D1B44876C}" dt="2024-03-01T16:02:33.087" v="7283" actId="14100"/>
          <ac:spMkLst>
            <pc:docMk/>
            <pc:sldMk cId="3348140347" sldId="949"/>
            <ac:spMk id="50" creationId="{0130363F-7CE7-F3D0-4AB5-F295FAC2DCBC}"/>
          </ac:spMkLst>
        </pc:spChg>
        <pc:spChg chg="mod">
          <ac:chgData name="Annemarija Apine (LV)" userId="546f5c59-3b8d-47fd-b739-a8fadc631053" providerId="ADAL" clId="{34473802-5904-426F-ADDF-0D0D1B44876C}" dt="2024-03-01T16:02:38.379" v="7284" actId="14100"/>
          <ac:spMkLst>
            <pc:docMk/>
            <pc:sldMk cId="3348140347" sldId="949"/>
            <ac:spMk id="51" creationId="{AFEB1935-0849-FFDB-14A2-768E555E2F79}"/>
          </ac:spMkLst>
        </pc:spChg>
      </pc:sldChg>
      <pc:sldChg chg="delSp modSp add mod ord addCm modCm modNotesTx">
        <pc:chgData name="Annemarija Apine (LV)" userId="546f5c59-3b8d-47fd-b739-a8fadc631053" providerId="ADAL" clId="{34473802-5904-426F-ADDF-0D0D1B44876C}" dt="2024-03-04T09:50:38.552" v="8555" actId="20577"/>
        <pc:sldMkLst>
          <pc:docMk/>
          <pc:sldMk cId="201777098" sldId="950"/>
        </pc:sldMkLst>
        <pc:spChg chg="mod">
          <ac:chgData name="Annemarija Apine (LV)" userId="546f5c59-3b8d-47fd-b739-a8fadc631053" providerId="ADAL" clId="{34473802-5904-426F-ADDF-0D0D1B44876C}" dt="2024-03-01T16:15:52.595" v="7316" actId="20577"/>
          <ac:spMkLst>
            <pc:docMk/>
            <pc:sldMk cId="201777098" sldId="950"/>
            <ac:spMk id="3" creationId="{F4CCF02E-F3C4-C376-8F56-61BD85A2E74B}"/>
          </ac:spMkLst>
        </pc:spChg>
        <pc:spChg chg="del">
          <ac:chgData name="Annemarija Apine (LV)" userId="546f5c59-3b8d-47fd-b739-a8fadc631053" providerId="ADAL" clId="{34473802-5904-426F-ADDF-0D0D1B44876C}" dt="2024-03-01T16:17:08.833" v="7333" actId="478"/>
          <ac:spMkLst>
            <pc:docMk/>
            <pc:sldMk cId="201777098" sldId="950"/>
            <ac:spMk id="25" creationId="{2B261BF4-92C6-462D-AA95-793AE54DD688}"/>
          </ac:spMkLst>
        </pc:spChg>
        <pc:spChg chg="del">
          <ac:chgData name="Annemarija Apine (LV)" userId="546f5c59-3b8d-47fd-b739-a8fadc631053" providerId="ADAL" clId="{34473802-5904-426F-ADDF-0D0D1B44876C}" dt="2024-03-01T16:17:08.833" v="7333" actId="478"/>
          <ac:spMkLst>
            <pc:docMk/>
            <pc:sldMk cId="201777098" sldId="950"/>
            <ac:spMk id="27" creationId="{72D802D4-B169-1594-D931-40179675E33A}"/>
          </ac:spMkLst>
        </pc:spChg>
        <pc:spChg chg="del">
          <ac:chgData name="Annemarija Apine (LV)" userId="546f5c59-3b8d-47fd-b739-a8fadc631053" providerId="ADAL" clId="{34473802-5904-426F-ADDF-0D0D1B44876C}" dt="2024-03-01T16:17:08.833" v="7333" actId="478"/>
          <ac:spMkLst>
            <pc:docMk/>
            <pc:sldMk cId="201777098" sldId="950"/>
            <ac:spMk id="44" creationId="{37325A5C-F07F-2313-782A-18E3E98D15F0}"/>
          </ac:spMkLst>
        </pc:spChg>
        <pc:spChg chg="del">
          <ac:chgData name="Annemarija Apine (LV)" userId="546f5c59-3b8d-47fd-b739-a8fadc631053" providerId="ADAL" clId="{34473802-5904-426F-ADDF-0D0D1B44876C}" dt="2024-03-01T16:17:08.833" v="7333" actId="478"/>
          <ac:spMkLst>
            <pc:docMk/>
            <pc:sldMk cId="201777098" sldId="950"/>
            <ac:spMk id="45" creationId="{5A4A472A-422C-56F4-A0F5-AE422E82D144}"/>
          </ac:spMkLst>
        </pc:spChg>
        <pc:spChg chg="del">
          <ac:chgData name="Annemarija Apine (LV)" userId="546f5c59-3b8d-47fd-b739-a8fadc631053" providerId="ADAL" clId="{34473802-5904-426F-ADDF-0D0D1B44876C}" dt="2024-03-01T16:17:08.833" v="7333" actId="478"/>
          <ac:spMkLst>
            <pc:docMk/>
            <pc:sldMk cId="201777098" sldId="950"/>
            <ac:spMk id="49" creationId="{DED3BED4-139F-CB4F-0A7B-7B90211550F4}"/>
          </ac:spMkLst>
        </pc:spChg>
        <pc:spChg chg="mod">
          <ac:chgData name="Annemarija Apine (LV)" userId="546f5c59-3b8d-47fd-b739-a8fadc631053" providerId="ADAL" clId="{34473802-5904-426F-ADDF-0D0D1B44876C}" dt="2024-03-01T16:16:05.034" v="7320" actId="14100"/>
          <ac:spMkLst>
            <pc:docMk/>
            <pc:sldMk cId="201777098" sldId="950"/>
            <ac:spMk id="94" creationId="{2945AFC3-C832-6045-1DDE-A189FFBEDD95}"/>
          </ac:spMkLst>
        </pc:spChg>
        <pc:spChg chg="mod">
          <ac:chgData name="Annemarija Apine (LV)" userId="546f5c59-3b8d-47fd-b739-a8fadc631053" providerId="ADAL" clId="{34473802-5904-426F-ADDF-0D0D1B44876C}" dt="2024-03-04T09:50:32.371" v="8554" actId="113"/>
          <ac:spMkLst>
            <pc:docMk/>
            <pc:sldMk cId="201777098" sldId="950"/>
            <ac:spMk id="105" creationId="{C73B42A3-EA68-B90F-A6C9-5F7FF93DD187}"/>
          </ac:spMkLst>
        </pc:spChg>
        <pc:extLst>
          <p:ext xmlns:p="http://schemas.openxmlformats.org/presentationml/2006/main" uri="{D6D511B9-2390-475A-947B-AFAB55BFBCF1}">
            <pc226:cmChg xmlns:pc226="http://schemas.microsoft.com/office/powerpoint/2022/06/main/command" chg="add mod">
              <pc226:chgData name="Annemarija Apine (LV)" userId="546f5c59-3b8d-47fd-b739-a8fadc631053" providerId="ADAL" clId="{34473802-5904-426F-ADDF-0D0D1B44876C}" dt="2024-03-01T16:16:54.766" v="7332" actId="20577"/>
              <pc2:cmMkLst xmlns:pc2="http://schemas.microsoft.com/office/powerpoint/2019/9/main/command">
                <pc:docMk/>
                <pc:sldMk cId="201777098" sldId="950"/>
                <pc2:cmMk id="{1A5476BB-88AF-4870-A72B-D1F544EA1421}"/>
              </pc2:cmMkLst>
            </pc226:cmChg>
            <pc226:cmChg xmlns:pc226="http://schemas.microsoft.com/office/powerpoint/2022/06/main/command" chg="mod">
              <pc226:chgData name="Annemarija Apine (LV)" userId="546f5c59-3b8d-47fd-b739-a8fadc631053" providerId="ADAL" clId="{34473802-5904-426F-ADDF-0D0D1B44876C}" dt="2024-03-01T16:17:15.848" v="7334"/>
              <pc2:cmMkLst xmlns:pc2="http://schemas.microsoft.com/office/powerpoint/2019/9/main/command">
                <pc:docMk/>
                <pc:sldMk cId="201777098" sldId="950"/>
                <pc2:cmMk id="{5E0D50F5-D5CA-4BCD-9B39-6846677F7D43}"/>
              </pc2:cmMkLst>
            </pc226:cmChg>
          </p:ext>
        </pc:extLst>
      </pc:sldChg>
      <pc:sldChg chg="addSp modSp add mod modCm modNotesTx">
        <pc:chgData name="Annemarija Apine (LV)" userId="546f5c59-3b8d-47fd-b739-a8fadc631053" providerId="ADAL" clId="{34473802-5904-426F-ADDF-0D0D1B44876C}" dt="2024-03-04T09:51:01.827" v="8564" actId="113"/>
        <pc:sldMkLst>
          <pc:docMk/>
          <pc:sldMk cId="3919877977" sldId="951"/>
        </pc:sldMkLst>
        <pc:spChg chg="add mod">
          <ac:chgData name="Annemarija Apine (LV)" userId="546f5c59-3b8d-47fd-b739-a8fadc631053" providerId="ADAL" clId="{34473802-5904-426F-ADDF-0D0D1B44876C}" dt="2024-03-01T16:17:23.684" v="7340"/>
          <ac:spMkLst>
            <pc:docMk/>
            <pc:sldMk cId="3919877977" sldId="951"/>
            <ac:spMk id="2" creationId="{CF385B03-2F15-6430-B726-C2FB4A14829D}"/>
          </ac:spMkLst>
        </pc:spChg>
        <pc:spChg chg="mod">
          <ac:chgData name="Annemarija Apine (LV)" userId="546f5c59-3b8d-47fd-b739-a8fadc631053" providerId="ADAL" clId="{34473802-5904-426F-ADDF-0D0D1B44876C}" dt="2024-03-04T09:51:01.827" v="8564" actId="113"/>
          <ac:spMkLst>
            <pc:docMk/>
            <pc:sldMk cId="3919877977" sldId="951"/>
            <ac:spMk id="5" creationId="{72E4C008-5160-4BC9-7D87-A59459C11EBD}"/>
          </ac:spMkLst>
        </pc:spChg>
        <pc:spChg chg="mod">
          <ac:chgData name="Annemarija Apine (LV)" userId="546f5c59-3b8d-47fd-b739-a8fadc631053" providerId="ADAL" clId="{34473802-5904-426F-ADDF-0D0D1B44876C}" dt="2024-03-01T16:17:51.654" v="7349" actId="14100"/>
          <ac:spMkLst>
            <pc:docMk/>
            <pc:sldMk cId="3919877977" sldId="951"/>
            <ac:spMk id="50" creationId="{0130363F-7CE7-F3D0-4AB5-F295FAC2DCBC}"/>
          </ac:spMkLst>
        </pc:spChg>
        <pc:spChg chg="mod">
          <ac:chgData name="Annemarija Apine (LV)" userId="546f5c59-3b8d-47fd-b739-a8fadc631053" providerId="ADAL" clId="{34473802-5904-426F-ADDF-0D0D1B44876C}" dt="2024-03-01T16:17:54.163" v="7350" actId="14100"/>
          <ac:spMkLst>
            <pc:docMk/>
            <pc:sldMk cId="3919877977" sldId="951"/>
            <ac:spMk id="51" creationId="{AFEB1935-0849-FFDB-14A2-768E555E2F79}"/>
          </ac:spMkLst>
        </pc:spChg>
        <pc:extLst>
          <p:ext xmlns:p="http://schemas.openxmlformats.org/presentationml/2006/main" uri="{D6D511B9-2390-475A-947B-AFAB55BFBCF1}">
            <pc226:cmChg xmlns:pc226="http://schemas.microsoft.com/office/powerpoint/2022/06/main/command" chg="mod">
              <pc226:chgData name="Annemarija Apine (LV)" userId="546f5c59-3b8d-47fd-b739-a8fadc631053" providerId="ADAL" clId="{34473802-5904-426F-ADDF-0D0D1B44876C}" dt="2024-03-04T09:36:42.809" v="8320" actId="2056"/>
              <pc2:cmMkLst xmlns:pc2="http://schemas.microsoft.com/office/powerpoint/2019/9/main/command">
                <pc:docMk/>
                <pc:sldMk cId="3919877977" sldId="951"/>
                <pc2:cmMk id="{85CB2ACB-F07F-45B5-89ED-DD3C5C9375B3}"/>
              </pc2:cmMkLst>
            </pc226:cmChg>
          </p:ext>
        </pc:extLst>
      </pc:sldChg>
      <pc:sldChg chg="addSp delSp modSp new mod addCm">
        <pc:chgData name="Annemarija Apine (LV)" userId="546f5c59-3b8d-47fd-b739-a8fadc631053" providerId="ADAL" clId="{34473802-5904-426F-ADDF-0D0D1B44876C}" dt="2024-03-04T09:51:27.825" v="8571" actId="14100"/>
        <pc:sldMkLst>
          <pc:docMk/>
          <pc:sldMk cId="1713450018" sldId="952"/>
        </pc:sldMkLst>
        <pc:spChg chg="del">
          <ac:chgData name="Annemarija Apine (LV)" userId="546f5c59-3b8d-47fd-b739-a8fadc631053" providerId="ADAL" clId="{34473802-5904-426F-ADDF-0D0D1B44876C}" dt="2024-03-01T16:18:21.237" v="7353" actId="478"/>
          <ac:spMkLst>
            <pc:docMk/>
            <pc:sldMk cId="1713450018" sldId="952"/>
            <ac:spMk id="2" creationId="{FCF9A3DF-EA6E-D8DE-2F48-826E5CA7BE0C}"/>
          </ac:spMkLst>
        </pc:spChg>
        <pc:spChg chg="del">
          <ac:chgData name="Annemarija Apine (LV)" userId="546f5c59-3b8d-47fd-b739-a8fadc631053" providerId="ADAL" clId="{34473802-5904-426F-ADDF-0D0D1B44876C}" dt="2024-03-01T16:18:21.237" v="7353" actId="478"/>
          <ac:spMkLst>
            <pc:docMk/>
            <pc:sldMk cId="1713450018" sldId="952"/>
            <ac:spMk id="3" creationId="{63001FE4-7B88-0FCA-135D-1EB226BA4538}"/>
          </ac:spMkLst>
        </pc:spChg>
        <pc:spChg chg="del">
          <ac:chgData name="Annemarija Apine (LV)" userId="546f5c59-3b8d-47fd-b739-a8fadc631053" providerId="ADAL" clId="{34473802-5904-426F-ADDF-0D0D1B44876C}" dt="2024-03-01T16:18:21.237" v="7353" actId="478"/>
          <ac:spMkLst>
            <pc:docMk/>
            <pc:sldMk cId="1713450018" sldId="952"/>
            <ac:spMk id="4" creationId="{15EEFB7D-DCE3-D590-3EF8-5D7238FFEE50}"/>
          </ac:spMkLst>
        </pc:spChg>
        <pc:spChg chg="del">
          <ac:chgData name="Annemarija Apine (LV)" userId="546f5c59-3b8d-47fd-b739-a8fadc631053" providerId="ADAL" clId="{34473802-5904-426F-ADDF-0D0D1B44876C}" dt="2024-03-01T16:18:21.237" v="7353" actId="478"/>
          <ac:spMkLst>
            <pc:docMk/>
            <pc:sldMk cId="1713450018" sldId="952"/>
            <ac:spMk id="5" creationId="{EAA3B952-A2E0-015D-E642-865CDF8BEF65}"/>
          </ac:spMkLst>
        </pc:spChg>
        <pc:spChg chg="mod">
          <ac:chgData name="Annemarija Apine (LV)" userId="546f5c59-3b8d-47fd-b739-a8fadc631053" providerId="ADAL" clId="{34473802-5904-426F-ADDF-0D0D1B44876C}" dt="2024-03-01T16:18:31.781" v="7401" actId="20577"/>
          <ac:spMkLst>
            <pc:docMk/>
            <pc:sldMk cId="1713450018" sldId="952"/>
            <ac:spMk id="6" creationId="{38CA96A2-A01D-FA94-92E8-A765979AB49D}"/>
          </ac:spMkLst>
        </pc:spChg>
        <pc:spChg chg="del">
          <ac:chgData name="Annemarija Apine (LV)" userId="546f5c59-3b8d-47fd-b739-a8fadc631053" providerId="ADAL" clId="{34473802-5904-426F-ADDF-0D0D1B44876C}" dt="2024-03-01T16:18:21.237" v="7353" actId="478"/>
          <ac:spMkLst>
            <pc:docMk/>
            <pc:sldMk cId="1713450018" sldId="952"/>
            <ac:spMk id="8" creationId="{67E59979-CBC7-089F-C2E3-3524B9425893}"/>
          </ac:spMkLst>
        </pc:spChg>
        <pc:spChg chg="del">
          <ac:chgData name="Annemarija Apine (LV)" userId="546f5c59-3b8d-47fd-b739-a8fadc631053" providerId="ADAL" clId="{34473802-5904-426F-ADDF-0D0D1B44876C}" dt="2024-03-01T16:18:21.237" v="7353" actId="478"/>
          <ac:spMkLst>
            <pc:docMk/>
            <pc:sldMk cId="1713450018" sldId="952"/>
            <ac:spMk id="9" creationId="{9E508381-A66A-401E-57B2-98ECB4E5ED7C}"/>
          </ac:spMkLst>
        </pc:spChg>
        <pc:spChg chg="add mod">
          <ac:chgData name="Annemarija Apine (LV)" userId="546f5c59-3b8d-47fd-b739-a8fadc631053" providerId="ADAL" clId="{34473802-5904-426F-ADDF-0D0D1B44876C}" dt="2024-03-04T09:51:27.825" v="8571" actId="14100"/>
          <ac:spMkLst>
            <pc:docMk/>
            <pc:sldMk cId="1713450018" sldId="952"/>
            <ac:spMk id="11" creationId="{E0158CBF-80D1-8041-5978-AE6FC3BEB22F}"/>
          </ac:spMkLst>
        </pc:spChg>
        <pc:graphicFrameChg chg="add mod modGraphic">
          <ac:chgData name="Annemarija Apine (LV)" userId="546f5c59-3b8d-47fd-b739-a8fadc631053" providerId="ADAL" clId="{34473802-5904-426F-ADDF-0D0D1B44876C}" dt="2024-03-01T16:19:55.628" v="7423" actId="14734"/>
          <ac:graphicFrameMkLst>
            <pc:docMk/>
            <pc:sldMk cId="1713450018" sldId="952"/>
            <ac:graphicFrameMk id="10" creationId="{DD430830-1913-0D22-CCB5-64EB0C593545}"/>
          </ac:graphicFrameMkLst>
        </pc:graphicFrame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1T16:18:53.838" v="7402"/>
              <pc2:cmMkLst xmlns:pc2="http://schemas.microsoft.com/office/powerpoint/2019/9/main/command">
                <pc:docMk/>
                <pc:sldMk cId="1713450018" sldId="952"/>
                <pc2:cmMk id="{8A22812F-5AB0-4E9E-AD91-0EE4F777EC6D}"/>
              </pc2:cmMkLst>
            </pc226:cmChg>
          </p:ext>
        </pc:extLst>
      </pc:sldChg>
      <pc:sldChg chg="modSp add mod ord addCm modNotesTx">
        <pc:chgData name="Annemarija Apine (LV)" userId="546f5c59-3b8d-47fd-b739-a8fadc631053" providerId="ADAL" clId="{34473802-5904-426F-ADDF-0D0D1B44876C}" dt="2024-03-04T09:51:08.299" v="8566" actId="20577"/>
        <pc:sldMkLst>
          <pc:docMk/>
          <pc:sldMk cId="2937916867" sldId="953"/>
        </pc:sldMkLst>
        <pc:spChg chg="mod">
          <ac:chgData name="Annemarija Apine (LV)" userId="546f5c59-3b8d-47fd-b739-a8fadc631053" providerId="ADAL" clId="{34473802-5904-426F-ADDF-0D0D1B44876C}" dt="2024-03-01T16:20:31.838" v="7451" actId="20577"/>
          <ac:spMkLst>
            <pc:docMk/>
            <pc:sldMk cId="2937916867" sldId="953"/>
            <ac:spMk id="2" creationId="{00000000-0000-0000-0000-000000000000}"/>
          </ac:spMkLst>
        </pc:s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1T16:20:46.159" v="7454"/>
              <pc2:cmMkLst xmlns:pc2="http://schemas.microsoft.com/office/powerpoint/2019/9/main/command">
                <pc:docMk/>
                <pc:sldMk cId="2937916867" sldId="953"/>
                <pc2:cmMk id="{C1EC82F6-EF9F-4CA6-8F57-9EF24A3D4FCA}"/>
              </pc2:cmMkLst>
            </pc226:cmChg>
          </p:ext>
        </pc:extLst>
      </pc:sldChg>
      <pc:sldChg chg="modSp mod modNotesTx">
        <pc:chgData name="Annemarija Apine (LV)" userId="546f5c59-3b8d-47fd-b739-a8fadc631053" providerId="ADAL" clId="{34473802-5904-426F-ADDF-0D0D1B44876C}" dt="2024-03-11T14:40:56.230" v="10275" actId="20577"/>
        <pc:sldMkLst>
          <pc:docMk/>
          <pc:sldMk cId="3292995886" sldId="954"/>
        </pc:sldMkLst>
        <pc:spChg chg="mod">
          <ac:chgData name="Annemarija Apine (LV)" userId="546f5c59-3b8d-47fd-b739-a8fadc631053" providerId="ADAL" clId="{34473802-5904-426F-ADDF-0D0D1B44876C}" dt="2024-03-11T14:40:56.230" v="10275" actId="20577"/>
          <ac:spMkLst>
            <pc:docMk/>
            <pc:sldMk cId="3292995886" sldId="954"/>
            <ac:spMk id="68" creationId="{512F80CF-595E-3A80-F495-3198099BF352}"/>
          </ac:spMkLst>
        </pc:spChg>
      </pc:sldChg>
      <pc:sldChg chg="del">
        <pc:chgData name="Annemarija Apine (LV)" userId="546f5c59-3b8d-47fd-b739-a8fadc631053" providerId="ADAL" clId="{34473802-5904-426F-ADDF-0D0D1B44876C}" dt="2024-03-11T14:42:35.454" v="10341" actId="2696"/>
        <pc:sldMkLst>
          <pc:docMk/>
          <pc:sldMk cId="1412199469" sldId="955"/>
        </pc:sldMkLst>
      </pc:sldChg>
      <pc:sldChg chg="new del">
        <pc:chgData name="Annemarija Apine (LV)" userId="546f5c59-3b8d-47fd-b739-a8fadc631053" providerId="ADAL" clId="{34473802-5904-426F-ADDF-0D0D1B44876C}" dt="2024-03-10T23:47:41.939" v="9945" actId="680"/>
        <pc:sldMkLst>
          <pc:docMk/>
          <pc:sldMk cId="2740497226" sldId="967"/>
        </pc:sldMkLst>
      </pc:sldChg>
    </pc:docChg>
  </pc:docChgLst>
  <pc:docChgLst>
    <pc:chgData name="Annemarija Apine (LV)" userId="546f5c59-3b8d-47fd-b739-a8fadc631053" providerId="ADAL" clId="{1E5FAF9F-4D85-464E-B064-C298814D6547}"/>
    <pc:docChg chg="undo custSel delSld modSld replTag">
      <pc:chgData name="Annemarija Apine (LV)" userId="546f5c59-3b8d-47fd-b739-a8fadc631053" providerId="ADAL" clId="{1E5FAF9F-4D85-464E-B064-C298814D6547}" dt="2024-03-12T12:46:01.221" v="1187"/>
      <pc:docMkLst>
        <pc:docMk/>
      </pc:docMkLst>
      <pc:sldChg chg="del">
        <pc:chgData name="Annemarija Apine (LV)" userId="546f5c59-3b8d-47fd-b739-a8fadc631053" providerId="ADAL" clId="{1E5FAF9F-4D85-464E-B064-C298814D6547}" dt="2024-03-11T21:54:49.959" v="98" actId="47"/>
        <pc:sldMkLst>
          <pc:docMk/>
          <pc:sldMk cId="714588004" sldId="277"/>
        </pc:sldMkLst>
      </pc:sldChg>
      <pc:sldChg chg="del">
        <pc:chgData name="Annemarija Apine (LV)" userId="546f5c59-3b8d-47fd-b739-a8fadc631053" providerId="ADAL" clId="{1E5FAF9F-4D85-464E-B064-C298814D6547}" dt="2024-03-11T21:54:49.959" v="98" actId="47"/>
        <pc:sldMkLst>
          <pc:docMk/>
          <pc:sldMk cId="0" sldId="309"/>
        </pc:sldMkLst>
      </pc:sldChg>
      <pc:sldChg chg="del">
        <pc:chgData name="Annemarija Apine (LV)" userId="546f5c59-3b8d-47fd-b739-a8fadc631053" providerId="ADAL" clId="{1E5FAF9F-4D85-464E-B064-C298814D6547}" dt="2024-03-11T21:54:49.959" v="98" actId="47"/>
        <pc:sldMkLst>
          <pc:docMk/>
          <pc:sldMk cId="0" sldId="310"/>
        </pc:sldMkLst>
      </pc:sldChg>
      <pc:sldChg chg="del">
        <pc:chgData name="Annemarija Apine (LV)" userId="546f5c59-3b8d-47fd-b739-a8fadc631053" providerId="ADAL" clId="{1E5FAF9F-4D85-464E-B064-C298814D6547}" dt="2024-03-11T21:54:49.959" v="98" actId="47"/>
        <pc:sldMkLst>
          <pc:docMk/>
          <pc:sldMk cId="0" sldId="312"/>
        </pc:sldMkLst>
      </pc:sldChg>
      <pc:sldChg chg="del">
        <pc:chgData name="Annemarija Apine (LV)" userId="546f5c59-3b8d-47fd-b739-a8fadc631053" providerId="ADAL" clId="{1E5FAF9F-4D85-464E-B064-C298814D6547}" dt="2024-03-11T21:54:49.959" v="98" actId="47"/>
        <pc:sldMkLst>
          <pc:docMk/>
          <pc:sldMk cId="0" sldId="313"/>
        </pc:sldMkLst>
      </pc:sldChg>
      <pc:sldChg chg="del">
        <pc:chgData name="Annemarija Apine (LV)" userId="546f5c59-3b8d-47fd-b739-a8fadc631053" providerId="ADAL" clId="{1E5FAF9F-4D85-464E-B064-C298814D6547}" dt="2024-03-11T21:54:49.959" v="98" actId="47"/>
        <pc:sldMkLst>
          <pc:docMk/>
          <pc:sldMk cId="0" sldId="314"/>
        </pc:sldMkLst>
      </pc:sldChg>
      <pc:sldChg chg="addSp delSp modSp mod delCm">
        <pc:chgData name="Annemarija Apine (LV)" userId="546f5c59-3b8d-47fd-b739-a8fadc631053" providerId="ADAL" clId="{1E5FAF9F-4D85-464E-B064-C298814D6547}" dt="2024-03-11T22:24:45.807" v="621" actId="1036"/>
        <pc:sldMkLst>
          <pc:docMk/>
          <pc:sldMk cId="817197616" sldId="332"/>
        </pc:sldMkLst>
        <pc:spChg chg="add del">
          <ac:chgData name="Annemarija Apine (LV)" userId="546f5c59-3b8d-47fd-b739-a8fadc631053" providerId="ADAL" clId="{1E5FAF9F-4D85-464E-B064-C298814D6547}" dt="2024-03-11T21:41:57.276" v="2"/>
          <ac:spMkLst>
            <pc:docMk/>
            <pc:sldMk cId="817197616" sldId="332"/>
            <ac:spMk id="2" creationId="{FA0D95E7-F779-F9E4-1B21-DBF8C3EC57FC}"/>
          </ac:spMkLst>
        </pc:spChg>
        <pc:spChg chg="add mod">
          <ac:chgData name="Annemarija Apine (LV)" userId="546f5c59-3b8d-47fd-b739-a8fadc631053" providerId="ADAL" clId="{1E5FAF9F-4D85-464E-B064-C298814D6547}" dt="2024-03-11T22:24:45.807" v="621" actId="1036"/>
          <ac:spMkLst>
            <pc:docMk/>
            <pc:sldMk cId="817197616" sldId="332"/>
            <ac:spMk id="5" creationId="{C96382F6-4886-AE1D-4E3B-B7A6D20F4B2E}"/>
          </ac:spMkLst>
        </pc:spChg>
        <pc:picChg chg="add mod">
          <ac:chgData name="Annemarija Apine (LV)" userId="546f5c59-3b8d-47fd-b739-a8fadc631053" providerId="ADAL" clId="{1E5FAF9F-4D85-464E-B064-C298814D6547}" dt="2024-03-11T22:24:45.807" v="621" actId="1036"/>
          <ac:picMkLst>
            <pc:docMk/>
            <pc:sldMk cId="817197616" sldId="332"/>
            <ac:picMk id="3" creationId="{4D1170B7-6EE5-270B-66A8-10AD07C6BBCA}"/>
          </ac:picMkLst>
        </pc:picChg>
        <pc:picChg chg="add mod">
          <ac:chgData name="Annemarija Apine (LV)" userId="546f5c59-3b8d-47fd-b739-a8fadc631053" providerId="ADAL" clId="{1E5FAF9F-4D85-464E-B064-C298814D6547}" dt="2024-03-11T22:24:45.807" v="621" actId="1036"/>
          <ac:picMkLst>
            <pc:docMk/>
            <pc:sldMk cId="817197616" sldId="332"/>
            <ac:picMk id="1028" creationId="{49D69959-2997-0541-EBD2-EA679BB87816}"/>
          </ac:picMkLst>
        </pc:pic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817197616" sldId="332"/>
                <pc2:cmMk id="{2A26C7E2-A8DA-4B24-952F-5705AD58D1EA}"/>
              </pc2:cmMkLst>
            </pc226:cmChg>
          </p:ext>
        </pc:extLst>
      </pc:sldChg>
      <pc:sldChg chg="del">
        <pc:chgData name="Annemarija Apine (LV)" userId="546f5c59-3b8d-47fd-b739-a8fadc631053" providerId="ADAL" clId="{1E5FAF9F-4D85-464E-B064-C298814D6547}" dt="2024-03-11T21:54:49.959" v="98" actId="47"/>
        <pc:sldMkLst>
          <pc:docMk/>
          <pc:sldMk cId="1077060666" sldId="333"/>
        </pc:sldMkLst>
      </pc:sldChg>
      <pc:sldChg chg="del">
        <pc:chgData name="Annemarija Apine (LV)" userId="546f5c59-3b8d-47fd-b739-a8fadc631053" providerId="ADAL" clId="{1E5FAF9F-4D85-464E-B064-C298814D6547}" dt="2024-03-11T21:54:49.959" v="98" actId="47"/>
        <pc:sldMkLst>
          <pc:docMk/>
          <pc:sldMk cId="1586425510" sldId="334"/>
        </pc:sldMkLst>
      </pc:sldChg>
      <pc:sldChg chg="del">
        <pc:chgData name="Annemarija Apine (LV)" userId="546f5c59-3b8d-47fd-b739-a8fadc631053" providerId="ADAL" clId="{1E5FAF9F-4D85-464E-B064-C298814D6547}" dt="2024-03-11T21:54:49.959" v="98" actId="47"/>
        <pc:sldMkLst>
          <pc:docMk/>
          <pc:sldMk cId="3962446863" sldId="335"/>
        </pc:sldMkLst>
      </pc:sldChg>
      <pc:sldChg chg="del">
        <pc:chgData name="Annemarija Apine (LV)" userId="546f5c59-3b8d-47fd-b739-a8fadc631053" providerId="ADAL" clId="{1E5FAF9F-4D85-464E-B064-C298814D6547}" dt="2024-03-11T21:54:49.959" v="98" actId="47"/>
        <pc:sldMkLst>
          <pc:docMk/>
          <pc:sldMk cId="1176371514" sldId="336"/>
        </pc:sldMkLst>
      </pc:sldChg>
      <pc:sldChg chg="del">
        <pc:chgData name="Annemarija Apine (LV)" userId="546f5c59-3b8d-47fd-b739-a8fadc631053" providerId="ADAL" clId="{1E5FAF9F-4D85-464E-B064-C298814D6547}" dt="2024-03-11T21:54:49.959" v="98" actId="47"/>
        <pc:sldMkLst>
          <pc:docMk/>
          <pc:sldMk cId="3244661427" sldId="337"/>
        </pc:sldMkLst>
      </pc:sldChg>
      <pc:sldChg chg="del">
        <pc:chgData name="Annemarija Apine (LV)" userId="546f5c59-3b8d-47fd-b739-a8fadc631053" providerId="ADAL" clId="{1E5FAF9F-4D85-464E-B064-C298814D6547}" dt="2024-03-11T21:54:49.959" v="98" actId="47"/>
        <pc:sldMkLst>
          <pc:docMk/>
          <pc:sldMk cId="2065102976" sldId="338"/>
        </pc:sldMkLst>
      </pc:sldChg>
      <pc:sldChg chg="del">
        <pc:chgData name="Annemarija Apine (LV)" userId="546f5c59-3b8d-47fd-b739-a8fadc631053" providerId="ADAL" clId="{1E5FAF9F-4D85-464E-B064-C298814D6547}" dt="2024-03-11T21:54:49.959" v="98" actId="47"/>
        <pc:sldMkLst>
          <pc:docMk/>
          <pc:sldMk cId="1311325920" sldId="339"/>
        </pc:sldMkLst>
      </pc:sldChg>
      <pc:sldChg chg="del">
        <pc:chgData name="Annemarija Apine (LV)" userId="546f5c59-3b8d-47fd-b739-a8fadc631053" providerId="ADAL" clId="{1E5FAF9F-4D85-464E-B064-C298814D6547}" dt="2024-03-11T21:54:49.959" v="98" actId="47"/>
        <pc:sldMkLst>
          <pc:docMk/>
          <pc:sldMk cId="3750811665" sldId="340"/>
        </pc:sldMkLst>
      </pc:sldChg>
      <pc:sldChg chg="del">
        <pc:chgData name="Annemarija Apine (LV)" userId="546f5c59-3b8d-47fd-b739-a8fadc631053" providerId="ADAL" clId="{1E5FAF9F-4D85-464E-B064-C298814D6547}" dt="2024-03-11T21:54:49.959" v="98" actId="47"/>
        <pc:sldMkLst>
          <pc:docMk/>
          <pc:sldMk cId="633515575" sldId="341"/>
        </pc:sldMkLst>
      </pc:sldChg>
      <pc:sldChg chg="del">
        <pc:chgData name="Annemarija Apine (LV)" userId="546f5c59-3b8d-47fd-b739-a8fadc631053" providerId="ADAL" clId="{1E5FAF9F-4D85-464E-B064-C298814D6547}" dt="2024-03-11T21:54:49.959" v="98" actId="47"/>
        <pc:sldMkLst>
          <pc:docMk/>
          <pc:sldMk cId="0" sldId="351"/>
        </pc:sldMkLst>
      </pc:sldChg>
      <pc:sldChg chg="del">
        <pc:chgData name="Annemarija Apine (LV)" userId="546f5c59-3b8d-47fd-b739-a8fadc631053" providerId="ADAL" clId="{1E5FAF9F-4D85-464E-B064-C298814D6547}" dt="2024-03-11T21:54:49.959" v="98" actId="47"/>
        <pc:sldMkLst>
          <pc:docMk/>
          <pc:sldMk cId="0" sldId="371"/>
        </pc:sldMkLst>
      </pc:sldChg>
      <pc:sldChg chg="del">
        <pc:chgData name="Annemarija Apine (LV)" userId="546f5c59-3b8d-47fd-b739-a8fadc631053" providerId="ADAL" clId="{1E5FAF9F-4D85-464E-B064-C298814D6547}" dt="2024-03-11T21:54:49.959" v="98" actId="47"/>
        <pc:sldMkLst>
          <pc:docMk/>
          <pc:sldMk cId="0" sldId="383"/>
        </pc:sldMkLst>
      </pc:sldChg>
      <pc:sldChg chg="del">
        <pc:chgData name="Annemarija Apine (LV)" userId="546f5c59-3b8d-47fd-b739-a8fadc631053" providerId="ADAL" clId="{1E5FAF9F-4D85-464E-B064-C298814D6547}" dt="2024-03-11T21:54:49.959" v="98" actId="47"/>
        <pc:sldMkLst>
          <pc:docMk/>
          <pc:sldMk cId="0" sldId="392"/>
        </pc:sldMkLst>
      </pc:sldChg>
      <pc:sldChg chg="del">
        <pc:chgData name="Annemarija Apine (LV)" userId="546f5c59-3b8d-47fd-b739-a8fadc631053" providerId="ADAL" clId="{1E5FAF9F-4D85-464E-B064-C298814D6547}" dt="2024-03-11T21:54:49.959" v="98" actId="47"/>
        <pc:sldMkLst>
          <pc:docMk/>
          <pc:sldMk cId="0" sldId="419"/>
        </pc:sldMkLst>
      </pc:sldChg>
      <pc:sldChg chg="del">
        <pc:chgData name="Annemarija Apine (LV)" userId="546f5c59-3b8d-47fd-b739-a8fadc631053" providerId="ADAL" clId="{1E5FAF9F-4D85-464E-B064-C298814D6547}" dt="2024-03-11T21:54:49.959" v="98" actId="47"/>
        <pc:sldMkLst>
          <pc:docMk/>
          <pc:sldMk cId="0" sldId="428"/>
        </pc:sldMkLst>
      </pc:sldChg>
      <pc:sldChg chg="del">
        <pc:chgData name="Annemarija Apine (LV)" userId="546f5c59-3b8d-47fd-b739-a8fadc631053" providerId="ADAL" clId="{1E5FAF9F-4D85-464E-B064-C298814D6547}" dt="2024-03-11T21:54:49.959" v="98" actId="47"/>
        <pc:sldMkLst>
          <pc:docMk/>
          <pc:sldMk cId="0" sldId="429"/>
        </pc:sldMkLst>
      </pc:sldChg>
      <pc:sldChg chg="del">
        <pc:chgData name="Annemarija Apine (LV)" userId="546f5c59-3b8d-47fd-b739-a8fadc631053" providerId="ADAL" clId="{1E5FAF9F-4D85-464E-B064-C298814D6547}" dt="2024-03-11T21:54:49.959" v="98" actId="47"/>
        <pc:sldMkLst>
          <pc:docMk/>
          <pc:sldMk cId="0" sldId="430"/>
        </pc:sldMkLst>
      </pc:sldChg>
      <pc:sldChg chg="del">
        <pc:chgData name="Annemarija Apine (LV)" userId="546f5c59-3b8d-47fd-b739-a8fadc631053" providerId="ADAL" clId="{1E5FAF9F-4D85-464E-B064-C298814D6547}" dt="2024-03-11T21:54:49.959" v="98" actId="47"/>
        <pc:sldMkLst>
          <pc:docMk/>
          <pc:sldMk cId="0" sldId="431"/>
        </pc:sldMkLst>
      </pc:sldChg>
      <pc:sldChg chg="del">
        <pc:chgData name="Annemarija Apine (LV)" userId="546f5c59-3b8d-47fd-b739-a8fadc631053" providerId="ADAL" clId="{1E5FAF9F-4D85-464E-B064-C298814D6547}" dt="2024-03-11T21:54:49.959" v="98" actId="47"/>
        <pc:sldMkLst>
          <pc:docMk/>
          <pc:sldMk cId="0" sldId="432"/>
        </pc:sldMkLst>
      </pc:sldChg>
      <pc:sldChg chg="del">
        <pc:chgData name="Annemarija Apine (LV)" userId="546f5c59-3b8d-47fd-b739-a8fadc631053" providerId="ADAL" clId="{1E5FAF9F-4D85-464E-B064-C298814D6547}" dt="2024-03-11T21:54:49.959" v="98" actId="47"/>
        <pc:sldMkLst>
          <pc:docMk/>
          <pc:sldMk cId="0" sldId="433"/>
        </pc:sldMkLst>
      </pc:sldChg>
      <pc:sldChg chg="del">
        <pc:chgData name="Annemarija Apine (LV)" userId="546f5c59-3b8d-47fd-b739-a8fadc631053" providerId="ADAL" clId="{1E5FAF9F-4D85-464E-B064-C298814D6547}" dt="2024-03-11T21:54:49.959" v="98" actId="47"/>
        <pc:sldMkLst>
          <pc:docMk/>
          <pc:sldMk cId="0" sldId="434"/>
        </pc:sldMkLst>
      </pc:sldChg>
      <pc:sldChg chg="del">
        <pc:chgData name="Annemarija Apine (LV)" userId="546f5c59-3b8d-47fd-b739-a8fadc631053" providerId="ADAL" clId="{1E5FAF9F-4D85-464E-B064-C298814D6547}" dt="2024-03-11T21:54:49.959" v="98" actId="47"/>
        <pc:sldMkLst>
          <pc:docMk/>
          <pc:sldMk cId="0" sldId="435"/>
        </pc:sldMkLst>
      </pc:sldChg>
      <pc:sldChg chg="del">
        <pc:chgData name="Annemarija Apine (LV)" userId="546f5c59-3b8d-47fd-b739-a8fadc631053" providerId="ADAL" clId="{1E5FAF9F-4D85-464E-B064-C298814D6547}" dt="2024-03-11T21:54:49.959" v="98" actId="47"/>
        <pc:sldMkLst>
          <pc:docMk/>
          <pc:sldMk cId="0" sldId="436"/>
        </pc:sldMkLst>
      </pc:sldChg>
      <pc:sldChg chg="del">
        <pc:chgData name="Annemarija Apine (LV)" userId="546f5c59-3b8d-47fd-b739-a8fadc631053" providerId="ADAL" clId="{1E5FAF9F-4D85-464E-B064-C298814D6547}" dt="2024-03-11T21:54:49.959" v="98" actId="47"/>
        <pc:sldMkLst>
          <pc:docMk/>
          <pc:sldMk cId="0" sldId="437"/>
        </pc:sldMkLst>
      </pc:sldChg>
      <pc:sldChg chg="del">
        <pc:chgData name="Annemarija Apine (LV)" userId="546f5c59-3b8d-47fd-b739-a8fadc631053" providerId="ADAL" clId="{1E5FAF9F-4D85-464E-B064-C298814D6547}" dt="2024-03-11T21:54:49.959" v="98" actId="47"/>
        <pc:sldMkLst>
          <pc:docMk/>
          <pc:sldMk cId="0" sldId="438"/>
        </pc:sldMkLst>
      </pc:sldChg>
      <pc:sldChg chg="del">
        <pc:chgData name="Annemarija Apine (LV)" userId="546f5c59-3b8d-47fd-b739-a8fadc631053" providerId="ADAL" clId="{1E5FAF9F-4D85-464E-B064-C298814D6547}" dt="2024-03-11T21:54:49.959" v="98" actId="47"/>
        <pc:sldMkLst>
          <pc:docMk/>
          <pc:sldMk cId="323510126" sldId="439"/>
        </pc:sldMkLst>
      </pc:sldChg>
      <pc:sldChg chg="del">
        <pc:chgData name="Annemarija Apine (LV)" userId="546f5c59-3b8d-47fd-b739-a8fadc631053" providerId="ADAL" clId="{1E5FAF9F-4D85-464E-B064-C298814D6547}" dt="2024-03-11T21:54:49.959" v="98" actId="47"/>
        <pc:sldMkLst>
          <pc:docMk/>
          <pc:sldMk cId="2327326848" sldId="440"/>
        </pc:sldMkLst>
      </pc:sldChg>
      <pc:sldChg chg="del">
        <pc:chgData name="Annemarija Apine (LV)" userId="546f5c59-3b8d-47fd-b739-a8fadc631053" providerId="ADAL" clId="{1E5FAF9F-4D85-464E-B064-C298814D6547}" dt="2024-03-11T21:54:49.959" v="98" actId="47"/>
        <pc:sldMkLst>
          <pc:docMk/>
          <pc:sldMk cId="2336837453" sldId="441"/>
        </pc:sldMkLst>
      </pc:sldChg>
      <pc:sldChg chg="del">
        <pc:chgData name="Annemarija Apine (LV)" userId="546f5c59-3b8d-47fd-b739-a8fadc631053" providerId="ADAL" clId="{1E5FAF9F-4D85-464E-B064-C298814D6547}" dt="2024-03-11T21:54:49.959" v="98" actId="47"/>
        <pc:sldMkLst>
          <pc:docMk/>
          <pc:sldMk cId="4222959714" sldId="442"/>
        </pc:sldMkLst>
      </pc:sldChg>
      <pc:sldChg chg="del">
        <pc:chgData name="Annemarija Apine (LV)" userId="546f5c59-3b8d-47fd-b739-a8fadc631053" providerId="ADAL" clId="{1E5FAF9F-4D85-464E-B064-C298814D6547}" dt="2024-03-11T21:54:49.959" v="98" actId="47"/>
        <pc:sldMkLst>
          <pc:docMk/>
          <pc:sldMk cId="2958925631" sldId="443"/>
        </pc:sldMkLst>
      </pc:sldChg>
      <pc:sldChg chg="del">
        <pc:chgData name="Annemarija Apine (LV)" userId="546f5c59-3b8d-47fd-b739-a8fadc631053" providerId="ADAL" clId="{1E5FAF9F-4D85-464E-B064-C298814D6547}" dt="2024-03-11T21:54:49.959" v="98" actId="47"/>
        <pc:sldMkLst>
          <pc:docMk/>
          <pc:sldMk cId="2811521555" sldId="444"/>
        </pc:sldMkLst>
      </pc:sldChg>
      <pc:sldChg chg="del">
        <pc:chgData name="Annemarija Apine (LV)" userId="546f5c59-3b8d-47fd-b739-a8fadc631053" providerId="ADAL" clId="{1E5FAF9F-4D85-464E-B064-C298814D6547}" dt="2024-03-11T21:54:49.959" v="98" actId="47"/>
        <pc:sldMkLst>
          <pc:docMk/>
          <pc:sldMk cId="4258080952" sldId="445"/>
        </pc:sldMkLst>
      </pc:sldChg>
      <pc:sldChg chg="del">
        <pc:chgData name="Annemarija Apine (LV)" userId="546f5c59-3b8d-47fd-b739-a8fadc631053" providerId="ADAL" clId="{1E5FAF9F-4D85-464E-B064-C298814D6547}" dt="2024-03-11T21:54:49.959" v="98" actId="47"/>
        <pc:sldMkLst>
          <pc:docMk/>
          <pc:sldMk cId="3526594792" sldId="446"/>
        </pc:sldMkLst>
      </pc:sldChg>
      <pc:sldChg chg="del">
        <pc:chgData name="Annemarija Apine (LV)" userId="546f5c59-3b8d-47fd-b739-a8fadc631053" providerId="ADAL" clId="{1E5FAF9F-4D85-464E-B064-C298814D6547}" dt="2024-03-11T21:54:49.959" v="98" actId="47"/>
        <pc:sldMkLst>
          <pc:docMk/>
          <pc:sldMk cId="3932852703" sldId="447"/>
        </pc:sldMkLst>
      </pc:sldChg>
      <pc:sldChg chg="del">
        <pc:chgData name="Annemarija Apine (LV)" userId="546f5c59-3b8d-47fd-b739-a8fadc631053" providerId="ADAL" clId="{1E5FAF9F-4D85-464E-B064-C298814D6547}" dt="2024-03-11T21:54:49.959" v="98" actId="47"/>
        <pc:sldMkLst>
          <pc:docMk/>
          <pc:sldMk cId="1683172751" sldId="448"/>
        </pc:sldMkLst>
      </pc:sldChg>
      <pc:sldChg chg="del">
        <pc:chgData name="Annemarija Apine (LV)" userId="546f5c59-3b8d-47fd-b739-a8fadc631053" providerId="ADAL" clId="{1E5FAF9F-4D85-464E-B064-C298814D6547}" dt="2024-03-11T21:54:49.959" v="98" actId="47"/>
        <pc:sldMkLst>
          <pc:docMk/>
          <pc:sldMk cId="1995840059" sldId="449"/>
        </pc:sldMkLst>
      </pc:sldChg>
      <pc:sldChg chg="modSp mod">
        <pc:chgData name="Annemarija Apine (LV)" userId="546f5c59-3b8d-47fd-b739-a8fadc631053" providerId="ADAL" clId="{1E5FAF9F-4D85-464E-B064-C298814D6547}" dt="2024-03-12T12:02:03.298" v="1122" actId="790"/>
        <pc:sldMkLst>
          <pc:docMk/>
          <pc:sldMk cId="399328488" sldId="450"/>
        </pc:sldMkLst>
        <pc:spChg chg="mod">
          <ac:chgData name="Annemarija Apine (LV)" userId="546f5c59-3b8d-47fd-b739-a8fadc631053" providerId="ADAL" clId="{1E5FAF9F-4D85-464E-B064-C298814D6547}" dt="2024-03-12T12:02:03.298" v="1122" actId="790"/>
          <ac:spMkLst>
            <pc:docMk/>
            <pc:sldMk cId="399328488" sldId="450"/>
            <ac:spMk id="2" creationId="{06CA5123-FA6E-5376-B3D9-BDF5B08EA25B}"/>
          </ac:spMkLst>
        </pc:spChg>
        <pc:spChg chg="mod">
          <ac:chgData name="Annemarija Apine (LV)" userId="546f5c59-3b8d-47fd-b739-a8fadc631053" providerId="ADAL" clId="{1E5FAF9F-4D85-464E-B064-C298814D6547}" dt="2024-03-12T12:02:03.298" v="1122" actId="790"/>
          <ac:spMkLst>
            <pc:docMk/>
            <pc:sldMk cId="399328488" sldId="450"/>
            <ac:spMk id="3" creationId="{AAFE076C-9B8C-9BB3-8680-7E4B60DEC21C}"/>
          </ac:spMkLst>
        </pc:spChg>
        <pc:spChg chg="mod">
          <ac:chgData name="Annemarija Apine (LV)" userId="546f5c59-3b8d-47fd-b739-a8fadc631053" providerId="ADAL" clId="{1E5FAF9F-4D85-464E-B064-C298814D6547}" dt="2024-03-12T12:02:03.298" v="1122" actId="790"/>
          <ac:spMkLst>
            <pc:docMk/>
            <pc:sldMk cId="399328488" sldId="450"/>
            <ac:spMk id="4" creationId="{51A056F4-4CF2-BBE9-52F6-908FF9154948}"/>
          </ac:spMkLst>
        </pc:spChg>
        <pc:spChg chg="mod">
          <ac:chgData name="Annemarija Apine (LV)" userId="546f5c59-3b8d-47fd-b739-a8fadc631053" providerId="ADAL" clId="{1E5FAF9F-4D85-464E-B064-C298814D6547}" dt="2024-03-12T12:02:03.298" v="1122" actId="790"/>
          <ac:spMkLst>
            <pc:docMk/>
            <pc:sldMk cId="399328488" sldId="450"/>
            <ac:spMk id="12" creationId="{437AFA95-4629-E445-8011-A1331848A9C1}"/>
          </ac:spMkLst>
        </pc:spChg>
        <pc:spChg chg="mod">
          <ac:chgData name="Annemarija Apine (LV)" userId="546f5c59-3b8d-47fd-b739-a8fadc631053" providerId="ADAL" clId="{1E5FAF9F-4D85-464E-B064-C298814D6547}" dt="2024-03-12T12:02:03.298" v="1122" actId="790"/>
          <ac:spMkLst>
            <pc:docMk/>
            <pc:sldMk cId="399328488" sldId="450"/>
            <ac:spMk id="13" creationId="{07F853EE-4954-F93E-0658-251452786CF6}"/>
          </ac:spMkLst>
        </pc:spChg>
        <pc:spChg chg="mod">
          <ac:chgData name="Annemarija Apine (LV)" userId="546f5c59-3b8d-47fd-b739-a8fadc631053" providerId="ADAL" clId="{1E5FAF9F-4D85-464E-B064-C298814D6547}" dt="2024-03-12T12:02:03.298" v="1122" actId="790"/>
          <ac:spMkLst>
            <pc:docMk/>
            <pc:sldMk cId="399328488" sldId="450"/>
            <ac:spMk id="14" creationId="{47611A2B-87DE-E012-FBEB-CD8C3F27162D}"/>
          </ac:spMkLst>
        </pc:spChg>
        <pc:spChg chg="mod">
          <ac:chgData name="Annemarija Apine (LV)" userId="546f5c59-3b8d-47fd-b739-a8fadc631053" providerId="ADAL" clId="{1E5FAF9F-4D85-464E-B064-C298814D6547}" dt="2024-03-12T12:02:03.298" v="1122" actId="790"/>
          <ac:spMkLst>
            <pc:docMk/>
            <pc:sldMk cId="399328488" sldId="450"/>
            <ac:spMk id="15" creationId="{F075C420-0F8B-D5BA-BC4C-BE0D5D4A9645}"/>
          </ac:spMkLst>
        </pc:spChg>
        <pc:spChg chg="mod">
          <ac:chgData name="Annemarija Apine (LV)" userId="546f5c59-3b8d-47fd-b739-a8fadc631053" providerId="ADAL" clId="{1E5FAF9F-4D85-464E-B064-C298814D6547}" dt="2024-03-12T12:02:03.298" v="1122" actId="790"/>
          <ac:spMkLst>
            <pc:docMk/>
            <pc:sldMk cId="399328488" sldId="450"/>
            <ac:spMk id="16" creationId="{E8603D44-7F97-0FEA-D908-A5DDE8A41CC8}"/>
          </ac:spMkLst>
        </pc:spChg>
        <pc:spChg chg="mod">
          <ac:chgData name="Annemarija Apine (LV)" userId="546f5c59-3b8d-47fd-b739-a8fadc631053" providerId="ADAL" clId="{1E5FAF9F-4D85-464E-B064-C298814D6547}" dt="2024-03-12T12:02:03.298" v="1122" actId="790"/>
          <ac:spMkLst>
            <pc:docMk/>
            <pc:sldMk cId="399328488" sldId="450"/>
            <ac:spMk id="17" creationId="{F94A9033-6BFC-B403-C388-86F98F207B0B}"/>
          </ac:spMkLst>
        </pc:spChg>
        <pc:spChg chg="mod">
          <ac:chgData name="Annemarija Apine (LV)" userId="546f5c59-3b8d-47fd-b739-a8fadc631053" providerId="ADAL" clId="{1E5FAF9F-4D85-464E-B064-C298814D6547}" dt="2024-03-12T12:02:03.298" v="1122" actId="790"/>
          <ac:spMkLst>
            <pc:docMk/>
            <pc:sldMk cId="399328488" sldId="450"/>
            <ac:spMk id="43" creationId="{E8E63795-2ECA-7132-F643-55B4A59C7A85}"/>
          </ac:spMkLst>
        </pc:spChg>
        <pc:spChg chg="mod">
          <ac:chgData name="Annemarija Apine (LV)" userId="546f5c59-3b8d-47fd-b739-a8fadc631053" providerId="ADAL" clId="{1E5FAF9F-4D85-464E-B064-C298814D6547}" dt="2024-03-12T12:02:03.298" v="1122" actId="790"/>
          <ac:spMkLst>
            <pc:docMk/>
            <pc:sldMk cId="399328488" sldId="450"/>
            <ac:spMk id="64" creationId="{F5198B29-4548-5C2A-0DEF-90C53FD5EF11}"/>
          </ac:spMkLst>
        </pc:spChg>
        <pc:spChg chg="mod">
          <ac:chgData name="Annemarija Apine (LV)" userId="546f5c59-3b8d-47fd-b739-a8fadc631053" providerId="ADAL" clId="{1E5FAF9F-4D85-464E-B064-C298814D6547}" dt="2024-03-12T12:02:03.298" v="1122" actId="790"/>
          <ac:spMkLst>
            <pc:docMk/>
            <pc:sldMk cId="399328488" sldId="450"/>
            <ac:spMk id="65" creationId="{7F6756C5-2CE3-DBCB-913A-8EAD5564B5E9}"/>
          </ac:spMkLst>
        </pc:spChg>
        <pc:spChg chg="mod">
          <ac:chgData name="Annemarija Apine (LV)" userId="546f5c59-3b8d-47fd-b739-a8fadc631053" providerId="ADAL" clId="{1E5FAF9F-4D85-464E-B064-C298814D6547}" dt="2024-03-12T12:02:03.298" v="1122" actId="790"/>
          <ac:spMkLst>
            <pc:docMk/>
            <pc:sldMk cId="399328488" sldId="450"/>
            <ac:spMk id="66" creationId="{71E65A8B-1A0E-7189-CB1E-7B85B0FCDF92}"/>
          </ac:spMkLst>
        </pc:spChg>
        <pc:spChg chg="mod">
          <ac:chgData name="Annemarija Apine (LV)" userId="546f5c59-3b8d-47fd-b739-a8fadc631053" providerId="ADAL" clId="{1E5FAF9F-4D85-464E-B064-C298814D6547}" dt="2024-03-12T12:02:03.298" v="1122" actId="790"/>
          <ac:spMkLst>
            <pc:docMk/>
            <pc:sldMk cId="399328488" sldId="450"/>
            <ac:spMk id="67" creationId="{C7BD28FD-69AC-2308-FAFB-928853CF7082}"/>
          </ac:spMkLst>
        </pc:spChg>
        <pc:spChg chg="mod">
          <ac:chgData name="Annemarija Apine (LV)" userId="546f5c59-3b8d-47fd-b739-a8fadc631053" providerId="ADAL" clId="{1E5FAF9F-4D85-464E-B064-C298814D6547}" dt="2024-03-12T12:02:03.298" v="1122" actId="790"/>
          <ac:spMkLst>
            <pc:docMk/>
            <pc:sldMk cId="399328488" sldId="450"/>
            <ac:spMk id="68" creationId="{F3C0F73D-96F5-2632-9996-CB5D4313F69F}"/>
          </ac:spMkLst>
        </pc:spChg>
        <pc:spChg chg="mod">
          <ac:chgData name="Annemarija Apine (LV)" userId="546f5c59-3b8d-47fd-b739-a8fadc631053" providerId="ADAL" clId="{1E5FAF9F-4D85-464E-B064-C298814D6547}" dt="2024-03-12T12:02:03.298" v="1122" actId="790"/>
          <ac:spMkLst>
            <pc:docMk/>
            <pc:sldMk cId="399328488" sldId="450"/>
            <ac:spMk id="70" creationId="{F5955A8F-5764-221D-4746-8286D1ED814F}"/>
          </ac:spMkLst>
        </pc:spChg>
        <pc:spChg chg="mod">
          <ac:chgData name="Annemarija Apine (LV)" userId="546f5c59-3b8d-47fd-b739-a8fadc631053" providerId="ADAL" clId="{1E5FAF9F-4D85-464E-B064-C298814D6547}" dt="2024-03-12T12:02:03.298" v="1122" actId="790"/>
          <ac:spMkLst>
            <pc:docMk/>
            <pc:sldMk cId="399328488" sldId="450"/>
            <ac:spMk id="71" creationId="{89B91E98-FEBB-72AD-374C-0CAE052B6574}"/>
          </ac:spMkLst>
        </pc:spChg>
        <pc:spChg chg="mod">
          <ac:chgData name="Annemarija Apine (LV)" userId="546f5c59-3b8d-47fd-b739-a8fadc631053" providerId="ADAL" clId="{1E5FAF9F-4D85-464E-B064-C298814D6547}" dt="2024-03-12T12:02:03.298" v="1122" actId="790"/>
          <ac:spMkLst>
            <pc:docMk/>
            <pc:sldMk cId="399328488" sldId="450"/>
            <ac:spMk id="73" creationId="{7B6212B5-AEF3-09C7-BF95-F185ECA402E0}"/>
          </ac:spMkLst>
        </pc:spChg>
        <pc:spChg chg="mod">
          <ac:chgData name="Annemarija Apine (LV)" userId="546f5c59-3b8d-47fd-b739-a8fadc631053" providerId="ADAL" clId="{1E5FAF9F-4D85-464E-B064-C298814D6547}" dt="2024-03-12T12:02:03.298" v="1122" actId="790"/>
          <ac:spMkLst>
            <pc:docMk/>
            <pc:sldMk cId="399328488" sldId="450"/>
            <ac:spMk id="74" creationId="{0B2A879E-1978-42B5-0487-C00DB0806B7F}"/>
          </ac:spMkLst>
        </pc:spChg>
        <pc:spChg chg="mod">
          <ac:chgData name="Annemarija Apine (LV)" userId="546f5c59-3b8d-47fd-b739-a8fadc631053" providerId="ADAL" clId="{1E5FAF9F-4D85-464E-B064-C298814D6547}" dt="2024-03-12T12:02:03.298" v="1122" actId="790"/>
          <ac:spMkLst>
            <pc:docMk/>
            <pc:sldMk cId="399328488" sldId="450"/>
            <ac:spMk id="75" creationId="{99BB8356-A0C8-58E3-691C-EFB85DCB4F5C}"/>
          </ac:spMkLst>
        </pc:spChg>
        <pc:spChg chg="mod">
          <ac:chgData name="Annemarija Apine (LV)" userId="546f5c59-3b8d-47fd-b739-a8fadc631053" providerId="ADAL" clId="{1E5FAF9F-4D85-464E-B064-C298814D6547}" dt="2024-03-12T12:02:03.298" v="1122" actId="790"/>
          <ac:spMkLst>
            <pc:docMk/>
            <pc:sldMk cId="399328488" sldId="450"/>
            <ac:spMk id="76" creationId="{54E37425-B29E-D086-F8C5-72CECA15201B}"/>
          </ac:spMkLst>
        </pc:spChg>
        <pc:spChg chg="mod">
          <ac:chgData name="Annemarija Apine (LV)" userId="546f5c59-3b8d-47fd-b739-a8fadc631053" providerId="ADAL" clId="{1E5FAF9F-4D85-464E-B064-C298814D6547}" dt="2024-03-12T12:02:03.298" v="1122" actId="790"/>
          <ac:spMkLst>
            <pc:docMk/>
            <pc:sldMk cId="399328488" sldId="450"/>
            <ac:spMk id="77" creationId="{C04E4FD5-21F3-B258-F123-DBF326A6E4A3}"/>
          </ac:spMkLst>
        </pc:spChg>
        <pc:spChg chg="mod">
          <ac:chgData name="Annemarija Apine (LV)" userId="546f5c59-3b8d-47fd-b739-a8fadc631053" providerId="ADAL" clId="{1E5FAF9F-4D85-464E-B064-C298814D6547}" dt="2024-03-12T12:02:03.298" v="1122" actId="790"/>
          <ac:spMkLst>
            <pc:docMk/>
            <pc:sldMk cId="399328488" sldId="450"/>
            <ac:spMk id="78" creationId="{C38BDBA8-C60E-3B32-804B-9C21599C1EB3}"/>
          </ac:spMkLst>
        </pc:spChg>
        <pc:spChg chg="mod">
          <ac:chgData name="Annemarija Apine (LV)" userId="546f5c59-3b8d-47fd-b739-a8fadc631053" providerId="ADAL" clId="{1E5FAF9F-4D85-464E-B064-C298814D6547}" dt="2024-03-12T12:02:03.298" v="1122" actId="790"/>
          <ac:spMkLst>
            <pc:docMk/>
            <pc:sldMk cId="399328488" sldId="450"/>
            <ac:spMk id="79" creationId="{B8D8F72C-74AE-8317-14F4-B64632432806}"/>
          </ac:spMkLst>
        </pc:spChg>
        <pc:spChg chg="mod">
          <ac:chgData name="Annemarija Apine (LV)" userId="546f5c59-3b8d-47fd-b739-a8fadc631053" providerId="ADAL" clId="{1E5FAF9F-4D85-464E-B064-C298814D6547}" dt="2024-03-12T12:02:03.298" v="1122" actId="790"/>
          <ac:spMkLst>
            <pc:docMk/>
            <pc:sldMk cId="399328488" sldId="450"/>
            <ac:spMk id="80" creationId="{E4966998-2A81-4222-FAB6-08407DCDE413}"/>
          </ac:spMkLst>
        </pc:spChg>
        <pc:spChg chg="mod">
          <ac:chgData name="Annemarija Apine (LV)" userId="546f5c59-3b8d-47fd-b739-a8fadc631053" providerId="ADAL" clId="{1E5FAF9F-4D85-464E-B064-C298814D6547}" dt="2024-03-12T12:02:03.298" v="1122" actId="790"/>
          <ac:spMkLst>
            <pc:docMk/>
            <pc:sldMk cId="399328488" sldId="450"/>
            <ac:spMk id="81" creationId="{C27D324E-78CF-5109-A4A8-3FB8E8A86526}"/>
          </ac:spMkLst>
        </pc:spChg>
        <pc:spChg chg="mod">
          <ac:chgData name="Annemarija Apine (LV)" userId="546f5c59-3b8d-47fd-b739-a8fadc631053" providerId="ADAL" clId="{1E5FAF9F-4D85-464E-B064-C298814D6547}" dt="2024-03-12T12:02:03.298" v="1122" actId="790"/>
          <ac:spMkLst>
            <pc:docMk/>
            <pc:sldMk cId="399328488" sldId="450"/>
            <ac:spMk id="82" creationId="{1FA250DF-AA7A-C867-726E-0599271CD262}"/>
          </ac:spMkLst>
        </pc:spChg>
        <pc:spChg chg="mod">
          <ac:chgData name="Annemarija Apine (LV)" userId="546f5c59-3b8d-47fd-b739-a8fadc631053" providerId="ADAL" clId="{1E5FAF9F-4D85-464E-B064-C298814D6547}" dt="2024-03-12T12:02:03.298" v="1122" actId="790"/>
          <ac:spMkLst>
            <pc:docMk/>
            <pc:sldMk cId="399328488" sldId="450"/>
            <ac:spMk id="83" creationId="{7EAE60EC-5F19-C235-B8C9-161E7B875E14}"/>
          </ac:spMkLst>
        </pc:spChg>
        <pc:spChg chg="mod">
          <ac:chgData name="Annemarija Apine (LV)" userId="546f5c59-3b8d-47fd-b739-a8fadc631053" providerId="ADAL" clId="{1E5FAF9F-4D85-464E-B064-C298814D6547}" dt="2024-03-12T12:02:03.298" v="1122" actId="790"/>
          <ac:spMkLst>
            <pc:docMk/>
            <pc:sldMk cId="399328488" sldId="450"/>
            <ac:spMk id="84" creationId="{0DE1B29D-4A8B-427A-55FD-CBD5DE51C8B7}"/>
          </ac:spMkLst>
        </pc:spChg>
        <pc:spChg chg="mod">
          <ac:chgData name="Annemarija Apine (LV)" userId="546f5c59-3b8d-47fd-b739-a8fadc631053" providerId="ADAL" clId="{1E5FAF9F-4D85-464E-B064-C298814D6547}" dt="2024-03-12T12:02:03.298" v="1122" actId="790"/>
          <ac:spMkLst>
            <pc:docMk/>
            <pc:sldMk cId="399328488" sldId="450"/>
            <ac:spMk id="85" creationId="{CC31E929-99A2-84E9-A833-965C75326A58}"/>
          </ac:spMkLst>
        </pc:spChg>
        <pc:spChg chg="mod">
          <ac:chgData name="Annemarija Apine (LV)" userId="546f5c59-3b8d-47fd-b739-a8fadc631053" providerId="ADAL" clId="{1E5FAF9F-4D85-464E-B064-C298814D6547}" dt="2024-03-12T12:02:03.298" v="1122" actId="790"/>
          <ac:spMkLst>
            <pc:docMk/>
            <pc:sldMk cId="399328488" sldId="450"/>
            <ac:spMk id="86" creationId="{15545845-7745-1ECB-BF84-9C7592183F7A}"/>
          </ac:spMkLst>
        </pc:spChg>
        <pc:spChg chg="mod">
          <ac:chgData name="Annemarija Apine (LV)" userId="546f5c59-3b8d-47fd-b739-a8fadc631053" providerId="ADAL" clId="{1E5FAF9F-4D85-464E-B064-C298814D6547}" dt="2024-03-12T12:02:03.298" v="1122" actId="790"/>
          <ac:spMkLst>
            <pc:docMk/>
            <pc:sldMk cId="399328488" sldId="450"/>
            <ac:spMk id="87" creationId="{FDFD5712-4ACE-BB16-5B8D-25F96EC1BC2B}"/>
          </ac:spMkLst>
        </pc:spChg>
        <pc:spChg chg="mod">
          <ac:chgData name="Annemarija Apine (LV)" userId="546f5c59-3b8d-47fd-b739-a8fadc631053" providerId="ADAL" clId="{1E5FAF9F-4D85-464E-B064-C298814D6547}" dt="2024-03-12T12:02:03.298" v="1122" actId="790"/>
          <ac:spMkLst>
            <pc:docMk/>
            <pc:sldMk cId="399328488" sldId="450"/>
            <ac:spMk id="88" creationId="{DD248765-9838-3FD8-E6D3-1C7FFEEF9D7D}"/>
          </ac:spMkLst>
        </pc:spChg>
        <pc:spChg chg="mod">
          <ac:chgData name="Annemarija Apine (LV)" userId="546f5c59-3b8d-47fd-b739-a8fadc631053" providerId="ADAL" clId="{1E5FAF9F-4D85-464E-B064-C298814D6547}" dt="2024-03-12T12:02:03.298" v="1122" actId="790"/>
          <ac:spMkLst>
            <pc:docMk/>
            <pc:sldMk cId="399328488" sldId="450"/>
            <ac:spMk id="89" creationId="{B8B03AD2-01F2-EE79-5FD2-B6C5C3225B69}"/>
          </ac:spMkLst>
        </pc:spChg>
        <pc:spChg chg="mod">
          <ac:chgData name="Annemarija Apine (LV)" userId="546f5c59-3b8d-47fd-b739-a8fadc631053" providerId="ADAL" clId="{1E5FAF9F-4D85-464E-B064-C298814D6547}" dt="2024-03-12T12:02:03.298" v="1122" actId="790"/>
          <ac:spMkLst>
            <pc:docMk/>
            <pc:sldMk cId="399328488" sldId="450"/>
            <ac:spMk id="92" creationId="{9A291FD0-DB23-DD5D-0DB3-0069513F81E0}"/>
          </ac:spMkLst>
        </pc:spChg>
        <pc:spChg chg="mod">
          <ac:chgData name="Annemarija Apine (LV)" userId="546f5c59-3b8d-47fd-b739-a8fadc631053" providerId="ADAL" clId="{1E5FAF9F-4D85-464E-B064-C298814D6547}" dt="2024-03-12T12:02:03.298" v="1122" actId="790"/>
          <ac:spMkLst>
            <pc:docMk/>
            <pc:sldMk cId="399328488" sldId="450"/>
            <ac:spMk id="93" creationId="{5D366C9B-225E-CEA0-72EB-D85F0DA52B9E}"/>
          </ac:spMkLst>
        </pc:spChg>
        <pc:spChg chg="mod">
          <ac:chgData name="Annemarija Apine (LV)" userId="546f5c59-3b8d-47fd-b739-a8fadc631053" providerId="ADAL" clId="{1E5FAF9F-4D85-464E-B064-C298814D6547}" dt="2024-03-12T12:02:03.298" v="1122" actId="790"/>
          <ac:spMkLst>
            <pc:docMk/>
            <pc:sldMk cId="399328488" sldId="450"/>
            <ac:spMk id="94" creationId="{ECEF0416-3FCC-3A4B-65C3-F9459EDEFA45}"/>
          </ac:spMkLst>
        </pc:spChg>
      </pc:sldChg>
      <pc:sldChg chg="delSp modSp mod">
        <pc:chgData name="Annemarija Apine (LV)" userId="546f5c59-3b8d-47fd-b739-a8fadc631053" providerId="ADAL" clId="{1E5FAF9F-4D85-464E-B064-C298814D6547}" dt="2024-03-12T12:01:27.772" v="1117" actId="790"/>
        <pc:sldMkLst>
          <pc:docMk/>
          <pc:sldMk cId="192098022" sldId="769"/>
        </pc:sldMkLst>
        <pc:spChg chg="mod">
          <ac:chgData name="Annemarija Apine (LV)" userId="546f5c59-3b8d-47fd-b739-a8fadc631053" providerId="ADAL" clId="{1E5FAF9F-4D85-464E-B064-C298814D6547}" dt="2024-03-12T12:01:27.772" v="1117" actId="790"/>
          <ac:spMkLst>
            <pc:docMk/>
            <pc:sldMk cId="192098022" sldId="769"/>
            <ac:spMk id="2" creationId="{44641C4F-F07F-7C71-88DD-EEFC9A9A1906}"/>
          </ac:spMkLst>
        </pc:spChg>
        <pc:spChg chg="del">
          <ac:chgData name="Annemarija Apine (LV)" userId="546f5c59-3b8d-47fd-b739-a8fadc631053" providerId="ADAL" clId="{1E5FAF9F-4D85-464E-B064-C298814D6547}" dt="2024-03-11T21:44:57.142" v="40" actId="478"/>
          <ac:spMkLst>
            <pc:docMk/>
            <pc:sldMk cId="192098022" sldId="769"/>
            <ac:spMk id="5" creationId="{88400727-FB91-F4FE-5805-13D74D98FADF}"/>
          </ac:spMkLst>
        </pc:spChg>
        <pc:spChg chg="mod">
          <ac:chgData name="Annemarija Apine (LV)" userId="546f5c59-3b8d-47fd-b739-a8fadc631053" providerId="ADAL" clId="{1E5FAF9F-4D85-464E-B064-C298814D6547}" dt="2024-03-12T12:01:27.772" v="1117" actId="790"/>
          <ac:spMkLst>
            <pc:docMk/>
            <pc:sldMk cId="192098022" sldId="769"/>
            <ac:spMk id="6" creationId="{2CB3F9F5-858C-1D21-4D13-EAEDABE2E74A}"/>
          </ac:spMkLst>
        </pc:spChg>
        <pc:spChg chg="mod">
          <ac:chgData name="Annemarija Apine (LV)" userId="546f5c59-3b8d-47fd-b739-a8fadc631053" providerId="ADAL" clId="{1E5FAF9F-4D85-464E-B064-C298814D6547}" dt="2024-03-12T12:01:27.772" v="1117" actId="790"/>
          <ac:spMkLst>
            <pc:docMk/>
            <pc:sldMk cId="192098022" sldId="769"/>
            <ac:spMk id="8" creationId="{B6BFA0E2-7135-FFE5-3283-2EDC43146D38}"/>
          </ac:spMkLst>
        </pc:spChg>
        <pc:spChg chg="mod">
          <ac:chgData name="Annemarija Apine (LV)" userId="546f5c59-3b8d-47fd-b739-a8fadc631053" providerId="ADAL" clId="{1E5FAF9F-4D85-464E-B064-C298814D6547}" dt="2024-03-12T12:01:27.772" v="1117" actId="790"/>
          <ac:spMkLst>
            <pc:docMk/>
            <pc:sldMk cId="192098022" sldId="769"/>
            <ac:spMk id="18" creationId="{31F5B033-E36B-F124-637C-AF0345D3C1E2}"/>
          </ac:spMkLst>
        </pc:spChg>
        <pc:spChg chg="mod">
          <ac:chgData name="Annemarija Apine (LV)" userId="546f5c59-3b8d-47fd-b739-a8fadc631053" providerId="ADAL" clId="{1E5FAF9F-4D85-464E-B064-C298814D6547}" dt="2024-03-12T12:01:27.772" v="1117" actId="790"/>
          <ac:spMkLst>
            <pc:docMk/>
            <pc:sldMk cId="192098022" sldId="769"/>
            <ac:spMk id="25" creationId="{014F40D3-F5E9-404A-8FA7-2C2BFB358B3B}"/>
          </ac:spMkLst>
        </pc:spChg>
        <pc:spChg chg="mod">
          <ac:chgData name="Annemarija Apine (LV)" userId="546f5c59-3b8d-47fd-b739-a8fadc631053" providerId="ADAL" clId="{1E5FAF9F-4D85-464E-B064-C298814D6547}" dt="2024-03-12T12:01:27.772" v="1117" actId="790"/>
          <ac:spMkLst>
            <pc:docMk/>
            <pc:sldMk cId="192098022" sldId="769"/>
            <ac:spMk id="29" creationId="{44B6CEDA-C06E-D816-412F-DE090CE2BE7B}"/>
          </ac:spMkLst>
        </pc:spChg>
      </pc:sldChg>
      <pc:sldChg chg="del">
        <pc:chgData name="Annemarija Apine (LV)" userId="546f5c59-3b8d-47fd-b739-a8fadc631053" providerId="ADAL" clId="{1E5FAF9F-4D85-464E-B064-C298814D6547}" dt="2024-03-11T21:54:49.959" v="98" actId="47"/>
        <pc:sldMkLst>
          <pc:docMk/>
          <pc:sldMk cId="4246915437" sldId="898"/>
        </pc:sldMkLst>
      </pc:sldChg>
      <pc:sldChg chg="delCm">
        <pc:chgData name="Annemarija Apine (LV)" userId="546f5c59-3b8d-47fd-b739-a8fadc631053" providerId="ADAL" clId="{1E5FAF9F-4D85-464E-B064-C298814D6547}" dt="2024-03-11T22:22:28.149" v="547"/>
        <pc:sldMkLst>
          <pc:docMk/>
          <pc:sldMk cId="2067837237" sldId="899"/>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067837237" sldId="899"/>
                <pc2:cmMk id="{CE1513BC-B112-49D4-AE42-231DAE7C0B41}"/>
              </pc2:cmMkLst>
            </pc226:cmChg>
          </p:ext>
        </pc:extLst>
      </pc:sldChg>
      <pc:sldChg chg="modSp mod">
        <pc:chgData name="Annemarija Apine (LV)" userId="546f5c59-3b8d-47fd-b739-a8fadc631053" providerId="ADAL" clId="{1E5FAF9F-4D85-464E-B064-C298814D6547}" dt="2024-03-12T12:02:37.420" v="1126" actId="790"/>
        <pc:sldMkLst>
          <pc:docMk/>
          <pc:sldMk cId="1735191326" sldId="900"/>
        </pc:sldMkLst>
        <pc:spChg chg="mod">
          <ac:chgData name="Annemarija Apine (LV)" userId="546f5c59-3b8d-47fd-b739-a8fadc631053" providerId="ADAL" clId="{1E5FAF9F-4D85-464E-B064-C298814D6547}" dt="2024-03-12T12:02:37.420" v="1126" actId="790"/>
          <ac:spMkLst>
            <pc:docMk/>
            <pc:sldMk cId="1735191326" sldId="900"/>
            <ac:spMk id="2" creationId="{C697EF02-3183-316C-47B1-AAA43503E885}"/>
          </ac:spMkLst>
        </pc:spChg>
        <pc:spChg chg="mod">
          <ac:chgData name="Annemarija Apine (LV)" userId="546f5c59-3b8d-47fd-b739-a8fadc631053" providerId="ADAL" clId="{1E5FAF9F-4D85-464E-B064-C298814D6547}" dt="2024-03-12T12:02:37.420" v="1126" actId="790"/>
          <ac:spMkLst>
            <pc:docMk/>
            <pc:sldMk cId="1735191326" sldId="900"/>
            <ac:spMk id="3" creationId="{02A7C9EB-E60F-E4DD-7BE8-A36BF399BA1F}"/>
          </ac:spMkLst>
        </pc:spChg>
        <pc:spChg chg="mod">
          <ac:chgData name="Annemarija Apine (LV)" userId="546f5c59-3b8d-47fd-b739-a8fadc631053" providerId="ADAL" clId="{1E5FAF9F-4D85-464E-B064-C298814D6547}" dt="2024-03-12T12:02:37.420" v="1126" actId="790"/>
          <ac:spMkLst>
            <pc:docMk/>
            <pc:sldMk cId="1735191326" sldId="900"/>
            <ac:spMk id="4" creationId="{D7358D30-8A69-1769-6574-925287413D76}"/>
          </ac:spMkLst>
        </pc:spChg>
        <pc:spChg chg="mod">
          <ac:chgData name="Annemarija Apine (LV)" userId="546f5c59-3b8d-47fd-b739-a8fadc631053" providerId="ADAL" clId="{1E5FAF9F-4D85-464E-B064-C298814D6547}" dt="2024-03-12T12:02:37.420" v="1126" actId="790"/>
          <ac:spMkLst>
            <pc:docMk/>
            <pc:sldMk cId="1735191326" sldId="900"/>
            <ac:spMk id="5" creationId="{775EC90E-5DCE-2B24-A5AB-0F9245BDD3E7}"/>
          </ac:spMkLst>
        </pc:spChg>
        <pc:spChg chg="mod">
          <ac:chgData name="Annemarija Apine (LV)" userId="546f5c59-3b8d-47fd-b739-a8fadc631053" providerId="ADAL" clId="{1E5FAF9F-4D85-464E-B064-C298814D6547}" dt="2024-03-12T12:02:37.420" v="1126" actId="790"/>
          <ac:spMkLst>
            <pc:docMk/>
            <pc:sldMk cId="1735191326" sldId="900"/>
            <ac:spMk id="7" creationId="{FD2B3D1E-AD95-A74D-FB6E-3BEB3BE67A20}"/>
          </ac:spMkLst>
        </pc:spChg>
        <pc:spChg chg="mod">
          <ac:chgData name="Annemarija Apine (LV)" userId="546f5c59-3b8d-47fd-b739-a8fadc631053" providerId="ADAL" clId="{1E5FAF9F-4D85-464E-B064-C298814D6547}" dt="2024-03-12T12:02:37.420" v="1126" actId="790"/>
          <ac:spMkLst>
            <pc:docMk/>
            <pc:sldMk cId="1735191326" sldId="900"/>
            <ac:spMk id="8" creationId="{0D78293A-C74F-1335-8212-2305127ACD61}"/>
          </ac:spMkLst>
        </pc:spChg>
        <pc:spChg chg="mod">
          <ac:chgData name="Annemarija Apine (LV)" userId="546f5c59-3b8d-47fd-b739-a8fadc631053" providerId="ADAL" clId="{1E5FAF9F-4D85-464E-B064-C298814D6547}" dt="2024-03-12T12:02:37.420" v="1126" actId="790"/>
          <ac:spMkLst>
            <pc:docMk/>
            <pc:sldMk cId="1735191326" sldId="900"/>
            <ac:spMk id="10" creationId="{D2FB12B5-A789-9937-D320-F306F221F4BF}"/>
          </ac:spMkLst>
        </pc:spChg>
        <pc:spChg chg="mod">
          <ac:chgData name="Annemarija Apine (LV)" userId="546f5c59-3b8d-47fd-b739-a8fadc631053" providerId="ADAL" clId="{1E5FAF9F-4D85-464E-B064-C298814D6547}" dt="2024-03-12T12:02:37.420" v="1126" actId="790"/>
          <ac:spMkLst>
            <pc:docMk/>
            <pc:sldMk cId="1735191326" sldId="900"/>
            <ac:spMk id="11" creationId="{00EA6F79-EF7C-9A4F-4131-6CCE0536F341}"/>
          </ac:spMkLst>
        </pc:spChg>
        <pc:spChg chg="mod">
          <ac:chgData name="Annemarija Apine (LV)" userId="546f5c59-3b8d-47fd-b739-a8fadc631053" providerId="ADAL" clId="{1E5FAF9F-4D85-464E-B064-C298814D6547}" dt="2024-03-12T12:02:37.420" v="1126" actId="790"/>
          <ac:spMkLst>
            <pc:docMk/>
            <pc:sldMk cId="1735191326" sldId="900"/>
            <ac:spMk id="12" creationId="{A51AE326-133D-5E97-22A0-4425C676544E}"/>
          </ac:spMkLst>
        </pc:spChg>
        <pc:spChg chg="mod">
          <ac:chgData name="Annemarija Apine (LV)" userId="546f5c59-3b8d-47fd-b739-a8fadc631053" providerId="ADAL" clId="{1E5FAF9F-4D85-464E-B064-C298814D6547}" dt="2024-03-12T12:02:37.420" v="1126" actId="790"/>
          <ac:spMkLst>
            <pc:docMk/>
            <pc:sldMk cId="1735191326" sldId="900"/>
            <ac:spMk id="13" creationId="{EF408812-6A8C-BBBB-2400-49E5D3E443FB}"/>
          </ac:spMkLst>
        </pc:spChg>
        <pc:spChg chg="mod">
          <ac:chgData name="Annemarija Apine (LV)" userId="546f5c59-3b8d-47fd-b739-a8fadc631053" providerId="ADAL" clId="{1E5FAF9F-4D85-464E-B064-C298814D6547}" dt="2024-03-12T12:02:37.420" v="1126" actId="790"/>
          <ac:spMkLst>
            <pc:docMk/>
            <pc:sldMk cId="1735191326" sldId="900"/>
            <ac:spMk id="16" creationId="{BA798A18-B6C9-5AD5-0309-542D9063F7F3}"/>
          </ac:spMkLst>
        </pc:spChg>
        <pc:spChg chg="mod">
          <ac:chgData name="Annemarija Apine (LV)" userId="546f5c59-3b8d-47fd-b739-a8fadc631053" providerId="ADAL" clId="{1E5FAF9F-4D85-464E-B064-C298814D6547}" dt="2024-03-12T12:02:37.420" v="1126" actId="790"/>
          <ac:spMkLst>
            <pc:docMk/>
            <pc:sldMk cId="1735191326" sldId="900"/>
            <ac:spMk id="17" creationId="{8151CA2C-8981-B68D-64B7-28A4A90DA327}"/>
          </ac:spMkLst>
        </pc:spChg>
        <pc:spChg chg="mod">
          <ac:chgData name="Annemarija Apine (LV)" userId="546f5c59-3b8d-47fd-b739-a8fadc631053" providerId="ADAL" clId="{1E5FAF9F-4D85-464E-B064-C298814D6547}" dt="2024-03-12T12:02:37.420" v="1126" actId="790"/>
          <ac:spMkLst>
            <pc:docMk/>
            <pc:sldMk cId="1735191326" sldId="900"/>
            <ac:spMk id="26" creationId="{65EC1BE1-13D8-345C-448E-BFA1A08ADD25}"/>
          </ac:spMkLst>
        </pc:spChg>
        <pc:spChg chg="mod">
          <ac:chgData name="Annemarija Apine (LV)" userId="546f5c59-3b8d-47fd-b739-a8fadc631053" providerId="ADAL" clId="{1E5FAF9F-4D85-464E-B064-C298814D6547}" dt="2024-03-12T12:02:37.420" v="1126" actId="790"/>
          <ac:spMkLst>
            <pc:docMk/>
            <pc:sldMk cId="1735191326" sldId="900"/>
            <ac:spMk id="30" creationId="{0E5402E0-269A-92B5-BC8D-30D2207F23A4}"/>
          </ac:spMkLst>
        </pc:spChg>
        <pc:spChg chg="mod">
          <ac:chgData name="Annemarija Apine (LV)" userId="546f5c59-3b8d-47fd-b739-a8fadc631053" providerId="ADAL" clId="{1E5FAF9F-4D85-464E-B064-C298814D6547}" dt="2024-03-12T12:02:37.420" v="1126" actId="790"/>
          <ac:spMkLst>
            <pc:docMk/>
            <pc:sldMk cId="1735191326" sldId="900"/>
            <ac:spMk id="38" creationId="{B3BF45B1-878A-6384-B57A-0E2DDAE87F72}"/>
          </ac:spMkLst>
        </pc:spChg>
        <pc:spChg chg="mod">
          <ac:chgData name="Annemarija Apine (LV)" userId="546f5c59-3b8d-47fd-b739-a8fadc631053" providerId="ADAL" clId="{1E5FAF9F-4D85-464E-B064-C298814D6547}" dt="2024-03-12T12:02:37.420" v="1126" actId="790"/>
          <ac:spMkLst>
            <pc:docMk/>
            <pc:sldMk cId="1735191326" sldId="900"/>
            <ac:spMk id="39" creationId="{6FBC0546-09C1-004A-40CC-EF2125A3E636}"/>
          </ac:spMkLst>
        </pc:spChg>
        <pc:spChg chg="mod">
          <ac:chgData name="Annemarija Apine (LV)" userId="546f5c59-3b8d-47fd-b739-a8fadc631053" providerId="ADAL" clId="{1E5FAF9F-4D85-464E-B064-C298814D6547}" dt="2024-03-12T12:02:37.420" v="1126" actId="790"/>
          <ac:spMkLst>
            <pc:docMk/>
            <pc:sldMk cId="1735191326" sldId="900"/>
            <ac:spMk id="40" creationId="{57B73D69-1346-AB3E-2B83-74CE4618BD54}"/>
          </ac:spMkLst>
        </pc:spChg>
        <pc:spChg chg="mod">
          <ac:chgData name="Annemarija Apine (LV)" userId="546f5c59-3b8d-47fd-b739-a8fadc631053" providerId="ADAL" clId="{1E5FAF9F-4D85-464E-B064-C298814D6547}" dt="2024-03-12T12:02:37.420" v="1126" actId="790"/>
          <ac:spMkLst>
            <pc:docMk/>
            <pc:sldMk cId="1735191326" sldId="900"/>
            <ac:spMk id="43" creationId="{B7165ACE-6816-8C1A-0E1A-FCA6963F41F4}"/>
          </ac:spMkLst>
        </pc:spChg>
        <pc:spChg chg="mod">
          <ac:chgData name="Annemarija Apine (LV)" userId="546f5c59-3b8d-47fd-b739-a8fadc631053" providerId="ADAL" clId="{1E5FAF9F-4D85-464E-B064-C298814D6547}" dt="2024-03-12T12:02:37.420" v="1126" actId="790"/>
          <ac:spMkLst>
            <pc:docMk/>
            <pc:sldMk cId="1735191326" sldId="900"/>
            <ac:spMk id="44" creationId="{7B06B257-212B-0CF9-9F65-466A796A3B21}"/>
          </ac:spMkLst>
        </pc:spChg>
        <pc:spChg chg="mod">
          <ac:chgData name="Annemarija Apine (LV)" userId="546f5c59-3b8d-47fd-b739-a8fadc631053" providerId="ADAL" clId="{1E5FAF9F-4D85-464E-B064-C298814D6547}" dt="2024-03-12T12:02:37.420" v="1126" actId="790"/>
          <ac:spMkLst>
            <pc:docMk/>
            <pc:sldMk cId="1735191326" sldId="900"/>
            <ac:spMk id="45" creationId="{D55CC03F-D983-B21C-EA37-379DE9F97A03}"/>
          </ac:spMkLst>
        </pc:spChg>
        <pc:spChg chg="mod">
          <ac:chgData name="Annemarija Apine (LV)" userId="546f5c59-3b8d-47fd-b739-a8fadc631053" providerId="ADAL" clId="{1E5FAF9F-4D85-464E-B064-C298814D6547}" dt="2024-03-12T12:02:37.420" v="1126" actId="790"/>
          <ac:spMkLst>
            <pc:docMk/>
            <pc:sldMk cId="1735191326" sldId="900"/>
            <ac:spMk id="47" creationId="{2DD24A6F-2555-7D50-6B9E-19589A959683}"/>
          </ac:spMkLst>
        </pc:spChg>
        <pc:spChg chg="mod">
          <ac:chgData name="Annemarija Apine (LV)" userId="546f5c59-3b8d-47fd-b739-a8fadc631053" providerId="ADAL" clId="{1E5FAF9F-4D85-464E-B064-C298814D6547}" dt="2024-03-12T12:02:37.420" v="1126" actId="790"/>
          <ac:spMkLst>
            <pc:docMk/>
            <pc:sldMk cId="1735191326" sldId="900"/>
            <ac:spMk id="48" creationId="{CAAFFC2F-2EFD-CD7C-DEEE-DBA02C9CB423}"/>
          </ac:spMkLst>
        </pc:spChg>
        <pc:spChg chg="mod">
          <ac:chgData name="Annemarija Apine (LV)" userId="546f5c59-3b8d-47fd-b739-a8fadc631053" providerId="ADAL" clId="{1E5FAF9F-4D85-464E-B064-C298814D6547}" dt="2024-03-12T12:02:37.420" v="1126" actId="790"/>
          <ac:spMkLst>
            <pc:docMk/>
            <pc:sldMk cId="1735191326" sldId="900"/>
            <ac:spMk id="49" creationId="{53548C78-2935-71B8-851B-769FCB896034}"/>
          </ac:spMkLst>
        </pc:spChg>
        <pc:spChg chg="mod">
          <ac:chgData name="Annemarija Apine (LV)" userId="546f5c59-3b8d-47fd-b739-a8fadc631053" providerId="ADAL" clId="{1E5FAF9F-4D85-464E-B064-C298814D6547}" dt="2024-03-12T12:02:37.420" v="1126" actId="790"/>
          <ac:spMkLst>
            <pc:docMk/>
            <pc:sldMk cId="1735191326" sldId="900"/>
            <ac:spMk id="55" creationId="{D19AF0DB-E5A6-2252-087C-6AA7A679E44D}"/>
          </ac:spMkLst>
        </pc:spChg>
        <pc:spChg chg="mod">
          <ac:chgData name="Annemarija Apine (LV)" userId="546f5c59-3b8d-47fd-b739-a8fadc631053" providerId="ADAL" clId="{1E5FAF9F-4D85-464E-B064-C298814D6547}" dt="2024-03-12T12:02:37.420" v="1126" actId="790"/>
          <ac:spMkLst>
            <pc:docMk/>
            <pc:sldMk cId="1735191326" sldId="900"/>
            <ac:spMk id="56" creationId="{3A969FC1-A5DF-7F7A-364B-B4B37D4AA186}"/>
          </ac:spMkLst>
        </pc:spChg>
        <pc:spChg chg="mod">
          <ac:chgData name="Annemarija Apine (LV)" userId="546f5c59-3b8d-47fd-b739-a8fadc631053" providerId="ADAL" clId="{1E5FAF9F-4D85-464E-B064-C298814D6547}" dt="2024-03-12T12:02:37.420" v="1126" actId="790"/>
          <ac:spMkLst>
            <pc:docMk/>
            <pc:sldMk cId="1735191326" sldId="900"/>
            <ac:spMk id="57" creationId="{6E357888-D229-2881-630B-92EDB810D202}"/>
          </ac:spMkLst>
        </pc:spChg>
        <pc:spChg chg="mod">
          <ac:chgData name="Annemarija Apine (LV)" userId="546f5c59-3b8d-47fd-b739-a8fadc631053" providerId="ADAL" clId="{1E5FAF9F-4D85-464E-B064-C298814D6547}" dt="2024-03-12T12:02:37.420" v="1126" actId="790"/>
          <ac:spMkLst>
            <pc:docMk/>
            <pc:sldMk cId="1735191326" sldId="900"/>
            <ac:spMk id="58" creationId="{73A5DA40-EC68-C1DD-E470-027AE8CCAA6A}"/>
          </ac:spMkLst>
        </pc:spChg>
        <pc:spChg chg="mod">
          <ac:chgData name="Annemarija Apine (LV)" userId="546f5c59-3b8d-47fd-b739-a8fadc631053" providerId="ADAL" clId="{1E5FAF9F-4D85-464E-B064-C298814D6547}" dt="2024-03-12T12:02:37.420" v="1126" actId="790"/>
          <ac:spMkLst>
            <pc:docMk/>
            <pc:sldMk cId="1735191326" sldId="900"/>
            <ac:spMk id="59" creationId="{69BA0589-D566-AAB4-31E4-35DD4F0EA8AD}"/>
          </ac:spMkLst>
        </pc:spChg>
        <pc:spChg chg="mod">
          <ac:chgData name="Annemarija Apine (LV)" userId="546f5c59-3b8d-47fd-b739-a8fadc631053" providerId="ADAL" clId="{1E5FAF9F-4D85-464E-B064-C298814D6547}" dt="2024-03-12T12:02:37.420" v="1126" actId="790"/>
          <ac:spMkLst>
            <pc:docMk/>
            <pc:sldMk cId="1735191326" sldId="900"/>
            <ac:spMk id="60" creationId="{CB6722E8-D1A5-E761-7A03-E5BE22B6FF50}"/>
          </ac:spMkLst>
        </pc:spChg>
        <pc:spChg chg="mod">
          <ac:chgData name="Annemarija Apine (LV)" userId="546f5c59-3b8d-47fd-b739-a8fadc631053" providerId="ADAL" clId="{1E5FAF9F-4D85-464E-B064-C298814D6547}" dt="2024-03-12T12:02:37.420" v="1126" actId="790"/>
          <ac:spMkLst>
            <pc:docMk/>
            <pc:sldMk cId="1735191326" sldId="900"/>
            <ac:spMk id="61" creationId="{B96B44FD-B302-C466-E087-68303F31E913}"/>
          </ac:spMkLst>
        </pc:spChg>
        <pc:spChg chg="mod">
          <ac:chgData name="Annemarija Apine (LV)" userId="546f5c59-3b8d-47fd-b739-a8fadc631053" providerId="ADAL" clId="{1E5FAF9F-4D85-464E-B064-C298814D6547}" dt="2024-03-12T12:02:37.420" v="1126" actId="790"/>
          <ac:spMkLst>
            <pc:docMk/>
            <pc:sldMk cId="1735191326" sldId="900"/>
            <ac:spMk id="62" creationId="{AAF63E4B-E49D-0898-F096-917EC5BB8784}"/>
          </ac:spMkLst>
        </pc:spChg>
        <pc:spChg chg="mod">
          <ac:chgData name="Annemarija Apine (LV)" userId="546f5c59-3b8d-47fd-b739-a8fadc631053" providerId="ADAL" clId="{1E5FAF9F-4D85-464E-B064-C298814D6547}" dt="2024-03-12T12:02:37.420" v="1126" actId="790"/>
          <ac:spMkLst>
            <pc:docMk/>
            <pc:sldMk cId="1735191326" sldId="900"/>
            <ac:spMk id="63" creationId="{C107C544-9363-E16D-C21A-14EB3086FD5E}"/>
          </ac:spMkLst>
        </pc:spChg>
        <pc:spChg chg="mod">
          <ac:chgData name="Annemarija Apine (LV)" userId="546f5c59-3b8d-47fd-b739-a8fadc631053" providerId="ADAL" clId="{1E5FAF9F-4D85-464E-B064-C298814D6547}" dt="2024-03-12T12:02:37.420" v="1126" actId="790"/>
          <ac:spMkLst>
            <pc:docMk/>
            <pc:sldMk cId="1735191326" sldId="900"/>
            <ac:spMk id="64" creationId="{BAC6FD31-C415-55AA-743A-8F036F3BF365}"/>
          </ac:spMkLst>
        </pc:spChg>
        <pc:spChg chg="mod">
          <ac:chgData name="Annemarija Apine (LV)" userId="546f5c59-3b8d-47fd-b739-a8fadc631053" providerId="ADAL" clId="{1E5FAF9F-4D85-464E-B064-C298814D6547}" dt="2024-03-12T12:02:37.420" v="1126" actId="790"/>
          <ac:spMkLst>
            <pc:docMk/>
            <pc:sldMk cId="1735191326" sldId="900"/>
            <ac:spMk id="65" creationId="{DFB0571C-3F32-08BC-2216-A09604DF1E6C}"/>
          </ac:spMkLst>
        </pc:spChg>
        <pc:spChg chg="mod">
          <ac:chgData name="Annemarija Apine (LV)" userId="546f5c59-3b8d-47fd-b739-a8fadc631053" providerId="ADAL" clId="{1E5FAF9F-4D85-464E-B064-C298814D6547}" dt="2024-03-12T12:02:37.420" v="1126" actId="790"/>
          <ac:spMkLst>
            <pc:docMk/>
            <pc:sldMk cId="1735191326" sldId="900"/>
            <ac:spMk id="69" creationId="{326E79A8-DB05-0E8C-C83A-BE4E3C60AB93}"/>
          </ac:spMkLst>
        </pc:spChg>
        <pc:spChg chg="mod">
          <ac:chgData name="Annemarija Apine (LV)" userId="546f5c59-3b8d-47fd-b739-a8fadc631053" providerId="ADAL" clId="{1E5FAF9F-4D85-464E-B064-C298814D6547}" dt="2024-03-12T12:02:37.420" v="1126" actId="790"/>
          <ac:spMkLst>
            <pc:docMk/>
            <pc:sldMk cId="1735191326" sldId="900"/>
            <ac:spMk id="70" creationId="{CF682008-4016-07AA-D26B-E95268052C66}"/>
          </ac:spMkLst>
        </pc:spChg>
        <pc:spChg chg="mod">
          <ac:chgData name="Annemarija Apine (LV)" userId="546f5c59-3b8d-47fd-b739-a8fadc631053" providerId="ADAL" clId="{1E5FAF9F-4D85-464E-B064-C298814D6547}" dt="2024-03-12T12:02:37.420" v="1126" actId="790"/>
          <ac:spMkLst>
            <pc:docMk/>
            <pc:sldMk cId="1735191326" sldId="900"/>
            <ac:spMk id="71" creationId="{7DAB69D4-9C93-DE4E-6744-B5556D9203A5}"/>
          </ac:spMkLst>
        </pc:spChg>
        <pc:spChg chg="mod">
          <ac:chgData name="Annemarija Apine (LV)" userId="546f5c59-3b8d-47fd-b739-a8fadc631053" providerId="ADAL" clId="{1E5FAF9F-4D85-464E-B064-C298814D6547}" dt="2024-03-12T12:02:37.420" v="1126" actId="790"/>
          <ac:spMkLst>
            <pc:docMk/>
            <pc:sldMk cId="1735191326" sldId="900"/>
            <ac:spMk id="77" creationId="{C5B0266C-673F-07DD-2F60-FC169E43A4DF}"/>
          </ac:spMkLst>
        </pc:spChg>
        <pc:spChg chg="mod">
          <ac:chgData name="Annemarija Apine (LV)" userId="546f5c59-3b8d-47fd-b739-a8fadc631053" providerId="ADAL" clId="{1E5FAF9F-4D85-464E-B064-C298814D6547}" dt="2024-03-12T12:02:37.420" v="1126" actId="790"/>
          <ac:spMkLst>
            <pc:docMk/>
            <pc:sldMk cId="1735191326" sldId="900"/>
            <ac:spMk id="78" creationId="{DFE62713-DB24-82F8-B530-DB2B5AE42760}"/>
          </ac:spMkLst>
        </pc:spChg>
        <pc:spChg chg="mod">
          <ac:chgData name="Annemarija Apine (LV)" userId="546f5c59-3b8d-47fd-b739-a8fadc631053" providerId="ADAL" clId="{1E5FAF9F-4D85-464E-B064-C298814D6547}" dt="2024-03-12T12:02:37.420" v="1126" actId="790"/>
          <ac:spMkLst>
            <pc:docMk/>
            <pc:sldMk cId="1735191326" sldId="900"/>
            <ac:spMk id="79" creationId="{832CB56B-9DC0-1F1E-3972-5DDA898A7AB2}"/>
          </ac:spMkLst>
        </pc:spChg>
        <pc:spChg chg="mod">
          <ac:chgData name="Annemarija Apine (LV)" userId="546f5c59-3b8d-47fd-b739-a8fadc631053" providerId="ADAL" clId="{1E5FAF9F-4D85-464E-B064-C298814D6547}" dt="2024-03-12T12:02:37.420" v="1126" actId="790"/>
          <ac:spMkLst>
            <pc:docMk/>
            <pc:sldMk cId="1735191326" sldId="900"/>
            <ac:spMk id="81" creationId="{DDCA628C-F107-F2EE-29A3-F9E29FA8073D}"/>
          </ac:spMkLst>
        </pc:spChg>
        <pc:spChg chg="mod">
          <ac:chgData name="Annemarija Apine (LV)" userId="546f5c59-3b8d-47fd-b739-a8fadc631053" providerId="ADAL" clId="{1E5FAF9F-4D85-464E-B064-C298814D6547}" dt="2024-03-12T12:02:37.420" v="1126" actId="790"/>
          <ac:spMkLst>
            <pc:docMk/>
            <pc:sldMk cId="1735191326" sldId="900"/>
            <ac:spMk id="83" creationId="{0E6A2134-BA4E-F1D6-4C61-74C950656B53}"/>
          </ac:spMkLst>
        </pc:spChg>
        <pc:spChg chg="mod">
          <ac:chgData name="Annemarija Apine (LV)" userId="546f5c59-3b8d-47fd-b739-a8fadc631053" providerId="ADAL" clId="{1E5FAF9F-4D85-464E-B064-C298814D6547}" dt="2024-03-12T12:02:37.420" v="1126" actId="790"/>
          <ac:spMkLst>
            <pc:docMk/>
            <pc:sldMk cId="1735191326" sldId="900"/>
            <ac:spMk id="84" creationId="{E32EE091-D3C1-06E6-9082-073AD5CF7765}"/>
          </ac:spMkLst>
        </pc:spChg>
        <pc:spChg chg="mod">
          <ac:chgData name="Annemarija Apine (LV)" userId="546f5c59-3b8d-47fd-b739-a8fadc631053" providerId="ADAL" clId="{1E5FAF9F-4D85-464E-B064-C298814D6547}" dt="2024-03-12T12:02:37.420" v="1126" actId="790"/>
          <ac:spMkLst>
            <pc:docMk/>
            <pc:sldMk cId="1735191326" sldId="900"/>
            <ac:spMk id="85" creationId="{9A2306D2-77A7-80C7-F244-EA7DEC804D5E}"/>
          </ac:spMkLst>
        </pc:spChg>
        <pc:spChg chg="mod">
          <ac:chgData name="Annemarija Apine (LV)" userId="546f5c59-3b8d-47fd-b739-a8fadc631053" providerId="ADAL" clId="{1E5FAF9F-4D85-464E-B064-C298814D6547}" dt="2024-03-12T12:02:37.420" v="1126" actId="790"/>
          <ac:spMkLst>
            <pc:docMk/>
            <pc:sldMk cId="1735191326" sldId="900"/>
            <ac:spMk id="86" creationId="{BBC2D154-4911-B47F-9B45-8A1CC3B13EFD}"/>
          </ac:spMkLst>
        </pc:spChg>
        <pc:spChg chg="mod">
          <ac:chgData name="Annemarija Apine (LV)" userId="546f5c59-3b8d-47fd-b739-a8fadc631053" providerId="ADAL" clId="{1E5FAF9F-4D85-464E-B064-C298814D6547}" dt="2024-03-12T12:02:37.420" v="1126" actId="790"/>
          <ac:spMkLst>
            <pc:docMk/>
            <pc:sldMk cId="1735191326" sldId="900"/>
            <ac:spMk id="87" creationId="{DFB5AA23-26C2-FB44-26CD-6286CF29ECC9}"/>
          </ac:spMkLst>
        </pc:spChg>
        <pc:spChg chg="mod">
          <ac:chgData name="Annemarija Apine (LV)" userId="546f5c59-3b8d-47fd-b739-a8fadc631053" providerId="ADAL" clId="{1E5FAF9F-4D85-464E-B064-C298814D6547}" dt="2024-03-12T12:02:37.420" v="1126" actId="790"/>
          <ac:spMkLst>
            <pc:docMk/>
            <pc:sldMk cId="1735191326" sldId="900"/>
            <ac:spMk id="89" creationId="{5BDDF6DF-E697-00B7-6FDF-654A81CBB5E7}"/>
          </ac:spMkLst>
        </pc:spChg>
        <pc:spChg chg="mod">
          <ac:chgData name="Annemarija Apine (LV)" userId="546f5c59-3b8d-47fd-b739-a8fadc631053" providerId="ADAL" clId="{1E5FAF9F-4D85-464E-B064-C298814D6547}" dt="2024-03-12T12:02:37.420" v="1126" actId="790"/>
          <ac:spMkLst>
            <pc:docMk/>
            <pc:sldMk cId="1735191326" sldId="900"/>
            <ac:spMk id="90" creationId="{4C849506-7AF9-F820-5CF0-7D6E33F03113}"/>
          </ac:spMkLst>
        </pc:spChg>
        <pc:spChg chg="mod">
          <ac:chgData name="Annemarija Apine (LV)" userId="546f5c59-3b8d-47fd-b739-a8fadc631053" providerId="ADAL" clId="{1E5FAF9F-4D85-464E-B064-C298814D6547}" dt="2024-03-12T12:02:37.420" v="1126" actId="790"/>
          <ac:spMkLst>
            <pc:docMk/>
            <pc:sldMk cId="1735191326" sldId="900"/>
            <ac:spMk id="91" creationId="{D5FD63F2-1B6A-7954-A06D-677EB870039A}"/>
          </ac:spMkLst>
        </pc:spChg>
        <pc:spChg chg="mod">
          <ac:chgData name="Annemarija Apine (LV)" userId="546f5c59-3b8d-47fd-b739-a8fadc631053" providerId="ADAL" clId="{1E5FAF9F-4D85-464E-B064-C298814D6547}" dt="2024-03-12T12:02:37.420" v="1126" actId="790"/>
          <ac:spMkLst>
            <pc:docMk/>
            <pc:sldMk cId="1735191326" sldId="900"/>
            <ac:spMk id="92" creationId="{F8FFD178-37DE-9024-CC8B-32143627DB53}"/>
          </ac:spMkLst>
        </pc:spChg>
        <pc:spChg chg="mod">
          <ac:chgData name="Annemarija Apine (LV)" userId="546f5c59-3b8d-47fd-b739-a8fadc631053" providerId="ADAL" clId="{1E5FAF9F-4D85-464E-B064-C298814D6547}" dt="2024-03-12T12:02:37.420" v="1126" actId="790"/>
          <ac:spMkLst>
            <pc:docMk/>
            <pc:sldMk cId="1735191326" sldId="900"/>
            <ac:spMk id="93" creationId="{D8F4B1B1-E4D3-8F38-0B75-A345F1876D56}"/>
          </ac:spMkLst>
        </pc:spChg>
        <pc:spChg chg="mod">
          <ac:chgData name="Annemarija Apine (LV)" userId="546f5c59-3b8d-47fd-b739-a8fadc631053" providerId="ADAL" clId="{1E5FAF9F-4D85-464E-B064-C298814D6547}" dt="2024-03-12T12:02:37.420" v="1126" actId="790"/>
          <ac:spMkLst>
            <pc:docMk/>
            <pc:sldMk cId="1735191326" sldId="900"/>
            <ac:spMk id="95" creationId="{0BF8B685-24EB-F6B7-6D96-1C3A29FAAB97}"/>
          </ac:spMkLst>
        </pc:spChg>
        <pc:spChg chg="mod">
          <ac:chgData name="Annemarija Apine (LV)" userId="546f5c59-3b8d-47fd-b739-a8fadc631053" providerId="ADAL" clId="{1E5FAF9F-4D85-464E-B064-C298814D6547}" dt="2024-03-12T12:02:37.420" v="1126" actId="790"/>
          <ac:spMkLst>
            <pc:docMk/>
            <pc:sldMk cId="1735191326" sldId="900"/>
            <ac:spMk id="96" creationId="{EE7AEC1C-C5B3-E723-B9E4-E1B584899F72}"/>
          </ac:spMkLst>
        </pc:spChg>
        <pc:spChg chg="mod">
          <ac:chgData name="Annemarija Apine (LV)" userId="546f5c59-3b8d-47fd-b739-a8fadc631053" providerId="ADAL" clId="{1E5FAF9F-4D85-464E-B064-C298814D6547}" dt="2024-03-12T12:02:37.420" v="1126" actId="790"/>
          <ac:spMkLst>
            <pc:docMk/>
            <pc:sldMk cId="1735191326" sldId="900"/>
            <ac:spMk id="97" creationId="{01F7ABBA-99EA-9BF1-9BB6-0E00A4C88043}"/>
          </ac:spMkLst>
        </pc:spChg>
        <pc:spChg chg="mod">
          <ac:chgData name="Annemarija Apine (LV)" userId="546f5c59-3b8d-47fd-b739-a8fadc631053" providerId="ADAL" clId="{1E5FAF9F-4D85-464E-B064-C298814D6547}" dt="2024-03-12T12:02:37.420" v="1126" actId="790"/>
          <ac:spMkLst>
            <pc:docMk/>
            <pc:sldMk cId="1735191326" sldId="900"/>
            <ac:spMk id="98" creationId="{67E0A6C9-5F93-35C3-BA83-3265A17A644E}"/>
          </ac:spMkLst>
        </pc:spChg>
        <pc:spChg chg="mod">
          <ac:chgData name="Annemarija Apine (LV)" userId="546f5c59-3b8d-47fd-b739-a8fadc631053" providerId="ADAL" clId="{1E5FAF9F-4D85-464E-B064-C298814D6547}" dt="2024-03-12T12:02:37.420" v="1126" actId="790"/>
          <ac:spMkLst>
            <pc:docMk/>
            <pc:sldMk cId="1735191326" sldId="900"/>
            <ac:spMk id="99" creationId="{4D545500-2FFA-ECE0-FA08-582982308EB9}"/>
          </ac:spMkLst>
        </pc:spChg>
        <pc:spChg chg="mod">
          <ac:chgData name="Annemarija Apine (LV)" userId="546f5c59-3b8d-47fd-b739-a8fadc631053" providerId="ADAL" clId="{1E5FAF9F-4D85-464E-B064-C298814D6547}" dt="2024-03-12T12:02:37.420" v="1126" actId="790"/>
          <ac:spMkLst>
            <pc:docMk/>
            <pc:sldMk cId="1735191326" sldId="900"/>
            <ac:spMk id="100" creationId="{2132EE1A-86EE-0738-ED0F-28A9295E2885}"/>
          </ac:spMkLst>
        </pc:spChg>
        <pc:spChg chg="mod">
          <ac:chgData name="Annemarija Apine (LV)" userId="546f5c59-3b8d-47fd-b739-a8fadc631053" providerId="ADAL" clId="{1E5FAF9F-4D85-464E-B064-C298814D6547}" dt="2024-03-12T12:02:37.420" v="1126" actId="790"/>
          <ac:spMkLst>
            <pc:docMk/>
            <pc:sldMk cId="1735191326" sldId="900"/>
            <ac:spMk id="101" creationId="{CFB7CC00-E26B-7DBA-041D-09E2981F93CA}"/>
          </ac:spMkLst>
        </pc:spChg>
        <pc:spChg chg="mod">
          <ac:chgData name="Annemarija Apine (LV)" userId="546f5c59-3b8d-47fd-b739-a8fadc631053" providerId="ADAL" clId="{1E5FAF9F-4D85-464E-B064-C298814D6547}" dt="2024-03-12T12:02:37.420" v="1126" actId="790"/>
          <ac:spMkLst>
            <pc:docMk/>
            <pc:sldMk cId="1735191326" sldId="900"/>
            <ac:spMk id="102" creationId="{15EC7B77-49D7-6AD2-FB2D-8180FD60E8B6}"/>
          </ac:spMkLst>
        </pc:spChg>
        <pc:spChg chg="mod">
          <ac:chgData name="Annemarija Apine (LV)" userId="546f5c59-3b8d-47fd-b739-a8fadc631053" providerId="ADAL" clId="{1E5FAF9F-4D85-464E-B064-C298814D6547}" dt="2024-03-12T12:02:37.420" v="1126" actId="790"/>
          <ac:spMkLst>
            <pc:docMk/>
            <pc:sldMk cId="1735191326" sldId="900"/>
            <ac:spMk id="103" creationId="{93B3CE46-1839-A491-018E-5C5D47EA5C53}"/>
          </ac:spMkLst>
        </pc:spChg>
        <pc:spChg chg="mod">
          <ac:chgData name="Annemarija Apine (LV)" userId="546f5c59-3b8d-47fd-b739-a8fadc631053" providerId="ADAL" clId="{1E5FAF9F-4D85-464E-B064-C298814D6547}" dt="2024-03-12T12:02:37.420" v="1126" actId="790"/>
          <ac:spMkLst>
            <pc:docMk/>
            <pc:sldMk cId="1735191326" sldId="900"/>
            <ac:spMk id="104" creationId="{F2DFFD91-F045-017F-AB94-50397BBD2076}"/>
          </ac:spMkLst>
        </pc:spChg>
        <pc:spChg chg="mod">
          <ac:chgData name="Annemarija Apine (LV)" userId="546f5c59-3b8d-47fd-b739-a8fadc631053" providerId="ADAL" clId="{1E5FAF9F-4D85-464E-B064-C298814D6547}" dt="2024-03-12T12:02:37.420" v="1126" actId="790"/>
          <ac:spMkLst>
            <pc:docMk/>
            <pc:sldMk cId="1735191326" sldId="900"/>
            <ac:spMk id="105" creationId="{952EFDB1-B39C-9CFF-195D-FFA30B863AED}"/>
          </ac:spMkLst>
        </pc:spChg>
        <pc:spChg chg="mod">
          <ac:chgData name="Annemarija Apine (LV)" userId="546f5c59-3b8d-47fd-b739-a8fadc631053" providerId="ADAL" clId="{1E5FAF9F-4D85-464E-B064-C298814D6547}" dt="2024-03-12T12:02:37.420" v="1126" actId="790"/>
          <ac:spMkLst>
            <pc:docMk/>
            <pc:sldMk cId="1735191326" sldId="900"/>
            <ac:spMk id="106" creationId="{2BF2D093-2A49-877E-57FB-C64EFE51EDD9}"/>
          </ac:spMkLst>
        </pc:spChg>
        <pc:spChg chg="mod">
          <ac:chgData name="Annemarija Apine (LV)" userId="546f5c59-3b8d-47fd-b739-a8fadc631053" providerId="ADAL" clId="{1E5FAF9F-4D85-464E-B064-C298814D6547}" dt="2024-03-12T12:02:37.420" v="1126" actId="790"/>
          <ac:spMkLst>
            <pc:docMk/>
            <pc:sldMk cId="1735191326" sldId="900"/>
            <ac:spMk id="107" creationId="{D821A797-6F35-403F-F3BD-1B2C96A9BB9E}"/>
          </ac:spMkLst>
        </pc:spChg>
        <pc:spChg chg="mod">
          <ac:chgData name="Annemarija Apine (LV)" userId="546f5c59-3b8d-47fd-b739-a8fadc631053" providerId="ADAL" clId="{1E5FAF9F-4D85-464E-B064-C298814D6547}" dt="2024-03-12T12:02:37.420" v="1126" actId="790"/>
          <ac:spMkLst>
            <pc:docMk/>
            <pc:sldMk cId="1735191326" sldId="900"/>
            <ac:spMk id="108" creationId="{90D09C20-B8D2-405F-DC35-7461DFF6F67B}"/>
          </ac:spMkLst>
        </pc:spChg>
        <pc:spChg chg="mod">
          <ac:chgData name="Annemarija Apine (LV)" userId="546f5c59-3b8d-47fd-b739-a8fadc631053" providerId="ADAL" clId="{1E5FAF9F-4D85-464E-B064-C298814D6547}" dt="2024-03-12T12:02:37.420" v="1126" actId="790"/>
          <ac:spMkLst>
            <pc:docMk/>
            <pc:sldMk cId="1735191326" sldId="900"/>
            <ac:spMk id="109" creationId="{420CBE9D-90E6-55AB-2247-F721592065BB}"/>
          </ac:spMkLst>
        </pc:spChg>
        <pc:spChg chg="mod">
          <ac:chgData name="Annemarija Apine (LV)" userId="546f5c59-3b8d-47fd-b739-a8fadc631053" providerId="ADAL" clId="{1E5FAF9F-4D85-464E-B064-C298814D6547}" dt="2024-03-12T12:02:37.420" v="1126" actId="790"/>
          <ac:spMkLst>
            <pc:docMk/>
            <pc:sldMk cId="1735191326" sldId="900"/>
            <ac:spMk id="110" creationId="{2FADEC4E-0BF5-23E5-656D-FB6FA5CA766B}"/>
          </ac:spMkLst>
        </pc:spChg>
        <pc:spChg chg="mod">
          <ac:chgData name="Annemarija Apine (LV)" userId="546f5c59-3b8d-47fd-b739-a8fadc631053" providerId="ADAL" clId="{1E5FAF9F-4D85-464E-B064-C298814D6547}" dt="2024-03-12T12:02:37.420" v="1126" actId="790"/>
          <ac:spMkLst>
            <pc:docMk/>
            <pc:sldMk cId="1735191326" sldId="900"/>
            <ac:spMk id="112" creationId="{1BE88429-4F3F-636B-DB20-E431D496B9EB}"/>
          </ac:spMkLst>
        </pc:spChg>
        <pc:spChg chg="mod">
          <ac:chgData name="Annemarija Apine (LV)" userId="546f5c59-3b8d-47fd-b739-a8fadc631053" providerId="ADAL" clId="{1E5FAF9F-4D85-464E-B064-C298814D6547}" dt="2024-03-12T12:02:37.420" v="1126" actId="790"/>
          <ac:spMkLst>
            <pc:docMk/>
            <pc:sldMk cId="1735191326" sldId="900"/>
            <ac:spMk id="113" creationId="{D285C823-677E-8121-1429-CCB32B027A8B}"/>
          </ac:spMkLst>
        </pc:spChg>
      </pc:sldChg>
      <pc:sldChg chg="modSp mod">
        <pc:chgData name="Annemarija Apine (LV)" userId="546f5c59-3b8d-47fd-b739-a8fadc631053" providerId="ADAL" clId="{1E5FAF9F-4D85-464E-B064-C298814D6547}" dt="2024-03-12T12:02:50.682" v="1128" actId="790"/>
        <pc:sldMkLst>
          <pc:docMk/>
          <pc:sldMk cId="3011875620" sldId="903"/>
        </pc:sldMkLst>
        <pc:spChg chg="mod">
          <ac:chgData name="Annemarija Apine (LV)" userId="546f5c59-3b8d-47fd-b739-a8fadc631053" providerId="ADAL" clId="{1E5FAF9F-4D85-464E-B064-C298814D6547}" dt="2024-03-12T12:02:50.682" v="1128" actId="790"/>
          <ac:spMkLst>
            <pc:docMk/>
            <pc:sldMk cId="3011875620" sldId="903"/>
            <ac:spMk id="2" creationId="{EDFBCEAB-7D4A-91D0-E036-AAFACC3ABE8D}"/>
          </ac:spMkLst>
        </pc:spChg>
        <pc:spChg chg="mod">
          <ac:chgData name="Annemarija Apine (LV)" userId="546f5c59-3b8d-47fd-b739-a8fadc631053" providerId="ADAL" clId="{1E5FAF9F-4D85-464E-B064-C298814D6547}" dt="2024-03-12T12:02:50.682" v="1128" actId="790"/>
          <ac:spMkLst>
            <pc:docMk/>
            <pc:sldMk cId="3011875620" sldId="903"/>
            <ac:spMk id="3" creationId="{33BB98B8-6827-4CCD-E4FE-A55C4C067AB3}"/>
          </ac:spMkLst>
        </pc:spChg>
        <pc:spChg chg="mod">
          <ac:chgData name="Annemarija Apine (LV)" userId="546f5c59-3b8d-47fd-b739-a8fadc631053" providerId="ADAL" clId="{1E5FAF9F-4D85-464E-B064-C298814D6547}" dt="2024-03-12T12:02:50.682" v="1128" actId="790"/>
          <ac:spMkLst>
            <pc:docMk/>
            <pc:sldMk cId="3011875620" sldId="903"/>
            <ac:spMk id="4" creationId="{A6320228-D809-6F87-2500-99BCB217E23A}"/>
          </ac:spMkLst>
        </pc:spChg>
        <pc:spChg chg="mod">
          <ac:chgData name="Annemarija Apine (LV)" userId="546f5c59-3b8d-47fd-b739-a8fadc631053" providerId="ADAL" clId="{1E5FAF9F-4D85-464E-B064-C298814D6547}" dt="2024-03-12T12:02:50.682" v="1128" actId="790"/>
          <ac:spMkLst>
            <pc:docMk/>
            <pc:sldMk cId="3011875620" sldId="903"/>
            <ac:spMk id="6" creationId="{50E2AB2D-754A-C4F6-9350-624ECA322D05}"/>
          </ac:spMkLst>
        </pc:spChg>
        <pc:spChg chg="mod">
          <ac:chgData name="Annemarija Apine (LV)" userId="546f5c59-3b8d-47fd-b739-a8fadc631053" providerId="ADAL" clId="{1E5FAF9F-4D85-464E-B064-C298814D6547}" dt="2024-03-12T12:02:50.682" v="1128" actId="790"/>
          <ac:spMkLst>
            <pc:docMk/>
            <pc:sldMk cId="3011875620" sldId="903"/>
            <ac:spMk id="7" creationId="{ABE8EE39-C466-6083-2B14-0237C935C96B}"/>
          </ac:spMkLst>
        </pc:spChg>
        <pc:spChg chg="mod">
          <ac:chgData name="Annemarija Apine (LV)" userId="546f5c59-3b8d-47fd-b739-a8fadc631053" providerId="ADAL" clId="{1E5FAF9F-4D85-464E-B064-C298814D6547}" dt="2024-03-12T12:02:50.682" v="1128" actId="790"/>
          <ac:spMkLst>
            <pc:docMk/>
            <pc:sldMk cId="3011875620" sldId="903"/>
            <ac:spMk id="8" creationId="{D3075EA9-222C-FBAB-0F0E-D4775F00C87E}"/>
          </ac:spMkLst>
        </pc:spChg>
        <pc:spChg chg="mod">
          <ac:chgData name="Annemarija Apine (LV)" userId="546f5c59-3b8d-47fd-b739-a8fadc631053" providerId="ADAL" clId="{1E5FAF9F-4D85-464E-B064-C298814D6547}" dt="2024-03-12T12:02:50.682" v="1128" actId="790"/>
          <ac:spMkLst>
            <pc:docMk/>
            <pc:sldMk cId="3011875620" sldId="903"/>
            <ac:spMk id="9" creationId="{08B6A8B7-7C80-74FA-BFD5-B86DDE664F74}"/>
          </ac:spMkLst>
        </pc:spChg>
        <pc:spChg chg="mod">
          <ac:chgData name="Annemarija Apine (LV)" userId="546f5c59-3b8d-47fd-b739-a8fadc631053" providerId="ADAL" clId="{1E5FAF9F-4D85-464E-B064-C298814D6547}" dt="2024-03-12T12:02:50.682" v="1128" actId="790"/>
          <ac:spMkLst>
            <pc:docMk/>
            <pc:sldMk cId="3011875620" sldId="903"/>
            <ac:spMk id="10" creationId="{B337C822-0ACB-7395-4E9F-FE78A0258C7B}"/>
          </ac:spMkLst>
        </pc:spChg>
        <pc:spChg chg="mod">
          <ac:chgData name="Annemarija Apine (LV)" userId="546f5c59-3b8d-47fd-b739-a8fadc631053" providerId="ADAL" clId="{1E5FAF9F-4D85-464E-B064-C298814D6547}" dt="2024-03-12T12:02:50.682" v="1128" actId="790"/>
          <ac:spMkLst>
            <pc:docMk/>
            <pc:sldMk cId="3011875620" sldId="903"/>
            <ac:spMk id="11" creationId="{BEFB8D44-5692-BC7D-1631-1623E5005441}"/>
          </ac:spMkLst>
        </pc:spChg>
        <pc:spChg chg="mod">
          <ac:chgData name="Annemarija Apine (LV)" userId="546f5c59-3b8d-47fd-b739-a8fadc631053" providerId="ADAL" clId="{1E5FAF9F-4D85-464E-B064-C298814D6547}" dt="2024-03-12T12:02:50.682" v="1128" actId="790"/>
          <ac:spMkLst>
            <pc:docMk/>
            <pc:sldMk cId="3011875620" sldId="903"/>
            <ac:spMk id="12" creationId="{6158C656-5A8A-CAA9-181E-CE47FCED7365}"/>
          </ac:spMkLst>
        </pc:spChg>
        <pc:spChg chg="mod">
          <ac:chgData name="Annemarija Apine (LV)" userId="546f5c59-3b8d-47fd-b739-a8fadc631053" providerId="ADAL" clId="{1E5FAF9F-4D85-464E-B064-C298814D6547}" dt="2024-03-12T12:02:50.682" v="1128" actId="790"/>
          <ac:spMkLst>
            <pc:docMk/>
            <pc:sldMk cId="3011875620" sldId="903"/>
            <ac:spMk id="13" creationId="{EA43A31C-009C-105F-54A6-6DAA8B434B33}"/>
          </ac:spMkLst>
        </pc:spChg>
        <pc:spChg chg="mod">
          <ac:chgData name="Annemarija Apine (LV)" userId="546f5c59-3b8d-47fd-b739-a8fadc631053" providerId="ADAL" clId="{1E5FAF9F-4D85-464E-B064-C298814D6547}" dt="2024-03-12T12:02:50.682" v="1128" actId="790"/>
          <ac:spMkLst>
            <pc:docMk/>
            <pc:sldMk cId="3011875620" sldId="903"/>
            <ac:spMk id="14" creationId="{775AF9B8-6610-4857-987C-CC045B2E5B62}"/>
          </ac:spMkLst>
        </pc:spChg>
        <pc:spChg chg="mod">
          <ac:chgData name="Annemarija Apine (LV)" userId="546f5c59-3b8d-47fd-b739-a8fadc631053" providerId="ADAL" clId="{1E5FAF9F-4D85-464E-B064-C298814D6547}" dt="2024-03-12T12:02:50.682" v="1128" actId="790"/>
          <ac:spMkLst>
            <pc:docMk/>
            <pc:sldMk cId="3011875620" sldId="903"/>
            <ac:spMk id="16" creationId="{0518EBCE-7BE2-71F8-4BE1-780E7CD0E6D2}"/>
          </ac:spMkLst>
        </pc:spChg>
        <pc:spChg chg="mod">
          <ac:chgData name="Annemarija Apine (LV)" userId="546f5c59-3b8d-47fd-b739-a8fadc631053" providerId="ADAL" clId="{1E5FAF9F-4D85-464E-B064-C298814D6547}" dt="2024-03-12T12:02:50.682" v="1128" actId="790"/>
          <ac:spMkLst>
            <pc:docMk/>
            <pc:sldMk cId="3011875620" sldId="903"/>
            <ac:spMk id="17" creationId="{EBD10C6D-EAD1-B7A2-7CCD-5108133E2B63}"/>
          </ac:spMkLst>
        </pc:spChg>
        <pc:spChg chg="mod">
          <ac:chgData name="Annemarija Apine (LV)" userId="546f5c59-3b8d-47fd-b739-a8fadc631053" providerId="ADAL" clId="{1E5FAF9F-4D85-464E-B064-C298814D6547}" dt="2024-03-12T12:02:50.682" v="1128" actId="790"/>
          <ac:spMkLst>
            <pc:docMk/>
            <pc:sldMk cId="3011875620" sldId="903"/>
            <ac:spMk id="24" creationId="{DA042BFC-9321-AE2A-D685-F5B36EFD0C0A}"/>
          </ac:spMkLst>
        </pc:spChg>
        <pc:spChg chg="mod">
          <ac:chgData name="Annemarija Apine (LV)" userId="546f5c59-3b8d-47fd-b739-a8fadc631053" providerId="ADAL" clId="{1E5FAF9F-4D85-464E-B064-C298814D6547}" dt="2024-03-12T12:02:50.682" v="1128" actId="790"/>
          <ac:spMkLst>
            <pc:docMk/>
            <pc:sldMk cId="3011875620" sldId="903"/>
            <ac:spMk id="25" creationId="{F4EF9CAC-BCB4-3861-ABEC-9E1F2B71AD96}"/>
          </ac:spMkLst>
        </pc:spChg>
        <pc:spChg chg="mod">
          <ac:chgData name="Annemarija Apine (LV)" userId="546f5c59-3b8d-47fd-b739-a8fadc631053" providerId="ADAL" clId="{1E5FAF9F-4D85-464E-B064-C298814D6547}" dt="2024-03-12T12:02:50.682" v="1128" actId="790"/>
          <ac:spMkLst>
            <pc:docMk/>
            <pc:sldMk cId="3011875620" sldId="903"/>
            <ac:spMk id="33" creationId="{91B5CAE0-F039-3450-C576-47A650EA1505}"/>
          </ac:spMkLst>
        </pc:spChg>
        <pc:spChg chg="mod">
          <ac:chgData name="Annemarija Apine (LV)" userId="546f5c59-3b8d-47fd-b739-a8fadc631053" providerId="ADAL" clId="{1E5FAF9F-4D85-464E-B064-C298814D6547}" dt="2024-03-12T12:02:50.682" v="1128" actId="790"/>
          <ac:spMkLst>
            <pc:docMk/>
            <pc:sldMk cId="3011875620" sldId="903"/>
            <ac:spMk id="34" creationId="{48C56B3B-5C0E-89A6-1595-B0C15560EB71}"/>
          </ac:spMkLst>
        </pc:spChg>
        <pc:spChg chg="mod">
          <ac:chgData name="Annemarija Apine (LV)" userId="546f5c59-3b8d-47fd-b739-a8fadc631053" providerId="ADAL" clId="{1E5FAF9F-4D85-464E-B064-C298814D6547}" dt="2024-03-12T12:02:50.682" v="1128" actId="790"/>
          <ac:spMkLst>
            <pc:docMk/>
            <pc:sldMk cId="3011875620" sldId="903"/>
            <ac:spMk id="35" creationId="{B766C826-6D08-3C51-A63F-286C166B5215}"/>
          </ac:spMkLst>
        </pc:spChg>
        <pc:spChg chg="mod">
          <ac:chgData name="Annemarija Apine (LV)" userId="546f5c59-3b8d-47fd-b739-a8fadc631053" providerId="ADAL" clId="{1E5FAF9F-4D85-464E-B064-C298814D6547}" dt="2024-03-12T12:02:50.682" v="1128" actId="790"/>
          <ac:spMkLst>
            <pc:docMk/>
            <pc:sldMk cId="3011875620" sldId="903"/>
            <ac:spMk id="38" creationId="{ADCF57E4-22C5-26F3-DA4D-7482BC480F36}"/>
          </ac:spMkLst>
        </pc:spChg>
        <pc:spChg chg="mod">
          <ac:chgData name="Annemarija Apine (LV)" userId="546f5c59-3b8d-47fd-b739-a8fadc631053" providerId="ADAL" clId="{1E5FAF9F-4D85-464E-B064-C298814D6547}" dt="2024-03-12T12:02:50.682" v="1128" actId="790"/>
          <ac:spMkLst>
            <pc:docMk/>
            <pc:sldMk cId="3011875620" sldId="903"/>
            <ac:spMk id="39" creationId="{3B3A753D-2643-22D3-98E8-407917D7B655}"/>
          </ac:spMkLst>
        </pc:spChg>
        <pc:spChg chg="mod">
          <ac:chgData name="Annemarija Apine (LV)" userId="546f5c59-3b8d-47fd-b739-a8fadc631053" providerId="ADAL" clId="{1E5FAF9F-4D85-464E-B064-C298814D6547}" dt="2024-03-12T12:02:50.682" v="1128" actId="790"/>
          <ac:spMkLst>
            <pc:docMk/>
            <pc:sldMk cId="3011875620" sldId="903"/>
            <ac:spMk id="42" creationId="{68F2028E-9AD9-74A4-45F4-1624B4155640}"/>
          </ac:spMkLst>
        </pc:spChg>
        <pc:spChg chg="mod">
          <ac:chgData name="Annemarija Apine (LV)" userId="546f5c59-3b8d-47fd-b739-a8fadc631053" providerId="ADAL" clId="{1E5FAF9F-4D85-464E-B064-C298814D6547}" dt="2024-03-12T12:02:50.682" v="1128" actId="790"/>
          <ac:spMkLst>
            <pc:docMk/>
            <pc:sldMk cId="3011875620" sldId="903"/>
            <ac:spMk id="43" creationId="{2B9AE07F-5163-AD73-9B73-F4ADAAB4CB84}"/>
          </ac:spMkLst>
        </pc:spChg>
        <pc:spChg chg="mod">
          <ac:chgData name="Annemarija Apine (LV)" userId="546f5c59-3b8d-47fd-b739-a8fadc631053" providerId="ADAL" clId="{1E5FAF9F-4D85-464E-B064-C298814D6547}" dt="2024-03-12T12:02:50.682" v="1128" actId="790"/>
          <ac:spMkLst>
            <pc:docMk/>
            <pc:sldMk cId="3011875620" sldId="903"/>
            <ac:spMk id="44" creationId="{9EC2ECCE-24AA-0CA5-D23D-11487EDED9A5}"/>
          </ac:spMkLst>
        </pc:spChg>
        <pc:spChg chg="mod">
          <ac:chgData name="Annemarija Apine (LV)" userId="546f5c59-3b8d-47fd-b739-a8fadc631053" providerId="ADAL" clId="{1E5FAF9F-4D85-464E-B064-C298814D6547}" dt="2024-03-12T12:02:50.682" v="1128" actId="790"/>
          <ac:spMkLst>
            <pc:docMk/>
            <pc:sldMk cId="3011875620" sldId="903"/>
            <ac:spMk id="48" creationId="{F2E39767-EDB9-484C-0B35-744F3795A6CD}"/>
          </ac:spMkLst>
        </pc:spChg>
        <pc:spChg chg="mod">
          <ac:chgData name="Annemarija Apine (LV)" userId="546f5c59-3b8d-47fd-b739-a8fadc631053" providerId="ADAL" clId="{1E5FAF9F-4D85-464E-B064-C298814D6547}" dt="2024-03-12T12:02:50.682" v="1128" actId="790"/>
          <ac:spMkLst>
            <pc:docMk/>
            <pc:sldMk cId="3011875620" sldId="903"/>
            <ac:spMk id="49" creationId="{572A06AC-8F3F-01E9-3219-527A4685D974}"/>
          </ac:spMkLst>
        </pc:spChg>
        <pc:spChg chg="mod">
          <ac:chgData name="Annemarija Apine (LV)" userId="546f5c59-3b8d-47fd-b739-a8fadc631053" providerId="ADAL" clId="{1E5FAF9F-4D85-464E-B064-C298814D6547}" dt="2024-03-12T12:02:50.682" v="1128" actId="790"/>
          <ac:spMkLst>
            <pc:docMk/>
            <pc:sldMk cId="3011875620" sldId="903"/>
            <ac:spMk id="50" creationId="{1F82D50F-0C5B-CC51-D43A-64D75E4976AB}"/>
          </ac:spMkLst>
        </pc:spChg>
        <pc:spChg chg="mod">
          <ac:chgData name="Annemarija Apine (LV)" userId="546f5c59-3b8d-47fd-b739-a8fadc631053" providerId="ADAL" clId="{1E5FAF9F-4D85-464E-B064-C298814D6547}" dt="2024-03-12T12:02:50.682" v="1128" actId="790"/>
          <ac:spMkLst>
            <pc:docMk/>
            <pc:sldMk cId="3011875620" sldId="903"/>
            <ac:spMk id="51" creationId="{2398A36F-FA9A-0524-9E8D-120752F63E34}"/>
          </ac:spMkLst>
        </pc:spChg>
        <pc:spChg chg="mod">
          <ac:chgData name="Annemarija Apine (LV)" userId="546f5c59-3b8d-47fd-b739-a8fadc631053" providerId="ADAL" clId="{1E5FAF9F-4D85-464E-B064-C298814D6547}" dt="2024-03-12T12:02:50.682" v="1128" actId="790"/>
          <ac:spMkLst>
            <pc:docMk/>
            <pc:sldMk cId="3011875620" sldId="903"/>
            <ac:spMk id="53" creationId="{24412FE5-C3CD-76F7-0B4A-2EB3610E5AE0}"/>
          </ac:spMkLst>
        </pc:spChg>
        <pc:spChg chg="mod">
          <ac:chgData name="Annemarija Apine (LV)" userId="546f5c59-3b8d-47fd-b739-a8fadc631053" providerId="ADAL" clId="{1E5FAF9F-4D85-464E-B064-C298814D6547}" dt="2024-03-12T12:02:50.682" v="1128" actId="790"/>
          <ac:spMkLst>
            <pc:docMk/>
            <pc:sldMk cId="3011875620" sldId="903"/>
            <ac:spMk id="54" creationId="{2241AB89-0344-6E51-6FB0-574A73D5D9B3}"/>
          </ac:spMkLst>
        </pc:spChg>
        <pc:spChg chg="mod">
          <ac:chgData name="Annemarija Apine (LV)" userId="546f5c59-3b8d-47fd-b739-a8fadc631053" providerId="ADAL" clId="{1E5FAF9F-4D85-464E-B064-C298814D6547}" dt="2024-03-12T12:02:50.682" v="1128" actId="790"/>
          <ac:spMkLst>
            <pc:docMk/>
            <pc:sldMk cId="3011875620" sldId="903"/>
            <ac:spMk id="55" creationId="{BDA037DD-5019-C486-399C-83EA9F08CA88}"/>
          </ac:spMkLst>
        </pc:spChg>
        <pc:spChg chg="mod">
          <ac:chgData name="Annemarija Apine (LV)" userId="546f5c59-3b8d-47fd-b739-a8fadc631053" providerId="ADAL" clId="{1E5FAF9F-4D85-464E-B064-C298814D6547}" dt="2024-03-12T12:02:50.682" v="1128" actId="790"/>
          <ac:spMkLst>
            <pc:docMk/>
            <pc:sldMk cId="3011875620" sldId="903"/>
            <ac:spMk id="56" creationId="{29893079-D834-8AAA-98B1-C83D3CAC24F2}"/>
          </ac:spMkLst>
        </pc:spChg>
      </pc:sldChg>
      <pc:sldChg chg="modSp mod modNotesTx">
        <pc:chgData name="Annemarija Apine (LV)" userId="546f5c59-3b8d-47fd-b739-a8fadc631053" providerId="ADAL" clId="{1E5FAF9F-4D85-464E-B064-C298814D6547}" dt="2024-03-12T12:03:09.585" v="1133" actId="2"/>
        <pc:sldMkLst>
          <pc:docMk/>
          <pc:sldMk cId="795685229" sldId="904"/>
        </pc:sldMkLst>
        <pc:spChg chg="mod">
          <ac:chgData name="Annemarija Apine (LV)" userId="546f5c59-3b8d-47fd-b739-a8fadc631053" providerId="ADAL" clId="{1E5FAF9F-4D85-464E-B064-C298814D6547}" dt="2024-03-12T12:03:00.605" v="1130" actId="790"/>
          <ac:spMkLst>
            <pc:docMk/>
            <pc:sldMk cId="795685229" sldId="904"/>
            <ac:spMk id="2" creationId="{EDFBCEAB-7D4A-91D0-E036-AAFACC3ABE8D}"/>
          </ac:spMkLst>
        </pc:spChg>
        <pc:spChg chg="mod">
          <ac:chgData name="Annemarija Apine (LV)" userId="546f5c59-3b8d-47fd-b739-a8fadc631053" providerId="ADAL" clId="{1E5FAF9F-4D85-464E-B064-C298814D6547}" dt="2024-03-12T12:03:00.605" v="1130" actId="790"/>
          <ac:spMkLst>
            <pc:docMk/>
            <pc:sldMk cId="795685229" sldId="904"/>
            <ac:spMk id="3" creationId="{4C152C15-BC58-532B-E67E-FFA20C37B22F}"/>
          </ac:spMkLst>
        </pc:spChg>
        <pc:spChg chg="mod">
          <ac:chgData name="Annemarija Apine (LV)" userId="546f5c59-3b8d-47fd-b739-a8fadc631053" providerId="ADAL" clId="{1E5FAF9F-4D85-464E-B064-C298814D6547}" dt="2024-03-12T12:03:00.605" v="1130" actId="790"/>
          <ac:spMkLst>
            <pc:docMk/>
            <pc:sldMk cId="795685229" sldId="904"/>
            <ac:spMk id="4" creationId="{A6320228-D809-6F87-2500-99BCB217E23A}"/>
          </ac:spMkLst>
        </pc:spChg>
        <pc:spChg chg="mod">
          <ac:chgData name="Annemarija Apine (LV)" userId="546f5c59-3b8d-47fd-b739-a8fadc631053" providerId="ADAL" clId="{1E5FAF9F-4D85-464E-B064-C298814D6547}" dt="2024-03-12T12:03:00.605" v="1130" actId="790"/>
          <ac:spMkLst>
            <pc:docMk/>
            <pc:sldMk cId="795685229" sldId="904"/>
            <ac:spMk id="5" creationId="{945044BE-2322-FDB2-86F2-2ACD1D763423}"/>
          </ac:spMkLst>
        </pc:spChg>
        <pc:spChg chg="mod">
          <ac:chgData name="Annemarija Apine (LV)" userId="546f5c59-3b8d-47fd-b739-a8fadc631053" providerId="ADAL" clId="{1E5FAF9F-4D85-464E-B064-C298814D6547}" dt="2024-03-12T12:03:00.605" v="1130" actId="790"/>
          <ac:spMkLst>
            <pc:docMk/>
            <pc:sldMk cId="795685229" sldId="904"/>
            <ac:spMk id="6" creationId="{236C7614-93A6-8AC7-7258-BAE206E1F0BE}"/>
          </ac:spMkLst>
        </pc:spChg>
        <pc:spChg chg="mod">
          <ac:chgData name="Annemarija Apine (LV)" userId="546f5c59-3b8d-47fd-b739-a8fadc631053" providerId="ADAL" clId="{1E5FAF9F-4D85-464E-B064-C298814D6547}" dt="2024-03-12T12:03:00.605" v="1130" actId="790"/>
          <ac:spMkLst>
            <pc:docMk/>
            <pc:sldMk cId="795685229" sldId="904"/>
            <ac:spMk id="8" creationId="{A09E2FC6-0F4D-227B-88CF-B52B5EE2EF82}"/>
          </ac:spMkLst>
        </pc:spChg>
        <pc:spChg chg="mod">
          <ac:chgData name="Annemarija Apine (LV)" userId="546f5c59-3b8d-47fd-b739-a8fadc631053" providerId="ADAL" clId="{1E5FAF9F-4D85-464E-B064-C298814D6547}" dt="2024-03-12T12:03:00.605" v="1130" actId="790"/>
          <ac:spMkLst>
            <pc:docMk/>
            <pc:sldMk cId="795685229" sldId="904"/>
            <ac:spMk id="9" creationId="{F340303E-8854-DFEE-889A-B1C7C7D24D61}"/>
          </ac:spMkLst>
        </pc:spChg>
        <pc:spChg chg="mod">
          <ac:chgData name="Annemarija Apine (LV)" userId="546f5c59-3b8d-47fd-b739-a8fadc631053" providerId="ADAL" clId="{1E5FAF9F-4D85-464E-B064-C298814D6547}" dt="2024-03-12T12:03:00.605" v="1130" actId="790"/>
          <ac:spMkLst>
            <pc:docMk/>
            <pc:sldMk cId="795685229" sldId="904"/>
            <ac:spMk id="10" creationId="{477AA8D4-26DB-B757-6665-E175F960AC70}"/>
          </ac:spMkLst>
        </pc:spChg>
        <pc:spChg chg="mod">
          <ac:chgData name="Annemarija Apine (LV)" userId="546f5c59-3b8d-47fd-b739-a8fadc631053" providerId="ADAL" clId="{1E5FAF9F-4D85-464E-B064-C298814D6547}" dt="2024-03-12T12:03:00.605" v="1130" actId="790"/>
          <ac:spMkLst>
            <pc:docMk/>
            <pc:sldMk cId="795685229" sldId="904"/>
            <ac:spMk id="11" creationId="{16066EFF-1B24-0CE5-A2BA-1971CDA1F298}"/>
          </ac:spMkLst>
        </pc:spChg>
        <pc:spChg chg="mod">
          <ac:chgData name="Annemarija Apine (LV)" userId="546f5c59-3b8d-47fd-b739-a8fadc631053" providerId="ADAL" clId="{1E5FAF9F-4D85-464E-B064-C298814D6547}" dt="2024-03-12T12:03:00.605" v="1130" actId="790"/>
          <ac:spMkLst>
            <pc:docMk/>
            <pc:sldMk cId="795685229" sldId="904"/>
            <ac:spMk id="12" creationId="{C88E7724-810C-24BD-753F-A290ECACBD79}"/>
          </ac:spMkLst>
        </pc:spChg>
        <pc:spChg chg="mod">
          <ac:chgData name="Annemarija Apine (LV)" userId="546f5c59-3b8d-47fd-b739-a8fadc631053" providerId="ADAL" clId="{1E5FAF9F-4D85-464E-B064-C298814D6547}" dt="2024-03-12T12:03:00.605" v="1130" actId="790"/>
          <ac:spMkLst>
            <pc:docMk/>
            <pc:sldMk cId="795685229" sldId="904"/>
            <ac:spMk id="13" creationId="{A03FA3EC-CEDD-C891-567A-102CF6DB11EF}"/>
          </ac:spMkLst>
        </pc:spChg>
        <pc:spChg chg="mod">
          <ac:chgData name="Annemarija Apine (LV)" userId="546f5c59-3b8d-47fd-b739-a8fadc631053" providerId="ADAL" clId="{1E5FAF9F-4D85-464E-B064-C298814D6547}" dt="2024-03-12T12:03:00.605" v="1130" actId="790"/>
          <ac:spMkLst>
            <pc:docMk/>
            <pc:sldMk cId="795685229" sldId="904"/>
            <ac:spMk id="22" creationId="{FD456066-D6DB-ED05-F1F7-BFB8E89B2676}"/>
          </ac:spMkLst>
        </pc:spChg>
        <pc:spChg chg="mod">
          <ac:chgData name="Annemarija Apine (LV)" userId="546f5c59-3b8d-47fd-b739-a8fadc631053" providerId="ADAL" clId="{1E5FAF9F-4D85-464E-B064-C298814D6547}" dt="2024-03-12T12:03:00.605" v="1130" actId="790"/>
          <ac:spMkLst>
            <pc:docMk/>
            <pc:sldMk cId="795685229" sldId="904"/>
            <ac:spMk id="26" creationId="{CA90F111-E668-30BE-440B-5CC38462EB08}"/>
          </ac:spMkLst>
        </pc:spChg>
        <pc:spChg chg="mod">
          <ac:chgData name="Annemarija Apine (LV)" userId="546f5c59-3b8d-47fd-b739-a8fadc631053" providerId="ADAL" clId="{1E5FAF9F-4D85-464E-B064-C298814D6547}" dt="2024-03-12T12:03:00.605" v="1130" actId="790"/>
          <ac:spMkLst>
            <pc:docMk/>
            <pc:sldMk cId="795685229" sldId="904"/>
            <ac:spMk id="27" creationId="{172E5147-E792-A60A-3E58-BBA21B93A3CD}"/>
          </ac:spMkLst>
        </pc:spChg>
        <pc:spChg chg="mod">
          <ac:chgData name="Annemarija Apine (LV)" userId="546f5c59-3b8d-47fd-b739-a8fadc631053" providerId="ADAL" clId="{1E5FAF9F-4D85-464E-B064-C298814D6547}" dt="2024-03-12T12:03:00.605" v="1130" actId="790"/>
          <ac:spMkLst>
            <pc:docMk/>
            <pc:sldMk cId="795685229" sldId="904"/>
            <ac:spMk id="28" creationId="{113D09D0-B233-D26A-50AA-AAC45C1DB393}"/>
          </ac:spMkLst>
        </pc:spChg>
        <pc:spChg chg="mod">
          <ac:chgData name="Annemarija Apine (LV)" userId="546f5c59-3b8d-47fd-b739-a8fadc631053" providerId="ADAL" clId="{1E5FAF9F-4D85-464E-B064-C298814D6547}" dt="2024-03-12T12:03:00.605" v="1130" actId="790"/>
          <ac:spMkLst>
            <pc:docMk/>
            <pc:sldMk cId="795685229" sldId="904"/>
            <ac:spMk id="29" creationId="{42AFA3F6-67B6-DCB6-69E0-4FEA827E9A7D}"/>
          </ac:spMkLst>
        </pc:spChg>
        <pc:spChg chg="mod">
          <ac:chgData name="Annemarija Apine (LV)" userId="546f5c59-3b8d-47fd-b739-a8fadc631053" providerId="ADAL" clId="{1E5FAF9F-4D85-464E-B064-C298814D6547}" dt="2024-03-12T12:03:00.605" v="1130" actId="790"/>
          <ac:spMkLst>
            <pc:docMk/>
            <pc:sldMk cId="795685229" sldId="904"/>
            <ac:spMk id="30" creationId="{062CCA3E-954F-6862-9874-A90D093D0984}"/>
          </ac:spMkLst>
        </pc:spChg>
        <pc:spChg chg="mod">
          <ac:chgData name="Annemarija Apine (LV)" userId="546f5c59-3b8d-47fd-b739-a8fadc631053" providerId="ADAL" clId="{1E5FAF9F-4D85-464E-B064-C298814D6547}" dt="2024-03-12T12:03:00.605" v="1130" actId="790"/>
          <ac:spMkLst>
            <pc:docMk/>
            <pc:sldMk cId="795685229" sldId="904"/>
            <ac:spMk id="31" creationId="{E2CC0EEE-CAB2-2559-66CC-085D68FA85B6}"/>
          </ac:spMkLst>
        </pc:spChg>
        <pc:spChg chg="mod">
          <ac:chgData name="Annemarija Apine (LV)" userId="546f5c59-3b8d-47fd-b739-a8fadc631053" providerId="ADAL" clId="{1E5FAF9F-4D85-464E-B064-C298814D6547}" dt="2024-03-12T12:03:00.605" v="1130" actId="790"/>
          <ac:spMkLst>
            <pc:docMk/>
            <pc:sldMk cId="795685229" sldId="904"/>
            <ac:spMk id="32" creationId="{6DC923B1-F81E-C41B-D732-20A592FD5A53}"/>
          </ac:spMkLst>
        </pc:spChg>
        <pc:spChg chg="mod">
          <ac:chgData name="Annemarija Apine (LV)" userId="546f5c59-3b8d-47fd-b739-a8fadc631053" providerId="ADAL" clId="{1E5FAF9F-4D85-464E-B064-C298814D6547}" dt="2024-03-12T12:03:00.605" v="1130" actId="790"/>
          <ac:spMkLst>
            <pc:docMk/>
            <pc:sldMk cId="795685229" sldId="904"/>
            <ac:spMk id="33" creationId="{DF43E668-9F50-57B8-04D1-B9499347A2DE}"/>
          </ac:spMkLst>
        </pc:spChg>
        <pc:spChg chg="mod">
          <ac:chgData name="Annemarija Apine (LV)" userId="546f5c59-3b8d-47fd-b739-a8fadc631053" providerId="ADAL" clId="{1E5FAF9F-4D85-464E-B064-C298814D6547}" dt="2024-03-12T12:03:00.605" v="1130" actId="790"/>
          <ac:spMkLst>
            <pc:docMk/>
            <pc:sldMk cId="795685229" sldId="904"/>
            <ac:spMk id="34" creationId="{66589027-9228-B89D-7E1A-9FECA5F1E1EF}"/>
          </ac:spMkLst>
        </pc:spChg>
        <pc:spChg chg="mod">
          <ac:chgData name="Annemarija Apine (LV)" userId="546f5c59-3b8d-47fd-b739-a8fadc631053" providerId="ADAL" clId="{1E5FAF9F-4D85-464E-B064-C298814D6547}" dt="2024-03-12T12:03:00.605" v="1130" actId="790"/>
          <ac:spMkLst>
            <pc:docMk/>
            <pc:sldMk cId="795685229" sldId="904"/>
            <ac:spMk id="35" creationId="{EB5B638A-E0A2-E95A-0C67-6BB415F0EFE3}"/>
          </ac:spMkLst>
        </pc:spChg>
        <pc:spChg chg="mod">
          <ac:chgData name="Annemarija Apine (LV)" userId="546f5c59-3b8d-47fd-b739-a8fadc631053" providerId="ADAL" clId="{1E5FAF9F-4D85-464E-B064-C298814D6547}" dt="2024-03-12T12:03:00.605" v="1130" actId="790"/>
          <ac:spMkLst>
            <pc:docMk/>
            <pc:sldMk cId="795685229" sldId="904"/>
            <ac:spMk id="56" creationId="{AA943CE1-3998-F2FA-5810-5F0CADCF2715}"/>
          </ac:spMkLst>
        </pc:spChg>
        <pc:spChg chg="mod">
          <ac:chgData name="Annemarija Apine (LV)" userId="546f5c59-3b8d-47fd-b739-a8fadc631053" providerId="ADAL" clId="{1E5FAF9F-4D85-464E-B064-C298814D6547}" dt="2024-03-12T12:03:00.605" v="1130" actId="790"/>
          <ac:spMkLst>
            <pc:docMk/>
            <pc:sldMk cId="795685229" sldId="904"/>
            <ac:spMk id="59" creationId="{34CAA65D-F32B-4FFB-DA56-9F4BF785AA35}"/>
          </ac:spMkLst>
        </pc:spChg>
        <pc:spChg chg="mod">
          <ac:chgData name="Annemarija Apine (LV)" userId="546f5c59-3b8d-47fd-b739-a8fadc631053" providerId="ADAL" clId="{1E5FAF9F-4D85-464E-B064-C298814D6547}" dt="2024-03-12T12:03:00.605" v="1130" actId="790"/>
          <ac:spMkLst>
            <pc:docMk/>
            <pc:sldMk cId="795685229" sldId="904"/>
            <ac:spMk id="66" creationId="{CD026E74-0314-F99D-587A-EA39147E7DB9}"/>
          </ac:spMkLst>
        </pc:spChg>
        <pc:spChg chg="mod">
          <ac:chgData name="Annemarija Apine (LV)" userId="546f5c59-3b8d-47fd-b739-a8fadc631053" providerId="ADAL" clId="{1E5FAF9F-4D85-464E-B064-C298814D6547}" dt="2024-03-12T12:03:00.605" v="1130" actId="790"/>
          <ac:spMkLst>
            <pc:docMk/>
            <pc:sldMk cId="795685229" sldId="904"/>
            <ac:spMk id="67" creationId="{A6669812-F1E7-B581-1037-FF52AE28937B}"/>
          </ac:spMkLst>
        </pc:spChg>
        <pc:spChg chg="mod">
          <ac:chgData name="Annemarija Apine (LV)" userId="546f5c59-3b8d-47fd-b739-a8fadc631053" providerId="ADAL" clId="{1E5FAF9F-4D85-464E-B064-C298814D6547}" dt="2024-03-12T12:03:00.605" v="1130" actId="790"/>
          <ac:spMkLst>
            <pc:docMk/>
            <pc:sldMk cId="795685229" sldId="904"/>
            <ac:spMk id="116" creationId="{0911658D-4F8D-7751-7C9D-2BB60E57CA06}"/>
          </ac:spMkLst>
        </pc:spChg>
        <pc:spChg chg="mod">
          <ac:chgData name="Annemarija Apine (LV)" userId="546f5c59-3b8d-47fd-b739-a8fadc631053" providerId="ADAL" clId="{1E5FAF9F-4D85-464E-B064-C298814D6547}" dt="2024-03-12T12:03:00.605" v="1130" actId="790"/>
          <ac:spMkLst>
            <pc:docMk/>
            <pc:sldMk cId="795685229" sldId="904"/>
            <ac:spMk id="117" creationId="{720C14AF-2E3B-5595-0CE1-AA89F0821800}"/>
          </ac:spMkLst>
        </pc:spChg>
        <pc:spChg chg="mod">
          <ac:chgData name="Annemarija Apine (LV)" userId="546f5c59-3b8d-47fd-b739-a8fadc631053" providerId="ADAL" clId="{1E5FAF9F-4D85-464E-B064-C298814D6547}" dt="2024-03-12T12:03:00.605" v="1130" actId="790"/>
          <ac:spMkLst>
            <pc:docMk/>
            <pc:sldMk cId="795685229" sldId="904"/>
            <ac:spMk id="118" creationId="{F150E54A-CAF6-6CD8-09D4-0805B27146CE}"/>
          </ac:spMkLst>
        </pc:spChg>
        <pc:spChg chg="mod">
          <ac:chgData name="Annemarija Apine (LV)" userId="546f5c59-3b8d-47fd-b739-a8fadc631053" providerId="ADAL" clId="{1E5FAF9F-4D85-464E-B064-C298814D6547}" dt="2024-03-12T12:03:00.605" v="1130" actId="790"/>
          <ac:spMkLst>
            <pc:docMk/>
            <pc:sldMk cId="795685229" sldId="904"/>
            <ac:spMk id="119" creationId="{5D623F10-DC12-7A6D-BEA5-43C169E2FE3B}"/>
          </ac:spMkLst>
        </pc:spChg>
        <pc:spChg chg="mod">
          <ac:chgData name="Annemarija Apine (LV)" userId="546f5c59-3b8d-47fd-b739-a8fadc631053" providerId="ADAL" clId="{1E5FAF9F-4D85-464E-B064-C298814D6547}" dt="2024-03-12T12:03:00.605" v="1130" actId="790"/>
          <ac:spMkLst>
            <pc:docMk/>
            <pc:sldMk cId="795685229" sldId="904"/>
            <ac:spMk id="120" creationId="{2C4ECBDD-D380-C0CD-F655-304F17E419DE}"/>
          </ac:spMkLst>
        </pc:spChg>
        <pc:spChg chg="mod">
          <ac:chgData name="Annemarija Apine (LV)" userId="546f5c59-3b8d-47fd-b739-a8fadc631053" providerId="ADAL" clId="{1E5FAF9F-4D85-464E-B064-C298814D6547}" dt="2024-03-12T12:03:00.605" v="1130" actId="790"/>
          <ac:spMkLst>
            <pc:docMk/>
            <pc:sldMk cId="795685229" sldId="904"/>
            <ac:spMk id="121" creationId="{A4B6CF2E-FE3D-0F3A-53AB-081EC1E80CDB}"/>
          </ac:spMkLst>
        </pc:spChg>
        <pc:spChg chg="mod">
          <ac:chgData name="Annemarija Apine (LV)" userId="546f5c59-3b8d-47fd-b739-a8fadc631053" providerId="ADAL" clId="{1E5FAF9F-4D85-464E-B064-C298814D6547}" dt="2024-03-12T12:03:06.384" v="1131" actId="2"/>
          <ac:spMkLst>
            <pc:docMk/>
            <pc:sldMk cId="795685229" sldId="904"/>
            <ac:spMk id="122" creationId="{6EC1D153-5C15-3EAE-F858-8A50316E93DD}"/>
          </ac:spMkLst>
        </pc:spChg>
        <pc:spChg chg="mod">
          <ac:chgData name="Annemarija Apine (LV)" userId="546f5c59-3b8d-47fd-b739-a8fadc631053" providerId="ADAL" clId="{1E5FAF9F-4D85-464E-B064-C298814D6547}" dt="2024-03-12T12:03:00.605" v="1130" actId="790"/>
          <ac:spMkLst>
            <pc:docMk/>
            <pc:sldMk cId="795685229" sldId="904"/>
            <ac:spMk id="123" creationId="{53FE2AD4-6665-1E07-01D8-F6C62B580128}"/>
          </ac:spMkLst>
        </pc:spChg>
        <pc:spChg chg="mod">
          <ac:chgData name="Annemarija Apine (LV)" userId="546f5c59-3b8d-47fd-b739-a8fadc631053" providerId="ADAL" clId="{1E5FAF9F-4D85-464E-B064-C298814D6547}" dt="2024-03-12T12:03:00.605" v="1130" actId="790"/>
          <ac:spMkLst>
            <pc:docMk/>
            <pc:sldMk cId="795685229" sldId="904"/>
            <ac:spMk id="124" creationId="{11BDF5B2-2755-2424-E4C1-A590DA713569}"/>
          </ac:spMkLst>
        </pc:spChg>
        <pc:spChg chg="mod">
          <ac:chgData name="Annemarija Apine (LV)" userId="546f5c59-3b8d-47fd-b739-a8fadc631053" providerId="ADAL" clId="{1E5FAF9F-4D85-464E-B064-C298814D6547}" dt="2024-03-12T12:03:07.907" v="1132" actId="2"/>
          <ac:spMkLst>
            <pc:docMk/>
            <pc:sldMk cId="795685229" sldId="904"/>
            <ac:spMk id="125" creationId="{1734212E-2EA2-B135-55B3-866F1CF570E1}"/>
          </ac:spMkLst>
        </pc:spChg>
        <pc:spChg chg="mod">
          <ac:chgData name="Annemarija Apine (LV)" userId="546f5c59-3b8d-47fd-b739-a8fadc631053" providerId="ADAL" clId="{1E5FAF9F-4D85-464E-B064-C298814D6547}" dt="2024-03-12T12:03:00.605" v="1130" actId="790"/>
          <ac:spMkLst>
            <pc:docMk/>
            <pc:sldMk cId="795685229" sldId="904"/>
            <ac:spMk id="126" creationId="{A786E605-28E8-780E-8339-3A6A775DA0C0}"/>
          </ac:spMkLst>
        </pc:spChg>
        <pc:spChg chg="mod">
          <ac:chgData name="Annemarija Apine (LV)" userId="546f5c59-3b8d-47fd-b739-a8fadc631053" providerId="ADAL" clId="{1E5FAF9F-4D85-464E-B064-C298814D6547}" dt="2024-03-12T12:03:00.605" v="1130" actId="790"/>
          <ac:spMkLst>
            <pc:docMk/>
            <pc:sldMk cId="795685229" sldId="904"/>
            <ac:spMk id="127" creationId="{1C1E571C-E6C1-D7AD-AF5E-49EF85BA448A}"/>
          </ac:spMkLst>
        </pc:spChg>
      </pc:sldChg>
      <pc:sldChg chg="modSp mod">
        <pc:chgData name="Annemarija Apine (LV)" userId="546f5c59-3b8d-47fd-b739-a8fadc631053" providerId="ADAL" clId="{1E5FAF9F-4D85-464E-B064-C298814D6547}" dt="2024-03-12T12:03:17.406" v="1135" actId="790"/>
        <pc:sldMkLst>
          <pc:docMk/>
          <pc:sldMk cId="507333055" sldId="905"/>
        </pc:sldMkLst>
        <pc:spChg chg="mod">
          <ac:chgData name="Annemarija Apine (LV)" userId="546f5c59-3b8d-47fd-b739-a8fadc631053" providerId="ADAL" clId="{1E5FAF9F-4D85-464E-B064-C298814D6547}" dt="2024-03-12T12:03:17.406" v="1135" actId="790"/>
          <ac:spMkLst>
            <pc:docMk/>
            <pc:sldMk cId="507333055" sldId="905"/>
            <ac:spMk id="2" creationId="{EDFBCEAB-7D4A-91D0-E036-AAFACC3ABE8D}"/>
          </ac:spMkLst>
        </pc:spChg>
        <pc:spChg chg="mod">
          <ac:chgData name="Annemarija Apine (LV)" userId="546f5c59-3b8d-47fd-b739-a8fadc631053" providerId="ADAL" clId="{1E5FAF9F-4D85-464E-B064-C298814D6547}" dt="2024-03-12T12:03:17.406" v="1135" actId="790"/>
          <ac:spMkLst>
            <pc:docMk/>
            <pc:sldMk cId="507333055" sldId="905"/>
            <ac:spMk id="3" creationId="{70832196-8F04-2AE8-0728-1989AF43F84D}"/>
          </ac:spMkLst>
        </pc:spChg>
        <pc:spChg chg="mod">
          <ac:chgData name="Annemarija Apine (LV)" userId="546f5c59-3b8d-47fd-b739-a8fadc631053" providerId="ADAL" clId="{1E5FAF9F-4D85-464E-B064-C298814D6547}" dt="2024-03-12T12:03:17.406" v="1135" actId="790"/>
          <ac:spMkLst>
            <pc:docMk/>
            <pc:sldMk cId="507333055" sldId="905"/>
            <ac:spMk id="4" creationId="{A6320228-D809-6F87-2500-99BCB217E23A}"/>
          </ac:spMkLst>
        </pc:spChg>
        <pc:spChg chg="mod">
          <ac:chgData name="Annemarija Apine (LV)" userId="546f5c59-3b8d-47fd-b739-a8fadc631053" providerId="ADAL" clId="{1E5FAF9F-4D85-464E-B064-C298814D6547}" dt="2024-03-12T12:03:17.406" v="1135" actId="790"/>
          <ac:spMkLst>
            <pc:docMk/>
            <pc:sldMk cId="507333055" sldId="905"/>
            <ac:spMk id="6" creationId="{7B05A1CC-7504-0F93-3BA5-4DE99C347651}"/>
          </ac:spMkLst>
        </pc:spChg>
        <pc:spChg chg="mod">
          <ac:chgData name="Annemarija Apine (LV)" userId="546f5c59-3b8d-47fd-b739-a8fadc631053" providerId="ADAL" clId="{1E5FAF9F-4D85-464E-B064-C298814D6547}" dt="2024-03-12T12:03:17.406" v="1135" actId="790"/>
          <ac:spMkLst>
            <pc:docMk/>
            <pc:sldMk cId="507333055" sldId="905"/>
            <ac:spMk id="7" creationId="{7CCBCAB2-8042-8023-3371-75FC4CDDA556}"/>
          </ac:spMkLst>
        </pc:spChg>
        <pc:spChg chg="mod">
          <ac:chgData name="Annemarija Apine (LV)" userId="546f5c59-3b8d-47fd-b739-a8fadc631053" providerId="ADAL" clId="{1E5FAF9F-4D85-464E-B064-C298814D6547}" dt="2024-03-12T12:03:17.406" v="1135" actId="790"/>
          <ac:spMkLst>
            <pc:docMk/>
            <pc:sldMk cId="507333055" sldId="905"/>
            <ac:spMk id="8" creationId="{19F7371B-DAF0-68B7-93FA-BDE4B01797F6}"/>
          </ac:spMkLst>
        </pc:spChg>
        <pc:spChg chg="mod">
          <ac:chgData name="Annemarija Apine (LV)" userId="546f5c59-3b8d-47fd-b739-a8fadc631053" providerId="ADAL" clId="{1E5FAF9F-4D85-464E-B064-C298814D6547}" dt="2024-03-12T12:03:17.406" v="1135" actId="790"/>
          <ac:spMkLst>
            <pc:docMk/>
            <pc:sldMk cId="507333055" sldId="905"/>
            <ac:spMk id="9" creationId="{86697D7D-B946-E90D-2D2C-E2BA46D91B2B}"/>
          </ac:spMkLst>
        </pc:spChg>
        <pc:spChg chg="mod">
          <ac:chgData name="Annemarija Apine (LV)" userId="546f5c59-3b8d-47fd-b739-a8fadc631053" providerId="ADAL" clId="{1E5FAF9F-4D85-464E-B064-C298814D6547}" dt="2024-03-12T12:03:17.406" v="1135" actId="790"/>
          <ac:spMkLst>
            <pc:docMk/>
            <pc:sldMk cId="507333055" sldId="905"/>
            <ac:spMk id="10" creationId="{97ED17E7-DCE0-28AB-CD9D-4B6FADB71D15}"/>
          </ac:spMkLst>
        </pc:spChg>
        <pc:spChg chg="mod">
          <ac:chgData name="Annemarija Apine (LV)" userId="546f5c59-3b8d-47fd-b739-a8fadc631053" providerId="ADAL" clId="{1E5FAF9F-4D85-464E-B064-C298814D6547}" dt="2024-03-12T12:03:17.406" v="1135" actId="790"/>
          <ac:spMkLst>
            <pc:docMk/>
            <pc:sldMk cId="507333055" sldId="905"/>
            <ac:spMk id="11" creationId="{A0930077-F578-EFD3-9AD7-72A9A79464CF}"/>
          </ac:spMkLst>
        </pc:spChg>
        <pc:spChg chg="mod">
          <ac:chgData name="Annemarija Apine (LV)" userId="546f5c59-3b8d-47fd-b739-a8fadc631053" providerId="ADAL" clId="{1E5FAF9F-4D85-464E-B064-C298814D6547}" dt="2024-03-12T12:03:17.406" v="1135" actId="790"/>
          <ac:spMkLst>
            <pc:docMk/>
            <pc:sldMk cId="507333055" sldId="905"/>
            <ac:spMk id="21" creationId="{38BB8091-1076-C602-6CED-C2AE6678F5A9}"/>
          </ac:spMkLst>
        </pc:spChg>
        <pc:spChg chg="mod">
          <ac:chgData name="Annemarija Apine (LV)" userId="546f5c59-3b8d-47fd-b739-a8fadc631053" providerId="ADAL" clId="{1E5FAF9F-4D85-464E-B064-C298814D6547}" dt="2024-03-12T12:03:17.406" v="1135" actId="790"/>
          <ac:spMkLst>
            <pc:docMk/>
            <pc:sldMk cId="507333055" sldId="905"/>
            <ac:spMk id="22" creationId="{14F35E1A-2C93-B6CB-918D-868C9B06B0A7}"/>
          </ac:spMkLst>
        </pc:spChg>
        <pc:spChg chg="mod">
          <ac:chgData name="Annemarija Apine (LV)" userId="546f5c59-3b8d-47fd-b739-a8fadc631053" providerId="ADAL" clId="{1E5FAF9F-4D85-464E-B064-C298814D6547}" dt="2024-03-12T12:03:17.406" v="1135" actId="790"/>
          <ac:spMkLst>
            <pc:docMk/>
            <pc:sldMk cId="507333055" sldId="905"/>
            <ac:spMk id="23" creationId="{F97CB2C5-7142-8223-7214-B1FDFDA9926A}"/>
          </ac:spMkLst>
        </pc:spChg>
        <pc:spChg chg="mod">
          <ac:chgData name="Annemarija Apine (LV)" userId="546f5c59-3b8d-47fd-b739-a8fadc631053" providerId="ADAL" clId="{1E5FAF9F-4D85-464E-B064-C298814D6547}" dt="2024-03-12T12:03:17.406" v="1135" actId="790"/>
          <ac:spMkLst>
            <pc:docMk/>
            <pc:sldMk cId="507333055" sldId="905"/>
            <ac:spMk id="24" creationId="{F0AA07AA-4D21-8CE3-744C-AD9A127C8D02}"/>
          </ac:spMkLst>
        </pc:spChg>
        <pc:spChg chg="mod">
          <ac:chgData name="Annemarija Apine (LV)" userId="546f5c59-3b8d-47fd-b739-a8fadc631053" providerId="ADAL" clId="{1E5FAF9F-4D85-464E-B064-C298814D6547}" dt="2024-03-12T12:03:17.406" v="1135" actId="790"/>
          <ac:spMkLst>
            <pc:docMk/>
            <pc:sldMk cId="507333055" sldId="905"/>
            <ac:spMk id="25" creationId="{1CA1B5B0-7F3C-4506-0CFC-FC71900DAEB0}"/>
          </ac:spMkLst>
        </pc:spChg>
        <pc:spChg chg="mod">
          <ac:chgData name="Annemarija Apine (LV)" userId="546f5c59-3b8d-47fd-b739-a8fadc631053" providerId="ADAL" clId="{1E5FAF9F-4D85-464E-B064-C298814D6547}" dt="2024-03-12T12:03:17.406" v="1135" actId="790"/>
          <ac:spMkLst>
            <pc:docMk/>
            <pc:sldMk cId="507333055" sldId="905"/>
            <ac:spMk id="26" creationId="{CAFFDCE5-3051-49DF-AF83-5287E01B7716}"/>
          </ac:spMkLst>
        </pc:spChg>
        <pc:spChg chg="mod">
          <ac:chgData name="Annemarija Apine (LV)" userId="546f5c59-3b8d-47fd-b739-a8fadc631053" providerId="ADAL" clId="{1E5FAF9F-4D85-464E-B064-C298814D6547}" dt="2024-03-12T12:03:17.406" v="1135" actId="790"/>
          <ac:spMkLst>
            <pc:docMk/>
            <pc:sldMk cId="507333055" sldId="905"/>
            <ac:spMk id="27" creationId="{D6EA5D0F-11EF-2398-660B-39FF89189180}"/>
          </ac:spMkLst>
        </pc:spChg>
        <pc:spChg chg="mod">
          <ac:chgData name="Annemarija Apine (LV)" userId="546f5c59-3b8d-47fd-b739-a8fadc631053" providerId="ADAL" clId="{1E5FAF9F-4D85-464E-B064-C298814D6547}" dt="2024-03-12T12:03:17.406" v="1135" actId="790"/>
          <ac:spMkLst>
            <pc:docMk/>
            <pc:sldMk cId="507333055" sldId="905"/>
            <ac:spMk id="28" creationId="{29F2449E-4ED8-5ADE-AE30-9E9AB83EF649}"/>
          </ac:spMkLst>
        </pc:spChg>
        <pc:spChg chg="mod">
          <ac:chgData name="Annemarija Apine (LV)" userId="546f5c59-3b8d-47fd-b739-a8fadc631053" providerId="ADAL" clId="{1E5FAF9F-4D85-464E-B064-C298814D6547}" dt="2024-03-12T12:03:17.406" v="1135" actId="790"/>
          <ac:spMkLst>
            <pc:docMk/>
            <pc:sldMk cId="507333055" sldId="905"/>
            <ac:spMk id="29" creationId="{00134262-F6E7-5D0D-46C6-48E2647244CF}"/>
          </ac:spMkLst>
        </pc:spChg>
        <pc:spChg chg="mod">
          <ac:chgData name="Annemarija Apine (LV)" userId="546f5c59-3b8d-47fd-b739-a8fadc631053" providerId="ADAL" clId="{1E5FAF9F-4D85-464E-B064-C298814D6547}" dt="2024-03-12T12:03:17.406" v="1135" actId="790"/>
          <ac:spMkLst>
            <pc:docMk/>
            <pc:sldMk cId="507333055" sldId="905"/>
            <ac:spMk id="30" creationId="{9EFCB31E-34D9-1914-7367-57FB33E6D927}"/>
          </ac:spMkLst>
        </pc:spChg>
        <pc:spChg chg="mod">
          <ac:chgData name="Annemarija Apine (LV)" userId="546f5c59-3b8d-47fd-b739-a8fadc631053" providerId="ADAL" clId="{1E5FAF9F-4D85-464E-B064-C298814D6547}" dt="2024-03-12T12:03:17.406" v="1135" actId="790"/>
          <ac:spMkLst>
            <pc:docMk/>
            <pc:sldMk cId="507333055" sldId="905"/>
            <ac:spMk id="31" creationId="{B24CF0FE-B844-4682-3534-6E167E9F0FFA}"/>
          </ac:spMkLst>
        </pc:spChg>
        <pc:spChg chg="mod">
          <ac:chgData name="Annemarija Apine (LV)" userId="546f5c59-3b8d-47fd-b739-a8fadc631053" providerId="ADAL" clId="{1E5FAF9F-4D85-464E-B064-C298814D6547}" dt="2024-03-12T12:03:17.406" v="1135" actId="790"/>
          <ac:spMkLst>
            <pc:docMk/>
            <pc:sldMk cId="507333055" sldId="905"/>
            <ac:spMk id="32" creationId="{34992742-13EE-A536-FAEC-18532BDD82A6}"/>
          </ac:spMkLst>
        </pc:spChg>
        <pc:spChg chg="mod">
          <ac:chgData name="Annemarija Apine (LV)" userId="546f5c59-3b8d-47fd-b739-a8fadc631053" providerId="ADAL" clId="{1E5FAF9F-4D85-464E-B064-C298814D6547}" dt="2024-03-12T12:03:17.406" v="1135" actId="790"/>
          <ac:spMkLst>
            <pc:docMk/>
            <pc:sldMk cId="507333055" sldId="905"/>
            <ac:spMk id="33" creationId="{6614B880-DCB4-A5EA-0F50-19A1C810C41E}"/>
          </ac:spMkLst>
        </pc:spChg>
        <pc:spChg chg="mod">
          <ac:chgData name="Annemarija Apine (LV)" userId="546f5c59-3b8d-47fd-b739-a8fadc631053" providerId="ADAL" clId="{1E5FAF9F-4D85-464E-B064-C298814D6547}" dt="2024-03-12T12:03:17.406" v="1135" actId="790"/>
          <ac:spMkLst>
            <pc:docMk/>
            <pc:sldMk cId="507333055" sldId="905"/>
            <ac:spMk id="34" creationId="{92BD7321-AEC3-477C-EB5F-005F7DC540AF}"/>
          </ac:spMkLst>
        </pc:spChg>
        <pc:spChg chg="mod">
          <ac:chgData name="Annemarija Apine (LV)" userId="546f5c59-3b8d-47fd-b739-a8fadc631053" providerId="ADAL" clId="{1E5FAF9F-4D85-464E-B064-C298814D6547}" dt="2024-03-12T12:03:17.406" v="1135" actId="790"/>
          <ac:spMkLst>
            <pc:docMk/>
            <pc:sldMk cId="507333055" sldId="905"/>
            <ac:spMk id="49" creationId="{2C40FD44-D961-01E3-E566-FEE845800AF9}"/>
          </ac:spMkLst>
        </pc:spChg>
      </pc:sldChg>
      <pc:sldChg chg="modSp mod delCm modNotesTx">
        <pc:chgData name="Annemarija Apine (LV)" userId="546f5c59-3b8d-47fd-b739-a8fadc631053" providerId="ADAL" clId="{1E5FAF9F-4D85-464E-B064-C298814D6547}" dt="2024-03-12T12:03:35.680" v="1139" actId="2"/>
        <pc:sldMkLst>
          <pc:docMk/>
          <pc:sldMk cId="2300626159" sldId="908"/>
        </pc:sldMkLst>
        <pc:spChg chg="mod">
          <ac:chgData name="Annemarija Apine (LV)" userId="546f5c59-3b8d-47fd-b739-a8fadc631053" providerId="ADAL" clId="{1E5FAF9F-4D85-464E-B064-C298814D6547}" dt="2024-03-12T12:03:29.108" v="1137" actId="790"/>
          <ac:spMkLst>
            <pc:docMk/>
            <pc:sldMk cId="2300626159" sldId="908"/>
            <ac:spMk id="2" creationId="{B3B9B40C-89D0-00A8-E1FD-6C775139BEFB}"/>
          </ac:spMkLst>
        </pc:spChg>
        <pc:spChg chg="mod">
          <ac:chgData name="Annemarija Apine (LV)" userId="546f5c59-3b8d-47fd-b739-a8fadc631053" providerId="ADAL" clId="{1E5FAF9F-4D85-464E-B064-C298814D6547}" dt="2024-03-12T12:03:29.108" v="1137" actId="790"/>
          <ac:spMkLst>
            <pc:docMk/>
            <pc:sldMk cId="2300626159" sldId="908"/>
            <ac:spMk id="3" creationId="{18D846C5-0FE1-0722-5504-7D4D452EA64C}"/>
          </ac:spMkLst>
        </pc:spChg>
        <pc:spChg chg="mod">
          <ac:chgData name="Annemarija Apine (LV)" userId="546f5c59-3b8d-47fd-b739-a8fadc631053" providerId="ADAL" clId="{1E5FAF9F-4D85-464E-B064-C298814D6547}" dt="2024-03-12T12:03:29.108" v="1137" actId="790"/>
          <ac:spMkLst>
            <pc:docMk/>
            <pc:sldMk cId="2300626159" sldId="908"/>
            <ac:spMk id="4" creationId="{1D0816AF-800B-D4B3-9F92-EA9CA8F47531}"/>
          </ac:spMkLst>
        </pc:spChg>
        <pc:spChg chg="mod">
          <ac:chgData name="Annemarija Apine (LV)" userId="546f5c59-3b8d-47fd-b739-a8fadc631053" providerId="ADAL" clId="{1E5FAF9F-4D85-464E-B064-C298814D6547}" dt="2024-03-12T12:03:29.108" v="1137" actId="790"/>
          <ac:spMkLst>
            <pc:docMk/>
            <pc:sldMk cId="2300626159" sldId="908"/>
            <ac:spMk id="5" creationId="{9B9A4561-429C-6EAE-F170-E90F8BD220FB}"/>
          </ac:spMkLst>
        </pc:spChg>
        <pc:spChg chg="mod">
          <ac:chgData name="Annemarija Apine (LV)" userId="546f5c59-3b8d-47fd-b739-a8fadc631053" providerId="ADAL" clId="{1E5FAF9F-4D85-464E-B064-C298814D6547}" dt="2024-03-12T12:03:29.108" v="1137" actId="790"/>
          <ac:spMkLst>
            <pc:docMk/>
            <pc:sldMk cId="2300626159" sldId="908"/>
            <ac:spMk id="8" creationId="{2CA7E931-5A39-E16F-287D-26D8CB80F058}"/>
          </ac:spMkLst>
        </pc:spChg>
        <pc:spChg chg="mod">
          <ac:chgData name="Annemarija Apine (LV)" userId="546f5c59-3b8d-47fd-b739-a8fadc631053" providerId="ADAL" clId="{1E5FAF9F-4D85-464E-B064-C298814D6547}" dt="2024-03-12T12:03:29.108" v="1137" actId="790"/>
          <ac:spMkLst>
            <pc:docMk/>
            <pc:sldMk cId="2300626159" sldId="908"/>
            <ac:spMk id="9" creationId="{A2B233A5-ED06-3246-BD46-B7B39150B709}"/>
          </ac:spMkLst>
        </pc:spChg>
        <pc:spChg chg="mod">
          <ac:chgData name="Annemarija Apine (LV)" userId="546f5c59-3b8d-47fd-b739-a8fadc631053" providerId="ADAL" clId="{1E5FAF9F-4D85-464E-B064-C298814D6547}" dt="2024-03-12T12:03:29.108" v="1137" actId="790"/>
          <ac:spMkLst>
            <pc:docMk/>
            <pc:sldMk cId="2300626159" sldId="908"/>
            <ac:spMk id="10" creationId="{C3DFDFF4-18D2-A047-B0B2-4C063F2C571A}"/>
          </ac:spMkLst>
        </pc:spChg>
        <pc:spChg chg="mod">
          <ac:chgData name="Annemarija Apine (LV)" userId="546f5c59-3b8d-47fd-b739-a8fadc631053" providerId="ADAL" clId="{1E5FAF9F-4D85-464E-B064-C298814D6547}" dt="2024-03-12T12:03:29.108" v="1137" actId="790"/>
          <ac:spMkLst>
            <pc:docMk/>
            <pc:sldMk cId="2300626159" sldId="908"/>
            <ac:spMk id="11" creationId="{ABB70BD2-60C1-064D-95BB-38DE736A1572}"/>
          </ac:spMkLst>
        </pc:spChg>
        <pc:spChg chg="mod">
          <ac:chgData name="Annemarija Apine (LV)" userId="546f5c59-3b8d-47fd-b739-a8fadc631053" providerId="ADAL" clId="{1E5FAF9F-4D85-464E-B064-C298814D6547}" dt="2024-03-12T12:03:29.108" v="1137" actId="790"/>
          <ac:spMkLst>
            <pc:docMk/>
            <pc:sldMk cId="2300626159" sldId="908"/>
            <ac:spMk id="12" creationId="{90E04B7C-9E41-4641-A5D6-FF34530482E0}"/>
          </ac:spMkLst>
        </pc:spChg>
        <pc:spChg chg="mod">
          <ac:chgData name="Annemarija Apine (LV)" userId="546f5c59-3b8d-47fd-b739-a8fadc631053" providerId="ADAL" clId="{1E5FAF9F-4D85-464E-B064-C298814D6547}" dt="2024-03-12T12:03:29.108" v="1137" actId="790"/>
          <ac:spMkLst>
            <pc:docMk/>
            <pc:sldMk cId="2300626159" sldId="908"/>
            <ac:spMk id="13" creationId="{FFA0AA22-B08B-7F4A-B365-587EEE2D842D}"/>
          </ac:spMkLst>
        </pc:spChg>
        <pc:spChg chg="mod">
          <ac:chgData name="Annemarija Apine (LV)" userId="546f5c59-3b8d-47fd-b739-a8fadc631053" providerId="ADAL" clId="{1E5FAF9F-4D85-464E-B064-C298814D6547}" dt="2024-03-12T12:03:29.108" v="1137" actId="790"/>
          <ac:spMkLst>
            <pc:docMk/>
            <pc:sldMk cId="2300626159" sldId="908"/>
            <ac:spMk id="15" creationId="{817192BF-33DA-6E42-944F-7B2F09E52C43}"/>
          </ac:spMkLst>
        </pc:spChg>
        <pc:spChg chg="mod">
          <ac:chgData name="Annemarija Apine (LV)" userId="546f5c59-3b8d-47fd-b739-a8fadc631053" providerId="ADAL" clId="{1E5FAF9F-4D85-464E-B064-C298814D6547}" dt="2024-03-12T12:03:29.108" v="1137" actId="790"/>
          <ac:spMkLst>
            <pc:docMk/>
            <pc:sldMk cId="2300626159" sldId="908"/>
            <ac:spMk id="16" creationId="{2AA0056B-1B3F-9647-9399-DD6B5207FA3B}"/>
          </ac:spMkLst>
        </pc:spChg>
        <pc:spChg chg="mod">
          <ac:chgData name="Annemarija Apine (LV)" userId="546f5c59-3b8d-47fd-b739-a8fadc631053" providerId="ADAL" clId="{1E5FAF9F-4D85-464E-B064-C298814D6547}" dt="2024-03-12T12:03:29.108" v="1137" actId="790"/>
          <ac:spMkLst>
            <pc:docMk/>
            <pc:sldMk cId="2300626159" sldId="908"/>
            <ac:spMk id="17" creationId="{C1683A97-5B75-9940-AD67-614A9DFD6627}"/>
          </ac:spMkLst>
        </pc:spChg>
        <pc:spChg chg="mod">
          <ac:chgData name="Annemarija Apine (LV)" userId="546f5c59-3b8d-47fd-b739-a8fadc631053" providerId="ADAL" clId="{1E5FAF9F-4D85-464E-B064-C298814D6547}" dt="2024-03-12T12:03:29.108" v="1137" actId="790"/>
          <ac:spMkLst>
            <pc:docMk/>
            <pc:sldMk cId="2300626159" sldId="908"/>
            <ac:spMk id="18" creationId="{E4C5F8F0-E4BD-274A-8190-28583D21E512}"/>
          </ac:spMkLst>
        </pc:spChg>
        <pc:spChg chg="mod">
          <ac:chgData name="Annemarija Apine (LV)" userId="546f5c59-3b8d-47fd-b739-a8fadc631053" providerId="ADAL" clId="{1E5FAF9F-4D85-464E-B064-C298814D6547}" dt="2024-03-12T12:03:29.108" v="1137" actId="790"/>
          <ac:spMkLst>
            <pc:docMk/>
            <pc:sldMk cId="2300626159" sldId="908"/>
            <ac:spMk id="19" creationId="{DE96E661-5736-8C3F-255F-9D2374B7F0FB}"/>
          </ac:spMkLst>
        </pc:spChg>
        <pc:spChg chg="mod">
          <ac:chgData name="Annemarija Apine (LV)" userId="546f5c59-3b8d-47fd-b739-a8fadc631053" providerId="ADAL" clId="{1E5FAF9F-4D85-464E-B064-C298814D6547}" dt="2024-03-12T12:03:29.108" v="1137" actId="790"/>
          <ac:spMkLst>
            <pc:docMk/>
            <pc:sldMk cId="2300626159" sldId="908"/>
            <ac:spMk id="20" creationId="{36C24187-730C-71DC-948E-6236097A3FCE}"/>
          </ac:spMkLst>
        </pc:spChg>
        <pc:spChg chg="mod">
          <ac:chgData name="Annemarija Apine (LV)" userId="546f5c59-3b8d-47fd-b739-a8fadc631053" providerId="ADAL" clId="{1E5FAF9F-4D85-464E-B064-C298814D6547}" dt="2024-03-12T12:03:29.108" v="1137" actId="790"/>
          <ac:spMkLst>
            <pc:docMk/>
            <pc:sldMk cId="2300626159" sldId="908"/>
            <ac:spMk id="21" creationId="{9DDA2F8A-B421-783A-8697-99B26276333A}"/>
          </ac:spMkLst>
        </pc:spChg>
        <pc:spChg chg="mod">
          <ac:chgData name="Annemarija Apine (LV)" userId="546f5c59-3b8d-47fd-b739-a8fadc631053" providerId="ADAL" clId="{1E5FAF9F-4D85-464E-B064-C298814D6547}" dt="2024-03-12T12:03:29.108" v="1137" actId="790"/>
          <ac:spMkLst>
            <pc:docMk/>
            <pc:sldMk cId="2300626159" sldId="908"/>
            <ac:spMk id="22" creationId="{8E63E40A-7AB1-B534-4B2C-02E4311BEF4F}"/>
          </ac:spMkLst>
        </pc:spChg>
        <pc:spChg chg="mod">
          <ac:chgData name="Annemarija Apine (LV)" userId="546f5c59-3b8d-47fd-b739-a8fadc631053" providerId="ADAL" clId="{1E5FAF9F-4D85-464E-B064-C298814D6547}" dt="2024-03-12T12:03:29.108" v="1137" actId="790"/>
          <ac:spMkLst>
            <pc:docMk/>
            <pc:sldMk cId="2300626159" sldId="908"/>
            <ac:spMk id="23" creationId="{1DFA226E-CAF3-2D42-AC96-11A51BD07541}"/>
          </ac:spMkLst>
        </pc:spChg>
        <pc:spChg chg="mod">
          <ac:chgData name="Annemarija Apine (LV)" userId="546f5c59-3b8d-47fd-b739-a8fadc631053" providerId="ADAL" clId="{1E5FAF9F-4D85-464E-B064-C298814D6547}" dt="2024-03-12T12:03:29.108" v="1137" actId="790"/>
          <ac:spMkLst>
            <pc:docMk/>
            <pc:sldMk cId="2300626159" sldId="908"/>
            <ac:spMk id="24" creationId="{10B15265-346F-0349-AF94-74C872CA65DD}"/>
          </ac:spMkLst>
        </pc:spChg>
        <pc:spChg chg="mod">
          <ac:chgData name="Annemarija Apine (LV)" userId="546f5c59-3b8d-47fd-b739-a8fadc631053" providerId="ADAL" clId="{1E5FAF9F-4D85-464E-B064-C298814D6547}" dt="2024-03-12T12:03:29.108" v="1137" actId="790"/>
          <ac:spMkLst>
            <pc:docMk/>
            <pc:sldMk cId="2300626159" sldId="908"/>
            <ac:spMk id="25" creationId="{73F30B4C-A440-674A-9472-8F1EB39DA9F2}"/>
          </ac:spMkLst>
        </pc:spChg>
        <pc:spChg chg="mod">
          <ac:chgData name="Annemarija Apine (LV)" userId="546f5c59-3b8d-47fd-b739-a8fadc631053" providerId="ADAL" clId="{1E5FAF9F-4D85-464E-B064-C298814D6547}" dt="2024-03-12T12:03:29.108" v="1137" actId="790"/>
          <ac:spMkLst>
            <pc:docMk/>
            <pc:sldMk cId="2300626159" sldId="908"/>
            <ac:spMk id="26" creationId="{8B070493-BB90-AA4F-AE2F-427F4E058BD7}"/>
          </ac:spMkLst>
        </pc:spChg>
        <pc:spChg chg="mod">
          <ac:chgData name="Annemarija Apine (LV)" userId="546f5c59-3b8d-47fd-b739-a8fadc631053" providerId="ADAL" clId="{1E5FAF9F-4D85-464E-B064-C298814D6547}" dt="2024-03-12T12:03:29.108" v="1137" actId="790"/>
          <ac:spMkLst>
            <pc:docMk/>
            <pc:sldMk cId="2300626159" sldId="908"/>
            <ac:spMk id="28" creationId="{D47F3DC6-4280-EA23-4A05-CF43D4483198}"/>
          </ac:spMkLst>
        </pc:spChg>
        <pc:spChg chg="mod">
          <ac:chgData name="Annemarija Apine (LV)" userId="546f5c59-3b8d-47fd-b739-a8fadc631053" providerId="ADAL" clId="{1E5FAF9F-4D85-464E-B064-C298814D6547}" dt="2024-03-12T12:03:29.108" v="1137" actId="790"/>
          <ac:spMkLst>
            <pc:docMk/>
            <pc:sldMk cId="2300626159" sldId="908"/>
            <ac:spMk id="29" creationId="{43CABCC0-76A5-0C3F-920C-D7B1C1522A25}"/>
          </ac:spMkLst>
        </pc:spChg>
        <pc:spChg chg="mod">
          <ac:chgData name="Annemarija Apine (LV)" userId="546f5c59-3b8d-47fd-b739-a8fadc631053" providerId="ADAL" clId="{1E5FAF9F-4D85-464E-B064-C298814D6547}" dt="2024-03-12T12:03:29.108" v="1137" actId="790"/>
          <ac:spMkLst>
            <pc:docMk/>
            <pc:sldMk cId="2300626159" sldId="908"/>
            <ac:spMk id="80" creationId="{33F3258F-AFEA-7716-88A9-DEF866DBB873}"/>
          </ac:spMkLst>
        </pc:spChg>
        <pc:spChg chg="mod">
          <ac:chgData name="Annemarija Apine (LV)" userId="546f5c59-3b8d-47fd-b739-a8fadc631053" providerId="ADAL" clId="{1E5FAF9F-4D85-464E-B064-C298814D6547}" dt="2024-03-12T12:03:29.108" v="1137" actId="790"/>
          <ac:spMkLst>
            <pc:docMk/>
            <pc:sldMk cId="2300626159" sldId="908"/>
            <ac:spMk id="81" creationId="{03A635FF-A78F-8735-A808-281BDB5E3F81}"/>
          </ac:spMkLst>
        </pc:spChg>
        <pc:spChg chg="mod">
          <ac:chgData name="Annemarija Apine (LV)" userId="546f5c59-3b8d-47fd-b739-a8fadc631053" providerId="ADAL" clId="{1E5FAF9F-4D85-464E-B064-C298814D6547}" dt="2024-03-12T12:03:29.108" v="1137" actId="790"/>
          <ac:spMkLst>
            <pc:docMk/>
            <pc:sldMk cId="2300626159" sldId="908"/>
            <ac:spMk id="82" creationId="{65B4A675-6657-816B-877E-77046FB90EDE}"/>
          </ac:spMkLst>
        </pc:spChg>
        <pc:spChg chg="mod">
          <ac:chgData name="Annemarija Apine (LV)" userId="546f5c59-3b8d-47fd-b739-a8fadc631053" providerId="ADAL" clId="{1E5FAF9F-4D85-464E-B064-C298814D6547}" dt="2024-03-12T12:03:29.108" v="1137" actId="790"/>
          <ac:spMkLst>
            <pc:docMk/>
            <pc:sldMk cId="2300626159" sldId="908"/>
            <ac:spMk id="83" creationId="{54F0AA69-8303-66A6-6FF1-F4A9B799A601}"/>
          </ac:spMkLst>
        </pc:spChg>
        <pc:spChg chg="mod">
          <ac:chgData name="Annemarija Apine (LV)" userId="546f5c59-3b8d-47fd-b739-a8fadc631053" providerId="ADAL" clId="{1E5FAF9F-4D85-464E-B064-C298814D6547}" dt="2024-03-12T12:03:29.108" v="1137" actId="790"/>
          <ac:spMkLst>
            <pc:docMk/>
            <pc:sldMk cId="2300626159" sldId="908"/>
            <ac:spMk id="86" creationId="{FAE45AAF-2F8E-201A-3A04-5A013ADD89B9}"/>
          </ac:spMkLst>
        </pc:sp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300626159" sldId="908"/>
                <pc2:cmMk id="{9EB49911-F31C-40DF-85BF-E42ABCAEF3DF}"/>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300626159" sldId="908"/>
                <pc2:cmMk id="{FC7E61B3-0B67-4E2A-96C5-34AA02841D10}"/>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300626159" sldId="908"/>
                <pc2:cmMk id="{EB40C0CD-5758-4469-A4F4-96B6F7B1BF19}"/>
              </pc2:cmMkLst>
            </pc226:cmChg>
            <pc226:cmChg xmlns:pc226="http://schemas.microsoft.com/office/powerpoint/2022/06/main/command" chg="del">
              <pc226:chgData name="Annemarija Apine (LV)" userId="546f5c59-3b8d-47fd-b739-a8fadc631053" providerId="ADAL" clId="{1E5FAF9F-4D85-464E-B064-C298814D6547}" dt="2024-03-12T11:11:27.827" v="633"/>
              <pc2:cmMkLst xmlns:pc2="http://schemas.microsoft.com/office/powerpoint/2019/9/main/command">
                <pc:docMk/>
                <pc:sldMk cId="2300626159" sldId="908"/>
                <pc2:cmMk id="{244EB0D3-63C7-4555-A81F-CBB2872954E1}"/>
              </pc2:cmMkLst>
            </pc226:cmChg>
          </p:ext>
        </pc:extLst>
      </pc:sldChg>
      <pc:sldChg chg="modSp mod delCm">
        <pc:chgData name="Annemarija Apine (LV)" userId="546f5c59-3b8d-47fd-b739-a8fadc631053" providerId="ADAL" clId="{1E5FAF9F-4D85-464E-B064-C298814D6547}" dt="2024-03-12T11:51:45.414" v="1096" actId="947"/>
        <pc:sldMkLst>
          <pc:docMk/>
          <pc:sldMk cId="3429470186" sldId="914"/>
        </pc:sldMkLst>
        <pc:spChg chg="mod">
          <ac:chgData name="Annemarija Apine (LV)" userId="546f5c59-3b8d-47fd-b739-a8fadc631053" providerId="ADAL" clId="{1E5FAF9F-4D85-464E-B064-C298814D6547}" dt="2024-03-12T11:51:45.414" v="1096" actId="947"/>
          <ac:spMkLst>
            <pc:docMk/>
            <pc:sldMk cId="3429470186" sldId="914"/>
            <ac:spMk id="16" creationId="{25A25F16-3DF9-5BEF-8F70-42FAB50A6BCE}"/>
          </ac:spMkLst>
        </pc:sp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2T11:51:30.156" v="1093"/>
              <pc2:cmMkLst xmlns:pc2="http://schemas.microsoft.com/office/powerpoint/2019/9/main/command">
                <pc:docMk/>
                <pc:sldMk cId="3429470186" sldId="914"/>
                <pc2:cmMk id="{0C7C53F7-5476-45C0-9A4C-87C4695D0797}"/>
              </pc2:cmMkLst>
            </pc226:cmChg>
          </p:ext>
        </pc:extLst>
      </pc:sldChg>
      <pc:sldChg chg="delCm modNotesTx">
        <pc:chgData name="Annemarija Apine (LV)" userId="546f5c59-3b8d-47fd-b739-a8fadc631053" providerId="ADAL" clId="{1E5FAF9F-4D85-464E-B064-C298814D6547}" dt="2024-03-11T22:22:28.149" v="547"/>
        <pc:sldMkLst>
          <pc:docMk/>
          <pc:sldMk cId="1981412866" sldId="915"/>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1981412866" sldId="915"/>
                <pc2:cmMk id="{0A2FB834-DE41-4211-88A4-807F40A0D977}"/>
              </pc2:cmMkLst>
            </pc226:cmChg>
          </p:ext>
        </pc:extLst>
      </pc:sldChg>
      <pc:sldChg chg="modSp mod delCm modNotesTx">
        <pc:chgData name="Annemarija Apine (LV)" userId="546f5c59-3b8d-47fd-b739-a8fadc631053" providerId="ADAL" clId="{1E5FAF9F-4D85-464E-B064-C298814D6547}" dt="2024-03-12T12:03:46.853" v="1142" actId="790"/>
        <pc:sldMkLst>
          <pc:docMk/>
          <pc:sldMk cId="64855802" sldId="916"/>
        </pc:sldMkLst>
        <pc:spChg chg="mod">
          <ac:chgData name="Annemarija Apine (LV)" userId="546f5c59-3b8d-47fd-b739-a8fadc631053" providerId="ADAL" clId="{1E5FAF9F-4D85-464E-B064-C298814D6547}" dt="2024-03-12T12:03:46.853" v="1142" actId="790"/>
          <ac:spMkLst>
            <pc:docMk/>
            <pc:sldMk cId="64855802" sldId="916"/>
            <ac:spMk id="3" creationId="{F4CCF02E-F3C4-C376-8F56-61BD85A2E74B}"/>
          </ac:spMkLst>
        </pc:spChg>
        <pc:spChg chg="mod">
          <ac:chgData name="Annemarija Apine (LV)" userId="546f5c59-3b8d-47fd-b739-a8fadc631053" providerId="ADAL" clId="{1E5FAF9F-4D85-464E-B064-C298814D6547}" dt="2024-03-12T12:03:46.853" v="1142" actId="790"/>
          <ac:spMkLst>
            <pc:docMk/>
            <pc:sldMk cId="64855802" sldId="916"/>
            <ac:spMk id="4" creationId="{872966CD-924A-B939-E655-A6BAF817DCBF}"/>
          </ac:spMkLst>
        </pc:spChg>
        <pc:spChg chg="mod">
          <ac:chgData name="Annemarija Apine (LV)" userId="546f5c59-3b8d-47fd-b739-a8fadc631053" providerId="ADAL" clId="{1E5FAF9F-4D85-464E-B064-C298814D6547}" dt="2024-03-12T12:03:46.853" v="1142" actId="790"/>
          <ac:spMkLst>
            <pc:docMk/>
            <pc:sldMk cId="64855802" sldId="916"/>
            <ac:spMk id="5" creationId="{65B20DBA-A0B6-DD32-19D6-76C7062D9658}"/>
          </ac:spMkLst>
        </pc:spChg>
        <pc:spChg chg="mod">
          <ac:chgData name="Annemarija Apine (LV)" userId="546f5c59-3b8d-47fd-b739-a8fadc631053" providerId="ADAL" clId="{1E5FAF9F-4D85-464E-B064-C298814D6547}" dt="2024-03-12T12:03:46.853" v="1142" actId="790"/>
          <ac:spMkLst>
            <pc:docMk/>
            <pc:sldMk cId="64855802" sldId="916"/>
            <ac:spMk id="6" creationId="{A0E793E7-427C-3E34-E013-FCACBB48F56B}"/>
          </ac:spMkLst>
        </pc:spChg>
        <pc:spChg chg="mod">
          <ac:chgData name="Annemarija Apine (LV)" userId="546f5c59-3b8d-47fd-b739-a8fadc631053" providerId="ADAL" clId="{1E5FAF9F-4D85-464E-B064-C298814D6547}" dt="2024-03-12T12:03:46.853" v="1142" actId="790"/>
          <ac:spMkLst>
            <pc:docMk/>
            <pc:sldMk cId="64855802" sldId="916"/>
            <ac:spMk id="7" creationId="{E886C7A7-47C5-E0CB-C923-882EDC64C19E}"/>
          </ac:spMkLst>
        </pc:spChg>
        <pc:spChg chg="mod">
          <ac:chgData name="Annemarija Apine (LV)" userId="546f5c59-3b8d-47fd-b739-a8fadc631053" providerId="ADAL" clId="{1E5FAF9F-4D85-464E-B064-C298814D6547}" dt="2024-03-12T12:03:46.853" v="1142" actId="790"/>
          <ac:spMkLst>
            <pc:docMk/>
            <pc:sldMk cId="64855802" sldId="916"/>
            <ac:spMk id="8" creationId="{24E79FE6-0994-3470-48D1-FB7ACEF10549}"/>
          </ac:spMkLst>
        </pc:spChg>
        <pc:spChg chg="mod">
          <ac:chgData name="Annemarija Apine (LV)" userId="546f5c59-3b8d-47fd-b739-a8fadc631053" providerId="ADAL" clId="{1E5FAF9F-4D85-464E-B064-C298814D6547}" dt="2024-03-12T12:03:46.853" v="1142" actId="790"/>
          <ac:spMkLst>
            <pc:docMk/>
            <pc:sldMk cId="64855802" sldId="916"/>
            <ac:spMk id="9" creationId="{20E2F488-128A-A03C-4DDA-0BA6FB1A457F}"/>
          </ac:spMkLst>
        </pc:spChg>
        <pc:spChg chg="mod">
          <ac:chgData name="Annemarija Apine (LV)" userId="546f5c59-3b8d-47fd-b739-a8fadc631053" providerId="ADAL" clId="{1E5FAF9F-4D85-464E-B064-C298814D6547}" dt="2024-03-12T12:03:46.853" v="1142" actId="790"/>
          <ac:spMkLst>
            <pc:docMk/>
            <pc:sldMk cId="64855802" sldId="916"/>
            <ac:spMk id="11" creationId="{836441A3-6385-8323-B08A-0073B0FB5CA5}"/>
          </ac:spMkLst>
        </pc:spChg>
        <pc:spChg chg="mod">
          <ac:chgData name="Annemarija Apine (LV)" userId="546f5c59-3b8d-47fd-b739-a8fadc631053" providerId="ADAL" clId="{1E5FAF9F-4D85-464E-B064-C298814D6547}" dt="2024-03-12T12:03:46.853" v="1142" actId="790"/>
          <ac:spMkLst>
            <pc:docMk/>
            <pc:sldMk cId="64855802" sldId="916"/>
            <ac:spMk id="13" creationId="{BDBF5004-C333-4FCF-D7DD-775EDB7F58B0}"/>
          </ac:spMkLst>
        </pc:spChg>
        <pc:spChg chg="mod">
          <ac:chgData name="Annemarija Apine (LV)" userId="546f5c59-3b8d-47fd-b739-a8fadc631053" providerId="ADAL" clId="{1E5FAF9F-4D85-464E-B064-C298814D6547}" dt="2024-03-12T12:03:46.853" v="1142" actId="790"/>
          <ac:spMkLst>
            <pc:docMk/>
            <pc:sldMk cId="64855802" sldId="916"/>
            <ac:spMk id="14" creationId="{B17E22AC-3FD7-B294-7CD8-82EAC265809C}"/>
          </ac:spMkLst>
        </pc:spChg>
        <pc:spChg chg="mod">
          <ac:chgData name="Annemarija Apine (LV)" userId="546f5c59-3b8d-47fd-b739-a8fadc631053" providerId="ADAL" clId="{1E5FAF9F-4D85-464E-B064-C298814D6547}" dt="2024-03-12T12:03:46.853" v="1142" actId="790"/>
          <ac:spMkLst>
            <pc:docMk/>
            <pc:sldMk cId="64855802" sldId="916"/>
            <ac:spMk id="15" creationId="{D49BE480-993F-A60E-DE5C-66CDA3B9CB2B}"/>
          </ac:spMkLst>
        </pc:spChg>
        <pc:spChg chg="mod">
          <ac:chgData name="Annemarija Apine (LV)" userId="546f5c59-3b8d-47fd-b739-a8fadc631053" providerId="ADAL" clId="{1E5FAF9F-4D85-464E-B064-C298814D6547}" dt="2024-03-12T12:03:46.853" v="1142" actId="790"/>
          <ac:spMkLst>
            <pc:docMk/>
            <pc:sldMk cId="64855802" sldId="916"/>
            <ac:spMk id="16" creationId="{8AF1A61C-47A7-4B2E-F520-BA19D1D2C0D3}"/>
          </ac:spMkLst>
        </pc:spChg>
        <pc:spChg chg="mod">
          <ac:chgData name="Annemarija Apine (LV)" userId="546f5c59-3b8d-47fd-b739-a8fadc631053" providerId="ADAL" clId="{1E5FAF9F-4D85-464E-B064-C298814D6547}" dt="2024-03-12T12:03:46.853" v="1142" actId="790"/>
          <ac:spMkLst>
            <pc:docMk/>
            <pc:sldMk cId="64855802" sldId="916"/>
            <ac:spMk id="17" creationId="{1308B33E-95B7-5E7E-A01B-E7A6B278F425}"/>
          </ac:spMkLst>
        </pc:spChg>
        <pc:spChg chg="mod">
          <ac:chgData name="Annemarija Apine (LV)" userId="546f5c59-3b8d-47fd-b739-a8fadc631053" providerId="ADAL" clId="{1E5FAF9F-4D85-464E-B064-C298814D6547}" dt="2024-03-12T12:03:46.853" v="1142" actId="790"/>
          <ac:spMkLst>
            <pc:docMk/>
            <pc:sldMk cId="64855802" sldId="916"/>
            <ac:spMk id="20" creationId="{54EC1F61-FF16-1408-F9A0-76C3203F84CA}"/>
          </ac:spMkLst>
        </pc:spChg>
        <pc:spChg chg="mod">
          <ac:chgData name="Annemarija Apine (LV)" userId="546f5c59-3b8d-47fd-b739-a8fadc631053" providerId="ADAL" clId="{1E5FAF9F-4D85-464E-B064-C298814D6547}" dt="2024-03-12T12:03:46.853" v="1142" actId="790"/>
          <ac:spMkLst>
            <pc:docMk/>
            <pc:sldMk cId="64855802" sldId="916"/>
            <ac:spMk id="25" creationId="{3F4B047B-9FFA-12D1-B8AD-AAC2A9759CAF}"/>
          </ac:spMkLst>
        </pc:spChg>
        <pc:spChg chg="mod">
          <ac:chgData name="Annemarija Apine (LV)" userId="546f5c59-3b8d-47fd-b739-a8fadc631053" providerId="ADAL" clId="{1E5FAF9F-4D85-464E-B064-C298814D6547}" dt="2024-03-12T12:03:46.853" v="1142" actId="790"/>
          <ac:spMkLst>
            <pc:docMk/>
            <pc:sldMk cId="64855802" sldId="916"/>
            <ac:spMk id="26" creationId="{515B18CF-E56A-6B40-4A0F-0EAA1C8F56C7}"/>
          </ac:spMkLst>
        </pc:spChg>
        <pc:spChg chg="mod">
          <ac:chgData name="Annemarija Apine (LV)" userId="546f5c59-3b8d-47fd-b739-a8fadc631053" providerId="ADAL" clId="{1E5FAF9F-4D85-464E-B064-C298814D6547}" dt="2024-03-12T12:03:46.853" v="1142" actId="790"/>
          <ac:spMkLst>
            <pc:docMk/>
            <pc:sldMk cId="64855802" sldId="916"/>
            <ac:spMk id="27" creationId="{DB25174A-0656-78A0-0079-8CF72BC6431E}"/>
          </ac:spMkLst>
        </pc:spChg>
        <pc:spChg chg="mod">
          <ac:chgData name="Annemarija Apine (LV)" userId="546f5c59-3b8d-47fd-b739-a8fadc631053" providerId="ADAL" clId="{1E5FAF9F-4D85-464E-B064-C298814D6547}" dt="2024-03-12T12:03:46.853" v="1142" actId="790"/>
          <ac:spMkLst>
            <pc:docMk/>
            <pc:sldMk cId="64855802" sldId="916"/>
            <ac:spMk id="28" creationId="{E26856B4-6C3C-09CB-5094-5D5C14CB617C}"/>
          </ac:spMkLst>
        </pc:spChg>
        <pc:spChg chg="mod">
          <ac:chgData name="Annemarija Apine (LV)" userId="546f5c59-3b8d-47fd-b739-a8fadc631053" providerId="ADAL" clId="{1E5FAF9F-4D85-464E-B064-C298814D6547}" dt="2024-03-12T12:03:46.853" v="1142" actId="790"/>
          <ac:spMkLst>
            <pc:docMk/>
            <pc:sldMk cId="64855802" sldId="916"/>
            <ac:spMk id="29" creationId="{D24D2039-8EB4-6BDE-56F6-C1CF4E0BD27B}"/>
          </ac:spMkLst>
        </pc:spChg>
        <pc:spChg chg="mod">
          <ac:chgData name="Annemarija Apine (LV)" userId="546f5c59-3b8d-47fd-b739-a8fadc631053" providerId="ADAL" clId="{1E5FAF9F-4D85-464E-B064-C298814D6547}" dt="2024-03-12T12:03:46.853" v="1142" actId="790"/>
          <ac:spMkLst>
            <pc:docMk/>
            <pc:sldMk cId="64855802" sldId="916"/>
            <ac:spMk id="34" creationId="{AC027842-8E0B-F976-084E-7FD104C43A84}"/>
          </ac:spMkLst>
        </pc:spChg>
        <pc:spChg chg="mod">
          <ac:chgData name="Annemarija Apine (LV)" userId="546f5c59-3b8d-47fd-b739-a8fadc631053" providerId="ADAL" clId="{1E5FAF9F-4D85-464E-B064-C298814D6547}" dt="2024-03-12T12:03:46.853" v="1142" actId="790"/>
          <ac:spMkLst>
            <pc:docMk/>
            <pc:sldMk cId="64855802" sldId="916"/>
            <ac:spMk id="35" creationId="{432C5712-D5AD-47F7-FC20-0EB40EAFE2D2}"/>
          </ac:spMkLst>
        </pc:spChg>
        <pc:spChg chg="mod">
          <ac:chgData name="Annemarija Apine (LV)" userId="546f5c59-3b8d-47fd-b739-a8fadc631053" providerId="ADAL" clId="{1E5FAF9F-4D85-464E-B064-C298814D6547}" dt="2024-03-12T12:03:46.853" v="1142" actId="790"/>
          <ac:spMkLst>
            <pc:docMk/>
            <pc:sldMk cId="64855802" sldId="916"/>
            <ac:spMk id="36" creationId="{1A91B8D2-3367-8EC1-1639-E51629AF1E93}"/>
          </ac:spMkLst>
        </pc:spChg>
        <pc:spChg chg="mod">
          <ac:chgData name="Annemarija Apine (LV)" userId="546f5c59-3b8d-47fd-b739-a8fadc631053" providerId="ADAL" clId="{1E5FAF9F-4D85-464E-B064-C298814D6547}" dt="2024-03-12T12:03:46.853" v="1142" actId="790"/>
          <ac:spMkLst>
            <pc:docMk/>
            <pc:sldMk cId="64855802" sldId="916"/>
            <ac:spMk id="37" creationId="{43ADB3DB-3BA4-7C31-08CB-601A2D7BCC02}"/>
          </ac:spMkLst>
        </pc:spChg>
        <pc:spChg chg="mod">
          <ac:chgData name="Annemarija Apine (LV)" userId="546f5c59-3b8d-47fd-b739-a8fadc631053" providerId="ADAL" clId="{1E5FAF9F-4D85-464E-B064-C298814D6547}" dt="2024-03-12T12:03:46.853" v="1142" actId="790"/>
          <ac:spMkLst>
            <pc:docMk/>
            <pc:sldMk cId="64855802" sldId="916"/>
            <ac:spMk id="38" creationId="{BD7935CE-15D8-1811-94CE-B987A34E5FB0}"/>
          </ac:spMkLst>
        </pc:spChg>
        <pc:spChg chg="mod">
          <ac:chgData name="Annemarija Apine (LV)" userId="546f5c59-3b8d-47fd-b739-a8fadc631053" providerId="ADAL" clId="{1E5FAF9F-4D85-464E-B064-C298814D6547}" dt="2024-03-12T12:03:46.853" v="1142" actId="790"/>
          <ac:spMkLst>
            <pc:docMk/>
            <pc:sldMk cId="64855802" sldId="916"/>
            <ac:spMk id="39" creationId="{B6D3ACFB-DDDC-6CAA-D35D-49EA05634711}"/>
          </ac:spMkLst>
        </pc:spChg>
        <pc:spChg chg="mod">
          <ac:chgData name="Annemarija Apine (LV)" userId="546f5c59-3b8d-47fd-b739-a8fadc631053" providerId="ADAL" clId="{1E5FAF9F-4D85-464E-B064-C298814D6547}" dt="2024-03-12T12:03:46.853" v="1142" actId="790"/>
          <ac:spMkLst>
            <pc:docMk/>
            <pc:sldMk cId="64855802" sldId="916"/>
            <ac:spMk id="40" creationId="{7EBB5C10-CFEF-60B6-E81C-B496F1A52649}"/>
          </ac:spMkLst>
        </pc:spChg>
        <pc:spChg chg="mod">
          <ac:chgData name="Annemarija Apine (LV)" userId="546f5c59-3b8d-47fd-b739-a8fadc631053" providerId="ADAL" clId="{1E5FAF9F-4D85-464E-B064-C298814D6547}" dt="2024-03-12T12:03:46.853" v="1142" actId="790"/>
          <ac:spMkLst>
            <pc:docMk/>
            <pc:sldMk cId="64855802" sldId="916"/>
            <ac:spMk id="41" creationId="{985E6054-94C7-8CF3-851D-FD85DE2F92CB}"/>
          </ac:spMkLst>
        </pc:spChg>
        <pc:spChg chg="mod">
          <ac:chgData name="Annemarija Apine (LV)" userId="546f5c59-3b8d-47fd-b739-a8fadc631053" providerId="ADAL" clId="{1E5FAF9F-4D85-464E-B064-C298814D6547}" dt="2024-03-12T12:03:46.853" v="1142" actId="790"/>
          <ac:spMkLst>
            <pc:docMk/>
            <pc:sldMk cId="64855802" sldId="916"/>
            <ac:spMk id="42" creationId="{554E30E1-83B8-7761-D567-A1C24032F242}"/>
          </ac:spMkLst>
        </pc:spChg>
        <pc:spChg chg="mod">
          <ac:chgData name="Annemarija Apine (LV)" userId="546f5c59-3b8d-47fd-b739-a8fadc631053" providerId="ADAL" clId="{1E5FAF9F-4D85-464E-B064-C298814D6547}" dt="2024-03-12T12:03:46.853" v="1142" actId="790"/>
          <ac:spMkLst>
            <pc:docMk/>
            <pc:sldMk cId="64855802" sldId="916"/>
            <ac:spMk id="43" creationId="{B59B899D-1483-7DB7-884C-1BF5BB66EEF8}"/>
          </ac:spMkLst>
        </pc:spChg>
        <pc:spChg chg="mod">
          <ac:chgData name="Annemarija Apine (LV)" userId="546f5c59-3b8d-47fd-b739-a8fadc631053" providerId="ADAL" clId="{1E5FAF9F-4D85-464E-B064-C298814D6547}" dt="2024-03-12T12:03:46.853" v="1142" actId="790"/>
          <ac:spMkLst>
            <pc:docMk/>
            <pc:sldMk cId="64855802" sldId="916"/>
            <ac:spMk id="44" creationId="{94871D9B-9CA0-96F3-8E39-FD36C686E5B2}"/>
          </ac:spMkLst>
        </pc:spChg>
        <pc:spChg chg="mod">
          <ac:chgData name="Annemarija Apine (LV)" userId="546f5c59-3b8d-47fd-b739-a8fadc631053" providerId="ADAL" clId="{1E5FAF9F-4D85-464E-B064-C298814D6547}" dt="2024-03-12T12:03:46.853" v="1142" actId="790"/>
          <ac:spMkLst>
            <pc:docMk/>
            <pc:sldMk cId="64855802" sldId="916"/>
            <ac:spMk id="45" creationId="{8D71FF02-0232-FA91-F9B2-51C5765FD1F0}"/>
          </ac:spMkLst>
        </pc:spChg>
        <pc:spChg chg="mod">
          <ac:chgData name="Annemarija Apine (LV)" userId="546f5c59-3b8d-47fd-b739-a8fadc631053" providerId="ADAL" clId="{1E5FAF9F-4D85-464E-B064-C298814D6547}" dt="2024-03-12T12:03:46.853" v="1142" actId="790"/>
          <ac:spMkLst>
            <pc:docMk/>
            <pc:sldMk cId="64855802" sldId="916"/>
            <ac:spMk id="46" creationId="{AA6DDFE9-80E6-B7F6-FB38-9917BC91B4D2}"/>
          </ac:spMkLst>
        </pc:spChg>
        <pc:spChg chg="mod">
          <ac:chgData name="Annemarija Apine (LV)" userId="546f5c59-3b8d-47fd-b739-a8fadc631053" providerId="ADAL" clId="{1E5FAF9F-4D85-464E-B064-C298814D6547}" dt="2024-03-12T12:03:46.853" v="1142" actId="790"/>
          <ac:spMkLst>
            <pc:docMk/>
            <pc:sldMk cId="64855802" sldId="916"/>
            <ac:spMk id="47" creationId="{115D63E8-2A8B-9CF7-1918-27AD2BA124D4}"/>
          </ac:spMkLst>
        </pc:spChg>
        <pc:spChg chg="mod">
          <ac:chgData name="Annemarija Apine (LV)" userId="546f5c59-3b8d-47fd-b739-a8fadc631053" providerId="ADAL" clId="{1E5FAF9F-4D85-464E-B064-C298814D6547}" dt="2024-03-12T12:03:46.853" v="1142" actId="790"/>
          <ac:spMkLst>
            <pc:docMk/>
            <pc:sldMk cId="64855802" sldId="916"/>
            <ac:spMk id="48" creationId="{45C97A8C-D8E3-502E-7F55-E280CB660E7E}"/>
          </ac:spMkLst>
        </pc:spChg>
        <pc:spChg chg="mod">
          <ac:chgData name="Annemarija Apine (LV)" userId="546f5c59-3b8d-47fd-b739-a8fadc631053" providerId="ADAL" clId="{1E5FAF9F-4D85-464E-B064-C298814D6547}" dt="2024-03-12T12:03:46.853" v="1142" actId="790"/>
          <ac:spMkLst>
            <pc:docMk/>
            <pc:sldMk cId="64855802" sldId="916"/>
            <ac:spMk id="49" creationId="{1D2FF4CB-94E6-2366-A7D2-CA1C854C04A2}"/>
          </ac:spMkLst>
        </pc:spChg>
        <pc:spChg chg="mod">
          <ac:chgData name="Annemarija Apine (LV)" userId="546f5c59-3b8d-47fd-b739-a8fadc631053" providerId="ADAL" clId="{1E5FAF9F-4D85-464E-B064-C298814D6547}" dt="2024-03-12T12:03:46.853" v="1142" actId="790"/>
          <ac:spMkLst>
            <pc:docMk/>
            <pc:sldMk cId="64855802" sldId="916"/>
            <ac:spMk id="57" creationId="{35163424-634C-D958-12E3-B664D6A7060F}"/>
          </ac:spMkLst>
        </pc:spChg>
        <pc:spChg chg="mod">
          <ac:chgData name="Annemarija Apine (LV)" userId="546f5c59-3b8d-47fd-b739-a8fadc631053" providerId="ADAL" clId="{1E5FAF9F-4D85-464E-B064-C298814D6547}" dt="2024-03-12T12:03:46.853" v="1142" actId="790"/>
          <ac:spMkLst>
            <pc:docMk/>
            <pc:sldMk cId="64855802" sldId="916"/>
            <ac:spMk id="59" creationId="{240305AB-D314-184B-8241-309CAA3C49C9}"/>
          </ac:spMkLst>
        </pc:spChg>
        <pc:spChg chg="mod">
          <ac:chgData name="Annemarija Apine (LV)" userId="546f5c59-3b8d-47fd-b739-a8fadc631053" providerId="ADAL" clId="{1E5FAF9F-4D85-464E-B064-C298814D6547}" dt="2024-03-12T12:03:46.853" v="1142" actId="790"/>
          <ac:spMkLst>
            <pc:docMk/>
            <pc:sldMk cId="64855802" sldId="916"/>
            <ac:spMk id="60" creationId="{39B1999B-DA2B-AEF1-F527-5B55E3A4F6D3}"/>
          </ac:spMkLst>
        </pc:spChg>
        <pc:spChg chg="mod">
          <ac:chgData name="Annemarija Apine (LV)" userId="546f5c59-3b8d-47fd-b739-a8fadc631053" providerId="ADAL" clId="{1E5FAF9F-4D85-464E-B064-C298814D6547}" dt="2024-03-12T12:03:46.853" v="1142" actId="790"/>
          <ac:spMkLst>
            <pc:docMk/>
            <pc:sldMk cId="64855802" sldId="916"/>
            <ac:spMk id="61" creationId="{C89C6CFF-F3F8-4409-558D-AB15D4B22B52}"/>
          </ac:spMkLst>
        </pc:spChg>
        <pc:spChg chg="mod">
          <ac:chgData name="Annemarija Apine (LV)" userId="546f5c59-3b8d-47fd-b739-a8fadc631053" providerId="ADAL" clId="{1E5FAF9F-4D85-464E-B064-C298814D6547}" dt="2024-03-12T12:03:46.853" v="1142" actId="790"/>
          <ac:spMkLst>
            <pc:docMk/>
            <pc:sldMk cId="64855802" sldId="916"/>
            <ac:spMk id="62" creationId="{D6533196-5085-05A8-2364-DAC27889663F}"/>
          </ac:spMkLst>
        </pc:spChg>
        <pc:spChg chg="mod">
          <ac:chgData name="Annemarija Apine (LV)" userId="546f5c59-3b8d-47fd-b739-a8fadc631053" providerId="ADAL" clId="{1E5FAF9F-4D85-464E-B064-C298814D6547}" dt="2024-03-12T12:03:46.853" v="1142" actId="790"/>
          <ac:spMkLst>
            <pc:docMk/>
            <pc:sldMk cId="64855802" sldId="916"/>
            <ac:spMk id="63" creationId="{B0F6447E-D4BB-398C-BA99-969BA786C7C5}"/>
          </ac:spMkLst>
        </pc:spChg>
        <pc:spChg chg="mod">
          <ac:chgData name="Annemarija Apine (LV)" userId="546f5c59-3b8d-47fd-b739-a8fadc631053" providerId="ADAL" clId="{1E5FAF9F-4D85-464E-B064-C298814D6547}" dt="2024-03-12T12:03:46.853" v="1142" actId="790"/>
          <ac:spMkLst>
            <pc:docMk/>
            <pc:sldMk cId="64855802" sldId="916"/>
            <ac:spMk id="64" creationId="{84B6B728-C388-AF06-A34F-8B985415F504}"/>
          </ac:spMkLst>
        </pc:spChg>
        <pc:spChg chg="mod">
          <ac:chgData name="Annemarija Apine (LV)" userId="546f5c59-3b8d-47fd-b739-a8fadc631053" providerId="ADAL" clId="{1E5FAF9F-4D85-464E-B064-C298814D6547}" dt="2024-03-12T12:03:46.853" v="1142" actId="790"/>
          <ac:spMkLst>
            <pc:docMk/>
            <pc:sldMk cId="64855802" sldId="916"/>
            <ac:spMk id="65" creationId="{DE4C2663-EB37-60FA-2D68-70149F921862}"/>
          </ac:spMkLst>
        </pc:spChg>
        <pc:spChg chg="mod">
          <ac:chgData name="Annemarija Apine (LV)" userId="546f5c59-3b8d-47fd-b739-a8fadc631053" providerId="ADAL" clId="{1E5FAF9F-4D85-464E-B064-C298814D6547}" dt="2024-03-12T12:03:46.853" v="1142" actId="790"/>
          <ac:spMkLst>
            <pc:docMk/>
            <pc:sldMk cId="64855802" sldId="916"/>
            <ac:spMk id="66" creationId="{889CCFBC-A6F2-A8F7-79F0-D31DB6126C09}"/>
          </ac:spMkLst>
        </pc:spChg>
        <pc:spChg chg="mod">
          <ac:chgData name="Annemarija Apine (LV)" userId="546f5c59-3b8d-47fd-b739-a8fadc631053" providerId="ADAL" clId="{1E5FAF9F-4D85-464E-B064-C298814D6547}" dt="2024-03-12T12:03:46.853" v="1142" actId="790"/>
          <ac:spMkLst>
            <pc:docMk/>
            <pc:sldMk cId="64855802" sldId="916"/>
            <ac:spMk id="67" creationId="{694D06CB-4FD9-F8F4-87A6-52624FE80486}"/>
          </ac:spMkLst>
        </pc:spChg>
        <pc:spChg chg="mod">
          <ac:chgData name="Annemarija Apine (LV)" userId="546f5c59-3b8d-47fd-b739-a8fadc631053" providerId="ADAL" clId="{1E5FAF9F-4D85-464E-B064-C298814D6547}" dt="2024-03-12T12:03:46.853" v="1142" actId="790"/>
          <ac:spMkLst>
            <pc:docMk/>
            <pc:sldMk cId="64855802" sldId="916"/>
            <ac:spMk id="68" creationId="{F301D25A-DA36-DB7B-23E6-238516D081C8}"/>
          </ac:spMkLst>
        </pc:spChg>
        <pc:spChg chg="mod">
          <ac:chgData name="Annemarija Apine (LV)" userId="546f5c59-3b8d-47fd-b739-a8fadc631053" providerId="ADAL" clId="{1E5FAF9F-4D85-464E-B064-C298814D6547}" dt="2024-03-12T12:03:46.853" v="1142" actId="790"/>
          <ac:spMkLst>
            <pc:docMk/>
            <pc:sldMk cId="64855802" sldId="916"/>
            <ac:spMk id="70" creationId="{715CB4D8-B109-4E3E-BFCE-C99080E076DC}"/>
          </ac:spMkLst>
        </pc:spChg>
        <pc:spChg chg="mod">
          <ac:chgData name="Annemarija Apine (LV)" userId="546f5c59-3b8d-47fd-b739-a8fadc631053" providerId="ADAL" clId="{1E5FAF9F-4D85-464E-B064-C298814D6547}" dt="2024-03-12T12:03:46.853" v="1142" actId="790"/>
          <ac:spMkLst>
            <pc:docMk/>
            <pc:sldMk cId="64855802" sldId="916"/>
            <ac:spMk id="71" creationId="{D177213A-A08F-109F-C321-81C74500428F}"/>
          </ac:spMkLst>
        </pc:spChg>
        <pc:spChg chg="mod">
          <ac:chgData name="Annemarija Apine (LV)" userId="546f5c59-3b8d-47fd-b739-a8fadc631053" providerId="ADAL" clId="{1E5FAF9F-4D85-464E-B064-C298814D6547}" dt="2024-03-12T12:03:46.853" v="1142" actId="790"/>
          <ac:spMkLst>
            <pc:docMk/>
            <pc:sldMk cId="64855802" sldId="916"/>
            <ac:spMk id="72" creationId="{97B86F27-97BF-A053-40CF-13B6F7A90C0B}"/>
          </ac:spMkLst>
        </pc:spChg>
        <pc:spChg chg="mod">
          <ac:chgData name="Annemarija Apine (LV)" userId="546f5c59-3b8d-47fd-b739-a8fadc631053" providerId="ADAL" clId="{1E5FAF9F-4D85-464E-B064-C298814D6547}" dt="2024-03-12T12:03:46.853" v="1142" actId="790"/>
          <ac:spMkLst>
            <pc:docMk/>
            <pc:sldMk cId="64855802" sldId="916"/>
            <ac:spMk id="73" creationId="{097C697C-20DC-498D-E06D-AE4A61FACDF5}"/>
          </ac:spMkLst>
        </pc:spChg>
        <pc:spChg chg="mod">
          <ac:chgData name="Annemarija Apine (LV)" userId="546f5c59-3b8d-47fd-b739-a8fadc631053" providerId="ADAL" clId="{1E5FAF9F-4D85-464E-B064-C298814D6547}" dt="2024-03-12T12:03:46.853" v="1142" actId="790"/>
          <ac:spMkLst>
            <pc:docMk/>
            <pc:sldMk cId="64855802" sldId="916"/>
            <ac:spMk id="74" creationId="{604C031C-FBD8-99DD-C008-0B6D6174CE10}"/>
          </ac:spMkLst>
        </pc:spChg>
        <pc:spChg chg="mod">
          <ac:chgData name="Annemarija Apine (LV)" userId="546f5c59-3b8d-47fd-b739-a8fadc631053" providerId="ADAL" clId="{1E5FAF9F-4D85-464E-B064-C298814D6547}" dt="2024-03-12T12:03:46.853" v="1142" actId="790"/>
          <ac:spMkLst>
            <pc:docMk/>
            <pc:sldMk cId="64855802" sldId="916"/>
            <ac:spMk id="76" creationId="{749FF834-8FDC-D7F2-E12F-D667F2758F1D}"/>
          </ac:spMkLst>
        </pc:spChg>
        <pc:spChg chg="mod">
          <ac:chgData name="Annemarija Apine (LV)" userId="546f5c59-3b8d-47fd-b739-a8fadc631053" providerId="ADAL" clId="{1E5FAF9F-4D85-464E-B064-C298814D6547}" dt="2024-03-12T12:03:46.853" v="1142" actId="790"/>
          <ac:spMkLst>
            <pc:docMk/>
            <pc:sldMk cId="64855802" sldId="916"/>
            <ac:spMk id="77" creationId="{500B9E5D-04F9-8EC8-DB30-15926D654D38}"/>
          </ac:spMkLst>
        </pc:spChg>
        <pc:spChg chg="mod">
          <ac:chgData name="Annemarija Apine (LV)" userId="546f5c59-3b8d-47fd-b739-a8fadc631053" providerId="ADAL" clId="{1E5FAF9F-4D85-464E-B064-C298814D6547}" dt="2024-03-12T12:03:46.853" v="1142" actId="790"/>
          <ac:spMkLst>
            <pc:docMk/>
            <pc:sldMk cId="64855802" sldId="916"/>
            <ac:spMk id="78" creationId="{67F23E57-E858-E4CF-4200-B52A6C07C68B}"/>
          </ac:spMkLst>
        </pc:spChg>
        <pc:spChg chg="mod">
          <ac:chgData name="Annemarija Apine (LV)" userId="546f5c59-3b8d-47fd-b739-a8fadc631053" providerId="ADAL" clId="{1E5FAF9F-4D85-464E-B064-C298814D6547}" dt="2024-03-12T12:03:46.853" v="1142" actId="790"/>
          <ac:spMkLst>
            <pc:docMk/>
            <pc:sldMk cId="64855802" sldId="916"/>
            <ac:spMk id="88" creationId="{FAE4F479-75A7-AEA5-4879-7B116D34F1DF}"/>
          </ac:spMkLst>
        </pc:sp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64855802" sldId="916"/>
                <pc2:cmMk id="{E19E04FF-80D3-4B5A-AF99-4359BE452283}"/>
              </pc2:cmMkLst>
            </pc226:cmChg>
          </p:ext>
        </pc:extLst>
      </pc:sldChg>
      <pc:sldChg chg="delCm modNotesTx">
        <pc:chgData name="Annemarija Apine (LV)" userId="546f5c59-3b8d-47fd-b739-a8fadc631053" providerId="ADAL" clId="{1E5FAF9F-4D85-464E-B064-C298814D6547}" dt="2024-03-11T22:22:28.149" v="547"/>
        <pc:sldMkLst>
          <pc:docMk/>
          <pc:sldMk cId="785221003" sldId="918"/>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785221003" sldId="918"/>
                <pc2:cmMk id="{39B106E8-C7E7-4FB5-92B8-011F0FC0D0A6}"/>
              </pc2:cmMkLst>
            </pc226:cmChg>
          </p:ext>
        </pc:extLst>
      </pc:sldChg>
      <pc:sldChg chg="delCm">
        <pc:chgData name="Annemarija Apine (LV)" userId="546f5c59-3b8d-47fd-b739-a8fadc631053" providerId="ADAL" clId="{1E5FAF9F-4D85-464E-B064-C298814D6547}" dt="2024-03-11T22:22:28.149" v="547"/>
        <pc:sldMkLst>
          <pc:docMk/>
          <pc:sldMk cId="2008209705" sldId="919"/>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008209705" sldId="919"/>
                <pc2:cmMk id="{26D3AAD2-275A-49BD-8B7A-0A67E598B3CB}"/>
              </pc2:cmMkLst>
            </pc226:cmChg>
          </p:ext>
        </pc:extLst>
      </pc:sldChg>
      <pc:sldChg chg="delCm modNotesTx">
        <pc:chgData name="Annemarija Apine (LV)" userId="546f5c59-3b8d-47fd-b739-a8fadc631053" providerId="ADAL" clId="{1E5FAF9F-4D85-464E-B064-C298814D6547}" dt="2024-03-11T22:22:28.149" v="547"/>
        <pc:sldMkLst>
          <pc:docMk/>
          <pc:sldMk cId="3183596888" sldId="922"/>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3183596888" sldId="922"/>
                <pc2:cmMk id="{C97982E5-43BF-453B-B11A-79E886B6EB60}"/>
              </pc2:cmMkLst>
            </pc226:cmChg>
          </p:ext>
        </pc:extLst>
      </pc:sldChg>
      <pc:sldChg chg="modSp mod">
        <pc:chgData name="Annemarija Apine (LV)" userId="546f5c59-3b8d-47fd-b739-a8fadc631053" providerId="ADAL" clId="{1E5FAF9F-4D85-464E-B064-C298814D6547}" dt="2024-03-12T12:02:27.192" v="1124" actId="790"/>
        <pc:sldMkLst>
          <pc:docMk/>
          <pc:sldMk cId="2333946943" sldId="924"/>
        </pc:sldMkLst>
        <pc:spChg chg="mod">
          <ac:chgData name="Annemarija Apine (LV)" userId="546f5c59-3b8d-47fd-b739-a8fadc631053" providerId="ADAL" clId="{1E5FAF9F-4D85-464E-B064-C298814D6547}" dt="2024-03-12T12:02:27.192" v="1124" actId="790"/>
          <ac:spMkLst>
            <pc:docMk/>
            <pc:sldMk cId="2333946943" sldId="924"/>
            <ac:spMk id="2" creationId="{20E40FBF-934F-95FE-8778-92F849DEC1EA}"/>
          </ac:spMkLst>
        </pc:spChg>
        <pc:spChg chg="mod">
          <ac:chgData name="Annemarija Apine (LV)" userId="546f5c59-3b8d-47fd-b739-a8fadc631053" providerId="ADAL" clId="{1E5FAF9F-4D85-464E-B064-C298814D6547}" dt="2024-03-12T12:02:27.192" v="1124" actId="790"/>
          <ac:spMkLst>
            <pc:docMk/>
            <pc:sldMk cId="2333946943" sldId="924"/>
            <ac:spMk id="3" creationId="{AAFE076C-9B8C-9BB3-8680-7E4B60DEC21C}"/>
          </ac:spMkLst>
        </pc:spChg>
        <pc:spChg chg="mod">
          <ac:chgData name="Annemarija Apine (LV)" userId="546f5c59-3b8d-47fd-b739-a8fadc631053" providerId="ADAL" clId="{1E5FAF9F-4D85-464E-B064-C298814D6547}" dt="2024-03-12T12:02:27.192" v="1124" actId="790"/>
          <ac:spMkLst>
            <pc:docMk/>
            <pc:sldMk cId="2333946943" sldId="924"/>
            <ac:spMk id="4" creationId="{51A056F4-4CF2-BBE9-52F6-908FF9154948}"/>
          </ac:spMkLst>
        </pc:spChg>
        <pc:spChg chg="mod">
          <ac:chgData name="Annemarija Apine (LV)" userId="546f5c59-3b8d-47fd-b739-a8fadc631053" providerId="ADAL" clId="{1E5FAF9F-4D85-464E-B064-C298814D6547}" dt="2024-03-12T12:02:27.192" v="1124" actId="790"/>
          <ac:spMkLst>
            <pc:docMk/>
            <pc:sldMk cId="2333946943" sldId="924"/>
            <ac:spMk id="6" creationId="{2433D90B-E7DC-1074-506C-53A72F530B6D}"/>
          </ac:spMkLst>
        </pc:spChg>
        <pc:spChg chg="mod">
          <ac:chgData name="Annemarija Apine (LV)" userId="546f5c59-3b8d-47fd-b739-a8fadc631053" providerId="ADAL" clId="{1E5FAF9F-4D85-464E-B064-C298814D6547}" dt="2024-03-12T12:02:27.192" v="1124" actId="790"/>
          <ac:spMkLst>
            <pc:docMk/>
            <pc:sldMk cId="2333946943" sldId="924"/>
            <ac:spMk id="7" creationId="{11B054F7-BD3F-CC04-8F9A-A47566ADA21E}"/>
          </ac:spMkLst>
        </pc:spChg>
        <pc:spChg chg="mod">
          <ac:chgData name="Annemarija Apine (LV)" userId="546f5c59-3b8d-47fd-b739-a8fadc631053" providerId="ADAL" clId="{1E5FAF9F-4D85-464E-B064-C298814D6547}" dt="2024-03-12T12:02:27.192" v="1124" actId="790"/>
          <ac:spMkLst>
            <pc:docMk/>
            <pc:sldMk cId="2333946943" sldId="924"/>
            <ac:spMk id="8" creationId="{A2A4EF95-EBC5-2113-75C0-757B07E343F3}"/>
          </ac:spMkLst>
        </pc:spChg>
        <pc:spChg chg="mod">
          <ac:chgData name="Annemarija Apine (LV)" userId="546f5c59-3b8d-47fd-b739-a8fadc631053" providerId="ADAL" clId="{1E5FAF9F-4D85-464E-B064-C298814D6547}" dt="2024-03-12T12:02:27.192" v="1124" actId="790"/>
          <ac:spMkLst>
            <pc:docMk/>
            <pc:sldMk cId="2333946943" sldId="924"/>
            <ac:spMk id="9" creationId="{79CC5FE2-D0F9-19B2-E01D-F1228C678ED5}"/>
          </ac:spMkLst>
        </pc:spChg>
        <pc:spChg chg="mod">
          <ac:chgData name="Annemarija Apine (LV)" userId="546f5c59-3b8d-47fd-b739-a8fadc631053" providerId="ADAL" clId="{1E5FAF9F-4D85-464E-B064-C298814D6547}" dt="2024-03-12T12:02:27.192" v="1124" actId="790"/>
          <ac:spMkLst>
            <pc:docMk/>
            <pc:sldMk cId="2333946943" sldId="924"/>
            <ac:spMk id="11" creationId="{FAAF8042-FA87-2277-604A-2B80951C96CA}"/>
          </ac:spMkLst>
        </pc:spChg>
        <pc:spChg chg="mod">
          <ac:chgData name="Annemarija Apine (LV)" userId="546f5c59-3b8d-47fd-b739-a8fadc631053" providerId="ADAL" clId="{1E5FAF9F-4D85-464E-B064-C298814D6547}" dt="2024-03-12T12:02:27.192" v="1124" actId="790"/>
          <ac:spMkLst>
            <pc:docMk/>
            <pc:sldMk cId="2333946943" sldId="924"/>
            <ac:spMk id="12" creationId="{6DA0E041-E210-8556-8DD1-4B49FE009618}"/>
          </ac:spMkLst>
        </pc:spChg>
        <pc:spChg chg="mod">
          <ac:chgData name="Annemarija Apine (LV)" userId="546f5c59-3b8d-47fd-b739-a8fadc631053" providerId="ADAL" clId="{1E5FAF9F-4D85-464E-B064-C298814D6547}" dt="2024-03-12T12:02:27.192" v="1124" actId="790"/>
          <ac:spMkLst>
            <pc:docMk/>
            <pc:sldMk cId="2333946943" sldId="924"/>
            <ac:spMk id="14" creationId="{0AB8E9EA-C968-44EB-8B34-41ACF4CD9CF4}"/>
          </ac:spMkLst>
        </pc:spChg>
        <pc:spChg chg="mod">
          <ac:chgData name="Annemarija Apine (LV)" userId="546f5c59-3b8d-47fd-b739-a8fadc631053" providerId="ADAL" clId="{1E5FAF9F-4D85-464E-B064-C298814D6547}" dt="2024-03-12T12:02:27.192" v="1124" actId="790"/>
          <ac:spMkLst>
            <pc:docMk/>
            <pc:sldMk cId="2333946943" sldId="924"/>
            <ac:spMk id="15" creationId="{7DF40D55-C69A-1E34-C5EB-1A6FBDABFF9B}"/>
          </ac:spMkLst>
        </pc:spChg>
        <pc:spChg chg="mod">
          <ac:chgData name="Annemarija Apine (LV)" userId="546f5c59-3b8d-47fd-b739-a8fadc631053" providerId="ADAL" clId="{1E5FAF9F-4D85-464E-B064-C298814D6547}" dt="2024-03-12T12:02:27.192" v="1124" actId="790"/>
          <ac:spMkLst>
            <pc:docMk/>
            <pc:sldMk cId="2333946943" sldId="924"/>
            <ac:spMk id="16" creationId="{BC455CBB-497F-D8AF-C4B2-951640A8C8FE}"/>
          </ac:spMkLst>
        </pc:spChg>
        <pc:spChg chg="mod">
          <ac:chgData name="Annemarija Apine (LV)" userId="546f5c59-3b8d-47fd-b739-a8fadc631053" providerId="ADAL" clId="{1E5FAF9F-4D85-464E-B064-C298814D6547}" dt="2024-03-12T12:02:27.192" v="1124" actId="790"/>
          <ac:spMkLst>
            <pc:docMk/>
            <pc:sldMk cId="2333946943" sldId="924"/>
            <ac:spMk id="17" creationId="{1019684F-EB37-FD93-4317-58CA68C8508A}"/>
          </ac:spMkLst>
        </pc:spChg>
        <pc:spChg chg="mod">
          <ac:chgData name="Annemarija Apine (LV)" userId="546f5c59-3b8d-47fd-b739-a8fadc631053" providerId="ADAL" clId="{1E5FAF9F-4D85-464E-B064-C298814D6547}" dt="2024-03-12T12:02:27.192" v="1124" actId="790"/>
          <ac:spMkLst>
            <pc:docMk/>
            <pc:sldMk cId="2333946943" sldId="924"/>
            <ac:spMk id="18" creationId="{928C371F-1308-C0BB-1B53-0F9277CF9C82}"/>
          </ac:spMkLst>
        </pc:spChg>
        <pc:spChg chg="mod">
          <ac:chgData name="Annemarija Apine (LV)" userId="546f5c59-3b8d-47fd-b739-a8fadc631053" providerId="ADAL" clId="{1E5FAF9F-4D85-464E-B064-C298814D6547}" dt="2024-03-12T12:02:27.192" v="1124" actId="790"/>
          <ac:spMkLst>
            <pc:docMk/>
            <pc:sldMk cId="2333946943" sldId="924"/>
            <ac:spMk id="19" creationId="{935478A3-0258-D2D1-C55B-6818E570EEC2}"/>
          </ac:spMkLst>
        </pc:spChg>
        <pc:spChg chg="mod">
          <ac:chgData name="Annemarija Apine (LV)" userId="546f5c59-3b8d-47fd-b739-a8fadc631053" providerId="ADAL" clId="{1E5FAF9F-4D85-464E-B064-C298814D6547}" dt="2024-03-12T12:02:27.192" v="1124" actId="790"/>
          <ac:spMkLst>
            <pc:docMk/>
            <pc:sldMk cId="2333946943" sldId="924"/>
            <ac:spMk id="20" creationId="{65F13B8F-5C19-FC21-AF33-0F4E3175271E}"/>
          </ac:spMkLst>
        </pc:spChg>
        <pc:spChg chg="mod">
          <ac:chgData name="Annemarija Apine (LV)" userId="546f5c59-3b8d-47fd-b739-a8fadc631053" providerId="ADAL" clId="{1E5FAF9F-4D85-464E-B064-C298814D6547}" dt="2024-03-12T12:02:27.192" v="1124" actId="790"/>
          <ac:spMkLst>
            <pc:docMk/>
            <pc:sldMk cId="2333946943" sldId="924"/>
            <ac:spMk id="21" creationId="{D6863F23-A5B1-AF50-FF88-3A3AAA5D0D41}"/>
          </ac:spMkLst>
        </pc:spChg>
        <pc:spChg chg="mod">
          <ac:chgData name="Annemarija Apine (LV)" userId="546f5c59-3b8d-47fd-b739-a8fadc631053" providerId="ADAL" clId="{1E5FAF9F-4D85-464E-B064-C298814D6547}" dt="2024-03-12T12:02:27.192" v="1124" actId="790"/>
          <ac:spMkLst>
            <pc:docMk/>
            <pc:sldMk cId="2333946943" sldId="924"/>
            <ac:spMk id="22" creationId="{4B8688AB-0D7B-A5C1-5CDF-C4BE9B644ED8}"/>
          </ac:spMkLst>
        </pc:spChg>
        <pc:spChg chg="mod">
          <ac:chgData name="Annemarija Apine (LV)" userId="546f5c59-3b8d-47fd-b739-a8fadc631053" providerId="ADAL" clId="{1E5FAF9F-4D85-464E-B064-C298814D6547}" dt="2024-03-12T12:02:27.192" v="1124" actId="790"/>
          <ac:spMkLst>
            <pc:docMk/>
            <pc:sldMk cId="2333946943" sldId="924"/>
            <ac:spMk id="23" creationId="{AE8882F9-6CA9-4D3C-A314-801BC21ABFB7}"/>
          </ac:spMkLst>
        </pc:spChg>
        <pc:spChg chg="mod">
          <ac:chgData name="Annemarija Apine (LV)" userId="546f5c59-3b8d-47fd-b739-a8fadc631053" providerId="ADAL" clId="{1E5FAF9F-4D85-464E-B064-C298814D6547}" dt="2024-03-12T12:02:27.192" v="1124" actId="790"/>
          <ac:spMkLst>
            <pc:docMk/>
            <pc:sldMk cId="2333946943" sldId="924"/>
            <ac:spMk id="24" creationId="{B80DF1EC-2FDF-CB0D-C12F-569EC95EAED8}"/>
          </ac:spMkLst>
        </pc:spChg>
        <pc:spChg chg="mod">
          <ac:chgData name="Annemarija Apine (LV)" userId="546f5c59-3b8d-47fd-b739-a8fadc631053" providerId="ADAL" clId="{1E5FAF9F-4D85-464E-B064-C298814D6547}" dt="2024-03-12T12:02:27.192" v="1124" actId="790"/>
          <ac:spMkLst>
            <pc:docMk/>
            <pc:sldMk cId="2333946943" sldId="924"/>
            <ac:spMk id="25" creationId="{E0CFBFFC-89A5-85EB-8558-1D2BE3078546}"/>
          </ac:spMkLst>
        </pc:spChg>
        <pc:spChg chg="mod">
          <ac:chgData name="Annemarija Apine (LV)" userId="546f5c59-3b8d-47fd-b739-a8fadc631053" providerId="ADAL" clId="{1E5FAF9F-4D85-464E-B064-C298814D6547}" dt="2024-03-12T12:02:27.192" v="1124" actId="790"/>
          <ac:spMkLst>
            <pc:docMk/>
            <pc:sldMk cId="2333946943" sldId="924"/>
            <ac:spMk id="26" creationId="{76A0636A-46E9-9CA9-DDBE-B186617BD287}"/>
          </ac:spMkLst>
        </pc:spChg>
        <pc:spChg chg="mod">
          <ac:chgData name="Annemarija Apine (LV)" userId="546f5c59-3b8d-47fd-b739-a8fadc631053" providerId="ADAL" clId="{1E5FAF9F-4D85-464E-B064-C298814D6547}" dt="2024-03-12T12:02:27.192" v="1124" actId="790"/>
          <ac:spMkLst>
            <pc:docMk/>
            <pc:sldMk cId="2333946943" sldId="924"/>
            <ac:spMk id="27" creationId="{5EDDC7B7-B0EE-7882-5258-6D30866A66CF}"/>
          </ac:spMkLst>
        </pc:spChg>
        <pc:spChg chg="mod">
          <ac:chgData name="Annemarija Apine (LV)" userId="546f5c59-3b8d-47fd-b739-a8fadc631053" providerId="ADAL" clId="{1E5FAF9F-4D85-464E-B064-C298814D6547}" dt="2024-03-12T12:02:27.192" v="1124" actId="790"/>
          <ac:spMkLst>
            <pc:docMk/>
            <pc:sldMk cId="2333946943" sldId="924"/>
            <ac:spMk id="28" creationId="{09F96A6C-BCF7-C92F-10B0-3D0AC98F2671}"/>
          </ac:spMkLst>
        </pc:spChg>
        <pc:spChg chg="mod">
          <ac:chgData name="Annemarija Apine (LV)" userId="546f5c59-3b8d-47fd-b739-a8fadc631053" providerId="ADAL" clId="{1E5FAF9F-4D85-464E-B064-C298814D6547}" dt="2024-03-12T12:02:27.192" v="1124" actId="790"/>
          <ac:spMkLst>
            <pc:docMk/>
            <pc:sldMk cId="2333946943" sldId="924"/>
            <ac:spMk id="42" creationId="{D5A8F98B-A100-8D22-1202-8F00B6AAD5B3}"/>
          </ac:spMkLst>
        </pc:spChg>
        <pc:spChg chg="mod">
          <ac:chgData name="Annemarija Apine (LV)" userId="546f5c59-3b8d-47fd-b739-a8fadc631053" providerId="ADAL" clId="{1E5FAF9F-4D85-464E-B064-C298814D6547}" dt="2024-03-12T12:02:27.192" v="1124" actId="790"/>
          <ac:spMkLst>
            <pc:docMk/>
            <pc:sldMk cId="2333946943" sldId="924"/>
            <ac:spMk id="43" creationId="{5A657692-84D5-0135-1EDD-8539C18F0922}"/>
          </ac:spMkLst>
        </pc:spChg>
        <pc:spChg chg="mod">
          <ac:chgData name="Annemarija Apine (LV)" userId="546f5c59-3b8d-47fd-b739-a8fadc631053" providerId="ADAL" clId="{1E5FAF9F-4D85-464E-B064-C298814D6547}" dt="2024-03-12T12:02:27.192" v="1124" actId="790"/>
          <ac:spMkLst>
            <pc:docMk/>
            <pc:sldMk cId="2333946943" sldId="924"/>
            <ac:spMk id="44" creationId="{D451C3AD-BF06-A491-5B76-787F273C0C52}"/>
          </ac:spMkLst>
        </pc:spChg>
        <pc:spChg chg="mod">
          <ac:chgData name="Annemarija Apine (LV)" userId="546f5c59-3b8d-47fd-b739-a8fadc631053" providerId="ADAL" clId="{1E5FAF9F-4D85-464E-B064-C298814D6547}" dt="2024-03-12T12:02:27.192" v="1124" actId="790"/>
          <ac:spMkLst>
            <pc:docMk/>
            <pc:sldMk cId="2333946943" sldId="924"/>
            <ac:spMk id="45" creationId="{7EC66DF3-0E46-3102-4A4C-72723DF7AEFC}"/>
          </ac:spMkLst>
        </pc:spChg>
        <pc:spChg chg="mod">
          <ac:chgData name="Annemarija Apine (LV)" userId="546f5c59-3b8d-47fd-b739-a8fadc631053" providerId="ADAL" clId="{1E5FAF9F-4D85-464E-B064-C298814D6547}" dt="2024-03-12T12:02:27.192" v="1124" actId="790"/>
          <ac:spMkLst>
            <pc:docMk/>
            <pc:sldMk cId="2333946943" sldId="924"/>
            <ac:spMk id="46" creationId="{892B060B-A08A-4796-8A09-69F8615476CC}"/>
          </ac:spMkLst>
        </pc:spChg>
        <pc:spChg chg="mod">
          <ac:chgData name="Annemarija Apine (LV)" userId="546f5c59-3b8d-47fd-b739-a8fadc631053" providerId="ADAL" clId="{1E5FAF9F-4D85-464E-B064-C298814D6547}" dt="2024-03-12T12:02:27.192" v="1124" actId="790"/>
          <ac:spMkLst>
            <pc:docMk/>
            <pc:sldMk cId="2333946943" sldId="924"/>
            <ac:spMk id="47" creationId="{20A2D94F-43CB-EDD7-1A06-B60A44C0744D}"/>
          </ac:spMkLst>
        </pc:spChg>
        <pc:spChg chg="mod">
          <ac:chgData name="Annemarija Apine (LV)" userId="546f5c59-3b8d-47fd-b739-a8fadc631053" providerId="ADAL" clId="{1E5FAF9F-4D85-464E-B064-C298814D6547}" dt="2024-03-12T12:02:27.192" v="1124" actId="790"/>
          <ac:spMkLst>
            <pc:docMk/>
            <pc:sldMk cId="2333946943" sldId="924"/>
            <ac:spMk id="48" creationId="{80493C8E-B927-1A54-1912-46BD21ECFA82}"/>
          </ac:spMkLst>
        </pc:spChg>
        <pc:spChg chg="mod">
          <ac:chgData name="Annemarija Apine (LV)" userId="546f5c59-3b8d-47fd-b739-a8fadc631053" providerId="ADAL" clId="{1E5FAF9F-4D85-464E-B064-C298814D6547}" dt="2024-03-12T12:02:27.192" v="1124" actId="790"/>
          <ac:spMkLst>
            <pc:docMk/>
            <pc:sldMk cId="2333946943" sldId="924"/>
            <ac:spMk id="49" creationId="{A6C28A3C-A620-B16D-4B58-91E913FDA302}"/>
          </ac:spMkLst>
        </pc:spChg>
        <pc:spChg chg="mod">
          <ac:chgData name="Annemarija Apine (LV)" userId="546f5c59-3b8d-47fd-b739-a8fadc631053" providerId="ADAL" clId="{1E5FAF9F-4D85-464E-B064-C298814D6547}" dt="2024-03-12T12:02:27.192" v="1124" actId="790"/>
          <ac:spMkLst>
            <pc:docMk/>
            <pc:sldMk cId="2333946943" sldId="924"/>
            <ac:spMk id="50" creationId="{B5ED44FD-99B9-EA5D-A6CA-13027AC18E14}"/>
          </ac:spMkLst>
        </pc:spChg>
        <pc:spChg chg="mod">
          <ac:chgData name="Annemarija Apine (LV)" userId="546f5c59-3b8d-47fd-b739-a8fadc631053" providerId="ADAL" clId="{1E5FAF9F-4D85-464E-B064-C298814D6547}" dt="2024-03-12T12:02:27.192" v="1124" actId="790"/>
          <ac:spMkLst>
            <pc:docMk/>
            <pc:sldMk cId="2333946943" sldId="924"/>
            <ac:spMk id="53" creationId="{E81B126C-1DE6-E834-F45C-027ED60209BD}"/>
          </ac:spMkLst>
        </pc:spChg>
        <pc:spChg chg="mod">
          <ac:chgData name="Annemarija Apine (LV)" userId="546f5c59-3b8d-47fd-b739-a8fadc631053" providerId="ADAL" clId="{1E5FAF9F-4D85-464E-B064-C298814D6547}" dt="2024-03-12T12:02:27.192" v="1124" actId="790"/>
          <ac:spMkLst>
            <pc:docMk/>
            <pc:sldMk cId="2333946943" sldId="924"/>
            <ac:spMk id="54" creationId="{24C1A375-8C7A-FB4D-7F47-F1622BECD0DA}"/>
          </ac:spMkLst>
        </pc:spChg>
        <pc:spChg chg="mod">
          <ac:chgData name="Annemarija Apine (LV)" userId="546f5c59-3b8d-47fd-b739-a8fadc631053" providerId="ADAL" clId="{1E5FAF9F-4D85-464E-B064-C298814D6547}" dt="2024-03-12T12:02:27.192" v="1124" actId="790"/>
          <ac:spMkLst>
            <pc:docMk/>
            <pc:sldMk cId="2333946943" sldId="924"/>
            <ac:spMk id="56" creationId="{91FD7191-EBCA-832B-EE38-C0AD6980C89C}"/>
          </ac:spMkLst>
        </pc:spChg>
        <pc:spChg chg="mod">
          <ac:chgData name="Annemarija Apine (LV)" userId="546f5c59-3b8d-47fd-b739-a8fadc631053" providerId="ADAL" clId="{1E5FAF9F-4D85-464E-B064-C298814D6547}" dt="2024-03-12T12:02:27.192" v="1124" actId="790"/>
          <ac:spMkLst>
            <pc:docMk/>
            <pc:sldMk cId="2333946943" sldId="924"/>
            <ac:spMk id="59" creationId="{0B9A482D-D6B8-5CBF-C3DA-64F6DB0BD51D}"/>
          </ac:spMkLst>
        </pc:spChg>
        <pc:spChg chg="mod">
          <ac:chgData name="Annemarija Apine (LV)" userId="546f5c59-3b8d-47fd-b739-a8fadc631053" providerId="ADAL" clId="{1E5FAF9F-4D85-464E-B064-C298814D6547}" dt="2024-03-12T12:02:27.192" v="1124" actId="790"/>
          <ac:spMkLst>
            <pc:docMk/>
            <pc:sldMk cId="2333946943" sldId="924"/>
            <ac:spMk id="60" creationId="{984E97C1-82FC-5159-8A6A-7060A68823FC}"/>
          </ac:spMkLst>
        </pc:spChg>
        <pc:spChg chg="mod">
          <ac:chgData name="Annemarija Apine (LV)" userId="546f5c59-3b8d-47fd-b739-a8fadc631053" providerId="ADAL" clId="{1E5FAF9F-4D85-464E-B064-C298814D6547}" dt="2024-03-12T12:02:27.192" v="1124" actId="790"/>
          <ac:spMkLst>
            <pc:docMk/>
            <pc:sldMk cId="2333946943" sldId="924"/>
            <ac:spMk id="65" creationId="{6D2F5831-19CB-8E2E-E436-E08C83663D19}"/>
          </ac:spMkLst>
        </pc:spChg>
        <pc:spChg chg="mod">
          <ac:chgData name="Annemarija Apine (LV)" userId="546f5c59-3b8d-47fd-b739-a8fadc631053" providerId="ADAL" clId="{1E5FAF9F-4D85-464E-B064-C298814D6547}" dt="2024-03-12T12:02:27.192" v="1124" actId="790"/>
          <ac:spMkLst>
            <pc:docMk/>
            <pc:sldMk cId="2333946943" sldId="924"/>
            <ac:spMk id="90" creationId="{D00B4179-08F8-09B5-BD0A-9A04267AF1DF}"/>
          </ac:spMkLst>
        </pc:spChg>
      </pc:sldChg>
      <pc:sldChg chg="addSp modSp mod delCm modNotesTx">
        <pc:chgData name="Annemarija Apine (LV)" userId="546f5c59-3b8d-47fd-b739-a8fadc631053" providerId="ADAL" clId="{1E5FAF9F-4D85-464E-B064-C298814D6547}" dt="2024-03-12T11:50:12.302" v="1087"/>
        <pc:sldMkLst>
          <pc:docMk/>
          <pc:sldMk cId="3431578971" sldId="931"/>
        </pc:sldMkLst>
        <pc:spChg chg="add mod">
          <ac:chgData name="Annemarija Apine (LV)" userId="546f5c59-3b8d-47fd-b739-a8fadc631053" providerId="ADAL" clId="{1E5FAF9F-4D85-464E-B064-C298814D6547}" dt="2024-03-12T11:17:48.153" v="770" actId="1076"/>
          <ac:spMkLst>
            <pc:docMk/>
            <pc:sldMk cId="3431578971" sldId="931"/>
            <ac:spMk id="31" creationId="{7A0CB8EC-08CC-0BCB-D7D0-B20A9F3173CC}"/>
          </ac:spMkLst>
        </pc:spChg>
        <pc:spChg chg="mod ord">
          <ac:chgData name="Annemarija Apine (LV)" userId="546f5c59-3b8d-47fd-b739-a8fadc631053" providerId="ADAL" clId="{1E5FAF9F-4D85-464E-B064-C298814D6547}" dt="2024-03-12T11:18:52.531" v="781" actId="1076"/>
          <ac:spMkLst>
            <pc:docMk/>
            <pc:sldMk cId="3431578971" sldId="931"/>
            <ac:spMk id="57" creationId="{E0007A68-F3EF-5218-37FA-972FF8C8BB56}"/>
          </ac:spMkLst>
        </pc:spChg>
        <pc:grpChg chg="ord">
          <ac:chgData name="Annemarija Apine (LV)" userId="546f5c59-3b8d-47fd-b739-a8fadc631053" providerId="ADAL" clId="{1E5FAF9F-4D85-464E-B064-C298814D6547}" dt="2024-03-12T11:15:21.647" v="752" actId="166"/>
          <ac:grpSpMkLst>
            <pc:docMk/>
            <pc:sldMk cId="3431578971" sldId="931"/>
            <ac:grpSpMk id="10" creationId="{829B9916-9D35-631D-748F-F9A64E3DB324}"/>
          </ac:grpSpMkLst>
        </pc:grp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3431578971" sldId="931"/>
                <pc2:cmMk id="{5B7B49C2-CE96-4F1F-9FE5-4CF603BB0FF1}"/>
              </pc2:cmMkLst>
            </pc226:cmChg>
          </p:ext>
        </pc:extLst>
      </pc:sldChg>
      <pc:sldChg chg="addSp delSp modSp mod delCm">
        <pc:chgData name="Annemarija Apine (LV)" userId="546f5c59-3b8d-47fd-b739-a8fadc631053" providerId="ADAL" clId="{1E5FAF9F-4D85-464E-B064-C298814D6547}" dt="2024-03-11T22:22:28.149" v="547"/>
        <pc:sldMkLst>
          <pc:docMk/>
          <pc:sldMk cId="2803239078" sldId="935"/>
        </pc:sldMkLst>
        <pc:spChg chg="mod">
          <ac:chgData name="Annemarija Apine (LV)" userId="546f5c59-3b8d-47fd-b739-a8fadc631053" providerId="ADAL" clId="{1E5FAF9F-4D85-464E-B064-C298814D6547}" dt="2024-03-11T22:13:54.997" v="264" actId="1076"/>
          <ac:spMkLst>
            <pc:docMk/>
            <pc:sldMk cId="2803239078" sldId="935"/>
            <ac:spMk id="32" creationId="{6741534F-AD2B-D1F2-AC91-19476BE24A77}"/>
          </ac:spMkLst>
        </pc:spChg>
        <pc:picChg chg="del mod modCrop">
          <ac:chgData name="Annemarija Apine (LV)" userId="546f5c59-3b8d-47fd-b739-a8fadc631053" providerId="ADAL" clId="{1E5FAF9F-4D85-464E-B064-C298814D6547}" dt="2024-03-11T22:11:34.912" v="238" actId="478"/>
          <ac:picMkLst>
            <pc:docMk/>
            <pc:sldMk cId="2803239078" sldId="935"/>
            <ac:picMk id="31" creationId="{7F2DD1AC-4868-22BF-65A5-2D52181F0AEC}"/>
          </ac:picMkLst>
        </pc:picChg>
        <pc:picChg chg="add del mod">
          <ac:chgData name="Annemarija Apine (LV)" userId="546f5c59-3b8d-47fd-b739-a8fadc631053" providerId="ADAL" clId="{1E5FAF9F-4D85-464E-B064-C298814D6547}" dt="2024-03-11T22:12:35.061" v="248" actId="478"/>
          <ac:picMkLst>
            <pc:docMk/>
            <pc:sldMk cId="2803239078" sldId="935"/>
            <ac:picMk id="4098" creationId="{13E02A86-D966-1F11-BE03-84E576D1913A}"/>
          </ac:picMkLst>
        </pc:picChg>
        <pc:picChg chg="add mod">
          <ac:chgData name="Annemarija Apine (LV)" userId="546f5c59-3b8d-47fd-b739-a8fadc631053" providerId="ADAL" clId="{1E5FAF9F-4D85-464E-B064-C298814D6547}" dt="2024-03-11T22:13:50.195" v="263" actId="14100"/>
          <ac:picMkLst>
            <pc:docMk/>
            <pc:sldMk cId="2803239078" sldId="935"/>
            <ac:picMk id="4100" creationId="{D8119A36-804E-F47B-8A01-4636EC10088E}"/>
          </ac:picMkLst>
        </pc:pic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803239078" sldId="935"/>
                <pc2:cmMk id="{72897B42-C198-4AF9-86AB-C561B281055B}"/>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803239078" sldId="935"/>
                <pc2:cmMk id="{F7C00153-39D8-4846-8D47-915BF0FEF30D}"/>
              </pc2:cmMkLst>
            </pc226:cmChg>
          </p:ext>
        </pc:extLst>
      </pc:sldChg>
      <pc:sldChg chg="delCm modNotesTx">
        <pc:chgData name="Annemarija Apine (LV)" userId="546f5c59-3b8d-47fd-b739-a8fadc631053" providerId="ADAL" clId="{1E5FAF9F-4D85-464E-B064-C298814D6547}" dt="2024-03-11T22:22:28.149" v="547"/>
        <pc:sldMkLst>
          <pc:docMk/>
          <pc:sldMk cId="1939332489" sldId="936"/>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1939332489" sldId="936"/>
                <pc2:cmMk id="{F7CBB20B-C670-4C10-BA6C-BE97153D81AD}"/>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1939332489" sldId="936"/>
                <pc2:cmMk id="{91AA2356-15CD-45EE-93C9-BC368C8EFAFC}"/>
              </pc2:cmMkLst>
            </pc226:cmChg>
          </p:ext>
        </pc:extLst>
      </pc:sldChg>
      <pc:sldChg chg="delCm modNotesTx">
        <pc:chgData name="Annemarija Apine (LV)" userId="546f5c59-3b8d-47fd-b739-a8fadc631053" providerId="ADAL" clId="{1E5FAF9F-4D85-464E-B064-C298814D6547}" dt="2024-03-12T11:52:37.018" v="1098"/>
        <pc:sldMkLst>
          <pc:docMk/>
          <pc:sldMk cId="1263375755" sldId="937"/>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2T11:52:37.018" v="1098"/>
              <pc2:cmMkLst xmlns:pc2="http://schemas.microsoft.com/office/powerpoint/2019/9/main/command">
                <pc:docMk/>
                <pc:sldMk cId="1263375755" sldId="937"/>
                <pc2:cmMk id="{9701165F-769B-42EC-8757-BC99D971C04F}"/>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1263375755" sldId="937"/>
                <pc2:cmMk id="{B43CF2A4-07EF-486D-ABE3-FCC5F57ABF34}"/>
              </pc2:cmMkLst>
            </pc226:cmChg>
          </p:ext>
        </pc:extLst>
      </pc:sldChg>
      <pc:sldChg chg="delCm modNotesTx">
        <pc:chgData name="Annemarija Apine (LV)" userId="546f5c59-3b8d-47fd-b739-a8fadc631053" providerId="ADAL" clId="{1E5FAF9F-4D85-464E-B064-C298814D6547}" dt="2024-03-11T22:22:28.149" v="547"/>
        <pc:sldMkLst>
          <pc:docMk/>
          <pc:sldMk cId="2976985460" sldId="938"/>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976985460" sldId="938"/>
                <pc2:cmMk id="{E8E3E279-41EF-4EC9-96D4-87274249FA89}"/>
              </pc2:cmMkLst>
            </pc226:cmChg>
          </p:ext>
        </pc:extLst>
      </pc:sldChg>
      <pc:sldChg chg="delCm modNotesTx">
        <pc:chgData name="Annemarija Apine (LV)" userId="546f5c59-3b8d-47fd-b739-a8fadc631053" providerId="ADAL" clId="{1E5FAF9F-4D85-464E-B064-C298814D6547}" dt="2024-03-11T22:22:28.149" v="547"/>
        <pc:sldMkLst>
          <pc:docMk/>
          <pc:sldMk cId="558100583" sldId="939"/>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558100583" sldId="939"/>
                <pc2:cmMk id="{B1F41855-E807-4805-BAAB-9374EF31217B}"/>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558100583" sldId="939"/>
                <pc2:cmMk id="{A570185F-E994-4EC6-A68A-E2C36FB87FD5}"/>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558100583" sldId="939"/>
                <pc2:cmMk id="{D899416F-60CC-4A08-8640-9B29D319EBA4}"/>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558100583" sldId="939"/>
                <pc2:cmMk id="{8E8DDBDA-6933-4C90-9A00-EDFEF31D1A4E}"/>
              </pc2:cmMkLst>
            </pc226:cmChg>
          </p:ext>
        </pc:extLst>
      </pc:sldChg>
      <pc:sldChg chg="delCm modNotesTx">
        <pc:chgData name="Annemarija Apine (LV)" userId="546f5c59-3b8d-47fd-b739-a8fadc631053" providerId="ADAL" clId="{1E5FAF9F-4D85-464E-B064-C298814D6547}" dt="2024-03-11T22:22:28.149" v="547"/>
        <pc:sldMkLst>
          <pc:docMk/>
          <pc:sldMk cId="2169785454" sldId="940"/>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169785454" sldId="940"/>
                <pc2:cmMk id="{D8D88415-B258-4414-B60D-60263E5E54CC}"/>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169785454" sldId="940"/>
                <pc2:cmMk id="{B751C4A5-EDBC-4C47-B97D-33448EC4C89E}"/>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169785454" sldId="940"/>
                <pc2:cmMk id="{3A4D3BAF-8104-4495-8DE3-4015667E4BE1}"/>
              </pc2:cmMkLst>
            </pc226:cmChg>
          </p:ext>
        </pc:extLst>
      </pc:sldChg>
      <pc:sldChg chg="delCm">
        <pc:chgData name="Annemarija Apine (LV)" userId="546f5c59-3b8d-47fd-b739-a8fadc631053" providerId="ADAL" clId="{1E5FAF9F-4D85-464E-B064-C298814D6547}" dt="2024-03-11T22:22:28.149" v="547"/>
        <pc:sldMkLst>
          <pc:docMk/>
          <pc:sldMk cId="4229434319" sldId="941"/>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4229434319" sldId="941"/>
                <pc2:cmMk id="{4B5F507B-5212-4E21-B0C3-C08158A94BED}"/>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4229434319" sldId="941"/>
                <pc2:cmMk id="{8590AEC1-A34A-45D3-8F8B-CA9F66F14848}"/>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4229434319" sldId="941"/>
                <pc2:cmMk id="{BDB956F7-3AF8-48A2-B57C-3B87C2A3F5EC}"/>
              </pc2:cmMkLst>
            </pc226:cmChg>
          </p:ext>
        </pc:extLst>
      </pc:sldChg>
      <pc:sldChg chg="addSp delSp modSp mod delCm modNotesTx">
        <pc:chgData name="Annemarija Apine (LV)" userId="546f5c59-3b8d-47fd-b739-a8fadc631053" providerId="ADAL" clId="{1E5FAF9F-4D85-464E-B064-C298814D6547}" dt="2024-03-11T22:22:28.149" v="547"/>
        <pc:sldMkLst>
          <pc:docMk/>
          <pc:sldMk cId="3615584869" sldId="942"/>
        </pc:sldMkLst>
        <pc:spChg chg="mod">
          <ac:chgData name="Annemarija Apine (LV)" userId="546f5c59-3b8d-47fd-b739-a8fadc631053" providerId="ADAL" clId="{1E5FAF9F-4D85-464E-B064-C298814D6547}" dt="2024-03-11T22:21:04.611" v="515" actId="20577"/>
          <ac:spMkLst>
            <pc:docMk/>
            <pc:sldMk cId="3615584869" sldId="942"/>
            <ac:spMk id="16" creationId="{30819613-CE74-49B6-0807-44FDBB81D466}"/>
          </ac:spMkLst>
        </pc:spChg>
        <pc:spChg chg="add mod">
          <ac:chgData name="Annemarija Apine (LV)" userId="546f5c59-3b8d-47fd-b739-a8fadc631053" providerId="ADAL" clId="{1E5FAF9F-4D85-464E-B064-C298814D6547}" dt="2024-03-11T22:20:21.282" v="498" actId="1038"/>
          <ac:spMkLst>
            <pc:docMk/>
            <pc:sldMk cId="3615584869" sldId="942"/>
            <ac:spMk id="23" creationId="{A8F5CB7E-E6F8-F5E2-F17D-986545B54DCA}"/>
          </ac:spMkLst>
        </pc:spChg>
        <pc:spChg chg="add mod">
          <ac:chgData name="Annemarija Apine (LV)" userId="546f5c59-3b8d-47fd-b739-a8fadc631053" providerId="ADAL" clId="{1E5FAF9F-4D85-464E-B064-C298814D6547}" dt="2024-03-11T22:21:47.434" v="530" actId="12789"/>
          <ac:spMkLst>
            <pc:docMk/>
            <pc:sldMk cId="3615584869" sldId="942"/>
            <ac:spMk id="24" creationId="{7060378A-C63A-BF3A-59CE-61675AFCA014}"/>
          </ac:spMkLst>
        </pc:spChg>
        <pc:spChg chg="add mod">
          <ac:chgData name="Annemarija Apine (LV)" userId="546f5c59-3b8d-47fd-b739-a8fadc631053" providerId="ADAL" clId="{1E5FAF9F-4D85-464E-B064-C298814D6547}" dt="2024-03-11T22:20:21.282" v="498" actId="1038"/>
          <ac:spMkLst>
            <pc:docMk/>
            <pc:sldMk cId="3615584869" sldId="942"/>
            <ac:spMk id="26" creationId="{A8172831-5A38-1225-34B8-55190510D1B3}"/>
          </ac:spMkLst>
        </pc:spChg>
        <pc:spChg chg="add mod">
          <ac:chgData name="Annemarija Apine (LV)" userId="546f5c59-3b8d-47fd-b739-a8fadc631053" providerId="ADAL" clId="{1E5FAF9F-4D85-464E-B064-C298814D6547}" dt="2024-03-11T22:20:21.282" v="498" actId="1038"/>
          <ac:spMkLst>
            <pc:docMk/>
            <pc:sldMk cId="3615584869" sldId="942"/>
            <ac:spMk id="28" creationId="{D4993DD7-F54E-B0B9-1686-671B06ECB22C}"/>
          </ac:spMkLst>
        </pc:spChg>
        <pc:spChg chg="add mod">
          <ac:chgData name="Annemarija Apine (LV)" userId="546f5c59-3b8d-47fd-b739-a8fadc631053" providerId="ADAL" clId="{1E5FAF9F-4D85-464E-B064-C298814D6547}" dt="2024-03-11T22:20:21.282" v="498" actId="1038"/>
          <ac:spMkLst>
            <pc:docMk/>
            <pc:sldMk cId="3615584869" sldId="942"/>
            <ac:spMk id="29" creationId="{09B35BF0-9FD2-2CA9-A480-724018FEE070}"/>
          </ac:spMkLst>
        </pc:spChg>
        <pc:spChg chg="add mod">
          <ac:chgData name="Annemarija Apine (LV)" userId="546f5c59-3b8d-47fd-b739-a8fadc631053" providerId="ADAL" clId="{1E5FAF9F-4D85-464E-B064-C298814D6547}" dt="2024-03-11T22:20:21.282" v="498" actId="1038"/>
          <ac:spMkLst>
            <pc:docMk/>
            <pc:sldMk cId="3615584869" sldId="942"/>
            <ac:spMk id="30" creationId="{972EC8A0-3980-BF7A-2C4D-3162D371741F}"/>
          </ac:spMkLst>
        </pc:spChg>
        <pc:spChg chg="add mod">
          <ac:chgData name="Annemarija Apine (LV)" userId="546f5c59-3b8d-47fd-b739-a8fadc631053" providerId="ADAL" clId="{1E5FAF9F-4D85-464E-B064-C298814D6547}" dt="2024-03-11T22:20:21.282" v="498" actId="1038"/>
          <ac:spMkLst>
            <pc:docMk/>
            <pc:sldMk cId="3615584869" sldId="942"/>
            <ac:spMk id="31" creationId="{BD90D103-9EFA-9895-D8DB-2C2E0229A563}"/>
          </ac:spMkLst>
        </pc:spChg>
        <pc:spChg chg="add del mod">
          <ac:chgData name="Annemarija Apine (LV)" userId="546f5c59-3b8d-47fd-b739-a8fadc631053" providerId="ADAL" clId="{1E5FAF9F-4D85-464E-B064-C298814D6547}" dt="2024-03-11T22:17:49.041" v="457"/>
          <ac:spMkLst>
            <pc:docMk/>
            <pc:sldMk cId="3615584869" sldId="942"/>
            <ac:spMk id="32" creationId="{57F62816-33FF-26BC-AD99-45D2A7348FB1}"/>
          </ac:spMkLst>
        </pc:spChg>
        <pc:spChg chg="add del mod">
          <ac:chgData name="Annemarija Apine (LV)" userId="546f5c59-3b8d-47fd-b739-a8fadc631053" providerId="ADAL" clId="{1E5FAF9F-4D85-464E-B064-C298814D6547}" dt="2024-03-11T22:17:49.041" v="457"/>
          <ac:spMkLst>
            <pc:docMk/>
            <pc:sldMk cId="3615584869" sldId="942"/>
            <ac:spMk id="33" creationId="{9F3111B8-8AC0-FDCC-17B0-906869EE1259}"/>
          </ac:spMkLst>
        </pc:spChg>
        <pc:spChg chg="add del mod">
          <ac:chgData name="Annemarija Apine (LV)" userId="546f5c59-3b8d-47fd-b739-a8fadc631053" providerId="ADAL" clId="{1E5FAF9F-4D85-464E-B064-C298814D6547}" dt="2024-03-11T22:17:49.041" v="457"/>
          <ac:spMkLst>
            <pc:docMk/>
            <pc:sldMk cId="3615584869" sldId="942"/>
            <ac:spMk id="34" creationId="{BF15F445-E6F0-F6B6-23B4-156AB382AA85}"/>
          </ac:spMkLst>
        </pc:spChg>
        <pc:spChg chg="add del mod">
          <ac:chgData name="Annemarija Apine (LV)" userId="546f5c59-3b8d-47fd-b739-a8fadc631053" providerId="ADAL" clId="{1E5FAF9F-4D85-464E-B064-C298814D6547}" dt="2024-03-11T22:17:49.041" v="457"/>
          <ac:spMkLst>
            <pc:docMk/>
            <pc:sldMk cId="3615584869" sldId="942"/>
            <ac:spMk id="35" creationId="{C96DB115-20FF-66C9-E7B4-FF1602EF1ED5}"/>
          </ac:spMkLst>
        </pc:spChg>
        <pc:spChg chg="add del mod">
          <ac:chgData name="Annemarija Apine (LV)" userId="546f5c59-3b8d-47fd-b739-a8fadc631053" providerId="ADAL" clId="{1E5FAF9F-4D85-464E-B064-C298814D6547}" dt="2024-03-11T22:17:49.041" v="457"/>
          <ac:spMkLst>
            <pc:docMk/>
            <pc:sldMk cId="3615584869" sldId="942"/>
            <ac:spMk id="37" creationId="{83107851-3690-04AD-7459-B4450289FDD9}"/>
          </ac:spMkLst>
        </pc:spChg>
        <pc:spChg chg="add del mod">
          <ac:chgData name="Annemarija Apine (LV)" userId="546f5c59-3b8d-47fd-b739-a8fadc631053" providerId="ADAL" clId="{1E5FAF9F-4D85-464E-B064-C298814D6547}" dt="2024-03-11T22:17:49.041" v="457"/>
          <ac:spMkLst>
            <pc:docMk/>
            <pc:sldMk cId="3615584869" sldId="942"/>
            <ac:spMk id="39" creationId="{20A15546-BCD2-467F-3123-F839FB15C44E}"/>
          </ac:spMkLst>
        </pc:spChg>
        <pc:spChg chg="add del mod">
          <ac:chgData name="Annemarija Apine (LV)" userId="546f5c59-3b8d-47fd-b739-a8fadc631053" providerId="ADAL" clId="{1E5FAF9F-4D85-464E-B064-C298814D6547}" dt="2024-03-11T22:17:49.041" v="457"/>
          <ac:spMkLst>
            <pc:docMk/>
            <pc:sldMk cId="3615584869" sldId="942"/>
            <ac:spMk id="40" creationId="{D5367C0F-4B5E-BAA6-2503-8AD31691FAE9}"/>
          </ac:spMkLst>
        </pc:spChg>
        <pc:spChg chg="add mod">
          <ac:chgData name="Annemarija Apine (LV)" userId="546f5c59-3b8d-47fd-b739-a8fadc631053" providerId="ADAL" clId="{1E5FAF9F-4D85-464E-B064-C298814D6547}" dt="2024-03-11T22:22:03.336" v="535" actId="1036"/>
          <ac:spMkLst>
            <pc:docMk/>
            <pc:sldMk cId="3615584869" sldId="942"/>
            <ac:spMk id="60" creationId="{475B7D60-E90E-C6DE-CBA8-4EE5DB2931AF}"/>
          </ac:spMkLst>
        </pc:spChg>
        <pc:spChg chg="add mod">
          <ac:chgData name="Annemarija Apine (LV)" userId="546f5c59-3b8d-47fd-b739-a8fadc631053" providerId="ADAL" clId="{1E5FAF9F-4D85-464E-B064-C298814D6547}" dt="2024-03-11T22:22:03.336" v="535" actId="1036"/>
          <ac:spMkLst>
            <pc:docMk/>
            <pc:sldMk cId="3615584869" sldId="942"/>
            <ac:spMk id="70" creationId="{D403E95A-3EC0-1FAD-8167-D0561D80BE8A}"/>
          </ac:spMkLst>
        </pc:spChg>
        <pc:spChg chg="add mod">
          <ac:chgData name="Annemarija Apine (LV)" userId="546f5c59-3b8d-47fd-b739-a8fadc631053" providerId="ADAL" clId="{1E5FAF9F-4D85-464E-B064-C298814D6547}" dt="2024-03-11T22:22:03.336" v="535" actId="1036"/>
          <ac:spMkLst>
            <pc:docMk/>
            <pc:sldMk cId="3615584869" sldId="942"/>
            <ac:spMk id="74" creationId="{F6939192-7E9B-F042-6F94-C92A889D5E4F}"/>
          </ac:spMkLst>
        </pc:spChg>
        <pc:cxnChg chg="add mod">
          <ac:chgData name="Annemarija Apine (LV)" userId="546f5c59-3b8d-47fd-b739-a8fadc631053" providerId="ADAL" clId="{1E5FAF9F-4D85-464E-B064-C298814D6547}" dt="2024-03-11T22:20:21.282" v="498" actId="1038"/>
          <ac:cxnSpMkLst>
            <pc:docMk/>
            <pc:sldMk cId="3615584869" sldId="942"/>
            <ac:cxnSpMk id="27" creationId="{8D488999-8DF6-7902-AED2-8B7C09115229}"/>
          </ac:cxnSpMkLst>
        </pc:cxn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3615584869" sldId="942"/>
                <pc2:cmMk id="{096D112C-449F-4189-90D1-E6E5D7CBF081}"/>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3615584869" sldId="942"/>
                <pc2:cmMk id="{C59F5F95-7CF3-471D-B137-CACBBEBB3858}"/>
              </pc2:cmMkLst>
            </pc226:cmChg>
          </p:ext>
        </pc:extLst>
      </pc:sldChg>
      <pc:sldChg chg="del">
        <pc:chgData name="Annemarija Apine (LV)" userId="546f5c59-3b8d-47fd-b739-a8fadc631053" providerId="ADAL" clId="{1E5FAF9F-4D85-464E-B064-C298814D6547}" dt="2024-03-11T22:03:10.396" v="217" actId="47"/>
        <pc:sldMkLst>
          <pc:docMk/>
          <pc:sldMk cId="256155706" sldId="943"/>
        </pc:sldMkLst>
      </pc:sldChg>
      <pc:sldChg chg="del">
        <pc:chgData name="Annemarija Apine (LV)" userId="546f5c59-3b8d-47fd-b739-a8fadc631053" providerId="ADAL" clId="{1E5FAF9F-4D85-464E-B064-C298814D6547}" dt="2024-03-11T22:02:00.786" v="183" actId="47"/>
        <pc:sldMkLst>
          <pc:docMk/>
          <pc:sldMk cId="2143110826" sldId="944"/>
        </pc:sldMkLst>
      </pc:sldChg>
      <pc:sldChg chg="addSp delSp modSp mod delCm">
        <pc:chgData name="Annemarija Apine (LV)" userId="546f5c59-3b8d-47fd-b739-a8fadc631053" providerId="ADAL" clId="{1E5FAF9F-4D85-464E-B064-C298814D6547}" dt="2024-03-11T22:22:28.149" v="547"/>
        <pc:sldMkLst>
          <pc:docMk/>
          <pc:sldMk cId="2603595337" sldId="945"/>
        </pc:sldMkLst>
        <pc:spChg chg="mod ord">
          <ac:chgData name="Annemarija Apine (LV)" userId="546f5c59-3b8d-47fd-b739-a8fadc631053" providerId="ADAL" clId="{1E5FAF9F-4D85-464E-B064-C298814D6547}" dt="2024-03-11T21:56:14.395" v="124" actId="1076"/>
          <ac:spMkLst>
            <pc:docMk/>
            <pc:sldMk cId="2603595337" sldId="945"/>
            <ac:spMk id="42" creationId="{50830596-224D-A11D-D251-21B0CA3EB02E}"/>
          </ac:spMkLst>
        </pc:spChg>
        <pc:picChg chg="del">
          <ac:chgData name="Annemarija Apine (LV)" userId="546f5c59-3b8d-47fd-b739-a8fadc631053" providerId="ADAL" clId="{1E5FAF9F-4D85-464E-B064-C298814D6547}" dt="2024-03-11T21:55:23.199" v="113" actId="478"/>
          <ac:picMkLst>
            <pc:docMk/>
            <pc:sldMk cId="2603595337" sldId="945"/>
            <ac:picMk id="17" creationId="{73ED1AF9-9993-177B-EE92-2177C3741411}"/>
          </ac:picMkLst>
        </pc:picChg>
        <pc:picChg chg="add mod">
          <ac:chgData name="Annemarija Apine (LV)" userId="546f5c59-3b8d-47fd-b739-a8fadc631053" providerId="ADAL" clId="{1E5FAF9F-4D85-464E-B064-C298814D6547}" dt="2024-03-11T21:56:10.220" v="123" actId="167"/>
          <ac:picMkLst>
            <pc:docMk/>
            <pc:sldMk cId="2603595337" sldId="945"/>
            <ac:picMk id="2050" creationId="{7EA85A7F-61BE-A112-2A26-6DD2522CD8D2}"/>
          </ac:picMkLst>
        </pc:pic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603595337" sldId="945"/>
                <pc2:cmMk id="{F3323D1F-DC8E-4C7E-A8C9-D860FBBA9998}"/>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603595337" sldId="945"/>
                <pc2:cmMk id="{4554295C-C573-4900-ADF3-493984DC3EF2}"/>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603595337" sldId="945"/>
                <pc2:cmMk id="{D31A62EF-F815-4755-9A6E-9B7E3FAD370D}"/>
              </pc2:cmMkLst>
            </pc226:cmChg>
          </p:ext>
        </pc:extLst>
      </pc:sldChg>
      <pc:sldChg chg="delCm modNotesTx">
        <pc:chgData name="Annemarija Apine (LV)" userId="546f5c59-3b8d-47fd-b739-a8fadc631053" providerId="ADAL" clId="{1E5FAF9F-4D85-464E-B064-C298814D6547}" dt="2024-03-12T11:48:19.760" v="1000"/>
        <pc:sldMkLst>
          <pc:docMk/>
          <pc:sldMk cId="3488828484" sldId="946"/>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3488828484" sldId="946"/>
                <pc2:cmMk id="{9B0D3FA9-9E12-42E0-8291-A58BCC6F688A}"/>
              </pc2:cmMkLst>
            </pc226:cmChg>
          </p:ext>
        </pc:extLst>
      </pc:sldChg>
      <pc:sldChg chg="del">
        <pc:chgData name="Annemarija Apine (LV)" userId="546f5c59-3b8d-47fd-b739-a8fadc631053" providerId="ADAL" clId="{1E5FAF9F-4D85-464E-B064-C298814D6547}" dt="2024-03-11T22:03:08.599" v="214" actId="47"/>
        <pc:sldMkLst>
          <pc:docMk/>
          <pc:sldMk cId="3911462717" sldId="947"/>
        </pc:sldMkLst>
      </pc:sldChg>
      <pc:sldChg chg="del delCm">
        <pc:chgData name="Annemarija Apine (LV)" userId="546f5c59-3b8d-47fd-b739-a8fadc631053" providerId="ADAL" clId="{1E5FAF9F-4D85-464E-B064-C298814D6547}" dt="2024-03-12T11:50:37.310" v="1089" actId="47"/>
        <pc:sldMkLst>
          <pc:docMk/>
          <pc:sldMk cId="2283029669" sldId="948"/>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283029669" sldId="948"/>
                <pc2:cmMk id="{D67391BC-4C8A-4C3B-9650-4DEE47BDED4A}"/>
              </pc2:cmMkLst>
            </pc226:cmChg>
          </p:ext>
        </pc:extLst>
      </pc:sldChg>
      <pc:sldChg chg="modSp del mod delCm">
        <pc:chgData name="Annemarija Apine (LV)" userId="546f5c59-3b8d-47fd-b739-a8fadc631053" providerId="ADAL" clId="{1E5FAF9F-4D85-464E-B064-C298814D6547}" dt="2024-03-12T11:48:26.960" v="1005" actId="47"/>
        <pc:sldMkLst>
          <pc:docMk/>
          <pc:sldMk cId="3348140347" sldId="949"/>
        </pc:sldMkLst>
        <pc:spChg chg="mod">
          <ac:chgData name="Annemarija Apine (LV)" userId="546f5c59-3b8d-47fd-b739-a8fadc631053" providerId="ADAL" clId="{1E5FAF9F-4D85-464E-B064-C298814D6547}" dt="2024-03-12T11:43:44.200" v="958" actId="1076"/>
          <ac:spMkLst>
            <pc:docMk/>
            <pc:sldMk cId="3348140347" sldId="949"/>
            <ac:spMk id="16" creationId="{4046BDB3-E253-8BFD-2151-3E03E762683F}"/>
          </ac:spMkLst>
        </pc:spChg>
        <pc:spChg chg="mod">
          <ac:chgData name="Annemarija Apine (LV)" userId="546f5c59-3b8d-47fd-b739-a8fadc631053" providerId="ADAL" clId="{1E5FAF9F-4D85-464E-B064-C298814D6547}" dt="2024-03-12T11:43:39.395" v="956" actId="14100"/>
          <ac:spMkLst>
            <pc:docMk/>
            <pc:sldMk cId="3348140347" sldId="949"/>
            <ac:spMk id="17" creationId="{2BFEA0FA-7858-44EE-3DCB-707FD55F7536}"/>
          </ac:spMkLst>
        </pc:spChg>
        <pc:spChg chg="mod">
          <ac:chgData name="Annemarija Apine (LV)" userId="546f5c59-3b8d-47fd-b739-a8fadc631053" providerId="ADAL" clId="{1E5FAF9F-4D85-464E-B064-C298814D6547}" dt="2024-03-12T11:43:52.096" v="961" actId="14100"/>
          <ac:spMkLst>
            <pc:docMk/>
            <pc:sldMk cId="3348140347" sldId="949"/>
            <ac:spMk id="19" creationId="{33EBC432-067D-3BCB-9AA9-3595C9D40E3B}"/>
          </ac:spMkLst>
        </pc:spChg>
        <pc:spChg chg="mod">
          <ac:chgData name="Annemarija Apine (LV)" userId="546f5c59-3b8d-47fd-b739-a8fadc631053" providerId="ADAL" clId="{1E5FAF9F-4D85-464E-B064-C298814D6547}" dt="2024-03-12T11:44:45.235" v="972" actId="1076"/>
          <ac:spMkLst>
            <pc:docMk/>
            <pc:sldMk cId="3348140347" sldId="949"/>
            <ac:spMk id="20" creationId="{04029E51-5EF1-9C93-D407-F81D35CB5DE0}"/>
          </ac:spMkLst>
        </pc:spChg>
        <pc:spChg chg="mod">
          <ac:chgData name="Annemarija Apine (LV)" userId="546f5c59-3b8d-47fd-b739-a8fadc631053" providerId="ADAL" clId="{1E5FAF9F-4D85-464E-B064-C298814D6547}" dt="2024-03-12T11:44:45.235" v="972" actId="1076"/>
          <ac:spMkLst>
            <pc:docMk/>
            <pc:sldMk cId="3348140347" sldId="949"/>
            <ac:spMk id="25" creationId="{2B261BF4-92C6-462D-AA95-793AE54DD688}"/>
          </ac:spMkLst>
        </pc:spChg>
        <pc:spChg chg="mod">
          <ac:chgData name="Annemarija Apine (LV)" userId="546f5c59-3b8d-47fd-b739-a8fadc631053" providerId="ADAL" clId="{1E5FAF9F-4D85-464E-B064-C298814D6547}" dt="2024-03-12T11:44:45.235" v="972" actId="1076"/>
          <ac:spMkLst>
            <pc:docMk/>
            <pc:sldMk cId="3348140347" sldId="949"/>
            <ac:spMk id="26" creationId="{5EC1F9AE-82A4-85FE-592B-EF659F76F7EC}"/>
          </ac:spMkLst>
        </pc:spChg>
        <pc:spChg chg="mod">
          <ac:chgData name="Annemarija Apine (LV)" userId="546f5c59-3b8d-47fd-b739-a8fadc631053" providerId="ADAL" clId="{1E5FAF9F-4D85-464E-B064-C298814D6547}" dt="2024-03-12T11:44:45.235" v="972" actId="1076"/>
          <ac:spMkLst>
            <pc:docMk/>
            <pc:sldMk cId="3348140347" sldId="949"/>
            <ac:spMk id="27" creationId="{72D802D4-B169-1594-D931-40179675E33A}"/>
          </ac:spMkLst>
        </pc:spChg>
        <pc:spChg chg="mod">
          <ac:chgData name="Annemarija Apine (LV)" userId="546f5c59-3b8d-47fd-b739-a8fadc631053" providerId="ADAL" clId="{1E5FAF9F-4D85-464E-B064-C298814D6547}" dt="2024-03-12T11:44:45.235" v="972" actId="1076"/>
          <ac:spMkLst>
            <pc:docMk/>
            <pc:sldMk cId="3348140347" sldId="949"/>
            <ac:spMk id="29" creationId="{3915AD89-6428-4A75-0915-328643F1703C}"/>
          </ac:spMkLst>
        </pc:spChg>
        <pc:spChg chg="mod">
          <ac:chgData name="Annemarija Apine (LV)" userId="546f5c59-3b8d-47fd-b739-a8fadc631053" providerId="ADAL" clId="{1E5FAF9F-4D85-464E-B064-C298814D6547}" dt="2024-03-12T11:44:45.235" v="972" actId="1076"/>
          <ac:spMkLst>
            <pc:docMk/>
            <pc:sldMk cId="3348140347" sldId="949"/>
            <ac:spMk id="30" creationId="{373AB206-F1F0-CC72-8C15-85605D9AF2AC}"/>
          </ac:spMkLst>
        </pc:spChg>
        <pc:spChg chg="mod">
          <ac:chgData name="Annemarija Apine (LV)" userId="546f5c59-3b8d-47fd-b739-a8fadc631053" providerId="ADAL" clId="{1E5FAF9F-4D85-464E-B064-C298814D6547}" dt="2024-03-12T11:39:47.718" v="910" actId="1076"/>
          <ac:spMkLst>
            <pc:docMk/>
            <pc:sldMk cId="3348140347" sldId="949"/>
            <ac:spMk id="42" creationId="{50830596-224D-A11D-D251-21B0CA3EB02E}"/>
          </ac:spMkLst>
        </pc:spChg>
        <pc:spChg chg="mod">
          <ac:chgData name="Annemarija Apine (LV)" userId="546f5c59-3b8d-47fd-b739-a8fadc631053" providerId="ADAL" clId="{1E5FAF9F-4D85-464E-B064-C298814D6547}" dt="2024-03-12T11:44:45.235" v="972" actId="1076"/>
          <ac:spMkLst>
            <pc:docMk/>
            <pc:sldMk cId="3348140347" sldId="949"/>
            <ac:spMk id="44" creationId="{37325A5C-F07F-2313-782A-18E3E98D15F0}"/>
          </ac:spMkLst>
        </pc:spChg>
        <pc:spChg chg="mod">
          <ac:chgData name="Annemarija Apine (LV)" userId="546f5c59-3b8d-47fd-b739-a8fadc631053" providerId="ADAL" clId="{1E5FAF9F-4D85-464E-B064-C298814D6547}" dt="2024-03-12T11:44:45.235" v="972" actId="1076"/>
          <ac:spMkLst>
            <pc:docMk/>
            <pc:sldMk cId="3348140347" sldId="949"/>
            <ac:spMk id="45" creationId="{5A4A472A-422C-56F4-A0F5-AE422E82D144}"/>
          </ac:spMkLst>
        </pc:spChg>
        <pc:spChg chg="mod">
          <ac:chgData name="Annemarija Apine (LV)" userId="546f5c59-3b8d-47fd-b739-a8fadc631053" providerId="ADAL" clId="{1E5FAF9F-4D85-464E-B064-C298814D6547}" dt="2024-03-12T11:44:45.235" v="972" actId="1076"/>
          <ac:spMkLst>
            <pc:docMk/>
            <pc:sldMk cId="3348140347" sldId="949"/>
            <ac:spMk id="46" creationId="{09BF84D6-F468-7005-FAB5-AA0B6AE5CFB4}"/>
          </ac:spMkLst>
        </pc:spChg>
        <pc:spChg chg="mod">
          <ac:chgData name="Annemarija Apine (LV)" userId="546f5c59-3b8d-47fd-b739-a8fadc631053" providerId="ADAL" clId="{1E5FAF9F-4D85-464E-B064-C298814D6547}" dt="2024-03-12T11:44:45.235" v="972" actId="1076"/>
          <ac:spMkLst>
            <pc:docMk/>
            <pc:sldMk cId="3348140347" sldId="949"/>
            <ac:spMk id="49" creationId="{DED3BED4-139F-CB4F-0A7B-7B90211550F4}"/>
          </ac:spMkLst>
        </pc:spChg>
        <pc:spChg chg="mod">
          <ac:chgData name="Annemarija Apine (LV)" userId="546f5c59-3b8d-47fd-b739-a8fadc631053" providerId="ADAL" clId="{1E5FAF9F-4D85-464E-B064-C298814D6547}" dt="2024-03-12T11:48:09.753" v="974" actId="1076"/>
          <ac:spMkLst>
            <pc:docMk/>
            <pc:sldMk cId="3348140347" sldId="949"/>
            <ac:spMk id="50" creationId="{0130363F-7CE7-F3D0-4AB5-F295FAC2DCBC}"/>
          </ac:spMkLst>
        </pc:spChg>
        <pc:spChg chg="mod">
          <ac:chgData name="Annemarija Apine (LV)" userId="546f5c59-3b8d-47fd-b739-a8fadc631053" providerId="ADAL" clId="{1E5FAF9F-4D85-464E-B064-C298814D6547}" dt="2024-03-12T11:44:17.094" v="966" actId="14100"/>
          <ac:spMkLst>
            <pc:docMk/>
            <pc:sldMk cId="3348140347" sldId="949"/>
            <ac:spMk id="51" creationId="{AFEB1935-0849-FFDB-14A2-768E555E2F79}"/>
          </ac:spMkLst>
        </pc:spChg>
        <pc:spChg chg="mod">
          <ac:chgData name="Annemarija Apine (LV)" userId="546f5c59-3b8d-47fd-b739-a8fadc631053" providerId="ADAL" clId="{1E5FAF9F-4D85-464E-B064-C298814D6547}" dt="2024-03-12T11:44:31.056" v="971" actId="1076"/>
          <ac:spMkLst>
            <pc:docMk/>
            <pc:sldMk cId="3348140347" sldId="949"/>
            <ac:spMk id="52" creationId="{C28EBB85-E5E0-FA58-8077-AD15508F23C6}"/>
          </ac:spMkLst>
        </pc:spChg>
        <pc:grpChg chg="mod">
          <ac:chgData name="Annemarija Apine (LV)" userId="546f5c59-3b8d-47fd-b739-a8fadc631053" providerId="ADAL" clId="{1E5FAF9F-4D85-464E-B064-C298814D6547}" dt="2024-03-12T11:43:55.313" v="963" actId="1076"/>
          <ac:grpSpMkLst>
            <pc:docMk/>
            <pc:sldMk cId="3348140347" sldId="949"/>
            <ac:grpSpMk id="15" creationId="{764141E3-6172-5063-0EBA-FCD008CF118B}"/>
          </ac:grpSpMkLst>
        </pc:grpChg>
        <pc:cxnChg chg="mod">
          <ac:chgData name="Annemarija Apine (LV)" userId="546f5c59-3b8d-47fd-b739-a8fadc631053" providerId="ADAL" clId="{1E5FAF9F-4D85-464E-B064-C298814D6547}" dt="2024-03-12T11:44:02.263" v="964" actId="1076"/>
          <ac:cxnSpMkLst>
            <pc:docMk/>
            <pc:sldMk cId="3348140347" sldId="949"/>
            <ac:cxnSpMk id="18" creationId="{CD669445-24C9-E4F7-38D8-E8D2515193DB}"/>
          </ac:cxnSpMkLst>
        </pc:cxnChg>
        <pc:cxnChg chg="mod">
          <ac:chgData name="Annemarija Apine (LV)" userId="546f5c59-3b8d-47fd-b739-a8fadc631053" providerId="ADAL" clId="{1E5FAF9F-4D85-464E-B064-C298814D6547}" dt="2024-03-12T11:44:23.695" v="968" actId="14100"/>
          <ac:cxnSpMkLst>
            <pc:docMk/>
            <pc:sldMk cId="3348140347" sldId="949"/>
            <ac:cxnSpMk id="53" creationId="{F358E754-064A-5B8C-B2FC-4E612BA07893}"/>
          </ac:cxnSpMkLst>
        </pc:cxn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3348140347" sldId="949"/>
                <pc2:cmMk id="{1510FCDF-9D49-464C-8CED-B27D3E158178}"/>
              </pc2:cmMkLst>
            </pc226:cmChg>
          </p:ext>
        </pc:extLst>
      </pc:sldChg>
      <pc:sldChg chg="delCm modNotesTx">
        <pc:chgData name="Annemarija Apine (LV)" userId="546f5c59-3b8d-47fd-b739-a8fadc631053" providerId="ADAL" clId="{1E5FAF9F-4D85-464E-B064-C298814D6547}" dt="2024-03-12T11:48:40.332" v="1035"/>
        <pc:sldMkLst>
          <pc:docMk/>
          <pc:sldMk cId="201777098" sldId="950"/>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01777098" sldId="950"/>
                <pc2:cmMk id="{1A5476BB-88AF-4870-A72B-D1F544EA1421}"/>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01777098" sldId="950"/>
                <pc2:cmMk id="{5E0D50F5-D5CA-4BCD-9B39-6846677F7D43}"/>
              </pc2:cmMkLst>
            </pc226:cmChg>
          </p:ext>
        </pc:extLst>
      </pc:sldChg>
      <pc:sldChg chg="modSp del mod delCm">
        <pc:chgData name="Annemarija Apine (LV)" userId="546f5c59-3b8d-47fd-b739-a8fadc631053" providerId="ADAL" clId="{1E5FAF9F-4D85-464E-B064-C298814D6547}" dt="2024-03-12T11:48:43.431" v="1037" actId="47"/>
        <pc:sldMkLst>
          <pc:docMk/>
          <pc:sldMk cId="3919877977" sldId="951"/>
        </pc:sldMkLst>
        <pc:spChg chg="mod">
          <ac:chgData name="Annemarija Apine (LV)" userId="546f5c59-3b8d-47fd-b739-a8fadc631053" providerId="ADAL" clId="{1E5FAF9F-4D85-464E-B064-C298814D6547}" dt="2024-03-12T11:35:22.792" v="890" actId="14100"/>
          <ac:spMkLst>
            <pc:docMk/>
            <pc:sldMk cId="3919877977" sldId="951"/>
            <ac:spMk id="51" creationId="{AFEB1935-0849-FFDB-14A2-768E555E2F79}"/>
          </ac:spMkLst>
        </pc:sp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3919877977" sldId="951"/>
                <pc2:cmMk id="{DEEB522C-7CB1-41CA-8DF4-0025ECCCD571}"/>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3919877977" sldId="951"/>
                <pc2:cmMk id="{85CB2ACB-F07F-45B5-89ED-DD3C5C9375B3}"/>
              </pc2:cmMkLst>
            </pc226:cmChg>
          </p:ext>
        </pc:extLst>
      </pc:sldChg>
      <pc:sldChg chg="modSp mod delCm">
        <pc:chgData name="Annemarija Apine (LV)" userId="546f5c59-3b8d-47fd-b739-a8fadc631053" providerId="ADAL" clId="{1E5FAF9F-4D85-464E-B064-C298814D6547}" dt="2024-03-12T12:04:08.307" v="1147" actId="20577"/>
        <pc:sldMkLst>
          <pc:docMk/>
          <pc:sldMk cId="1713450018" sldId="952"/>
        </pc:sldMkLst>
        <pc:spChg chg="mod">
          <ac:chgData name="Annemarija Apine (LV)" userId="546f5c59-3b8d-47fd-b739-a8fadc631053" providerId="ADAL" clId="{1E5FAF9F-4D85-464E-B064-C298814D6547}" dt="2024-03-12T12:04:08.307" v="1147" actId="20577"/>
          <ac:spMkLst>
            <pc:docMk/>
            <pc:sldMk cId="1713450018" sldId="952"/>
            <ac:spMk id="6" creationId="{38CA96A2-A01D-FA94-92E8-A765979AB49D}"/>
          </ac:spMkLst>
        </pc:sp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1713450018" sldId="952"/>
                <pc2:cmMk id="{8A22812F-5AB0-4E9E-AD91-0EE4F777EC6D}"/>
              </pc2:cmMkLst>
            </pc226:cmChg>
          </p:ext>
        </pc:extLst>
      </pc:sldChg>
      <pc:sldChg chg="delCm">
        <pc:chgData name="Annemarija Apine (LV)" userId="546f5c59-3b8d-47fd-b739-a8fadc631053" providerId="ADAL" clId="{1E5FAF9F-4D85-464E-B064-C298814D6547}" dt="2024-03-11T22:22:28.149" v="547"/>
        <pc:sldMkLst>
          <pc:docMk/>
          <pc:sldMk cId="2937916867" sldId="953"/>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937916867" sldId="953"/>
                <pc2:cmMk id="{C1EC82F6-EF9F-4CA6-8F57-9EF24A3D4FCA}"/>
              </pc2:cmMkLst>
            </pc226:cmChg>
          </p:ext>
        </pc:extLst>
      </pc:sldChg>
      <pc:sldChg chg="modSp mod delCm">
        <pc:chgData name="Annemarija Apine (LV)" userId="546f5c59-3b8d-47fd-b739-a8fadc631053" providerId="ADAL" clId="{1E5FAF9F-4D85-464E-B064-C298814D6547}" dt="2024-03-12T11:13:30.953" v="739" actId="14100"/>
        <pc:sldMkLst>
          <pc:docMk/>
          <pc:sldMk cId="3292995886" sldId="954"/>
        </pc:sldMkLst>
        <pc:spChg chg="mod">
          <ac:chgData name="Annemarija Apine (LV)" userId="546f5c59-3b8d-47fd-b739-a8fadc631053" providerId="ADAL" clId="{1E5FAF9F-4D85-464E-B064-C298814D6547}" dt="2024-03-11T21:46:58.045" v="74" actId="20577"/>
          <ac:spMkLst>
            <pc:docMk/>
            <pc:sldMk cId="3292995886" sldId="954"/>
            <ac:spMk id="68" creationId="{512F80CF-595E-3A80-F495-3198099BF352}"/>
          </ac:spMkLst>
        </pc:spChg>
        <pc:spChg chg="mod">
          <ac:chgData name="Annemarija Apine (LV)" userId="546f5c59-3b8d-47fd-b739-a8fadc631053" providerId="ADAL" clId="{1E5FAF9F-4D85-464E-B064-C298814D6547}" dt="2024-03-12T11:13:30.953" v="739" actId="14100"/>
          <ac:spMkLst>
            <pc:docMk/>
            <pc:sldMk cId="3292995886" sldId="954"/>
            <ac:spMk id="73" creationId="{31125C22-727E-9F1A-6243-9118C9184F00}"/>
          </ac:spMkLst>
        </pc:sp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2T11:13:27.746" v="738"/>
              <pc2:cmMkLst xmlns:pc2="http://schemas.microsoft.com/office/powerpoint/2019/9/main/command">
                <pc:docMk/>
                <pc:sldMk cId="3292995886" sldId="954"/>
                <pc2:cmMk id="{59B07DAE-C6BC-48BB-88F8-0A7477EC2AE1}"/>
              </pc2:cmMkLst>
            </pc226:cmChg>
          </p:ext>
        </pc:extLst>
      </pc:sldChg>
      <pc:sldChg chg="del">
        <pc:chgData name="Annemarija Apine (LV)" userId="546f5c59-3b8d-47fd-b739-a8fadc631053" providerId="ADAL" clId="{1E5FAF9F-4D85-464E-B064-C298814D6547}" dt="2024-03-11T22:03:06.669" v="211" actId="47"/>
        <pc:sldMkLst>
          <pc:docMk/>
          <pc:sldMk cId="24755804" sldId="956"/>
        </pc:sldMkLst>
      </pc:sldChg>
      <pc:sldChg chg="del">
        <pc:chgData name="Annemarija Apine (LV)" userId="546f5c59-3b8d-47fd-b739-a8fadc631053" providerId="ADAL" clId="{1E5FAF9F-4D85-464E-B064-C298814D6547}" dt="2024-03-11T22:03:04.936" v="208" actId="47"/>
        <pc:sldMkLst>
          <pc:docMk/>
          <pc:sldMk cId="1014935855" sldId="957"/>
        </pc:sldMkLst>
      </pc:sldChg>
      <pc:sldChg chg="del">
        <pc:chgData name="Annemarija Apine (LV)" userId="546f5c59-3b8d-47fd-b739-a8fadc631053" providerId="ADAL" clId="{1E5FAF9F-4D85-464E-B064-C298814D6547}" dt="2024-03-11T22:03:01.370" v="205" actId="47"/>
        <pc:sldMkLst>
          <pc:docMk/>
          <pc:sldMk cId="2086181770" sldId="958"/>
        </pc:sldMkLst>
      </pc:sldChg>
      <pc:sldChg chg="del">
        <pc:chgData name="Annemarija Apine (LV)" userId="546f5c59-3b8d-47fd-b739-a8fadc631053" providerId="ADAL" clId="{1E5FAF9F-4D85-464E-B064-C298814D6547}" dt="2024-03-11T22:02:58.801" v="202" actId="47"/>
        <pc:sldMkLst>
          <pc:docMk/>
          <pc:sldMk cId="1391244758" sldId="959"/>
        </pc:sldMkLst>
      </pc:sldChg>
      <pc:sldChg chg="addSp delSp modSp mod delCm">
        <pc:chgData name="Annemarija Apine (LV)" userId="546f5c59-3b8d-47fd-b739-a8fadc631053" providerId="ADAL" clId="{1E5FAF9F-4D85-464E-B064-C298814D6547}" dt="2024-03-11T22:22:28.149" v="547"/>
        <pc:sldMkLst>
          <pc:docMk/>
          <pc:sldMk cId="425128272" sldId="960"/>
        </pc:sldMkLst>
        <pc:spChg chg="del mod">
          <ac:chgData name="Annemarija Apine (LV)" userId="546f5c59-3b8d-47fd-b739-a8fadc631053" providerId="ADAL" clId="{1E5FAF9F-4D85-464E-B064-C298814D6547}" dt="2024-03-11T22:01:14.486" v="161" actId="478"/>
          <ac:spMkLst>
            <pc:docMk/>
            <pc:sldMk cId="425128272" sldId="960"/>
            <ac:spMk id="6" creationId="{F5AA410E-3357-BB30-92B8-F2EA09E4E394}"/>
          </ac:spMkLst>
        </pc:spChg>
        <pc:spChg chg="del mod ord">
          <ac:chgData name="Annemarija Apine (LV)" userId="546f5c59-3b8d-47fd-b739-a8fadc631053" providerId="ADAL" clId="{1E5FAF9F-4D85-464E-B064-C298814D6547}" dt="2024-03-11T22:01:43.174" v="177" actId="478"/>
          <ac:spMkLst>
            <pc:docMk/>
            <pc:sldMk cId="425128272" sldId="960"/>
            <ac:spMk id="7" creationId="{9C193113-0BD3-4F38-EB05-0C6819F31447}"/>
          </ac:spMkLst>
        </pc:spChg>
        <pc:spChg chg="add mod">
          <ac:chgData name="Annemarija Apine (LV)" userId="546f5c59-3b8d-47fd-b739-a8fadc631053" providerId="ADAL" clId="{1E5FAF9F-4D85-464E-B064-C298814D6547}" dt="2024-03-11T22:01:22.858" v="165"/>
          <ac:spMkLst>
            <pc:docMk/>
            <pc:sldMk cId="425128272" sldId="960"/>
            <ac:spMk id="23" creationId="{99027CE6-3148-8B69-47C3-D38CFB081A9D}"/>
          </ac:spMkLst>
        </pc:spChg>
        <pc:spChg chg="add mod">
          <ac:chgData name="Annemarija Apine (LV)" userId="546f5c59-3b8d-47fd-b739-a8fadc631053" providerId="ADAL" clId="{1E5FAF9F-4D85-464E-B064-C298814D6547}" dt="2024-03-11T22:01:47.262" v="180"/>
          <ac:spMkLst>
            <pc:docMk/>
            <pc:sldMk cId="425128272" sldId="960"/>
            <ac:spMk id="24" creationId="{EEBDB999-8D80-71A0-1735-572EAA4ECF55}"/>
          </ac:spMkLst>
        </pc:spChg>
        <pc:picChg chg="del">
          <ac:chgData name="Annemarija Apine (LV)" userId="546f5c59-3b8d-47fd-b739-a8fadc631053" providerId="ADAL" clId="{1E5FAF9F-4D85-464E-B064-C298814D6547}" dt="2024-03-11T22:00:35.106" v="147" actId="478"/>
          <ac:picMkLst>
            <pc:docMk/>
            <pc:sldMk cId="425128272" sldId="960"/>
            <ac:picMk id="5" creationId="{4BC4D78B-9D02-BE32-A038-0B14BEF8131F}"/>
          </ac:picMkLst>
        </pc:picChg>
        <pc:picChg chg="add mod">
          <ac:chgData name="Annemarija Apine (LV)" userId="546f5c59-3b8d-47fd-b739-a8fadc631053" providerId="ADAL" clId="{1E5FAF9F-4D85-464E-B064-C298814D6547}" dt="2024-03-11T22:01:53.708" v="181" actId="732"/>
          <ac:picMkLst>
            <pc:docMk/>
            <pc:sldMk cId="425128272" sldId="960"/>
            <ac:picMk id="3074" creationId="{A956661B-FAE8-8EB1-7E90-80C772C59A2A}"/>
          </ac:picMkLst>
        </pc:pic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425128272" sldId="960"/>
                <pc2:cmMk id="{B69CBA3F-ED8C-48E9-8243-D5C3249C02CD}"/>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425128272" sldId="960"/>
                <pc2:cmMk id="{8F4A419C-8D99-4B98-9E74-1C1B20526F25}"/>
              </pc2:cmMkLst>
            </pc226:cmChg>
          </p:ext>
        </pc:extLst>
      </pc:sldChg>
      <pc:sldChg chg="del">
        <pc:chgData name="Annemarija Apine (LV)" userId="546f5c59-3b8d-47fd-b739-a8fadc631053" providerId="ADAL" clId="{1E5FAF9F-4D85-464E-B064-C298814D6547}" dt="2024-03-11T21:56:24.743" v="126" actId="47"/>
        <pc:sldMkLst>
          <pc:docMk/>
          <pc:sldMk cId="1511441995" sldId="962"/>
        </pc:sldMkLst>
      </pc:sldChg>
      <pc:sldChg chg="delCm">
        <pc:chgData name="Annemarija Apine (LV)" userId="546f5c59-3b8d-47fd-b739-a8fadc631053" providerId="ADAL" clId="{1E5FAF9F-4D85-464E-B064-C298814D6547}" dt="2024-03-11T22:22:28.149" v="547"/>
        <pc:sldMkLst>
          <pc:docMk/>
          <pc:sldMk cId="4141191697" sldId="963"/>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4141191697" sldId="963"/>
                <pc2:cmMk id="{6AD52056-33F2-419F-B462-9093DD8A46E9}"/>
              </pc2:cmMkLst>
            </pc226:cmChg>
          </p:ext>
        </pc:extLst>
      </pc:sldChg>
      <pc:sldChg chg="delCm">
        <pc:chgData name="Annemarija Apine (LV)" userId="546f5c59-3b8d-47fd-b739-a8fadc631053" providerId="ADAL" clId="{1E5FAF9F-4D85-464E-B064-C298814D6547}" dt="2024-03-11T22:22:28.149" v="547"/>
        <pc:sldMkLst>
          <pc:docMk/>
          <pc:sldMk cId="1785961526" sldId="964"/>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1785961526" sldId="964"/>
                <pc2:cmMk id="{DCCD5552-152B-4797-9530-5E56B0BAEBD6}"/>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1785961526" sldId="964"/>
                <pc2:cmMk id="{D15EC27A-BB4B-4D73-B162-E893FB1BC496}"/>
              </pc2:cmMkLst>
            </pc226:cmChg>
          </p:ext>
        </pc:extLst>
      </pc:sldChg>
      <pc:sldChg chg="del">
        <pc:chgData name="Annemarija Apine (LV)" userId="546f5c59-3b8d-47fd-b739-a8fadc631053" providerId="ADAL" clId="{1E5FAF9F-4D85-464E-B064-C298814D6547}" dt="2024-03-11T22:01:25.038" v="167" actId="47"/>
        <pc:sldMkLst>
          <pc:docMk/>
          <pc:sldMk cId="3788013194" sldId="965"/>
        </pc:sldMkLst>
      </pc:sldChg>
      <pc:sldChg chg="del">
        <pc:chgData name="Annemarija Apine (LV)" userId="546f5c59-3b8d-47fd-b739-a8fadc631053" providerId="ADAL" clId="{1E5FAF9F-4D85-464E-B064-C298814D6547}" dt="2024-03-11T21:56:27.208" v="128" actId="47"/>
        <pc:sldMkLst>
          <pc:docMk/>
          <pc:sldMk cId="1812328710" sldId="966"/>
        </pc:sldMkLst>
      </pc:sldChg>
    </pc:docChg>
  </pc:docChgLst>
  <pc:docChgLst>
    <pc:chgData name="Sindija Kirsteine (LV)" userId="S::sindija.kirsteine@pwc.com::5f25501a-2215-4bb3-9d9c-8d1484ffa7c1" providerId="AD" clId="Web-{74FBB397-1A0F-7904-4ABD-E1AAA14ED418}"/>
    <pc:docChg chg="modSld">
      <pc:chgData name="Sindija Kirsteine (LV)" userId="S::sindija.kirsteine@pwc.com::5f25501a-2215-4bb3-9d9c-8d1484ffa7c1" providerId="AD" clId="Web-{74FBB397-1A0F-7904-4ABD-E1AAA14ED418}" dt="2024-06-10T11:39:19.209" v="3" actId="20577"/>
      <pc:docMkLst>
        <pc:docMk/>
      </pc:docMkLst>
      <pc:sldChg chg="modSp">
        <pc:chgData name="Sindija Kirsteine (LV)" userId="S::sindija.kirsteine@pwc.com::5f25501a-2215-4bb3-9d9c-8d1484ffa7c1" providerId="AD" clId="Web-{74FBB397-1A0F-7904-4ABD-E1AAA14ED418}" dt="2024-06-10T11:39:19.209" v="3" actId="20577"/>
        <pc:sldMkLst>
          <pc:docMk/>
          <pc:sldMk cId="4177676083" sldId="2147482025"/>
        </pc:sldMkLst>
        <pc:spChg chg="mod">
          <ac:chgData name="Sindija Kirsteine (LV)" userId="S::sindija.kirsteine@pwc.com::5f25501a-2215-4bb3-9d9c-8d1484ffa7c1" providerId="AD" clId="Web-{74FBB397-1A0F-7904-4ABD-E1AAA14ED418}" dt="2024-06-10T11:39:19.209" v="3" actId="20577"/>
          <ac:spMkLst>
            <pc:docMk/>
            <pc:sldMk cId="4177676083" sldId="2147482025"/>
            <ac:spMk id="13" creationId="{E8E0A4EB-3147-3688-FC1E-46F571D3FA32}"/>
          </ac:spMkLst>
        </pc:spChg>
      </pc:sldChg>
    </pc:docChg>
  </pc:docChgLst>
  <pc:docChgLst>
    <pc:chgData name="Inese Dreimane (LV)" userId="22f883c9-425f-45e3-9561-0d9c55f15b4a" providerId="ADAL" clId="{03F442BB-6A05-4E5C-9F46-8B7840D1E8EB}"/>
    <pc:docChg chg="undo redo custSel addSld delSld modSld sldOrd replTag">
      <pc:chgData name="Inese Dreimane (LV)" userId="22f883c9-425f-45e3-9561-0d9c55f15b4a" providerId="ADAL" clId="{03F442BB-6A05-4E5C-9F46-8B7840D1E8EB}" dt="2024-03-11T08:21:13.507" v="1803"/>
      <pc:docMkLst>
        <pc:docMk/>
      </pc:docMkLst>
      <pc:sldChg chg="del">
        <pc:chgData name="Inese Dreimane (LV)" userId="22f883c9-425f-45e3-9561-0d9c55f15b4a" providerId="ADAL" clId="{03F442BB-6A05-4E5C-9F46-8B7840D1E8EB}" dt="2024-03-08T12:52:58.999" v="690" actId="2696"/>
        <pc:sldMkLst>
          <pc:docMk/>
          <pc:sldMk cId="0" sldId="258"/>
        </pc:sldMkLst>
      </pc:sldChg>
      <pc:sldChg chg="ord">
        <pc:chgData name="Inese Dreimane (LV)" userId="22f883c9-425f-45e3-9561-0d9c55f15b4a" providerId="ADAL" clId="{03F442BB-6A05-4E5C-9F46-8B7840D1E8EB}" dt="2024-03-08T12:22:31.275" v="140" actId="20578"/>
        <pc:sldMkLst>
          <pc:docMk/>
          <pc:sldMk cId="817197616" sldId="332"/>
        </pc:sldMkLst>
      </pc:sldChg>
      <pc:sldChg chg="modSp mod">
        <pc:chgData name="Inese Dreimane (LV)" userId="22f883c9-425f-45e3-9561-0d9c55f15b4a" providerId="ADAL" clId="{03F442BB-6A05-4E5C-9F46-8B7840D1E8EB}" dt="2024-03-08T12:42:42.974" v="412" actId="20577"/>
        <pc:sldMkLst>
          <pc:docMk/>
          <pc:sldMk cId="192098022" sldId="769"/>
        </pc:sldMkLst>
        <pc:spChg chg="mod">
          <ac:chgData name="Inese Dreimane (LV)" userId="22f883c9-425f-45e3-9561-0d9c55f15b4a" providerId="ADAL" clId="{03F442BB-6A05-4E5C-9F46-8B7840D1E8EB}" dt="2024-03-08T12:24:09.364" v="145" actId="20577"/>
          <ac:spMkLst>
            <pc:docMk/>
            <pc:sldMk cId="192098022" sldId="769"/>
            <ac:spMk id="2" creationId="{44641C4F-F07F-7C71-88DD-EEFC9A9A1906}"/>
          </ac:spMkLst>
        </pc:spChg>
        <pc:spChg chg="mod">
          <ac:chgData name="Inese Dreimane (LV)" userId="22f883c9-425f-45e3-9561-0d9c55f15b4a" providerId="ADAL" clId="{03F442BB-6A05-4E5C-9F46-8B7840D1E8EB}" dt="2024-03-08T12:42:42.974" v="412" actId="20577"/>
          <ac:spMkLst>
            <pc:docMk/>
            <pc:sldMk cId="192098022" sldId="769"/>
            <ac:spMk id="6" creationId="{2CB3F9F5-858C-1D21-4D13-EAEDABE2E74A}"/>
          </ac:spMkLst>
        </pc:spChg>
        <pc:spChg chg="mod">
          <ac:chgData name="Inese Dreimane (LV)" userId="22f883c9-425f-45e3-9561-0d9c55f15b4a" providerId="ADAL" clId="{03F442BB-6A05-4E5C-9F46-8B7840D1E8EB}" dt="2024-03-08T12:41:45.563" v="372" actId="14100"/>
          <ac:spMkLst>
            <pc:docMk/>
            <pc:sldMk cId="192098022" sldId="769"/>
            <ac:spMk id="8" creationId="{B6BFA0E2-7135-FFE5-3283-2EDC43146D38}"/>
          </ac:spMkLst>
        </pc:spChg>
      </pc:sldChg>
      <pc:sldChg chg="addSp modSp mod modCm">
        <pc:chgData name="Inese Dreimane (LV)" userId="22f883c9-425f-45e3-9561-0d9c55f15b4a" providerId="ADAL" clId="{03F442BB-6A05-4E5C-9F46-8B7840D1E8EB}" dt="2024-03-08T14:06:27.685" v="1270" actId="1076"/>
        <pc:sldMkLst>
          <pc:docMk/>
          <pc:sldMk cId="2300626159" sldId="908"/>
        </pc:sldMkLst>
        <pc:spChg chg="add mod">
          <ac:chgData name="Inese Dreimane (LV)" userId="22f883c9-425f-45e3-9561-0d9c55f15b4a" providerId="ADAL" clId="{03F442BB-6A05-4E5C-9F46-8B7840D1E8EB}" dt="2024-03-08T14:03:01.107" v="1210" actId="20577"/>
          <ac:spMkLst>
            <pc:docMk/>
            <pc:sldMk cId="2300626159" sldId="908"/>
            <ac:spMk id="2" creationId="{B3B9B40C-89D0-00A8-E1FD-6C775139BEFB}"/>
          </ac:spMkLst>
        </pc:spChg>
        <pc:spChg chg="add mod">
          <ac:chgData name="Inese Dreimane (LV)" userId="22f883c9-425f-45e3-9561-0d9c55f15b4a" providerId="ADAL" clId="{03F442BB-6A05-4E5C-9F46-8B7840D1E8EB}" dt="2024-03-08T14:06:27.685" v="1270" actId="1076"/>
          <ac:spMkLst>
            <pc:docMk/>
            <pc:sldMk cId="2300626159" sldId="908"/>
            <ac:spMk id="5" creationId="{9B9A4561-429C-6EAE-F170-E90F8BD220FB}"/>
          </ac:spMkLst>
        </pc:spChg>
        <pc:extLst>
          <p:ext xmlns:p="http://schemas.openxmlformats.org/presentationml/2006/main" uri="{D6D511B9-2390-475A-947B-AFAB55BFBCF1}">
            <pc226:cmChg xmlns:pc226="http://schemas.microsoft.com/office/powerpoint/2022/06/main/command" chg="mod">
              <pc226:chgData name="Inese Dreimane (LV)" userId="22f883c9-425f-45e3-9561-0d9c55f15b4a" providerId="ADAL" clId="{03F442BB-6A05-4E5C-9F46-8B7840D1E8EB}" dt="2024-03-08T14:05:46.634" v="1265"/>
              <pc2:cmMkLst xmlns:pc2="http://schemas.microsoft.com/office/powerpoint/2019/9/main/command">
                <pc:docMk/>
                <pc:sldMk cId="2300626159" sldId="908"/>
                <pc2:cmMk id="{FC7E61B3-0B67-4E2A-96C5-34AA02841D10}"/>
              </pc2:cmMkLst>
            </pc226:cmChg>
            <pc226:cmChg xmlns:pc226="http://schemas.microsoft.com/office/powerpoint/2022/06/main/command" chg="mod">
              <pc226:chgData name="Inese Dreimane (LV)" userId="22f883c9-425f-45e3-9561-0d9c55f15b4a" providerId="ADAL" clId="{03F442BB-6A05-4E5C-9F46-8B7840D1E8EB}" dt="2024-03-08T14:05:44.465" v="1264"/>
              <pc2:cmMkLst xmlns:pc2="http://schemas.microsoft.com/office/powerpoint/2019/9/main/command">
                <pc:docMk/>
                <pc:sldMk cId="2300626159" sldId="908"/>
                <pc2:cmMk id="{EB40C0CD-5758-4469-A4F4-96B6F7B1BF19}"/>
              </pc2:cmMkLst>
            </pc226:cmChg>
          </p:ext>
        </pc:extLst>
      </pc:sldChg>
      <pc:sldChg chg="modSp mod modCm">
        <pc:chgData name="Inese Dreimane (LV)" userId="22f883c9-425f-45e3-9561-0d9c55f15b4a" providerId="ADAL" clId="{03F442BB-6A05-4E5C-9F46-8B7840D1E8EB}" dt="2024-03-08T14:11:16.993" v="1433" actId="20577"/>
        <pc:sldMkLst>
          <pc:docMk/>
          <pc:sldMk cId="3183596888" sldId="922"/>
        </pc:sldMkLst>
        <pc:spChg chg="mod">
          <ac:chgData name="Inese Dreimane (LV)" userId="22f883c9-425f-45e3-9561-0d9c55f15b4a" providerId="ADAL" clId="{03F442BB-6A05-4E5C-9F46-8B7840D1E8EB}" dt="2024-03-08T14:11:16.993" v="1433" actId="20577"/>
          <ac:spMkLst>
            <pc:docMk/>
            <pc:sldMk cId="3183596888" sldId="922"/>
            <ac:spMk id="17" creationId="{6FA36F9D-90F9-114F-5453-39394D16CFF6}"/>
          </ac:spMkLst>
        </pc:spChg>
        <pc:extLst>
          <p:ext xmlns:p="http://schemas.openxmlformats.org/presentationml/2006/main" uri="{D6D511B9-2390-475A-947B-AFAB55BFBCF1}">
            <pc226:cmChg xmlns:pc226="http://schemas.microsoft.com/office/powerpoint/2022/06/main/command" chg="mod">
              <pc226:chgData name="Inese Dreimane (LV)" userId="22f883c9-425f-45e3-9561-0d9c55f15b4a" providerId="ADAL" clId="{03F442BB-6A05-4E5C-9F46-8B7840D1E8EB}" dt="2024-03-08T14:11:16.993" v="1433" actId="20577"/>
              <pc2:cmMkLst xmlns:pc2="http://schemas.microsoft.com/office/powerpoint/2019/9/main/command">
                <pc:docMk/>
                <pc:sldMk cId="3183596888" sldId="922"/>
                <pc2:cmMk id="{C97982E5-43BF-453B-B11A-79E886B6EB60}"/>
              </pc2:cmMkLst>
            </pc226:cmChg>
          </p:ext>
        </pc:extLst>
      </pc:sldChg>
      <pc:sldChg chg="modSp mod">
        <pc:chgData name="Inese Dreimane (LV)" userId="22f883c9-425f-45e3-9561-0d9c55f15b4a" providerId="ADAL" clId="{03F442BB-6A05-4E5C-9F46-8B7840D1E8EB}" dt="2024-03-08T12:32:02.859" v="234" actId="20577"/>
        <pc:sldMkLst>
          <pc:docMk/>
          <pc:sldMk cId="4107124933" sldId="925"/>
        </pc:sldMkLst>
        <pc:spChg chg="mod">
          <ac:chgData name="Inese Dreimane (LV)" userId="22f883c9-425f-45e3-9561-0d9c55f15b4a" providerId="ADAL" clId="{03F442BB-6A05-4E5C-9F46-8B7840D1E8EB}" dt="2024-03-08T12:32:02.859" v="234" actId="20577"/>
          <ac:spMkLst>
            <pc:docMk/>
            <pc:sldMk cId="4107124933" sldId="925"/>
            <ac:spMk id="2" creationId="{00000000-0000-0000-0000-000000000000}"/>
          </ac:spMkLst>
        </pc:spChg>
      </pc:sldChg>
      <pc:sldChg chg="modSp mod">
        <pc:chgData name="Inese Dreimane (LV)" userId="22f883c9-425f-45e3-9561-0d9c55f15b4a" providerId="ADAL" clId="{03F442BB-6A05-4E5C-9F46-8B7840D1E8EB}" dt="2024-03-08T12:32:29.646" v="250" actId="20577"/>
        <pc:sldMkLst>
          <pc:docMk/>
          <pc:sldMk cId="76717427" sldId="926"/>
        </pc:sldMkLst>
        <pc:spChg chg="mod">
          <ac:chgData name="Inese Dreimane (LV)" userId="22f883c9-425f-45e3-9561-0d9c55f15b4a" providerId="ADAL" clId="{03F442BB-6A05-4E5C-9F46-8B7840D1E8EB}" dt="2024-03-08T12:32:29.646" v="250" actId="20577"/>
          <ac:spMkLst>
            <pc:docMk/>
            <pc:sldMk cId="76717427" sldId="926"/>
            <ac:spMk id="2" creationId="{00000000-0000-0000-0000-000000000000}"/>
          </ac:spMkLst>
        </pc:spChg>
      </pc:sldChg>
      <pc:sldChg chg="modSp mod">
        <pc:chgData name="Inese Dreimane (LV)" userId="22f883c9-425f-45e3-9561-0d9c55f15b4a" providerId="ADAL" clId="{03F442BB-6A05-4E5C-9F46-8B7840D1E8EB}" dt="2024-03-08T12:32:16.078" v="241" actId="20577"/>
        <pc:sldMkLst>
          <pc:docMk/>
          <pc:sldMk cId="4266541344" sldId="927"/>
        </pc:sldMkLst>
        <pc:spChg chg="mod">
          <ac:chgData name="Inese Dreimane (LV)" userId="22f883c9-425f-45e3-9561-0d9c55f15b4a" providerId="ADAL" clId="{03F442BB-6A05-4E5C-9F46-8B7840D1E8EB}" dt="2024-03-08T12:32:16.078" v="241" actId="20577"/>
          <ac:spMkLst>
            <pc:docMk/>
            <pc:sldMk cId="4266541344" sldId="927"/>
            <ac:spMk id="2" creationId="{00000000-0000-0000-0000-000000000000}"/>
          </ac:spMkLst>
        </pc:spChg>
      </pc:sldChg>
      <pc:sldChg chg="modSp mod">
        <pc:chgData name="Inese Dreimane (LV)" userId="22f883c9-425f-45e3-9561-0d9c55f15b4a" providerId="ADAL" clId="{03F442BB-6A05-4E5C-9F46-8B7840D1E8EB}" dt="2024-03-08T12:32:36.459" v="256" actId="20577"/>
        <pc:sldMkLst>
          <pc:docMk/>
          <pc:sldMk cId="2463822678" sldId="928"/>
        </pc:sldMkLst>
        <pc:spChg chg="mod">
          <ac:chgData name="Inese Dreimane (LV)" userId="22f883c9-425f-45e3-9561-0d9c55f15b4a" providerId="ADAL" clId="{03F442BB-6A05-4E5C-9F46-8B7840D1E8EB}" dt="2024-03-08T12:32:36.459" v="256" actId="20577"/>
          <ac:spMkLst>
            <pc:docMk/>
            <pc:sldMk cId="2463822678" sldId="928"/>
            <ac:spMk id="2" creationId="{00000000-0000-0000-0000-000000000000}"/>
          </ac:spMkLst>
        </pc:spChg>
      </pc:sldChg>
      <pc:sldChg chg="addSp delSp modSp mod">
        <pc:chgData name="Inese Dreimane (LV)" userId="22f883c9-425f-45e3-9561-0d9c55f15b4a" providerId="ADAL" clId="{03F442BB-6A05-4E5C-9F46-8B7840D1E8EB}" dt="2024-03-08T14:56:38.305" v="1636" actId="14100"/>
        <pc:sldMkLst>
          <pc:docMk/>
          <pc:sldMk cId="2803239078" sldId="935"/>
        </pc:sldMkLst>
        <pc:spChg chg="add mod">
          <ac:chgData name="Inese Dreimane (LV)" userId="22f883c9-425f-45e3-9561-0d9c55f15b4a" providerId="ADAL" clId="{03F442BB-6A05-4E5C-9F46-8B7840D1E8EB}" dt="2024-03-08T14:56:38.305" v="1636" actId="14100"/>
          <ac:spMkLst>
            <pc:docMk/>
            <pc:sldMk cId="2803239078" sldId="935"/>
            <ac:spMk id="32" creationId="{6741534F-AD2B-D1F2-AC91-19476BE24A77}"/>
          </ac:spMkLst>
        </pc:spChg>
        <pc:spChg chg="del">
          <ac:chgData name="Inese Dreimane (LV)" userId="22f883c9-425f-45e3-9561-0d9c55f15b4a" providerId="ADAL" clId="{03F442BB-6A05-4E5C-9F46-8B7840D1E8EB}" dt="2024-03-08T14:13:37.674" v="1437" actId="478"/>
          <ac:spMkLst>
            <pc:docMk/>
            <pc:sldMk cId="2803239078" sldId="935"/>
            <ac:spMk id="47" creationId="{52EFA549-659C-B799-9809-BDFAA940A669}"/>
          </ac:spMkLst>
        </pc:spChg>
        <pc:picChg chg="add del mod">
          <ac:chgData name="Inese Dreimane (LV)" userId="22f883c9-425f-45e3-9561-0d9c55f15b4a" providerId="ADAL" clId="{03F442BB-6A05-4E5C-9F46-8B7840D1E8EB}" dt="2024-03-08T14:13:52.438" v="1441" actId="478"/>
          <ac:picMkLst>
            <pc:docMk/>
            <pc:sldMk cId="2803239078" sldId="935"/>
            <ac:picMk id="19" creationId="{308E262B-3E44-97D6-5096-7AC1064534E3}"/>
          </ac:picMkLst>
        </pc:picChg>
        <pc:picChg chg="add del mod">
          <ac:chgData name="Inese Dreimane (LV)" userId="22f883c9-425f-45e3-9561-0d9c55f15b4a" providerId="ADAL" clId="{03F442BB-6A05-4E5C-9F46-8B7840D1E8EB}" dt="2024-03-08T14:17:28.082" v="1445" actId="478"/>
          <ac:picMkLst>
            <pc:docMk/>
            <pc:sldMk cId="2803239078" sldId="935"/>
            <ac:picMk id="25" creationId="{1B7B0C16-1376-105B-B81B-F3DB8FD286BF}"/>
          </ac:picMkLst>
        </pc:picChg>
        <pc:picChg chg="add del mod">
          <ac:chgData name="Inese Dreimane (LV)" userId="22f883c9-425f-45e3-9561-0d9c55f15b4a" providerId="ADAL" clId="{03F442BB-6A05-4E5C-9F46-8B7840D1E8EB}" dt="2024-03-08T14:17:49.951" v="1448" actId="478"/>
          <ac:picMkLst>
            <pc:docMk/>
            <pc:sldMk cId="2803239078" sldId="935"/>
            <ac:picMk id="27" creationId="{5627A446-E8CC-69E4-4364-F42D91A66F8D}"/>
          </ac:picMkLst>
        </pc:picChg>
        <pc:picChg chg="add del mod ord">
          <ac:chgData name="Inese Dreimane (LV)" userId="22f883c9-425f-45e3-9561-0d9c55f15b4a" providerId="ADAL" clId="{03F442BB-6A05-4E5C-9F46-8B7840D1E8EB}" dt="2024-03-08T14:18:19.062" v="1452" actId="478"/>
          <ac:picMkLst>
            <pc:docMk/>
            <pc:sldMk cId="2803239078" sldId="935"/>
            <ac:picMk id="29" creationId="{3142E825-D45F-9904-D8EE-9BAC192F3783}"/>
          </ac:picMkLst>
        </pc:picChg>
        <pc:picChg chg="add mod ord">
          <ac:chgData name="Inese Dreimane (LV)" userId="22f883c9-425f-45e3-9561-0d9c55f15b4a" providerId="ADAL" clId="{03F442BB-6A05-4E5C-9F46-8B7840D1E8EB}" dt="2024-03-08T14:18:39.050" v="1455" actId="167"/>
          <ac:picMkLst>
            <pc:docMk/>
            <pc:sldMk cId="2803239078" sldId="935"/>
            <ac:picMk id="31" creationId="{7F2DD1AC-4868-22BF-65A5-2D52181F0AEC}"/>
          </ac:picMkLst>
        </pc:picChg>
        <pc:picChg chg="del">
          <ac:chgData name="Inese Dreimane (LV)" userId="22f883c9-425f-45e3-9561-0d9c55f15b4a" providerId="ADAL" clId="{03F442BB-6A05-4E5C-9F46-8B7840D1E8EB}" dt="2024-03-08T14:13:39.579" v="1438" actId="478"/>
          <ac:picMkLst>
            <pc:docMk/>
            <pc:sldMk cId="2803239078" sldId="935"/>
            <ac:picMk id="45" creationId="{5D0DB068-C11E-6713-BDC0-2DC5047C66E1}"/>
          </ac:picMkLst>
        </pc:picChg>
      </pc:sldChg>
      <pc:sldChg chg="addSp modSp mod modCm">
        <pc:chgData name="Inese Dreimane (LV)" userId="22f883c9-425f-45e3-9561-0d9c55f15b4a" providerId="ADAL" clId="{03F442BB-6A05-4E5C-9F46-8B7840D1E8EB}" dt="2024-03-08T14:09:19.891" v="1380"/>
        <pc:sldMkLst>
          <pc:docMk/>
          <pc:sldMk cId="1939332489" sldId="936"/>
        </pc:sldMkLst>
        <pc:spChg chg="add mod">
          <ac:chgData name="Inese Dreimane (LV)" userId="22f883c9-425f-45e3-9561-0d9c55f15b4a" providerId="ADAL" clId="{03F442BB-6A05-4E5C-9F46-8B7840D1E8EB}" dt="2024-03-08T14:08:44.279" v="1378" actId="20577"/>
          <ac:spMkLst>
            <pc:docMk/>
            <pc:sldMk cId="1939332489" sldId="936"/>
            <ac:spMk id="2" creationId="{ECED2237-CB7F-C2CD-11A3-62DC16CCA5B1}"/>
          </ac:spMkLst>
        </pc:spChg>
        <pc:spChg chg="add mod">
          <ac:chgData name="Inese Dreimane (LV)" userId="22f883c9-425f-45e3-9561-0d9c55f15b4a" providerId="ADAL" clId="{03F442BB-6A05-4E5C-9F46-8B7840D1E8EB}" dt="2024-03-08T14:09:02.453" v="1379" actId="1076"/>
          <ac:spMkLst>
            <pc:docMk/>
            <pc:sldMk cId="1939332489" sldId="936"/>
            <ac:spMk id="15" creationId="{D9C7FB84-E19B-43A1-0AEE-2A2D83D46DBD}"/>
          </ac:spMkLst>
        </pc:spChg>
        <pc:extLst>
          <p:ext xmlns:p="http://schemas.openxmlformats.org/presentationml/2006/main" uri="{D6D511B9-2390-475A-947B-AFAB55BFBCF1}">
            <pc226:cmChg xmlns:pc226="http://schemas.microsoft.com/office/powerpoint/2022/06/main/command" chg="mod">
              <pc226:chgData name="Inese Dreimane (LV)" userId="22f883c9-425f-45e3-9561-0d9c55f15b4a" providerId="ADAL" clId="{03F442BB-6A05-4E5C-9F46-8B7840D1E8EB}" dt="2024-03-08T14:09:19.891" v="1380"/>
              <pc2:cmMkLst xmlns:pc2="http://schemas.microsoft.com/office/powerpoint/2019/9/main/command">
                <pc:docMk/>
                <pc:sldMk cId="1939332489" sldId="936"/>
                <pc2:cmMk id="{F7CBB20B-C670-4C10-BA6C-BE97153D81AD}"/>
              </pc2:cmMkLst>
            </pc226:cmChg>
          </p:ext>
        </pc:extLst>
      </pc:sldChg>
      <pc:sldChg chg="modSp mod modCm">
        <pc:chgData name="Inese Dreimane (LV)" userId="22f883c9-425f-45e3-9561-0d9c55f15b4a" providerId="ADAL" clId="{03F442BB-6A05-4E5C-9F46-8B7840D1E8EB}" dt="2024-03-08T14:09:37.091" v="1385"/>
        <pc:sldMkLst>
          <pc:docMk/>
          <pc:sldMk cId="4229434319" sldId="941"/>
        </pc:sldMkLst>
        <pc:spChg chg="mod">
          <ac:chgData name="Inese Dreimane (LV)" userId="22f883c9-425f-45e3-9561-0d9c55f15b4a" providerId="ADAL" clId="{03F442BB-6A05-4E5C-9F46-8B7840D1E8EB}" dt="2024-03-08T12:36:53.708" v="330" actId="21"/>
          <ac:spMkLst>
            <pc:docMk/>
            <pc:sldMk cId="4229434319" sldId="941"/>
            <ac:spMk id="21" creationId="{47F90413-FED8-5E76-8366-C80AC457EE4C}"/>
          </ac:spMkLst>
        </pc:spChg>
        <pc:extLst>
          <p:ext xmlns:p="http://schemas.openxmlformats.org/presentationml/2006/main" uri="{D6D511B9-2390-475A-947B-AFAB55BFBCF1}">
            <pc226:cmChg xmlns:pc226="http://schemas.microsoft.com/office/powerpoint/2022/06/main/command" chg="mod">
              <pc226:chgData name="Inese Dreimane (LV)" userId="22f883c9-425f-45e3-9561-0d9c55f15b4a" providerId="ADAL" clId="{03F442BB-6A05-4E5C-9F46-8B7840D1E8EB}" dt="2024-03-08T14:09:37.091" v="1385"/>
              <pc2:cmMkLst xmlns:pc2="http://schemas.microsoft.com/office/powerpoint/2019/9/main/command">
                <pc:docMk/>
                <pc:sldMk cId="4229434319" sldId="941"/>
                <pc2:cmMk id="{4B5F507B-5212-4E21-B0C3-C08158A94BED}"/>
              </pc2:cmMkLst>
            </pc226:cmChg>
            <pc226:cmChg xmlns:pc226="http://schemas.microsoft.com/office/powerpoint/2022/06/main/command" chg="mod">
              <pc226:chgData name="Inese Dreimane (LV)" userId="22f883c9-425f-45e3-9561-0d9c55f15b4a" providerId="ADAL" clId="{03F442BB-6A05-4E5C-9F46-8B7840D1E8EB}" dt="2024-03-08T12:36:53.708" v="330" actId="21"/>
              <pc2:cmMkLst xmlns:pc2="http://schemas.microsoft.com/office/powerpoint/2019/9/main/command">
                <pc:docMk/>
                <pc:sldMk cId="4229434319" sldId="941"/>
                <pc2:cmMk id="{8590AEC1-A34A-45D3-8F8B-CA9F66F14848}"/>
              </pc2:cmMkLst>
            </pc226:cmChg>
          </p:ext>
        </pc:extLst>
      </pc:sldChg>
      <pc:sldChg chg="addSp delSp modSp mod">
        <pc:chgData name="Inese Dreimane (LV)" userId="22f883c9-425f-45e3-9561-0d9c55f15b4a" providerId="ADAL" clId="{03F442BB-6A05-4E5C-9F46-8B7840D1E8EB}" dt="2024-03-08T14:56:17.321" v="1633" actId="1076"/>
        <pc:sldMkLst>
          <pc:docMk/>
          <pc:sldMk cId="256155706" sldId="943"/>
        </pc:sldMkLst>
        <pc:spChg chg="add mod">
          <ac:chgData name="Inese Dreimane (LV)" userId="22f883c9-425f-45e3-9561-0d9c55f15b4a" providerId="ADAL" clId="{03F442BB-6A05-4E5C-9F46-8B7840D1E8EB}" dt="2024-03-08T14:56:17.321" v="1633" actId="1076"/>
          <ac:spMkLst>
            <pc:docMk/>
            <pc:sldMk cId="256155706" sldId="943"/>
            <ac:spMk id="10" creationId="{164C9440-3E17-A4DC-F886-2B0A9EA3C538}"/>
          </ac:spMkLst>
        </pc:spChg>
        <pc:spChg chg="del">
          <ac:chgData name="Inese Dreimane (LV)" userId="22f883c9-425f-45e3-9561-0d9c55f15b4a" providerId="ADAL" clId="{03F442BB-6A05-4E5C-9F46-8B7840D1E8EB}" dt="2024-03-08T14:42:25.373" v="1489" actId="478"/>
          <ac:spMkLst>
            <pc:docMk/>
            <pc:sldMk cId="256155706" sldId="943"/>
            <ac:spMk id="42" creationId="{50830596-224D-A11D-D251-21B0CA3EB02E}"/>
          </ac:spMkLst>
        </pc:spChg>
        <pc:picChg chg="add del mod">
          <ac:chgData name="Inese Dreimane (LV)" userId="22f883c9-425f-45e3-9561-0d9c55f15b4a" providerId="ADAL" clId="{03F442BB-6A05-4E5C-9F46-8B7840D1E8EB}" dt="2024-03-08T14:42:29.158" v="1491" actId="478"/>
          <ac:picMkLst>
            <pc:docMk/>
            <pc:sldMk cId="256155706" sldId="943"/>
            <ac:picMk id="5" creationId="{0A0DA75D-FFB4-7187-7E4E-3588FAE8A1BF}"/>
          </ac:picMkLst>
        </pc:picChg>
        <pc:picChg chg="add mod ord">
          <ac:chgData name="Inese Dreimane (LV)" userId="22f883c9-425f-45e3-9561-0d9c55f15b4a" providerId="ADAL" clId="{03F442BB-6A05-4E5C-9F46-8B7840D1E8EB}" dt="2024-03-08T14:42:35.716" v="1494" actId="167"/>
          <ac:picMkLst>
            <pc:docMk/>
            <pc:sldMk cId="256155706" sldId="943"/>
            <ac:picMk id="7" creationId="{F0EA3F29-7534-5D16-8730-7EB925B87D3E}"/>
          </ac:picMkLst>
        </pc:picChg>
        <pc:picChg chg="del">
          <ac:chgData name="Inese Dreimane (LV)" userId="22f883c9-425f-45e3-9561-0d9c55f15b4a" providerId="ADAL" clId="{03F442BB-6A05-4E5C-9F46-8B7840D1E8EB}" dt="2024-03-08T14:42:30.123" v="1492" actId="478"/>
          <ac:picMkLst>
            <pc:docMk/>
            <pc:sldMk cId="256155706" sldId="943"/>
            <ac:picMk id="13" creationId="{00A41EEB-AD8A-07E9-A204-094CF7B91A1C}"/>
          </ac:picMkLst>
        </pc:picChg>
      </pc:sldChg>
      <pc:sldChg chg="addSp delSp modSp mod">
        <pc:chgData name="Inese Dreimane (LV)" userId="22f883c9-425f-45e3-9561-0d9c55f15b4a" providerId="ADAL" clId="{03F442BB-6A05-4E5C-9F46-8B7840D1E8EB}" dt="2024-03-08T14:56:10.909" v="1630" actId="1076"/>
        <pc:sldMkLst>
          <pc:docMk/>
          <pc:sldMk cId="3911462717" sldId="947"/>
        </pc:sldMkLst>
        <pc:spChg chg="add mod">
          <ac:chgData name="Inese Dreimane (LV)" userId="22f883c9-425f-45e3-9561-0d9c55f15b4a" providerId="ADAL" clId="{03F442BB-6A05-4E5C-9F46-8B7840D1E8EB}" dt="2024-03-08T14:56:10.909" v="1630" actId="1076"/>
          <ac:spMkLst>
            <pc:docMk/>
            <pc:sldMk cId="3911462717" sldId="947"/>
            <ac:spMk id="19" creationId="{2ACC2107-8F44-193D-2F4F-9A72038EFDD4}"/>
          </ac:spMkLst>
        </pc:spChg>
        <pc:spChg chg="del">
          <ac:chgData name="Inese Dreimane (LV)" userId="22f883c9-425f-45e3-9561-0d9c55f15b4a" providerId="ADAL" clId="{03F442BB-6A05-4E5C-9F46-8B7840D1E8EB}" dt="2024-03-08T14:35:09.029" v="1469" actId="478"/>
          <ac:spMkLst>
            <pc:docMk/>
            <pc:sldMk cId="3911462717" sldId="947"/>
            <ac:spMk id="42" creationId="{50830596-224D-A11D-D251-21B0CA3EB02E}"/>
          </ac:spMkLst>
        </pc:spChg>
        <pc:picChg chg="add del mod ord">
          <ac:chgData name="Inese Dreimane (LV)" userId="22f883c9-425f-45e3-9561-0d9c55f15b4a" providerId="ADAL" clId="{03F442BB-6A05-4E5C-9F46-8B7840D1E8EB}" dt="2024-03-08T14:36:41.097" v="1482" actId="931"/>
          <ac:picMkLst>
            <pc:docMk/>
            <pc:sldMk cId="3911462717" sldId="947"/>
            <ac:picMk id="6" creationId="{F772326E-4B09-3FA7-9C59-255D9D94B37C}"/>
          </ac:picMkLst>
        </pc:picChg>
        <pc:picChg chg="add del">
          <ac:chgData name="Inese Dreimane (LV)" userId="22f883c9-425f-45e3-9561-0d9c55f15b4a" providerId="ADAL" clId="{03F442BB-6A05-4E5C-9F46-8B7840D1E8EB}" dt="2024-03-08T14:42:03.933" v="1484" actId="478"/>
          <ac:picMkLst>
            <pc:docMk/>
            <pc:sldMk cId="3911462717" sldId="947"/>
            <ac:picMk id="7" creationId="{69E92208-2175-97C9-FE3E-BD01D2A19E7C}"/>
          </ac:picMkLst>
        </pc:picChg>
        <pc:picChg chg="add del mod ord">
          <ac:chgData name="Inese Dreimane (LV)" userId="22f883c9-425f-45e3-9561-0d9c55f15b4a" providerId="ADAL" clId="{03F442BB-6A05-4E5C-9F46-8B7840D1E8EB}" dt="2024-03-08T14:52:45.488" v="1541" actId="478"/>
          <ac:picMkLst>
            <pc:docMk/>
            <pc:sldMk cId="3911462717" sldId="947"/>
            <ac:picMk id="10" creationId="{7306F7F7-0D65-FD3B-C2F8-74867459A9D1}"/>
          </ac:picMkLst>
        </pc:picChg>
        <pc:picChg chg="add mod ord">
          <ac:chgData name="Inese Dreimane (LV)" userId="22f883c9-425f-45e3-9561-0d9c55f15b4a" providerId="ADAL" clId="{03F442BB-6A05-4E5C-9F46-8B7840D1E8EB}" dt="2024-03-08T14:53:42.818" v="1579" actId="167"/>
          <ac:picMkLst>
            <pc:docMk/>
            <pc:sldMk cId="3911462717" sldId="947"/>
            <ac:picMk id="18" creationId="{31E2A41D-B0CE-CD93-AA46-61D03886A5D4}"/>
          </ac:picMkLst>
        </pc:picChg>
      </pc:sldChg>
      <pc:sldChg chg="modSp mod">
        <pc:chgData name="Inese Dreimane (LV)" userId="22f883c9-425f-45e3-9561-0d9c55f15b4a" providerId="ADAL" clId="{03F442BB-6A05-4E5C-9F46-8B7840D1E8EB}" dt="2024-03-08T12:34:31.653" v="311" actId="20577"/>
        <pc:sldMkLst>
          <pc:docMk/>
          <pc:sldMk cId="2937916867" sldId="953"/>
        </pc:sldMkLst>
        <pc:spChg chg="mod">
          <ac:chgData name="Inese Dreimane (LV)" userId="22f883c9-425f-45e3-9561-0d9c55f15b4a" providerId="ADAL" clId="{03F442BB-6A05-4E5C-9F46-8B7840D1E8EB}" dt="2024-03-08T12:34:31.653" v="311" actId="20577"/>
          <ac:spMkLst>
            <pc:docMk/>
            <pc:sldMk cId="2937916867" sldId="953"/>
            <ac:spMk id="2" creationId="{00000000-0000-0000-0000-000000000000}"/>
          </ac:spMkLst>
        </pc:spChg>
      </pc:sldChg>
      <pc:sldChg chg="addSp delSp modSp new del mod">
        <pc:chgData name="Inese Dreimane (LV)" userId="22f883c9-425f-45e3-9561-0d9c55f15b4a" providerId="ADAL" clId="{03F442BB-6A05-4E5C-9F46-8B7840D1E8EB}" dt="2024-03-08T12:50:15.540" v="523" actId="2696"/>
        <pc:sldMkLst>
          <pc:docMk/>
          <pc:sldMk cId="433965355" sldId="954"/>
        </pc:sldMkLst>
        <pc:spChg chg="mod">
          <ac:chgData name="Inese Dreimane (LV)" userId="22f883c9-425f-45e3-9561-0d9c55f15b4a" providerId="ADAL" clId="{03F442BB-6A05-4E5C-9F46-8B7840D1E8EB}" dt="2024-03-08T12:49:53.922" v="520" actId="2711"/>
          <ac:spMkLst>
            <pc:docMk/>
            <pc:sldMk cId="433965355" sldId="954"/>
            <ac:spMk id="2" creationId="{F13D8070-A3CA-71B2-DB85-5DDC3FDC9104}"/>
          </ac:spMkLst>
        </pc:spChg>
        <pc:spChg chg="mod">
          <ac:chgData name="Inese Dreimane (LV)" userId="22f883c9-425f-45e3-9561-0d9c55f15b4a" providerId="ADAL" clId="{03F442BB-6A05-4E5C-9F46-8B7840D1E8EB}" dt="2024-03-08T12:48:45.432" v="506" actId="207"/>
          <ac:spMkLst>
            <pc:docMk/>
            <pc:sldMk cId="433965355" sldId="954"/>
            <ac:spMk id="3" creationId="{4B5E9CB0-E678-AA92-CB4F-AAB849D9F06F}"/>
          </ac:spMkLst>
        </pc:spChg>
        <pc:spChg chg="add del mod ord">
          <ac:chgData name="Inese Dreimane (LV)" userId="22f883c9-425f-45e3-9561-0d9c55f15b4a" providerId="ADAL" clId="{03F442BB-6A05-4E5C-9F46-8B7840D1E8EB}" dt="2024-03-08T12:47:07.972" v="464" actId="478"/>
          <ac:spMkLst>
            <pc:docMk/>
            <pc:sldMk cId="433965355" sldId="954"/>
            <ac:spMk id="7" creationId="{7A2D25EF-6821-BE80-1979-AEA9ECA0C9D5}"/>
          </ac:spMkLst>
        </pc:spChg>
        <pc:spChg chg="add mod ord">
          <ac:chgData name="Inese Dreimane (LV)" userId="22f883c9-425f-45e3-9561-0d9c55f15b4a" providerId="ADAL" clId="{03F442BB-6A05-4E5C-9F46-8B7840D1E8EB}" dt="2024-03-08T12:48:37.987" v="505" actId="167"/>
          <ac:spMkLst>
            <pc:docMk/>
            <pc:sldMk cId="433965355" sldId="954"/>
            <ac:spMk id="8" creationId="{1BCA0921-2A86-BC92-DF02-39651574F107}"/>
          </ac:spMkLst>
        </pc:spChg>
        <pc:spChg chg="add mod ord">
          <ac:chgData name="Inese Dreimane (LV)" userId="22f883c9-425f-45e3-9561-0d9c55f15b4a" providerId="ADAL" clId="{03F442BB-6A05-4E5C-9F46-8B7840D1E8EB}" dt="2024-03-08T12:49:25.836" v="515" actId="167"/>
          <ac:spMkLst>
            <pc:docMk/>
            <pc:sldMk cId="433965355" sldId="954"/>
            <ac:spMk id="11" creationId="{EC3C6358-D603-6260-2EE2-D3AB0432BB59}"/>
          </ac:spMkLst>
        </pc:spChg>
        <pc:spChg chg="add mod ord">
          <ac:chgData name="Inese Dreimane (LV)" userId="22f883c9-425f-45e3-9561-0d9c55f15b4a" providerId="ADAL" clId="{03F442BB-6A05-4E5C-9F46-8B7840D1E8EB}" dt="2024-03-08T12:49:25.836" v="515" actId="167"/>
          <ac:spMkLst>
            <pc:docMk/>
            <pc:sldMk cId="433965355" sldId="954"/>
            <ac:spMk id="12" creationId="{9BA8C79F-E140-2D26-713F-4213A3147D14}"/>
          </ac:spMkLst>
        </pc:spChg>
        <pc:spChg chg="add mod ord">
          <ac:chgData name="Inese Dreimane (LV)" userId="22f883c9-425f-45e3-9561-0d9c55f15b4a" providerId="ADAL" clId="{03F442BB-6A05-4E5C-9F46-8B7840D1E8EB}" dt="2024-03-08T12:49:25.836" v="515" actId="167"/>
          <ac:spMkLst>
            <pc:docMk/>
            <pc:sldMk cId="433965355" sldId="954"/>
            <ac:spMk id="13" creationId="{F2AC4C0D-231D-8599-62AA-EDB80EB16ED6}"/>
          </ac:spMkLst>
        </pc:spChg>
        <pc:spChg chg="add mod ord">
          <ac:chgData name="Inese Dreimane (LV)" userId="22f883c9-425f-45e3-9561-0d9c55f15b4a" providerId="ADAL" clId="{03F442BB-6A05-4E5C-9F46-8B7840D1E8EB}" dt="2024-03-08T12:49:25.836" v="515" actId="167"/>
          <ac:spMkLst>
            <pc:docMk/>
            <pc:sldMk cId="433965355" sldId="954"/>
            <ac:spMk id="14" creationId="{EB368E4B-E205-96B0-EC9C-ECE5FE38B431}"/>
          </ac:spMkLst>
        </pc:spChg>
        <pc:spChg chg="add mod ord">
          <ac:chgData name="Inese Dreimane (LV)" userId="22f883c9-425f-45e3-9561-0d9c55f15b4a" providerId="ADAL" clId="{03F442BB-6A05-4E5C-9F46-8B7840D1E8EB}" dt="2024-03-08T12:49:25.836" v="515" actId="167"/>
          <ac:spMkLst>
            <pc:docMk/>
            <pc:sldMk cId="433965355" sldId="954"/>
            <ac:spMk id="15" creationId="{14888159-FB40-1F4B-87AF-2A59C24FCAD9}"/>
          </ac:spMkLst>
        </pc:spChg>
        <pc:picChg chg="add mod ord">
          <ac:chgData name="Inese Dreimane (LV)" userId="22f883c9-425f-45e3-9561-0d9c55f15b4a" providerId="ADAL" clId="{03F442BB-6A05-4E5C-9F46-8B7840D1E8EB}" dt="2024-03-08T12:49:02.041" v="510" actId="167"/>
          <ac:picMkLst>
            <pc:docMk/>
            <pc:sldMk cId="433965355" sldId="954"/>
            <ac:picMk id="9" creationId="{39510DD3-256E-3DAF-E3C0-C2AF9C69850E}"/>
          </ac:picMkLst>
        </pc:picChg>
        <pc:picChg chg="add mod ord">
          <ac:chgData name="Inese Dreimane (LV)" userId="22f883c9-425f-45e3-9561-0d9c55f15b4a" providerId="ADAL" clId="{03F442BB-6A05-4E5C-9F46-8B7840D1E8EB}" dt="2024-03-08T12:49:33.959" v="516" actId="167"/>
          <ac:picMkLst>
            <pc:docMk/>
            <pc:sldMk cId="433965355" sldId="954"/>
            <ac:picMk id="10" creationId="{C91DA8E7-C0A9-EA4A-250E-C22ABC444AC6}"/>
          </ac:picMkLst>
        </pc:picChg>
      </pc:sldChg>
      <pc:sldChg chg="addSp delSp modSp add mod modShow">
        <pc:chgData name="Inese Dreimane (LV)" userId="22f883c9-425f-45e3-9561-0d9c55f15b4a" providerId="ADAL" clId="{03F442BB-6A05-4E5C-9F46-8B7840D1E8EB}" dt="2024-03-08T15:07:07.075" v="1683" actId="14100"/>
        <pc:sldMkLst>
          <pc:docMk/>
          <pc:sldMk cId="3292995886" sldId="954"/>
        </pc:sldMkLst>
        <pc:spChg chg="mod">
          <ac:chgData name="Inese Dreimane (LV)" userId="22f883c9-425f-45e3-9561-0d9c55f15b4a" providerId="ADAL" clId="{03F442BB-6A05-4E5C-9F46-8B7840D1E8EB}" dt="2024-03-08T13:29:23.459" v="912" actId="20577"/>
          <ac:spMkLst>
            <pc:docMk/>
            <pc:sldMk cId="3292995886" sldId="954"/>
            <ac:spMk id="2" creationId="{00000000-0000-0000-0000-000000000000}"/>
          </ac:spMkLst>
        </pc:spChg>
        <pc:spChg chg="del">
          <ac:chgData name="Inese Dreimane (LV)" userId="22f883c9-425f-45e3-9561-0d9c55f15b4a" providerId="ADAL" clId="{03F442BB-6A05-4E5C-9F46-8B7840D1E8EB}" dt="2024-03-08T12:50:41.078" v="535" actId="478"/>
          <ac:spMkLst>
            <pc:docMk/>
            <pc:sldMk cId="3292995886" sldId="954"/>
            <ac:spMk id="3" creationId="{DD291347-1263-8A12-F54A-52749B83C743}"/>
          </ac:spMkLst>
        </pc:spChg>
        <pc:spChg chg="mod">
          <ac:chgData name="Inese Dreimane (LV)" userId="22f883c9-425f-45e3-9561-0d9c55f15b4a" providerId="ADAL" clId="{03F442BB-6A05-4E5C-9F46-8B7840D1E8EB}" dt="2024-03-08T13:29:51.833" v="917" actId="164"/>
          <ac:spMkLst>
            <pc:docMk/>
            <pc:sldMk cId="3292995886" sldId="954"/>
            <ac:spMk id="13" creationId="{EBC48018-9352-BCE7-EC18-F64F9523FBE2}"/>
          </ac:spMkLst>
        </pc:spChg>
        <pc:spChg chg="mod">
          <ac:chgData name="Inese Dreimane (LV)" userId="22f883c9-425f-45e3-9561-0d9c55f15b4a" providerId="ADAL" clId="{03F442BB-6A05-4E5C-9F46-8B7840D1E8EB}" dt="2024-03-08T13:29:51.833" v="917" actId="164"/>
          <ac:spMkLst>
            <pc:docMk/>
            <pc:sldMk cId="3292995886" sldId="954"/>
            <ac:spMk id="14" creationId="{A6EA8E27-8E20-4FA2-6F3F-47AB069C7A15}"/>
          </ac:spMkLst>
        </pc:spChg>
        <pc:spChg chg="mod">
          <ac:chgData name="Inese Dreimane (LV)" userId="22f883c9-425f-45e3-9561-0d9c55f15b4a" providerId="ADAL" clId="{03F442BB-6A05-4E5C-9F46-8B7840D1E8EB}" dt="2024-03-08T13:29:51.833" v="917" actId="164"/>
          <ac:spMkLst>
            <pc:docMk/>
            <pc:sldMk cId="3292995886" sldId="954"/>
            <ac:spMk id="17" creationId="{727C3B93-672E-9475-DFE2-94264EF24635}"/>
          </ac:spMkLst>
        </pc:spChg>
        <pc:spChg chg="mod">
          <ac:chgData name="Inese Dreimane (LV)" userId="22f883c9-425f-45e3-9561-0d9c55f15b4a" providerId="ADAL" clId="{03F442BB-6A05-4E5C-9F46-8B7840D1E8EB}" dt="2024-03-08T13:29:51.833" v="917" actId="164"/>
          <ac:spMkLst>
            <pc:docMk/>
            <pc:sldMk cId="3292995886" sldId="954"/>
            <ac:spMk id="18" creationId="{23FEABF4-ACC6-6BA5-26A6-57105BBF3D63}"/>
          </ac:spMkLst>
        </pc:spChg>
        <pc:spChg chg="mod">
          <ac:chgData name="Inese Dreimane (LV)" userId="22f883c9-425f-45e3-9561-0d9c55f15b4a" providerId="ADAL" clId="{03F442BB-6A05-4E5C-9F46-8B7840D1E8EB}" dt="2024-03-08T13:29:51.833" v="917" actId="164"/>
          <ac:spMkLst>
            <pc:docMk/>
            <pc:sldMk cId="3292995886" sldId="954"/>
            <ac:spMk id="19" creationId="{640260A6-5B69-D0BB-2ADE-6121D1B73C97}"/>
          </ac:spMkLst>
        </pc:spChg>
        <pc:spChg chg="mod">
          <ac:chgData name="Inese Dreimane (LV)" userId="22f883c9-425f-45e3-9561-0d9c55f15b4a" providerId="ADAL" clId="{03F442BB-6A05-4E5C-9F46-8B7840D1E8EB}" dt="2024-03-08T13:29:51.833" v="917" actId="164"/>
          <ac:spMkLst>
            <pc:docMk/>
            <pc:sldMk cId="3292995886" sldId="954"/>
            <ac:spMk id="20" creationId="{6748D0C1-5B92-F6E9-0A59-E6156DD31117}"/>
          </ac:spMkLst>
        </pc:spChg>
        <pc:spChg chg="mod">
          <ac:chgData name="Inese Dreimane (LV)" userId="22f883c9-425f-45e3-9561-0d9c55f15b4a" providerId="ADAL" clId="{03F442BB-6A05-4E5C-9F46-8B7840D1E8EB}" dt="2024-03-08T13:29:51.833" v="917" actId="164"/>
          <ac:spMkLst>
            <pc:docMk/>
            <pc:sldMk cId="3292995886" sldId="954"/>
            <ac:spMk id="21" creationId="{AD8FAEBD-9C40-1056-EDEE-D682D22C4018}"/>
          </ac:spMkLst>
        </pc:spChg>
        <pc:spChg chg="mod">
          <ac:chgData name="Inese Dreimane (LV)" userId="22f883c9-425f-45e3-9561-0d9c55f15b4a" providerId="ADAL" clId="{03F442BB-6A05-4E5C-9F46-8B7840D1E8EB}" dt="2024-03-08T13:16:11.006" v="865" actId="790"/>
          <ac:spMkLst>
            <pc:docMk/>
            <pc:sldMk cId="3292995886" sldId="954"/>
            <ac:spMk id="23" creationId="{3E50A70C-AE98-4C4C-DD4B-01F345345628}"/>
          </ac:spMkLst>
        </pc:spChg>
        <pc:spChg chg="mod">
          <ac:chgData name="Inese Dreimane (LV)" userId="22f883c9-425f-45e3-9561-0d9c55f15b4a" providerId="ADAL" clId="{03F442BB-6A05-4E5C-9F46-8B7840D1E8EB}" dt="2024-03-08T13:29:51.833" v="917" actId="164"/>
          <ac:spMkLst>
            <pc:docMk/>
            <pc:sldMk cId="3292995886" sldId="954"/>
            <ac:spMk id="25" creationId="{FA38E11F-EB0A-CDA0-8C36-9EFAAEF89052}"/>
          </ac:spMkLst>
        </pc:spChg>
        <pc:spChg chg="del mod">
          <ac:chgData name="Inese Dreimane (LV)" userId="22f883c9-425f-45e3-9561-0d9c55f15b4a" providerId="ADAL" clId="{03F442BB-6A05-4E5C-9F46-8B7840D1E8EB}" dt="2024-03-08T13:16:14.067" v="866" actId="478"/>
          <ac:spMkLst>
            <pc:docMk/>
            <pc:sldMk cId="3292995886" sldId="954"/>
            <ac:spMk id="26" creationId="{CA23CC84-4AA0-2EC3-44A4-A0C1C2A2A595}"/>
          </ac:spMkLst>
        </pc:spChg>
        <pc:spChg chg="mod">
          <ac:chgData name="Inese Dreimane (LV)" userId="22f883c9-425f-45e3-9561-0d9c55f15b4a" providerId="ADAL" clId="{03F442BB-6A05-4E5C-9F46-8B7840D1E8EB}" dt="2024-03-08T13:29:51.833" v="917" actId="164"/>
          <ac:spMkLst>
            <pc:docMk/>
            <pc:sldMk cId="3292995886" sldId="954"/>
            <ac:spMk id="27" creationId="{9BD1E965-D91B-3C2F-FE9D-C8C3604F3517}"/>
          </ac:spMkLst>
        </pc:spChg>
        <pc:spChg chg="mod">
          <ac:chgData name="Inese Dreimane (LV)" userId="22f883c9-425f-45e3-9561-0d9c55f15b4a" providerId="ADAL" clId="{03F442BB-6A05-4E5C-9F46-8B7840D1E8EB}" dt="2024-03-08T13:29:51.833" v="917" actId="164"/>
          <ac:spMkLst>
            <pc:docMk/>
            <pc:sldMk cId="3292995886" sldId="954"/>
            <ac:spMk id="28" creationId="{085CC3C1-7BCE-2CFF-6FE9-8B051CE5BAE1}"/>
          </ac:spMkLst>
        </pc:spChg>
        <pc:spChg chg="mod">
          <ac:chgData name="Inese Dreimane (LV)" userId="22f883c9-425f-45e3-9561-0d9c55f15b4a" providerId="ADAL" clId="{03F442BB-6A05-4E5C-9F46-8B7840D1E8EB}" dt="2024-03-08T13:29:51.833" v="917" actId="164"/>
          <ac:spMkLst>
            <pc:docMk/>
            <pc:sldMk cId="3292995886" sldId="954"/>
            <ac:spMk id="29" creationId="{22B7628C-AF1F-ECC4-7997-9A5DA3213126}"/>
          </ac:spMkLst>
        </pc:spChg>
        <pc:spChg chg="mod">
          <ac:chgData name="Inese Dreimane (LV)" userId="22f883c9-425f-45e3-9561-0d9c55f15b4a" providerId="ADAL" clId="{03F442BB-6A05-4E5C-9F46-8B7840D1E8EB}" dt="2024-03-08T13:29:51.833" v="917" actId="164"/>
          <ac:spMkLst>
            <pc:docMk/>
            <pc:sldMk cId="3292995886" sldId="954"/>
            <ac:spMk id="30" creationId="{CBECDA33-3DF1-41DE-1ABB-16C633BAC804}"/>
          </ac:spMkLst>
        </pc:spChg>
        <pc:spChg chg="mod">
          <ac:chgData name="Inese Dreimane (LV)" userId="22f883c9-425f-45e3-9561-0d9c55f15b4a" providerId="ADAL" clId="{03F442BB-6A05-4E5C-9F46-8B7840D1E8EB}" dt="2024-03-08T13:29:51.833" v="917" actId="164"/>
          <ac:spMkLst>
            <pc:docMk/>
            <pc:sldMk cId="3292995886" sldId="954"/>
            <ac:spMk id="31" creationId="{32D800BF-7D51-BDDC-0E3A-1EC21D1841D8}"/>
          </ac:spMkLst>
        </pc:spChg>
        <pc:spChg chg="mod">
          <ac:chgData name="Inese Dreimane (LV)" userId="22f883c9-425f-45e3-9561-0d9c55f15b4a" providerId="ADAL" clId="{03F442BB-6A05-4E5C-9F46-8B7840D1E8EB}" dt="2024-03-08T13:29:51.833" v="917" actId="164"/>
          <ac:spMkLst>
            <pc:docMk/>
            <pc:sldMk cId="3292995886" sldId="954"/>
            <ac:spMk id="32" creationId="{3904F4A1-8632-ECDA-CFE9-8DE85E254BF1}"/>
          </ac:spMkLst>
        </pc:spChg>
        <pc:spChg chg="mod">
          <ac:chgData name="Inese Dreimane (LV)" userId="22f883c9-425f-45e3-9561-0d9c55f15b4a" providerId="ADAL" clId="{03F442BB-6A05-4E5C-9F46-8B7840D1E8EB}" dt="2024-03-08T13:29:51.833" v="917" actId="164"/>
          <ac:spMkLst>
            <pc:docMk/>
            <pc:sldMk cId="3292995886" sldId="954"/>
            <ac:spMk id="33" creationId="{EF2B0D7D-72D6-DA32-14A0-AAEB0DC31610}"/>
          </ac:spMkLst>
        </pc:spChg>
        <pc:spChg chg="add del mod">
          <ac:chgData name="Inese Dreimane (LV)" userId="22f883c9-425f-45e3-9561-0d9c55f15b4a" providerId="ADAL" clId="{03F442BB-6A05-4E5C-9F46-8B7840D1E8EB}" dt="2024-03-08T13:29:51.833" v="917" actId="164"/>
          <ac:spMkLst>
            <pc:docMk/>
            <pc:sldMk cId="3292995886" sldId="954"/>
            <ac:spMk id="34" creationId="{726C93E4-4142-75A2-547C-0711EA5DF011}"/>
          </ac:spMkLst>
        </pc:spChg>
        <pc:spChg chg="del">
          <ac:chgData name="Inese Dreimane (LV)" userId="22f883c9-425f-45e3-9561-0d9c55f15b4a" providerId="ADAL" clId="{03F442BB-6A05-4E5C-9F46-8B7840D1E8EB}" dt="2024-03-08T13:05:35.869" v="787" actId="478"/>
          <ac:spMkLst>
            <pc:docMk/>
            <pc:sldMk cId="3292995886" sldId="954"/>
            <ac:spMk id="35" creationId="{D96F6E80-9CC0-4E4E-9F30-BE471DD02E2A}"/>
          </ac:spMkLst>
        </pc:spChg>
        <pc:spChg chg="del">
          <ac:chgData name="Inese Dreimane (LV)" userId="22f883c9-425f-45e3-9561-0d9c55f15b4a" providerId="ADAL" clId="{03F442BB-6A05-4E5C-9F46-8B7840D1E8EB}" dt="2024-03-08T13:05:37.952" v="788" actId="478"/>
          <ac:spMkLst>
            <pc:docMk/>
            <pc:sldMk cId="3292995886" sldId="954"/>
            <ac:spMk id="36" creationId="{B8BDC995-8ABA-1E47-BFD3-3D75AD69DB79}"/>
          </ac:spMkLst>
        </pc:spChg>
        <pc:spChg chg="del">
          <ac:chgData name="Inese Dreimane (LV)" userId="22f883c9-425f-45e3-9561-0d9c55f15b4a" providerId="ADAL" clId="{03F442BB-6A05-4E5C-9F46-8B7840D1E8EB}" dt="2024-03-08T13:05:40.225" v="789" actId="478"/>
          <ac:spMkLst>
            <pc:docMk/>
            <pc:sldMk cId="3292995886" sldId="954"/>
            <ac:spMk id="37" creationId="{3713EDBB-E808-DB43-9D13-D983F8E4F9E3}"/>
          </ac:spMkLst>
        </pc:spChg>
        <pc:spChg chg="del">
          <ac:chgData name="Inese Dreimane (LV)" userId="22f883c9-425f-45e3-9561-0d9c55f15b4a" providerId="ADAL" clId="{03F442BB-6A05-4E5C-9F46-8B7840D1E8EB}" dt="2024-03-08T13:05:43.540" v="790" actId="478"/>
          <ac:spMkLst>
            <pc:docMk/>
            <pc:sldMk cId="3292995886" sldId="954"/>
            <ac:spMk id="38" creationId="{84CF10D2-2DD2-E94B-B688-4AE679F609AE}"/>
          </ac:spMkLst>
        </pc:spChg>
        <pc:spChg chg="del">
          <ac:chgData name="Inese Dreimane (LV)" userId="22f883c9-425f-45e3-9561-0d9c55f15b4a" providerId="ADAL" clId="{03F442BB-6A05-4E5C-9F46-8B7840D1E8EB}" dt="2024-03-08T13:05:46.326" v="791" actId="478"/>
          <ac:spMkLst>
            <pc:docMk/>
            <pc:sldMk cId="3292995886" sldId="954"/>
            <ac:spMk id="39" creationId="{D03FE053-9C77-C74A-ACA6-C51A3C3B1FD0}"/>
          </ac:spMkLst>
        </pc:spChg>
        <pc:spChg chg="del">
          <ac:chgData name="Inese Dreimane (LV)" userId="22f883c9-425f-45e3-9561-0d9c55f15b4a" providerId="ADAL" clId="{03F442BB-6A05-4E5C-9F46-8B7840D1E8EB}" dt="2024-03-08T13:05:48.312" v="792" actId="478"/>
          <ac:spMkLst>
            <pc:docMk/>
            <pc:sldMk cId="3292995886" sldId="954"/>
            <ac:spMk id="40" creationId="{9578F692-1706-974E-B5D3-AD6B159461BC}"/>
          </ac:spMkLst>
        </pc:spChg>
        <pc:spChg chg="del">
          <ac:chgData name="Inese Dreimane (LV)" userId="22f883c9-425f-45e3-9561-0d9c55f15b4a" providerId="ADAL" clId="{03F442BB-6A05-4E5C-9F46-8B7840D1E8EB}" dt="2024-03-08T13:06:02.104" v="794" actId="478"/>
          <ac:spMkLst>
            <pc:docMk/>
            <pc:sldMk cId="3292995886" sldId="954"/>
            <ac:spMk id="41" creationId="{19F3A3EA-1A15-1B4C-8DCB-26EE245E8AFC}"/>
          </ac:spMkLst>
        </pc:spChg>
        <pc:spChg chg="del">
          <ac:chgData name="Inese Dreimane (LV)" userId="22f883c9-425f-45e3-9561-0d9c55f15b4a" providerId="ADAL" clId="{03F442BB-6A05-4E5C-9F46-8B7840D1E8EB}" dt="2024-03-08T13:05:57.920" v="793" actId="478"/>
          <ac:spMkLst>
            <pc:docMk/>
            <pc:sldMk cId="3292995886" sldId="954"/>
            <ac:spMk id="42" creationId="{F4B34ACD-2BEF-AB41-80A8-244233F6E0F2}"/>
          </ac:spMkLst>
        </pc:spChg>
        <pc:spChg chg="add del mod">
          <ac:chgData name="Inese Dreimane (LV)" userId="22f883c9-425f-45e3-9561-0d9c55f15b4a" providerId="ADAL" clId="{03F442BB-6A05-4E5C-9F46-8B7840D1E8EB}" dt="2024-03-08T13:29:44.996" v="916"/>
          <ac:spMkLst>
            <pc:docMk/>
            <pc:sldMk cId="3292995886" sldId="954"/>
            <ac:spMk id="66" creationId="{2B60E6B7-CB75-2633-F1A6-462352B4D1C8}"/>
          </ac:spMkLst>
        </pc:spChg>
        <pc:spChg chg="add mod">
          <ac:chgData name="Inese Dreimane (LV)" userId="22f883c9-425f-45e3-9561-0d9c55f15b4a" providerId="ADAL" clId="{03F442BB-6A05-4E5C-9F46-8B7840D1E8EB}" dt="2024-03-08T13:41:24.354" v="1000" actId="108"/>
          <ac:spMkLst>
            <pc:docMk/>
            <pc:sldMk cId="3292995886" sldId="954"/>
            <ac:spMk id="68" creationId="{512F80CF-595E-3A80-F495-3198099BF352}"/>
          </ac:spMkLst>
        </pc:spChg>
        <pc:spChg chg="add mod">
          <ac:chgData name="Inese Dreimane (LV)" userId="22f883c9-425f-45e3-9561-0d9c55f15b4a" providerId="ADAL" clId="{03F442BB-6A05-4E5C-9F46-8B7840D1E8EB}" dt="2024-03-08T13:34:50.909" v="971" actId="20577"/>
          <ac:spMkLst>
            <pc:docMk/>
            <pc:sldMk cId="3292995886" sldId="954"/>
            <ac:spMk id="72" creationId="{389AB09B-1895-53B3-B2BF-1941E31431C3}"/>
          </ac:spMkLst>
        </pc:spChg>
        <pc:spChg chg="add mod">
          <ac:chgData name="Inese Dreimane (LV)" userId="22f883c9-425f-45e3-9561-0d9c55f15b4a" providerId="ADAL" clId="{03F442BB-6A05-4E5C-9F46-8B7840D1E8EB}" dt="2024-03-08T13:44:41.407" v="1041" actId="164"/>
          <ac:spMkLst>
            <pc:docMk/>
            <pc:sldMk cId="3292995886" sldId="954"/>
            <ac:spMk id="73" creationId="{31125C22-727E-9F1A-6243-9118C9184F00}"/>
          </ac:spMkLst>
        </pc:spChg>
        <pc:spChg chg="add mod">
          <ac:chgData name="Inese Dreimane (LV)" userId="22f883c9-425f-45e3-9561-0d9c55f15b4a" providerId="ADAL" clId="{03F442BB-6A05-4E5C-9F46-8B7840D1E8EB}" dt="2024-03-08T13:44:41.407" v="1041" actId="164"/>
          <ac:spMkLst>
            <pc:docMk/>
            <pc:sldMk cId="3292995886" sldId="954"/>
            <ac:spMk id="74" creationId="{30BC4D96-7AB6-5410-F8A7-11D4C2862746}"/>
          </ac:spMkLst>
        </pc:spChg>
        <pc:spChg chg="add mod">
          <ac:chgData name="Inese Dreimane (LV)" userId="22f883c9-425f-45e3-9561-0d9c55f15b4a" providerId="ADAL" clId="{03F442BB-6A05-4E5C-9F46-8B7840D1E8EB}" dt="2024-03-08T13:44:41.407" v="1041" actId="164"/>
          <ac:spMkLst>
            <pc:docMk/>
            <pc:sldMk cId="3292995886" sldId="954"/>
            <ac:spMk id="75" creationId="{290E10FB-1E9E-BA02-17CE-37048E36D77D}"/>
          </ac:spMkLst>
        </pc:spChg>
        <pc:spChg chg="add mod">
          <ac:chgData name="Inese Dreimane (LV)" userId="22f883c9-425f-45e3-9561-0d9c55f15b4a" providerId="ADAL" clId="{03F442BB-6A05-4E5C-9F46-8B7840D1E8EB}" dt="2024-03-08T13:44:41.407" v="1041" actId="164"/>
          <ac:spMkLst>
            <pc:docMk/>
            <pc:sldMk cId="3292995886" sldId="954"/>
            <ac:spMk id="76" creationId="{38DBB93D-57B0-B54F-E839-6C98B0A631BA}"/>
          </ac:spMkLst>
        </pc:spChg>
        <pc:spChg chg="add mod">
          <ac:chgData name="Inese Dreimane (LV)" userId="22f883c9-425f-45e3-9561-0d9c55f15b4a" providerId="ADAL" clId="{03F442BB-6A05-4E5C-9F46-8B7840D1E8EB}" dt="2024-03-08T13:44:41.407" v="1041" actId="164"/>
          <ac:spMkLst>
            <pc:docMk/>
            <pc:sldMk cId="3292995886" sldId="954"/>
            <ac:spMk id="77" creationId="{DDB6C16B-57BB-AF2A-E53B-4AB987146955}"/>
          </ac:spMkLst>
        </pc:spChg>
        <pc:spChg chg="add mod">
          <ac:chgData name="Inese Dreimane (LV)" userId="22f883c9-425f-45e3-9561-0d9c55f15b4a" providerId="ADAL" clId="{03F442BB-6A05-4E5C-9F46-8B7840D1E8EB}" dt="2024-03-08T15:07:07.075" v="1683" actId="14100"/>
          <ac:spMkLst>
            <pc:docMk/>
            <pc:sldMk cId="3292995886" sldId="954"/>
            <ac:spMk id="79" creationId="{72A92D02-BCC4-F084-7D68-CD45A6DC8E1C}"/>
          </ac:spMkLst>
        </pc:spChg>
        <pc:grpChg chg="add mod">
          <ac:chgData name="Inese Dreimane (LV)" userId="22f883c9-425f-45e3-9561-0d9c55f15b4a" providerId="ADAL" clId="{03F442BB-6A05-4E5C-9F46-8B7840D1E8EB}" dt="2024-03-08T13:29:51.833" v="917" actId="164"/>
          <ac:grpSpMkLst>
            <pc:docMk/>
            <pc:sldMk cId="3292995886" sldId="954"/>
            <ac:grpSpMk id="67" creationId="{2D2798A6-DB77-8DF8-0FBA-D6A5F593466B}"/>
          </ac:grpSpMkLst>
        </pc:grpChg>
        <pc:grpChg chg="add mod ord">
          <ac:chgData name="Inese Dreimane (LV)" userId="22f883c9-425f-45e3-9561-0d9c55f15b4a" providerId="ADAL" clId="{03F442BB-6A05-4E5C-9F46-8B7840D1E8EB}" dt="2024-03-08T15:07:02.053" v="1682" actId="166"/>
          <ac:grpSpMkLst>
            <pc:docMk/>
            <pc:sldMk cId="3292995886" sldId="954"/>
            <ac:grpSpMk id="78" creationId="{32B6BDBB-7194-CDE7-F6B7-C8AFABCE0031}"/>
          </ac:grpSpMkLst>
        </pc:grpChg>
        <pc:picChg chg="add del mod">
          <ac:chgData name="Inese Dreimane (LV)" userId="22f883c9-425f-45e3-9561-0d9c55f15b4a" providerId="ADAL" clId="{03F442BB-6A05-4E5C-9F46-8B7840D1E8EB}" dt="2024-03-08T13:01:59.463" v="761" actId="478"/>
          <ac:picMkLst>
            <pc:docMk/>
            <pc:sldMk cId="3292995886" sldId="954"/>
            <ac:picMk id="5" creationId="{E509BB8A-1843-F8E5-1A15-1E89DF6DFA6A}"/>
          </ac:picMkLst>
        </pc:picChg>
        <pc:picChg chg="add del mod ord">
          <ac:chgData name="Inese Dreimane (LV)" userId="22f883c9-425f-45e3-9561-0d9c55f15b4a" providerId="ADAL" clId="{03F442BB-6A05-4E5C-9F46-8B7840D1E8EB}" dt="2024-03-08T13:04:10.432" v="773" actId="478"/>
          <ac:picMkLst>
            <pc:docMk/>
            <pc:sldMk cId="3292995886" sldId="954"/>
            <ac:picMk id="7" creationId="{776DFF13-A2DE-9BF2-AAE4-9D337E7B22DF}"/>
          </ac:picMkLst>
        </pc:picChg>
        <pc:picChg chg="add mod ord">
          <ac:chgData name="Inese Dreimane (LV)" userId="22f883c9-425f-45e3-9561-0d9c55f15b4a" providerId="ADAL" clId="{03F442BB-6A05-4E5C-9F46-8B7840D1E8EB}" dt="2024-03-08T13:04:49.574" v="776" actId="167"/>
          <ac:picMkLst>
            <pc:docMk/>
            <pc:sldMk cId="3292995886" sldId="954"/>
            <ac:picMk id="9" creationId="{3BD27262-4779-ADB8-12BD-E78A69C7BF00}"/>
          </ac:picMkLst>
        </pc:picChg>
        <pc:picChg chg="add del mod">
          <ac:chgData name="Inese Dreimane (LV)" userId="22f883c9-425f-45e3-9561-0d9c55f15b4a" providerId="ADAL" clId="{03F442BB-6A05-4E5C-9F46-8B7840D1E8EB}" dt="2024-03-08T13:07:32.288" v="801" actId="478"/>
          <ac:picMkLst>
            <pc:docMk/>
            <pc:sldMk cId="3292995886" sldId="954"/>
            <ac:picMk id="11" creationId="{6823E800-49C8-81CE-B916-866EF8C969E9}"/>
          </ac:picMkLst>
        </pc:picChg>
        <pc:picChg chg="add mod">
          <ac:chgData name="Inese Dreimane (LV)" userId="22f883c9-425f-45e3-9561-0d9c55f15b4a" providerId="ADAL" clId="{03F442BB-6A05-4E5C-9F46-8B7840D1E8EB}" dt="2024-03-08T13:29:51.833" v="917" actId="164"/>
          <ac:picMkLst>
            <pc:docMk/>
            <pc:sldMk cId="3292995886" sldId="954"/>
            <ac:picMk id="15" creationId="{56D5031E-9BB8-DB92-8641-EE3099AEAFC2}"/>
          </ac:picMkLst>
        </pc:picChg>
        <pc:picChg chg="del">
          <ac:chgData name="Inese Dreimane (LV)" userId="22f883c9-425f-45e3-9561-0d9c55f15b4a" providerId="ADAL" clId="{03F442BB-6A05-4E5C-9F46-8B7840D1E8EB}" dt="2024-03-08T12:50:41.836" v="536" actId="478"/>
          <ac:picMkLst>
            <pc:docMk/>
            <pc:sldMk cId="3292995886" sldId="954"/>
            <ac:picMk id="22" creationId="{3FC3DC7B-39D2-9EAB-034F-B0CAB0821C6F}"/>
          </ac:picMkLst>
        </pc:picChg>
        <pc:picChg chg="add mod">
          <ac:chgData name="Inese Dreimane (LV)" userId="22f883c9-425f-45e3-9561-0d9c55f15b4a" providerId="ADAL" clId="{03F442BB-6A05-4E5C-9F46-8B7840D1E8EB}" dt="2024-03-08T13:29:51.833" v="917" actId="164"/>
          <ac:picMkLst>
            <pc:docMk/>
            <pc:sldMk cId="3292995886" sldId="954"/>
            <ac:picMk id="43" creationId="{B1930482-85CF-0828-289A-911A88D162FC}"/>
          </ac:picMkLst>
        </pc:picChg>
        <pc:picChg chg="add mod">
          <ac:chgData name="Inese Dreimane (LV)" userId="22f883c9-425f-45e3-9561-0d9c55f15b4a" providerId="ADAL" clId="{03F442BB-6A05-4E5C-9F46-8B7840D1E8EB}" dt="2024-03-08T13:29:51.833" v="917" actId="164"/>
          <ac:picMkLst>
            <pc:docMk/>
            <pc:sldMk cId="3292995886" sldId="954"/>
            <ac:picMk id="45" creationId="{CB7F7362-D009-3746-71A4-C82A3EAECE53}"/>
          </ac:picMkLst>
        </pc:picChg>
        <pc:picChg chg="add mod">
          <ac:chgData name="Inese Dreimane (LV)" userId="22f883c9-425f-45e3-9561-0d9c55f15b4a" providerId="ADAL" clId="{03F442BB-6A05-4E5C-9F46-8B7840D1E8EB}" dt="2024-03-08T13:29:51.833" v="917" actId="164"/>
          <ac:picMkLst>
            <pc:docMk/>
            <pc:sldMk cId="3292995886" sldId="954"/>
            <ac:picMk id="47" creationId="{1843502D-878E-5D1D-EC6D-637822DA957D}"/>
          </ac:picMkLst>
        </pc:picChg>
        <pc:picChg chg="add mod">
          <ac:chgData name="Inese Dreimane (LV)" userId="22f883c9-425f-45e3-9561-0d9c55f15b4a" providerId="ADAL" clId="{03F442BB-6A05-4E5C-9F46-8B7840D1E8EB}" dt="2024-03-08T13:29:51.833" v="917" actId="164"/>
          <ac:picMkLst>
            <pc:docMk/>
            <pc:sldMk cId="3292995886" sldId="954"/>
            <ac:picMk id="49" creationId="{CE2EC60D-BCC6-E24D-CC9D-94DDDB0D6EF8}"/>
          </ac:picMkLst>
        </pc:picChg>
        <pc:picChg chg="add mod">
          <ac:chgData name="Inese Dreimane (LV)" userId="22f883c9-425f-45e3-9561-0d9c55f15b4a" providerId="ADAL" clId="{03F442BB-6A05-4E5C-9F46-8B7840D1E8EB}" dt="2024-03-08T13:29:51.833" v="917" actId="164"/>
          <ac:picMkLst>
            <pc:docMk/>
            <pc:sldMk cId="3292995886" sldId="954"/>
            <ac:picMk id="51" creationId="{B7BCAF95-4E75-7D80-5968-6AB8067240FF}"/>
          </ac:picMkLst>
        </pc:picChg>
        <pc:picChg chg="add mod">
          <ac:chgData name="Inese Dreimane (LV)" userId="22f883c9-425f-45e3-9561-0d9c55f15b4a" providerId="ADAL" clId="{03F442BB-6A05-4E5C-9F46-8B7840D1E8EB}" dt="2024-03-08T13:29:51.833" v="917" actId="164"/>
          <ac:picMkLst>
            <pc:docMk/>
            <pc:sldMk cId="3292995886" sldId="954"/>
            <ac:picMk id="53" creationId="{F1451C2A-ADFE-AF0D-DFB9-1EB6C4E57003}"/>
          </ac:picMkLst>
        </pc:picChg>
        <pc:picChg chg="add mod">
          <ac:chgData name="Inese Dreimane (LV)" userId="22f883c9-425f-45e3-9561-0d9c55f15b4a" providerId="ADAL" clId="{03F442BB-6A05-4E5C-9F46-8B7840D1E8EB}" dt="2024-03-08T13:29:51.833" v="917" actId="164"/>
          <ac:picMkLst>
            <pc:docMk/>
            <pc:sldMk cId="3292995886" sldId="954"/>
            <ac:picMk id="55" creationId="{81FB2B37-3861-158D-B102-4866A1069E5C}"/>
          </ac:picMkLst>
        </pc:picChg>
        <pc:picChg chg="add del mod">
          <ac:chgData name="Inese Dreimane (LV)" userId="22f883c9-425f-45e3-9561-0d9c55f15b4a" providerId="ADAL" clId="{03F442BB-6A05-4E5C-9F46-8B7840D1E8EB}" dt="2024-03-08T13:20:15.793" v="870" actId="478"/>
          <ac:picMkLst>
            <pc:docMk/>
            <pc:sldMk cId="3292995886" sldId="954"/>
            <ac:picMk id="57" creationId="{8C7DCC6E-B796-1D22-283E-A446EB66F963}"/>
          </ac:picMkLst>
        </pc:picChg>
        <pc:picChg chg="add mod">
          <ac:chgData name="Inese Dreimane (LV)" userId="22f883c9-425f-45e3-9561-0d9c55f15b4a" providerId="ADAL" clId="{03F442BB-6A05-4E5C-9F46-8B7840D1E8EB}" dt="2024-03-08T13:32:46.403" v="969" actId="208"/>
          <ac:picMkLst>
            <pc:docMk/>
            <pc:sldMk cId="3292995886" sldId="954"/>
            <ac:picMk id="70" creationId="{71E5741B-6DE9-9932-652B-773C9A802D0D}"/>
          </ac:picMkLst>
        </pc:picChg>
        <pc:cxnChg chg="add mod">
          <ac:chgData name="Inese Dreimane (LV)" userId="22f883c9-425f-45e3-9561-0d9c55f15b4a" providerId="ADAL" clId="{03F442BB-6A05-4E5C-9F46-8B7840D1E8EB}" dt="2024-03-08T13:29:51.833" v="917" actId="164"/>
          <ac:cxnSpMkLst>
            <pc:docMk/>
            <pc:sldMk cId="3292995886" sldId="954"/>
            <ac:cxnSpMk id="58" creationId="{60097C3E-95FF-1A87-5F2F-91053212AE11}"/>
          </ac:cxnSpMkLst>
        </pc:cxnChg>
        <pc:cxnChg chg="add mod">
          <ac:chgData name="Inese Dreimane (LV)" userId="22f883c9-425f-45e3-9561-0d9c55f15b4a" providerId="ADAL" clId="{03F442BB-6A05-4E5C-9F46-8B7840D1E8EB}" dt="2024-03-08T13:29:51.833" v="917" actId="164"/>
          <ac:cxnSpMkLst>
            <pc:docMk/>
            <pc:sldMk cId="3292995886" sldId="954"/>
            <ac:cxnSpMk id="59" creationId="{9C90833B-60CC-5E5E-3CD3-754141C666B0}"/>
          </ac:cxnSpMkLst>
        </pc:cxnChg>
        <pc:cxnChg chg="add mod">
          <ac:chgData name="Inese Dreimane (LV)" userId="22f883c9-425f-45e3-9561-0d9c55f15b4a" providerId="ADAL" clId="{03F442BB-6A05-4E5C-9F46-8B7840D1E8EB}" dt="2024-03-08T13:29:51.833" v="917" actId="164"/>
          <ac:cxnSpMkLst>
            <pc:docMk/>
            <pc:sldMk cId="3292995886" sldId="954"/>
            <ac:cxnSpMk id="60" creationId="{FACF80ED-B110-F707-029A-D22DA28450C2}"/>
          </ac:cxnSpMkLst>
        </pc:cxnChg>
        <pc:cxnChg chg="add mod">
          <ac:chgData name="Inese Dreimane (LV)" userId="22f883c9-425f-45e3-9561-0d9c55f15b4a" providerId="ADAL" clId="{03F442BB-6A05-4E5C-9F46-8B7840D1E8EB}" dt="2024-03-08T13:29:51.833" v="917" actId="164"/>
          <ac:cxnSpMkLst>
            <pc:docMk/>
            <pc:sldMk cId="3292995886" sldId="954"/>
            <ac:cxnSpMk id="61" creationId="{5E817EE8-C0F5-AD0B-6B82-B17A6679F1EF}"/>
          </ac:cxnSpMkLst>
        </pc:cxnChg>
        <pc:cxnChg chg="add mod">
          <ac:chgData name="Inese Dreimane (LV)" userId="22f883c9-425f-45e3-9561-0d9c55f15b4a" providerId="ADAL" clId="{03F442BB-6A05-4E5C-9F46-8B7840D1E8EB}" dt="2024-03-08T13:29:51.833" v="917" actId="164"/>
          <ac:cxnSpMkLst>
            <pc:docMk/>
            <pc:sldMk cId="3292995886" sldId="954"/>
            <ac:cxnSpMk id="62" creationId="{9019D7AB-38B5-8ADF-40A9-C960F67FB740}"/>
          </ac:cxnSpMkLst>
        </pc:cxnChg>
        <pc:cxnChg chg="add mod">
          <ac:chgData name="Inese Dreimane (LV)" userId="22f883c9-425f-45e3-9561-0d9c55f15b4a" providerId="ADAL" clId="{03F442BB-6A05-4E5C-9F46-8B7840D1E8EB}" dt="2024-03-08T13:29:51.833" v="917" actId="164"/>
          <ac:cxnSpMkLst>
            <pc:docMk/>
            <pc:sldMk cId="3292995886" sldId="954"/>
            <ac:cxnSpMk id="63" creationId="{6E1A9B63-C020-BEB6-B577-2797FC7F197A}"/>
          </ac:cxnSpMkLst>
        </pc:cxnChg>
        <pc:cxnChg chg="add mod">
          <ac:chgData name="Inese Dreimane (LV)" userId="22f883c9-425f-45e3-9561-0d9c55f15b4a" providerId="ADAL" clId="{03F442BB-6A05-4E5C-9F46-8B7840D1E8EB}" dt="2024-03-08T13:29:51.833" v="917" actId="164"/>
          <ac:cxnSpMkLst>
            <pc:docMk/>
            <pc:sldMk cId="3292995886" sldId="954"/>
            <ac:cxnSpMk id="64" creationId="{0A72AA48-9739-1CC1-781A-D70A103C1399}"/>
          </ac:cxnSpMkLst>
        </pc:cxnChg>
        <pc:cxnChg chg="add mod">
          <ac:chgData name="Inese Dreimane (LV)" userId="22f883c9-425f-45e3-9561-0d9c55f15b4a" providerId="ADAL" clId="{03F442BB-6A05-4E5C-9F46-8B7840D1E8EB}" dt="2024-03-08T13:29:51.833" v="917" actId="164"/>
          <ac:cxnSpMkLst>
            <pc:docMk/>
            <pc:sldMk cId="3292995886" sldId="954"/>
            <ac:cxnSpMk id="65" creationId="{FEBC0E08-34CD-CBCA-5F9B-F84B1C59B5EA}"/>
          </ac:cxnSpMkLst>
        </pc:cxnChg>
        <pc:cxnChg chg="add mod">
          <ac:chgData name="Inese Dreimane (LV)" userId="22f883c9-425f-45e3-9561-0d9c55f15b4a" providerId="ADAL" clId="{03F442BB-6A05-4E5C-9F46-8B7840D1E8EB}" dt="2024-03-08T13:31:13.431" v="948"/>
          <ac:cxnSpMkLst>
            <pc:docMk/>
            <pc:sldMk cId="3292995886" sldId="954"/>
            <ac:cxnSpMk id="71" creationId="{BB5578A7-C7B3-121A-1EC0-BBB5C91477DD}"/>
          </ac:cxnSpMkLst>
        </pc:cxnChg>
      </pc:sldChg>
      <pc:sldChg chg="new del">
        <pc:chgData name="Inese Dreimane (LV)" userId="22f883c9-425f-45e3-9561-0d9c55f15b4a" providerId="ADAL" clId="{03F442BB-6A05-4E5C-9F46-8B7840D1E8EB}" dt="2024-03-08T12:46:31.002" v="456" actId="47"/>
        <pc:sldMkLst>
          <pc:docMk/>
          <pc:sldMk cId="4285937224" sldId="954"/>
        </pc:sldMkLst>
      </pc:sldChg>
      <pc:sldChg chg="addSp delSp modSp add mod">
        <pc:chgData name="Inese Dreimane (LV)" userId="22f883c9-425f-45e3-9561-0d9c55f15b4a" providerId="ADAL" clId="{03F442BB-6A05-4E5C-9F46-8B7840D1E8EB}" dt="2024-03-08T14:56:48.226" v="1640" actId="14100"/>
        <pc:sldMkLst>
          <pc:docMk/>
          <pc:sldMk cId="1412199469" sldId="955"/>
        </pc:sldMkLst>
        <pc:spChg chg="add mod">
          <ac:chgData name="Inese Dreimane (LV)" userId="22f883c9-425f-45e3-9561-0d9c55f15b4a" providerId="ADAL" clId="{03F442BB-6A05-4E5C-9F46-8B7840D1E8EB}" dt="2024-03-08T14:56:48.226" v="1640" actId="14100"/>
          <ac:spMkLst>
            <pc:docMk/>
            <pc:sldMk cId="1412199469" sldId="955"/>
            <ac:spMk id="26" creationId="{489708D9-335F-879B-C48D-75D2D18478DE}"/>
          </ac:spMkLst>
        </pc:spChg>
        <pc:picChg chg="add del mod">
          <ac:chgData name="Inese Dreimane (LV)" userId="22f883c9-425f-45e3-9561-0d9c55f15b4a" providerId="ADAL" clId="{03F442BB-6A05-4E5C-9F46-8B7840D1E8EB}" dt="2024-03-08T14:47:13.129" v="1516" actId="478"/>
          <ac:picMkLst>
            <pc:docMk/>
            <pc:sldMk cId="1412199469" sldId="955"/>
            <ac:picMk id="19" creationId="{BA0C7731-A34B-F753-E836-4F9F9A54A32B}"/>
          </ac:picMkLst>
        </pc:picChg>
        <pc:picChg chg="add mod ord">
          <ac:chgData name="Inese Dreimane (LV)" userId="22f883c9-425f-45e3-9561-0d9c55f15b4a" providerId="ADAL" clId="{03F442BB-6A05-4E5C-9F46-8B7840D1E8EB}" dt="2024-03-08T14:47:39.657" v="1519" actId="167"/>
          <ac:picMkLst>
            <pc:docMk/>
            <pc:sldMk cId="1412199469" sldId="955"/>
            <ac:picMk id="25" creationId="{C43E8E4A-54B3-4DD6-7E8E-C84E2376FA3D}"/>
          </ac:picMkLst>
        </pc:picChg>
        <pc:picChg chg="del">
          <ac:chgData name="Inese Dreimane (LV)" userId="22f883c9-425f-45e3-9561-0d9c55f15b4a" providerId="ADAL" clId="{03F442BB-6A05-4E5C-9F46-8B7840D1E8EB}" dt="2024-03-08T14:46:18.229" v="1512" actId="478"/>
          <ac:picMkLst>
            <pc:docMk/>
            <pc:sldMk cId="1412199469" sldId="955"/>
            <ac:picMk id="31" creationId="{7F2DD1AC-4868-22BF-65A5-2D52181F0AEC}"/>
          </ac:picMkLst>
        </pc:picChg>
      </pc:sldChg>
      <pc:sldChg chg="addSp delSp modSp add mod">
        <pc:chgData name="Inese Dreimane (LV)" userId="22f883c9-425f-45e3-9561-0d9c55f15b4a" providerId="ADAL" clId="{03F442BB-6A05-4E5C-9F46-8B7840D1E8EB}" dt="2024-03-08T14:56:06.414" v="1627" actId="1076"/>
        <pc:sldMkLst>
          <pc:docMk/>
          <pc:sldMk cId="24755804" sldId="956"/>
        </pc:sldMkLst>
        <pc:spChg chg="add mod">
          <ac:chgData name="Inese Dreimane (LV)" userId="22f883c9-425f-45e3-9561-0d9c55f15b4a" providerId="ADAL" clId="{03F442BB-6A05-4E5C-9F46-8B7840D1E8EB}" dt="2024-03-08T14:56:06.414" v="1627" actId="1076"/>
          <ac:spMkLst>
            <pc:docMk/>
            <pc:sldMk cId="24755804" sldId="956"/>
            <ac:spMk id="11" creationId="{89FDF566-1B64-38B3-9A69-C39598C84744}"/>
          </ac:spMkLst>
        </pc:spChg>
        <pc:picChg chg="add del">
          <ac:chgData name="Inese Dreimane (LV)" userId="22f883c9-425f-45e3-9561-0d9c55f15b4a" providerId="ADAL" clId="{03F442BB-6A05-4E5C-9F46-8B7840D1E8EB}" dt="2024-03-08T14:53:50.222" v="1585" actId="478"/>
          <ac:picMkLst>
            <pc:docMk/>
            <pc:sldMk cId="24755804" sldId="956"/>
            <ac:picMk id="7" creationId="{F0EA3F29-7534-5D16-8730-7EB925B87D3E}"/>
          </ac:picMkLst>
        </pc:picChg>
        <pc:picChg chg="add mod ord">
          <ac:chgData name="Inese Dreimane (LV)" userId="22f883c9-425f-45e3-9561-0d9c55f15b4a" providerId="ADAL" clId="{03F442BB-6A05-4E5C-9F46-8B7840D1E8EB}" dt="2024-03-08T14:54:12.794" v="1597" actId="167"/>
          <ac:picMkLst>
            <pc:docMk/>
            <pc:sldMk cId="24755804" sldId="956"/>
            <ac:picMk id="10" creationId="{EE57AF4E-090E-E7F7-6C50-64DE044BD3DA}"/>
          </ac:picMkLst>
        </pc:picChg>
      </pc:sldChg>
      <pc:sldChg chg="addSp delSp modSp add mod">
        <pc:chgData name="Inese Dreimane (LV)" userId="22f883c9-425f-45e3-9561-0d9c55f15b4a" providerId="ADAL" clId="{03F442BB-6A05-4E5C-9F46-8B7840D1E8EB}" dt="2024-03-08T14:56:00.085" v="1624" actId="1076"/>
        <pc:sldMkLst>
          <pc:docMk/>
          <pc:sldMk cId="1014935855" sldId="957"/>
        </pc:sldMkLst>
        <pc:spChg chg="add mod">
          <ac:chgData name="Inese Dreimane (LV)" userId="22f883c9-425f-45e3-9561-0d9c55f15b4a" providerId="ADAL" clId="{03F442BB-6A05-4E5C-9F46-8B7840D1E8EB}" dt="2024-03-08T14:56:00.085" v="1624" actId="1076"/>
          <ac:spMkLst>
            <pc:docMk/>
            <pc:sldMk cId="1014935855" sldId="957"/>
            <ac:spMk id="6" creationId="{80C532BC-476D-9778-B917-A847740102DC}"/>
          </ac:spMkLst>
        </pc:spChg>
        <pc:picChg chg="add mod ord">
          <ac:chgData name="Inese Dreimane (LV)" userId="22f883c9-425f-45e3-9561-0d9c55f15b4a" providerId="ADAL" clId="{03F442BB-6A05-4E5C-9F46-8B7840D1E8EB}" dt="2024-03-08T14:54:21.076" v="1600" actId="167"/>
          <ac:picMkLst>
            <pc:docMk/>
            <pc:sldMk cId="1014935855" sldId="957"/>
            <ac:picMk id="2" creationId="{ABCB9BD2-DAB8-36B6-7DEC-39F0A71CD913}"/>
          </ac:picMkLst>
        </pc:picChg>
        <pc:picChg chg="del">
          <ac:chgData name="Inese Dreimane (LV)" userId="22f883c9-425f-45e3-9561-0d9c55f15b4a" providerId="ADAL" clId="{03F442BB-6A05-4E5C-9F46-8B7840D1E8EB}" dt="2024-03-08T14:53:52.584" v="1587" actId="478"/>
          <ac:picMkLst>
            <pc:docMk/>
            <pc:sldMk cId="1014935855" sldId="957"/>
            <ac:picMk id="10" creationId="{7306F7F7-0D65-FD3B-C2F8-74867459A9D1}"/>
          </ac:picMkLst>
        </pc:picChg>
      </pc:sldChg>
      <pc:sldChg chg="addSp delSp modSp add mod">
        <pc:chgData name="Inese Dreimane (LV)" userId="22f883c9-425f-45e3-9561-0d9c55f15b4a" providerId="ADAL" clId="{03F442BB-6A05-4E5C-9F46-8B7840D1E8EB}" dt="2024-03-08T14:55:54.109" v="1621"/>
        <pc:sldMkLst>
          <pc:docMk/>
          <pc:sldMk cId="2086181770" sldId="958"/>
        </pc:sldMkLst>
        <pc:spChg chg="add mod">
          <ac:chgData name="Inese Dreimane (LV)" userId="22f883c9-425f-45e3-9561-0d9c55f15b4a" providerId="ADAL" clId="{03F442BB-6A05-4E5C-9F46-8B7840D1E8EB}" dt="2024-03-08T14:55:54.109" v="1621"/>
          <ac:spMkLst>
            <pc:docMk/>
            <pc:sldMk cId="2086181770" sldId="958"/>
            <ac:spMk id="11" creationId="{CE7FEFF2-D72E-88B1-AAE6-2517F20F72F1}"/>
          </ac:spMkLst>
        </pc:spChg>
        <pc:picChg chg="del">
          <ac:chgData name="Inese Dreimane (LV)" userId="22f883c9-425f-45e3-9561-0d9c55f15b4a" providerId="ADAL" clId="{03F442BB-6A05-4E5C-9F46-8B7840D1E8EB}" dt="2024-03-08T14:53:57.979" v="1591" actId="478"/>
          <ac:picMkLst>
            <pc:docMk/>
            <pc:sldMk cId="2086181770" sldId="958"/>
            <ac:picMk id="7" creationId="{F0EA3F29-7534-5D16-8730-7EB925B87D3E}"/>
          </ac:picMkLst>
        </pc:picChg>
        <pc:picChg chg="add mod ord">
          <ac:chgData name="Inese Dreimane (LV)" userId="22f883c9-425f-45e3-9561-0d9c55f15b4a" providerId="ADAL" clId="{03F442BB-6A05-4E5C-9F46-8B7840D1E8EB}" dt="2024-03-08T14:54:36.714" v="1604" actId="167"/>
          <ac:picMkLst>
            <pc:docMk/>
            <pc:sldMk cId="2086181770" sldId="958"/>
            <ac:picMk id="10" creationId="{D9A9EE0A-E32C-EBE9-ADDC-CF7317F21A73}"/>
          </ac:picMkLst>
        </pc:picChg>
      </pc:sldChg>
      <pc:sldChg chg="addSp delSp modSp add mod">
        <pc:chgData name="Inese Dreimane (LV)" userId="22f883c9-425f-45e3-9561-0d9c55f15b4a" providerId="ADAL" clId="{03F442BB-6A05-4E5C-9F46-8B7840D1E8EB}" dt="2024-03-08T14:55:50.744" v="1619"/>
        <pc:sldMkLst>
          <pc:docMk/>
          <pc:sldMk cId="1391244758" sldId="959"/>
        </pc:sldMkLst>
        <pc:spChg chg="add mod">
          <ac:chgData name="Inese Dreimane (LV)" userId="22f883c9-425f-45e3-9561-0d9c55f15b4a" providerId="ADAL" clId="{03F442BB-6A05-4E5C-9F46-8B7840D1E8EB}" dt="2024-03-08T14:55:50.744" v="1619"/>
          <ac:spMkLst>
            <pc:docMk/>
            <pc:sldMk cId="1391244758" sldId="959"/>
            <ac:spMk id="6" creationId="{686D4B80-56E5-D13D-8003-B763DAD4E3DD}"/>
          </ac:spMkLst>
        </pc:spChg>
        <pc:picChg chg="add mod ord">
          <ac:chgData name="Inese Dreimane (LV)" userId="22f883c9-425f-45e3-9561-0d9c55f15b4a" providerId="ADAL" clId="{03F442BB-6A05-4E5C-9F46-8B7840D1E8EB}" dt="2024-03-08T14:54:42.923" v="1607" actId="167"/>
          <ac:picMkLst>
            <pc:docMk/>
            <pc:sldMk cId="1391244758" sldId="959"/>
            <ac:picMk id="2" creationId="{6B4CC937-6B70-65C0-140B-A0FD867D01D0}"/>
          </ac:picMkLst>
        </pc:picChg>
        <pc:picChg chg="del">
          <ac:chgData name="Inese Dreimane (LV)" userId="22f883c9-425f-45e3-9561-0d9c55f15b4a" providerId="ADAL" clId="{03F442BB-6A05-4E5C-9F46-8B7840D1E8EB}" dt="2024-03-08T14:54:00.096" v="1593" actId="478"/>
          <ac:picMkLst>
            <pc:docMk/>
            <pc:sldMk cId="1391244758" sldId="959"/>
            <ac:picMk id="10" creationId="{7306F7F7-0D65-FD3B-C2F8-74867459A9D1}"/>
          </ac:picMkLst>
        </pc:picChg>
      </pc:sldChg>
      <pc:sldChg chg="addSp delSp modSp add mod">
        <pc:chgData name="Inese Dreimane (LV)" userId="22f883c9-425f-45e3-9561-0d9c55f15b4a" providerId="ADAL" clId="{03F442BB-6A05-4E5C-9F46-8B7840D1E8EB}" dt="2024-03-08T14:57:44.517" v="1672" actId="167"/>
        <pc:sldMkLst>
          <pc:docMk/>
          <pc:sldMk cId="425128272" sldId="960"/>
        </pc:sldMkLst>
        <pc:spChg chg="add mod ord">
          <ac:chgData name="Inese Dreimane (LV)" userId="22f883c9-425f-45e3-9561-0d9c55f15b4a" providerId="ADAL" clId="{03F442BB-6A05-4E5C-9F46-8B7840D1E8EB}" dt="2024-03-08T14:57:44.517" v="1672" actId="167"/>
          <ac:spMkLst>
            <pc:docMk/>
            <pc:sldMk cId="425128272" sldId="960"/>
            <ac:spMk id="7" creationId="{9C193113-0BD3-4F38-EB05-0C6819F31447}"/>
          </ac:spMkLst>
        </pc:spChg>
        <pc:spChg chg="add del">
          <ac:chgData name="Inese Dreimane (LV)" userId="22f883c9-425f-45e3-9561-0d9c55f15b4a" providerId="ADAL" clId="{03F442BB-6A05-4E5C-9F46-8B7840D1E8EB}" dt="2024-03-08T14:57:11.257" v="1662" actId="478"/>
          <ac:spMkLst>
            <pc:docMk/>
            <pc:sldMk cId="425128272" sldId="960"/>
            <ac:spMk id="42" creationId="{50830596-224D-A11D-D251-21B0CA3EB02E}"/>
          </ac:spMkLst>
        </pc:spChg>
        <pc:picChg chg="add mod">
          <ac:chgData name="Inese Dreimane (LV)" userId="22f883c9-425f-45e3-9561-0d9c55f15b4a" providerId="ADAL" clId="{03F442BB-6A05-4E5C-9F46-8B7840D1E8EB}" dt="2024-03-08T14:57:21.115" v="1665" actId="1076"/>
          <ac:picMkLst>
            <pc:docMk/>
            <pc:sldMk cId="425128272" sldId="960"/>
            <ac:picMk id="5" creationId="{4BC4D78B-9D02-BE32-A038-0B14BEF8131F}"/>
          </ac:picMkLst>
        </pc:picChg>
        <pc:picChg chg="del">
          <ac:chgData name="Inese Dreimane (LV)" userId="22f883c9-425f-45e3-9561-0d9c55f15b4a" providerId="ADAL" clId="{03F442BB-6A05-4E5C-9F46-8B7840D1E8EB}" dt="2024-03-08T14:57:12.046" v="1663" actId="478"/>
          <ac:picMkLst>
            <pc:docMk/>
            <pc:sldMk cId="425128272" sldId="960"/>
            <ac:picMk id="11" creationId="{9EDE60FF-A01C-B5B3-CA54-65A5D78E733A}"/>
          </ac:picMkLst>
        </pc:picChg>
      </pc:sldChg>
      <pc:sldChg chg="add del">
        <pc:chgData name="Inese Dreimane (LV)" userId="22f883c9-425f-45e3-9561-0d9c55f15b4a" providerId="ADAL" clId="{03F442BB-6A05-4E5C-9F46-8B7840D1E8EB}" dt="2024-03-08T15:20:34.498" v="1703" actId="47"/>
        <pc:sldMkLst>
          <pc:docMk/>
          <pc:sldMk cId="1002093639" sldId="961"/>
        </pc:sldMkLst>
      </pc:sldChg>
      <pc:sldChg chg="add del">
        <pc:chgData name="Inese Dreimane (LV)" userId="22f883c9-425f-45e3-9561-0d9c55f15b4a" providerId="ADAL" clId="{03F442BB-6A05-4E5C-9F46-8B7840D1E8EB}" dt="2024-03-08T15:00:43.335" v="1674" actId="47"/>
        <pc:sldMkLst>
          <pc:docMk/>
          <pc:sldMk cId="1172729344" sldId="961"/>
        </pc:sldMkLst>
      </pc:sldChg>
      <pc:sldChg chg="addSp delSp modSp add mod">
        <pc:chgData name="Inese Dreimane (LV)" userId="22f883c9-425f-45e3-9561-0d9c55f15b4a" providerId="ADAL" clId="{03F442BB-6A05-4E5C-9F46-8B7840D1E8EB}" dt="2024-03-08T15:19:00.667" v="1699" actId="167"/>
        <pc:sldMkLst>
          <pc:docMk/>
          <pc:sldMk cId="1511441995" sldId="962"/>
        </pc:sldMkLst>
        <pc:spChg chg="add mod ord">
          <ac:chgData name="Inese Dreimane (LV)" userId="22f883c9-425f-45e3-9561-0d9c55f15b4a" providerId="ADAL" clId="{03F442BB-6A05-4E5C-9F46-8B7840D1E8EB}" dt="2024-03-08T15:18:58.151" v="1698" actId="167"/>
          <ac:spMkLst>
            <pc:docMk/>
            <pc:sldMk cId="1511441995" sldId="962"/>
            <ac:spMk id="15" creationId="{1F474F60-3635-7E96-8795-61FDE4D2A626}"/>
          </ac:spMkLst>
        </pc:spChg>
        <pc:spChg chg="del">
          <ac:chgData name="Inese Dreimane (LV)" userId="22f883c9-425f-45e3-9561-0d9c55f15b4a" providerId="ADAL" clId="{03F442BB-6A05-4E5C-9F46-8B7840D1E8EB}" dt="2024-03-08T15:18:33.405" v="1689" actId="478"/>
          <ac:spMkLst>
            <pc:docMk/>
            <pc:sldMk cId="1511441995" sldId="962"/>
            <ac:spMk id="42" creationId="{50830596-224D-A11D-D251-21B0CA3EB02E}"/>
          </ac:spMkLst>
        </pc:spChg>
        <pc:picChg chg="add mod ord">
          <ac:chgData name="Inese Dreimane (LV)" userId="22f883c9-425f-45e3-9561-0d9c55f15b4a" providerId="ADAL" clId="{03F442BB-6A05-4E5C-9F46-8B7840D1E8EB}" dt="2024-03-08T15:19:00.667" v="1699" actId="167"/>
          <ac:picMkLst>
            <pc:docMk/>
            <pc:sldMk cId="1511441995" sldId="962"/>
            <ac:picMk id="10" creationId="{CDF7EBDF-19CA-D276-BB47-9679B5970665}"/>
          </ac:picMkLst>
        </pc:picChg>
        <pc:picChg chg="del">
          <ac:chgData name="Inese Dreimane (LV)" userId="22f883c9-425f-45e3-9561-0d9c55f15b4a" providerId="ADAL" clId="{03F442BB-6A05-4E5C-9F46-8B7840D1E8EB}" dt="2024-03-08T15:18:33.982" v="1690" actId="478"/>
          <ac:picMkLst>
            <pc:docMk/>
            <pc:sldMk cId="1511441995" sldId="962"/>
            <ac:picMk id="17" creationId="{73ED1AF9-9993-177B-EE92-2177C3741411}"/>
          </ac:picMkLst>
        </pc:picChg>
      </pc:sldChg>
      <pc:sldChg chg="addSp delSp modSp add mod">
        <pc:chgData name="Inese Dreimane (LV)" userId="22f883c9-425f-45e3-9561-0d9c55f15b4a" providerId="ADAL" clId="{03F442BB-6A05-4E5C-9F46-8B7840D1E8EB}" dt="2024-03-08T15:23:19.782" v="1728" actId="167"/>
        <pc:sldMkLst>
          <pc:docMk/>
          <pc:sldMk cId="4141191697" sldId="963"/>
        </pc:sldMkLst>
        <pc:spChg chg="add mod ord">
          <ac:chgData name="Inese Dreimane (LV)" userId="22f883c9-425f-45e3-9561-0d9c55f15b4a" providerId="ADAL" clId="{03F442BB-6A05-4E5C-9F46-8B7840D1E8EB}" dt="2024-03-08T15:23:18.273" v="1727" actId="167"/>
          <ac:spMkLst>
            <pc:docMk/>
            <pc:sldMk cId="4141191697" sldId="963"/>
            <ac:spMk id="7" creationId="{D301F691-DECC-2DA7-B7DD-3F2AD5A85A17}"/>
          </ac:spMkLst>
        </pc:spChg>
        <pc:spChg chg="del">
          <ac:chgData name="Inese Dreimane (LV)" userId="22f883c9-425f-45e3-9561-0d9c55f15b4a" providerId="ADAL" clId="{03F442BB-6A05-4E5C-9F46-8B7840D1E8EB}" dt="2024-03-08T15:22:45.021" v="1712" actId="478"/>
          <ac:spMkLst>
            <pc:docMk/>
            <pc:sldMk cId="4141191697" sldId="963"/>
            <ac:spMk id="11" creationId="{CE7FEFF2-D72E-88B1-AAE6-2517F20F72F1}"/>
          </ac:spMkLst>
        </pc:spChg>
        <pc:picChg chg="add mod ord">
          <ac:chgData name="Inese Dreimane (LV)" userId="22f883c9-425f-45e3-9561-0d9c55f15b4a" providerId="ADAL" clId="{03F442BB-6A05-4E5C-9F46-8B7840D1E8EB}" dt="2024-03-08T15:23:19.782" v="1728" actId="167"/>
          <ac:picMkLst>
            <pc:docMk/>
            <pc:sldMk cId="4141191697" sldId="963"/>
            <ac:picMk id="5" creationId="{29799492-EA00-9029-E8DF-F6C2EB4468B4}"/>
          </ac:picMkLst>
        </pc:picChg>
        <pc:picChg chg="del">
          <ac:chgData name="Inese Dreimane (LV)" userId="22f883c9-425f-45e3-9561-0d9c55f15b4a" providerId="ADAL" clId="{03F442BB-6A05-4E5C-9F46-8B7840D1E8EB}" dt="2024-03-08T15:22:45.590" v="1713" actId="478"/>
          <ac:picMkLst>
            <pc:docMk/>
            <pc:sldMk cId="4141191697" sldId="963"/>
            <ac:picMk id="10" creationId="{D9A9EE0A-E32C-EBE9-ADDC-CF7317F21A73}"/>
          </ac:picMkLst>
        </pc:picChg>
      </pc:sldChg>
      <pc:sldChg chg="addSp delSp modSp add mod">
        <pc:chgData name="Inese Dreimane (LV)" userId="22f883c9-425f-45e3-9561-0d9c55f15b4a" providerId="ADAL" clId="{03F442BB-6A05-4E5C-9F46-8B7840D1E8EB}" dt="2024-03-08T15:23:27.843" v="1733" actId="167"/>
        <pc:sldMkLst>
          <pc:docMk/>
          <pc:sldMk cId="1785961526" sldId="964"/>
        </pc:sldMkLst>
        <pc:spChg chg="del">
          <ac:chgData name="Inese Dreimane (LV)" userId="22f883c9-425f-45e3-9561-0d9c55f15b4a" providerId="ADAL" clId="{03F442BB-6A05-4E5C-9F46-8B7840D1E8EB}" dt="2024-03-08T15:22:47.829" v="1715" actId="478"/>
          <ac:spMkLst>
            <pc:docMk/>
            <pc:sldMk cId="1785961526" sldId="964"/>
            <ac:spMk id="6" creationId="{686D4B80-56E5-D13D-8003-B763DAD4E3DD}"/>
          </ac:spMkLst>
        </pc:spChg>
        <pc:spChg chg="add mod ord">
          <ac:chgData name="Inese Dreimane (LV)" userId="22f883c9-425f-45e3-9561-0d9c55f15b4a" providerId="ADAL" clId="{03F442BB-6A05-4E5C-9F46-8B7840D1E8EB}" dt="2024-03-08T15:23:26.216" v="1732" actId="167"/>
          <ac:spMkLst>
            <pc:docMk/>
            <pc:sldMk cId="1785961526" sldId="964"/>
            <ac:spMk id="10" creationId="{608520D7-EDD4-93AD-A51B-E10E55BFCDBF}"/>
          </ac:spMkLst>
        </pc:spChg>
        <pc:picChg chg="del">
          <ac:chgData name="Inese Dreimane (LV)" userId="22f883c9-425f-45e3-9561-0d9c55f15b4a" providerId="ADAL" clId="{03F442BB-6A05-4E5C-9F46-8B7840D1E8EB}" dt="2024-03-08T15:22:48.396" v="1716" actId="478"/>
          <ac:picMkLst>
            <pc:docMk/>
            <pc:sldMk cId="1785961526" sldId="964"/>
            <ac:picMk id="2" creationId="{6B4CC937-6B70-65C0-140B-A0FD867D01D0}"/>
          </ac:picMkLst>
        </pc:picChg>
        <pc:picChg chg="add mod ord">
          <ac:chgData name="Inese Dreimane (LV)" userId="22f883c9-425f-45e3-9561-0d9c55f15b4a" providerId="ADAL" clId="{03F442BB-6A05-4E5C-9F46-8B7840D1E8EB}" dt="2024-03-08T15:23:27.843" v="1733" actId="167"/>
          <ac:picMkLst>
            <pc:docMk/>
            <pc:sldMk cId="1785961526" sldId="964"/>
            <ac:picMk id="8" creationId="{542484D8-B92F-3120-2EA3-19BDEF030AC7}"/>
          </ac:picMkLst>
        </pc:picChg>
      </pc:sldChg>
      <pc:sldChg chg="addSp delSp modSp add mod">
        <pc:chgData name="Inese Dreimane (LV)" userId="22f883c9-425f-45e3-9561-0d9c55f15b4a" providerId="ADAL" clId="{03F442BB-6A05-4E5C-9F46-8B7840D1E8EB}" dt="2024-03-08T15:24:26.843" v="1745" actId="14100"/>
        <pc:sldMkLst>
          <pc:docMk/>
          <pc:sldMk cId="3788013194" sldId="965"/>
        </pc:sldMkLst>
        <pc:spChg chg="del">
          <ac:chgData name="Inese Dreimane (LV)" userId="22f883c9-425f-45e3-9561-0d9c55f15b4a" providerId="ADAL" clId="{03F442BB-6A05-4E5C-9F46-8B7840D1E8EB}" dt="2024-03-08T15:23:39.739" v="1737" actId="478"/>
          <ac:spMkLst>
            <pc:docMk/>
            <pc:sldMk cId="3788013194" sldId="965"/>
            <ac:spMk id="7" creationId="{9C193113-0BD3-4F38-EB05-0C6819F31447}"/>
          </ac:spMkLst>
        </pc:spChg>
        <pc:spChg chg="add mod">
          <ac:chgData name="Inese Dreimane (LV)" userId="22f883c9-425f-45e3-9561-0d9c55f15b4a" providerId="ADAL" clId="{03F442BB-6A05-4E5C-9F46-8B7840D1E8EB}" dt="2024-03-08T15:24:26.843" v="1745" actId="14100"/>
          <ac:spMkLst>
            <pc:docMk/>
            <pc:sldMk cId="3788013194" sldId="965"/>
            <ac:spMk id="10" creationId="{E8346CBF-F8C3-C276-4226-3454B5E6E67B}"/>
          </ac:spMkLst>
        </pc:spChg>
        <pc:picChg chg="del">
          <ac:chgData name="Inese Dreimane (LV)" userId="22f883c9-425f-45e3-9561-0d9c55f15b4a" providerId="ADAL" clId="{03F442BB-6A05-4E5C-9F46-8B7840D1E8EB}" dt="2024-03-08T15:23:40.419" v="1738" actId="478"/>
          <ac:picMkLst>
            <pc:docMk/>
            <pc:sldMk cId="3788013194" sldId="965"/>
            <ac:picMk id="5" creationId="{4BC4D78B-9D02-BE32-A038-0B14BEF8131F}"/>
          </ac:picMkLst>
        </pc:picChg>
        <pc:picChg chg="add mod">
          <ac:chgData name="Inese Dreimane (LV)" userId="22f883c9-425f-45e3-9561-0d9c55f15b4a" providerId="ADAL" clId="{03F442BB-6A05-4E5C-9F46-8B7840D1E8EB}" dt="2024-03-08T15:24:13.849" v="1741" actId="14100"/>
          <ac:picMkLst>
            <pc:docMk/>
            <pc:sldMk cId="3788013194" sldId="965"/>
            <ac:picMk id="9" creationId="{D2E02A8B-89F7-A983-F61F-ED4056EF4E32}"/>
          </ac:picMkLst>
        </pc:picChg>
      </pc:sldChg>
      <pc:sldChg chg="addSp delSp modSp add mod">
        <pc:chgData name="Inese Dreimane (LV)" userId="22f883c9-425f-45e3-9561-0d9c55f15b4a" providerId="ADAL" clId="{03F442BB-6A05-4E5C-9F46-8B7840D1E8EB}" dt="2024-03-08T15:27:38.883" v="1770"/>
        <pc:sldMkLst>
          <pc:docMk/>
          <pc:sldMk cId="1812328710" sldId="966"/>
        </pc:sldMkLst>
        <pc:spChg chg="del">
          <ac:chgData name="Inese Dreimane (LV)" userId="22f883c9-425f-45e3-9561-0d9c55f15b4a" providerId="ADAL" clId="{03F442BB-6A05-4E5C-9F46-8B7840D1E8EB}" dt="2024-03-08T15:24:56.563" v="1763" actId="478"/>
          <ac:spMkLst>
            <pc:docMk/>
            <pc:sldMk cId="1812328710" sldId="966"/>
            <ac:spMk id="15" creationId="{1F474F60-3635-7E96-8795-61FDE4D2A626}"/>
          </ac:spMkLst>
        </pc:spChg>
        <pc:spChg chg="add mod">
          <ac:chgData name="Inese Dreimane (LV)" userId="22f883c9-425f-45e3-9561-0d9c55f15b4a" providerId="ADAL" clId="{03F442BB-6A05-4E5C-9F46-8B7840D1E8EB}" dt="2024-03-08T15:27:38.883" v="1770"/>
          <ac:spMkLst>
            <pc:docMk/>
            <pc:sldMk cId="1812328710" sldId="966"/>
            <ac:spMk id="17" creationId="{CFE25C31-2E0D-B821-CD9F-08F679B602F1}"/>
          </ac:spMkLst>
        </pc:spChg>
        <pc:picChg chg="del">
          <ac:chgData name="Inese Dreimane (LV)" userId="22f883c9-425f-45e3-9561-0d9c55f15b4a" providerId="ADAL" clId="{03F442BB-6A05-4E5C-9F46-8B7840D1E8EB}" dt="2024-03-08T15:24:57.407" v="1764" actId="478"/>
          <ac:picMkLst>
            <pc:docMk/>
            <pc:sldMk cId="1812328710" sldId="966"/>
            <ac:picMk id="10" creationId="{CDF7EBDF-19CA-D276-BB47-9679B5970665}"/>
          </ac:picMkLst>
        </pc:picChg>
        <pc:picChg chg="add mod ord">
          <ac:chgData name="Inese Dreimane (LV)" userId="22f883c9-425f-45e3-9561-0d9c55f15b4a" providerId="ADAL" clId="{03F442BB-6A05-4E5C-9F46-8B7840D1E8EB}" dt="2024-03-08T15:27:33.214" v="1767" actId="167"/>
          <ac:picMkLst>
            <pc:docMk/>
            <pc:sldMk cId="1812328710" sldId="966"/>
            <ac:picMk id="16" creationId="{BEC14796-3D14-4E06-C7DF-C8049A12DCC1}"/>
          </ac:picMkLst>
        </pc:picChg>
      </pc:sldChg>
    </pc:docChg>
  </pc:docChgLst>
  <pc:docChgLst>
    <pc:chgData name="Annemarija Apine (LV)" userId="546f5c59-3b8d-47fd-b739-a8fadc631053" providerId="ADAL" clId="{4D36828E-3311-40CE-B559-D4F9700E9CE1}"/>
    <pc:docChg chg="undo custSel modSld replTag">
      <pc:chgData name="Annemarija Apine (LV)" userId="546f5c59-3b8d-47fd-b739-a8fadc631053" providerId="ADAL" clId="{4D36828E-3311-40CE-B559-D4F9700E9CE1}" dt="2024-05-09T20:09:28.784" v="26"/>
      <pc:docMkLst>
        <pc:docMk/>
      </pc:docMkLst>
      <pc:sldChg chg="addSp delSp modSp mod">
        <pc:chgData name="Annemarija Apine (LV)" userId="546f5c59-3b8d-47fd-b739-a8fadc631053" providerId="ADAL" clId="{4D36828E-3311-40CE-B559-D4F9700E9CE1}" dt="2024-05-09T20:09:22.525" v="24" actId="207"/>
        <pc:sldMkLst>
          <pc:docMk/>
          <pc:sldMk cId="817197616" sldId="332"/>
        </pc:sldMkLst>
        <pc:spChg chg="add del mod">
          <ac:chgData name="Annemarija Apine (LV)" userId="546f5c59-3b8d-47fd-b739-a8fadc631053" providerId="ADAL" clId="{4D36828E-3311-40CE-B559-D4F9700E9CE1}" dt="2024-05-09T20:08:45.708" v="15" actId="478"/>
          <ac:spMkLst>
            <pc:docMk/>
            <pc:sldMk cId="817197616" sldId="332"/>
            <ac:spMk id="5" creationId="{C96382F6-4886-AE1D-4E3B-B7A6D20F4B2E}"/>
          </ac:spMkLst>
        </pc:spChg>
        <pc:spChg chg="mod">
          <ac:chgData name="Annemarija Apine (LV)" userId="546f5c59-3b8d-47fd-b739-a8fadc631053" providerId="ADAL" clId="{4D36828E-3311-40CE-B559-D4F9700E9CE1}" dt="2024-05-09T20:09:22.525" v="24" actId="207"/>
          <ac:spMkLst>
            <pc:docMk/>
            <pc:sldMk cId="817197616" sldId="332"/>
            <ac:spMk id="7" creationId="{087A0670-7B05-0F04-BB8E-80FDBC9F6D59}"/>
          </ac:spMkLst>
        </pc:spChg>
        <pc:spChg chg="mod">
          <ac:chgData name="Annemarija Apine (LV)" userId="546f5c59-3b8d-47fd-b739-a8fadc631053" providerId="ADAL" clId="{4D36828E-3311-40CE-B559-D4F9700E9CE1}" dt="2024-05-09T20:09:13.890" v="23" actId="20577"/>
          <ac:spMkLst>
            <pc:docMk/>
            <pc:sldMk cId="817197616" sldId="332"/>
            <ac:spMk id="9" creationId="{9C917BBD-747E-ABCB-3683-E8C68F33230D}"/>
          </ac:spMkLst>
        </pc:spChg>
        <pc:spChg chg="mod">
          <ac:chgData name="Annemarija Apine (LV)" userId="546f5c59-3b8d-47fd-b739-a8fadc631053" providerId="ADAL" clId="{4D36828E-3311-40CE-B559-D4F9700E9CE1}" dt="2024-05-09T20:08:35.768" v="11" actId="14100"/>
          <ac:spMkLst>
            <pc:docMk/>
            <pc:sldMk cId="817197616" sldId="332"/>
            <ac:spMk id="23" creationId="{82B2653B-EFB9-4261-D74B-45F171FB8BD0}"/>
          </ac:spMkLst>
        </pc:spChg>
        <pc:spChg chg="add mod">
          <ac:chgData name="Annemarija Apine (LV)" userId="546f5c59-3b8d-47fd-b739-a8fadc631053" providerId="ADAL" clId="{4D36828E-3311-40CE-B559-D4F9700E9CE1}" dt="2024-05-09T20:08:55.263" v="18" actId="1076"/>
          <ac:spMkLst>
            <pc:docMk/>
            <pc:sldMk cId="817197616" sldId="332"/>
            <ac:spMk id="27" creationId="{4E56288C-5827-FCC2-D7B5-F3182D7FDEE0}"/>
          </ac:spMkLst>
        </pc:spChg>
        <pc:picChg chg="add del mod">
          <ac:chgData name="Annemarija Apine (LV)" userId="546f5c59-3b8d-47fd-b739-a8fadc631053" providerId="ADAL" clId="{4D36828E-3311-40CE-B559-D4F9700E9CE1}" dt="2024-05-09T20:08:06.548" v="3"/>
          <ac:picMkLst>
            <pc:docMk/>
            <pc:sldMk cId="817197616" sldId="332"/>
            <ac:picMk id="3" creationId="{7009BE34-143D-5C7B-907F-FDFE43999D35}"/>
          </ac:picMkLst>
        </pc:picChg>
        <pc:picChg chg="add del mod">
          <ac:chgData name="Annemarija Apine (LV)" userId="546f5c59-3b8d-47fd-b739-a8fadc631053" providerId="ADAL" clId="{4D36828E-3311-40CE-B559-D4F9700E9CE1}" dt="2024-05-09T20:08:06.548" v="3"/>
          <ac:picMkLst>
            <pc:docMk/>
            <pc:sldMk cId="817197616" sldId="332"/>
            <ac:picMk id="8" creationId="{FAFCF0CB-C5DB-94B5-B629-DD735CBA1F33}"/>
          </ac:picMkLst>
        </pc:picChg>
        <pc:picChg chg="add del">
          <ac:chgData name="Annemarija Apine (LV)" userId="546f5c59-3b8d-47fd-b739-a8fadc631053" providerId="ADAL" clId="{4D36828E-3311-40CE-B559-D4F9700E9CE1}" dt="2024-05-09T20:08:12.975" v="7" actId="478"/>
          <ac:picMkLst>
            <pc:docMk/>
            <pc:sldMk cId="817197616" sldId="332"/>
            <ac:picMk id="22" creationId="{25C36F20-0FAA-47F0-980A-D1C8C7D453C3}"/>
          </ac:picMkLst>
        </pc:picChg>
        <pc:picChg chg="add mod">
          <ac:chgData name="Annemarija Apine (LV)" userId="546f5c59-3b8d-47fd-b739-a8fadc631053" providerId="ADAL" clId="{4D36828E-3311-40CE-B559-D4F9700E9CE1}" dt="2024-05-09T20:09:05.849" v="22" actId="1076"/>
          <ac:picMkLst>
            <pc:docMk/>
            <pc:sldMk cId="817197616" sldId="332"/>
            <ac:picMk id="24" creationId="{DD7FB036-F50E-866E-27D7-8D1C7F525956}"/>
          </ac:picMkLst>
        </pc:picChg>
        <pc:picChg chg="add mod">
          <ac:chgData name="Annemarija Apine (LV)" userId="546f5c59-3b8d-47fd-b739-a8fadc631053" providerId="ADAL" clId="{4D36828E-3311-40CE-B559-D4F9700E9CE1}" dt="2024-05-09T20:08:58.904" v="19" actId="1076"/>
          <ac:picMkLst>
            <pc:docMk/>
            <pc:sldMk cId="817197616" sldId="332"/>
            <ac:picMk id="26" creationId="{D80CFE8D-2180-D6E3-BBA8-F0DCE222FE75}"/>
          </ac:picMkLst>
        </pc:picChg>
        <pc:picChg chg="del">
          <ac:chgData name="Annemarija Apine (LV)" userId="546f5c59-3b8d-47fd-b739-a8fadc631053" providerId="ADAL" clId="{4D36828E-3311-40CE-B559-D4F9700E9CE1}" dt="2024-05-09T20:08:10.211" v="6" actId="478"/>
          <ac:picMkLst>
            <pc:docMk/>
            <pc:sldMk cId="817197616" sldId="332"/>
            <ac:picMk id="1028" creationId="{49D69959-2997-0541-EBD2-EA679BB87816}"/>
          </ac:picMkLst>
        </pc:picChg>
      </pc:sldChg>
    </pc:docChg>
  </pc:docChgLst>
  <pc:docChgLst>
    <pc:chgData name="Annemarija Apine (LV)" userId="546f5c59-3b8d-47fd-b739-a8fadc631053" providerId="ADAL" clId="{1152FAFB-594E-4D81-BBEF-423CF8B3AC49}"/>
    <pc:docChg chg="undo custSel addSld delSld modSld replTag">
      <pc:chgData name="Annemarija Apine (LV)" userId="546f5c59-3b8d-47fd-b739-a8fadc631053" providerId="ADAL" clId="{1152FAFB-594E-4D81-BBEF-423CF8B3AC49}" dt="2024-07-08T11:51:38.458" v="2257"/>
      <pc:docMkLst>
        <pc:docMk/>
      </pc:docMkLst>
      <pc:sldChg chg="del">
        <pc:chgData name="Annemarija Apine (LV)" userId="546f5c59-3b8d-47fd-b739-a8fadc631053" providerId="ADAL" clId="{1152FAFB-594E-4D81-BBEF-423CF8B3AC49}" dt="2024-07-08T10:40:43.421" v="50" actId="47"/>
        <pc:sldMkLst>
          <pc:docMk/>
          <pc:sldMk cId="817197616" sldId="332"/>
        </pc:sldMkLst>
      </pc:sldChg>
      <pc:sldChg chg="modSp mod">
        <pc:chgData name="Annemarija Apine (LV)" userId="546f5c59-3b8d-47fd-b739-a8fadc631053" providerId="ADAL" clId="{1152FAFB-594E-4D81-BBEF-423CF8B3AC49}" dt="2024-07-08T10:43:58.535" v="114" actId="20577"/>
        <pc:sldMkLst>
          <pc:docMk/>
          <pc:sldMk cId="399328488" sldId="450"/>
        </pc:sldMkLst>
        <pc:spChg chg="mod">
          <ac:chgData name="Annemarija Apine (LV)" userId="546f5c59-3b8d-47fd-b739-a8fadc631053" providerId="ADAL" clId="{1152FAFB-594E-4D81-BBEF-423CF8B3AC49}" dt="2024-07-08T10:43:58.535" v="114" actId="20577"/>
          <ac:spMkLst>
            <pc:docMk/>
            <pc:sldMk cId="399328488" sldId="450"/>
            <ac:spMk id="3" creationId="{AAFE076C-9B8C-9BB3-8680-7E4B60DEC21C}"/>
          </ac:spMkLst>
        </pc:spChg>
      </pc:sldChg>
      <pc:sldChg chg="modSp mod">
        <pc:chgData name="Annemarija Apine (LV)" userId="546f5c59-3b8d-47fd-b739-a8fadc631053" providerId="ADAL" clId="{1152FAFB-594E-4D81-BBEF-423CF8B3AC49}" dt="2024-07-08T11:04:23.577" v="639" actId="20577"/>
        <pc:sldMkLst>
          <pc:docMk/>
          <pc:sldMk cId="192098022" sldId="769"/>
        </pc:sldMkLst>
        <pc:spChg chg="mod">
          <ac:chgData name="Annemarija Apine (LV)" userId="546f5c59-3b8d-47fd-b739-a8fadc631053" providerId="ADAL" clId="{1152FAFB-594E-4D81-BBEF-423CF8B3AC49}" dt="2024-07-08T11:04:23.577" v="639" actId="20577"/>
          <ac:spMkLst>
            <pc:docMk/>
            <pc:sldMk cId="192098022" sldId="769"/>
            <ac:spMk id="6" creationId="{2CB3F9F5-858C-1D21-4D13-EAEDABE2E74A}"/>
          </ac:spMkLst>
        </pc:spChg>
      </pc:sldChg>
      <pc:sldChg chg="addSp delSp modSp mod">
        <pc:chgData name="Annemarija Apine (LV)" userId="546f5c59-3b8d-47fd-b739-a8fadc631053" providerId="ADAL" clId="{1152FAFB-594E-4D81-BBEF-423CF8B3AC49}" dt="2024-07-08T10:53:51.081" v="394" actId="20577"/>
        <pc:sldMkLst>
          <pc:docMk/>
          <pc:sldMk cId="2067837237" sldId="899"/>
        </pc:sldMkLst>
        <pc:spChg chg="mod">
          <ac:chgData name="Annemarija Apine (LV)" userId="546f5c59-3b8d-47fd-b739-a8fadc631053" providerId="ADAL" clId="{1152FAFB-594E-4D81-BBEF-423CF8B3AC49}" dt="2024-07-08T10:53:51.081" v="394" actId="20577"/>
          <ac:spMkLst>
            <pc:docMk/>
            <pc:sldMk cId="2067837237" sldId="899"/>
            <ac:spMk id="3" creationId="{02A7C9EB-E60F-E4DD-7BE8-A36BF399BA1F}"/>
          </ac:spMkLst>
        </pc:spChg>
        <pc:spChg chg="add mod">
          <ac:chgData name="Annemarija Apine (LV)" userId="546f5c59-3b8d-47fd-b739-a8fadc631053" providerId="ADAL" clId="{1152FAFB-594E-4D81-BBEF-423CF8B3AC49}" dt="2024-07-08T10:49:50.317" v="265"/>
          <ac:spMkLst>
            <pc:docMk/>
            <pc:sldMk cId="2067837237" sldId="899"/>
            <ac:spMk id="16" creationId="{CE49DFAE-9602-9B51-7F68-1F0676F98EAA}"/>
          </ac:spMkLst>
        </pc:spChg>
        <pc:spChg chg="add mod">
          <ac:chgData name="Annemarija Apine (LV)" userId="546f5c59-3b8d-47fd-b739-a8fadc631053" providerId="ADAL" clId="{1152FAFB-594E-4D81-BBEF-423CF8B3AC49}" dt="2024-07-08T10:49:50.317" v="265"/>
          <ac:spMkLst>
            <pc:docMk/>
            <pc:sldMk cId="2067837237" sldId="899"/>
            <ac:spMk id="17" creationId="{BBD61FA1-53B4-FE96-3144-6BA4D509ED90}"/>
          </ac:spMkLst>
        </pc:spChg>
        <pc:spChg chg="add mod">
          <ac:chgData name="Annemarija Apine (LV)" userId="546f5c59-3b8d-47fd-b739-a8fadc631053" providerId="ADAL" clId="{1152FAFB-594E-4D81-BBEF-423CF8B3AC49}" dt="2024-07-08T10:49:50.317" v="265"/>
          <ac:spMkLst>
            <pc:docMk/>
            <pc:sldMk cId="2067837237" sldId="899"/>
            <ac:spMk id="18" creationId="{505A48E8-31D6-CC00-D638-F5453B1770D2}"/>
          </ac:spMkLst>
        </pc:spChg>
        <pc:spChg chg="add mod">
          <ac:chgData name="Annemarija Apine (LV)" userId="546f5c59-3b8d-47fd-b739-a8fadc631053" providerId="ADAL" clId="{1152FAFB-594E-4D81-BBEF-423CF8B3AC49}" dt="2024-07-08T10:49:50.317" v="265"/>
          <ac:spMkLst>
            <pc:docMk/>
            <pc:sldMk cId="2067837237" sldId="899"/>
            <ac:spMk id="21" creationId="{96D847B4-9689-1456-ACF2-BC9B473BDA59}"/>
          </ac:spMkLst>
        </pc:spChg>
        <pc:spChg chg="add mod">
          <ac:chgData name="Annemarija Apine (LV)" userId="546f5c59-3b8d-47fd-b739-a8fadc631053" providerId="ADAL" clId="{1152FAFB-594E-4D81-BBEF-423CF8B3AC49}" dt="2024-07-08T10:49:50.317" v="265"/>
          <ac:spMkLst>
            <pc:docMk/>
            <pc:sldMk cId="2067837237" sldId="899"/>
            <ac:spMk id="22" creationId="{3CDBF83B-5746-D5D4-544E-C151038D4DE9}"/>
          </ac:spMkLst>
        </pc:spChg>
        <pc:spChg chg="add mod">
          <ac:chgData name="Annemarija Apine (LV)" userId="546f5c59-3b8d-47fd-b739-a8fadc631053" providerId="ADAL" clId="{1152FAFB-594E-4D81-BBEF-423CF8B3AC49}" dt="2024-07-08T10:49:50.317" v="265"/>
          <ac:spMkLst>
            <pc:docMk/>
            <pc:sldMk cId="2067837237" sldId="899"/>
            <ac:spMk id="23" creationId="{EA7DD34B-277F-8DF5-1D1D-40774DE42626}"/>
          </ac:spMkLst>
        </pc:spChg>
        <pc:spChg chg="add mod">
          <ac:chgData name="Annemarija Apine (LV)" userId="546f5c59-3b8d-47fd-b739-a8fadc631053" providerId="ADAL" clId="{1152FAFB-594E-4D81-BBEF-423CF8B3AC49}" dt="2024-07-08T10:49:51.725" v="267"/>
          <ac:spMkLst>
            <pc:docMk/>
            <pc:sldMk cId="2067837237" sldId="899"/>
            <ac:spMk id="32" creationId="{CE49DFAE-9602-9B51-7F68-1F0676F98EAA}"/>
          </ac:spMkLst>
        </pc:spChg>
        <pc:spChg chg="add mod">
          <ac:chgData name="Annemarija Apine (LV)" userId="546f5c59-3b8d-47fd-b739-a8fadc631053" providerId="ADAL" clId="{1152FAFB-594E-4D81-BBEF-423CF8B3AC49}" dt="2024-07-08T10:49:51.725" v="267"/>
          <ac:spMkLst>
            <pc:docMk/>
            <pc:sldMk cId="2067837237" sldId="899"/>
            <ac:spMk id="33" creationId="{BBD61FA1-53B4-FE96-3144-6BA4D509ED90}"/>
          </ac:spMkLst>
        </pc:spChg>
        <pc:spChg chg="add mod">
          <ac:chgData name="Annemarija Apine (LV)" userId="546f5c59-3b8d-47fd-b739-a8fadc631053" providerId="ADAL" clId="{1152FAFB-594E-4D81-BBEF-423CF8B3AC49}" dt="2024-07-08T10:49:51.725" v="267"/>
          <ac:spMkLst>
            <pc:docMk/>
            <pc:sldMk cId="2067837237" sldId="899"/>
            <ac:spMk id="34" creationId="{505A48E8-31D6-CC00-D638-F5453B1770D2}"/>
          </ac:spMkLst>
        </pc:spChg>
        <pc:spChg chg="add mod">
          <ac:chgData name="Annemarija Apine (LV)" userId="546f5c59-3b8d-47fd-b739-a8fadc631053" providerId="ADAL" clId="{1152FAFB-594E-4D81-BBEF-423CF8B3AC49}" dt="2024-07-08T10:49:51.725" v="267"/>
          <ac:spMkLst>
            <pc:docMk/>
            <pc:sldMk cId="2067837237" sldId="899"/>
            <ac:spMk id="35" creationId="{96D847B4-9689-1456-ACF2-BC9B473BDA59}"/>
          </ac:spMkLst>
        </pc:spChg>
        <pc:spChg chg="add mod">
          <ac:chgData name="Annemarija Apine (LV)" userId="546f5c59-3b8d-47fd-b739-a8fadc631053" providerId="ADAL" clId="{1152FAFB-594E-4D81-BBEF-423CF8B3AC49}" dt="2024-07-08T10:49:51.725" v="267"/>
          <ac:spMkLst>
            <pc:docMk/>
            <pc:sldMk cId="2067837237" sldId="899"/>
            <ac:spMk id="57" creationId="{3CDBF83B-5746-D5D4-544E-C151038D4DE9}"/>
          </ac:spMkLst>
        </pc:spChg>
        <pc:spChg chg="add mod">
          <ac:chgData name="Annemarija Apine (LV)" userId="546f5c59-3b8d-47fd-b739-a8fadc631053" providerId="ADAL" clId="{1152FAFB-594E-4D81-BBEF-423CF8B3AC49}" dt="2024-07-08T10:49:51.725" v="267"/>
          <ac:spMkLst>
            <pc:docMk/>
            <pc:sldMk cId="2067837237" sldId="899"/>
            <ac:spMk id="59" creationId="{EA7DD34B-277F-8DF5-1D1D-40774DE42626}"/>
          </ac:spMkLst>
        </pc:spChg>
        <pc:spChg chg="mod">
          <ac:chgData name="Annemarija Apine (LV)" userId="546f5c59-3b8d-47fd-b739-a8fadc631053" providerId="ADAL" clId="{1152FAFB-594E-4D81-BBEF-423CF8B3AC49}" dt="2024-07-08T10:50:24.839" v="271"/>
          <ac:spMkLst>
            <pc:docMk/>
            <pc:sldMk cId="2067837237" sldId="899"/>
            <ac:spMk id="61" creationId="{ACF222CD-50C6-5EBE-0547-FFB11EC6E9DF}"/>
          </ac:spMkLst>
        </pc:spChg>
        <pc:spChg chg="mod">
          <ac:chgData name="Annemarija Apine (LV)" userId="546f5c59-3b8d-47fd-b739-a8fadc631053" providerId="ADAL" clId="{1152FAFB-594E-4D81-BBEF-423CF8B3AC49}" dt="2024-07-08T10:50:38.578" v="308" actId="20577"/>
          <ac:spMkLst>
            <pc:docMk/>
            <pc:sldMk cId="2067837237" sldId="899"/>
            <ac:spMk id="62" creationId="{3D74A51E-7E13-4C0C-A678-0E2A73651736}"/>
          </ac:spMkLst>
        </pc:spChg>
        <pc:spChg chg="mod">
          <ac:chgData name="Annemarija Apine (LV)" userId="546f5c59-3b8d-47fd-b739-a8fadc631053" providerId="ADAL" clId="{1152FAFB-594E-4D81-BBEF-423CF8B3AC49}" dt="2024-07-08T10:50:24.839" v="271"/>
          <ac:spMkLst>
            <pc:docMk/>
            <pc:sldMk cId="2067837237" sldId="899"/>
            <ac:spMk id="63" creationId="{D2D845CA-BC87-CE93-14B3-CEB8B3CB8407}"/>
          </ac:spMkLst>
        </pc:spChg>
        <pc:spChg chg="mod">
          <ac:chgData name="Annemarija Apine (LV)" userId="546f5c59-3b8d-47fd-b739-a8fadc631053" providerId="ADAL" clId="{1152FAFB-594E-4D81-BBEF-423CF8B3AC49}" dt="2024-07-08T10:50:24.839" v="271"/>
          <ac:spMkLst>
            <pc:docMk/>
            <pc:sldMk cId="2067837237" sldId="899"/>
            <ac:spMk id="64" creationId="{2CC9D26E-9E50-A7D6-0663-66DC7B6780C5}"/>
          </ac:spMkLst>
        </pc:spChg>
        <pc:spChg chg="mod">
          <ac:chgData name="Annemarija Apine (LV)" userId="546f5c59-3b8d-47fd-b739-a8fadc631053" providerId="ADAL" clId="{1152FAFB-594E-4D81-BBEF-423CF8B3AC49}" dt="2024-07-08T10:50:24.839" v="271"/>
          <ac:spMkLst>
            <pc:docMk/>
            <pc:sldMk cId="2067837237" sldId="899"/>
            <ac:spMk id="70" creationId="{3C46D012-818D-4B0B-FBDC-2C996018BBB5}"/>
          </ac:spMkLst>
        </pc:spChg>
        <pc:spChg chg="mod">
          <ac:chgData name="Annemarija Apine (LV)" userId="546f5c59-3b8d-47fd-b739-a8fadc631053" providerId="ADAL" clId="{1152FAFB-594E-4D81-BBEF-423CF8B3AC49}" dt="2024-07-08T10:50:24.839" v="271"/>
          <ac:spMkLst>
            <pc:docMk/>
            <pc:sldMk cId="2067837237" sldId="899"/>
            <ac:spMk id="71" creationId="{BAF7EC52-30F7-241F-EC59-C86351F1E908}"/>
          </ac:spMkLst>
        </pc:spChg>
        <pc:grpChg chg="add del">
          <ac:chgData name="Annemarija Apine (LV)" userId="546f5c59-3b8d-47fd-b739-a8fadc631053" providerId="ADAL" clId="{1152FAFB-594E-4D81-BBEF-423CF8B3AC49}" dt="2024-07-08T10:50:24.491" v="270" actId="478"/>
          <ac:grpSpMkLst>
            <pc:docMk/>
            <pc:sldMk cId="2067837237" sldId="899"/>
            <ac:grpSpMk id="12" creationId="{4ADADCC6-9B95-1FB3-8D7C-93920B5CEE2F}"/>
          </ac:grpSpMkLst>
        </pc:grpChg>
        <pc:grpChg chg="add mod">
          <ac:chgData name="Annemarija Apine (LV)" userId="546f5c59-3b8d-47fd-b739-a8fadc631053" providerId="ADAL" clId="{1152FAFB-594E-4D81-BBEF-423CF8B3AC49}" dt="2024-07-08T10:49:50.317" v="265"/>
          <ac:grpSpMkLst>
            <pc:docMk/>
            <pc:sldMk cId="2067837237" sldId="899"/>
            <ac:grpSpMk id="13" creationId="{42EFEEDE-6CBD-2377-66ED-B2064FDA7EAB}"/>
          </ac:grpSpMkLst>
        </pc:grpChg>
        <pc:grpChg chg="add del mod">
          <ac:chgData name="Annemarija Apine (LV)" userId="546f5c59-3b8d-47fd-b739-a8fadc631053" providerId="ADAL" clId="{1152FAFB-594E-4D81-BBEF-423CF8B3AC49}" dt="2024-07-08T10:49:57.714" v="269" actId="478"/>
          <ac:grpSpMkLst>
            <pc:docMk/>
            <pc:sldMk cId="2067837237" sldId="899"/>
            <ac:grpSpMk id="31" creationId="{42EFEEDE-6CBD-2377-66ED-B2064FDA7EAB}"/>
          </ac:grpSpMkLst>
        </pc:grpChg>
        <pc:grpChg chg="add mod">
          <ac:chgData name="Annemarija Apine (LV)" userId="546f5c59-3b8d-47fd-b739-a8fadc631053" providerId="ADAL" clId="{1152FAFB-594E-4D81-BBEF-423CF8B3AC49}" dt="2024-07-08T10:50:24.839" v="271"/>
          <ac:grpSpMkLst>
            <pc:docMk/>
            <pc:sldMk cId="2067837237" sldId="899"/>
            <ac:grpSpMk id="60" creationId="{769A6F32-C8E8-2113-A878-8A86595DE80F}"/>
          </ac:grpSpMkLst>
        </pc:grpChg>
      </pc:sldChg>
      <pc:sldChg chg="addSp delSp modSp mod">
        <pc:chgData name="Annemarija Apine (LV)" userId="546f5c59-3b8d-47fd-b739-a8fadc631053" providerId="ADAL" clId="{1152FAFB-594E-4D81-BBEF-423CF8B3AC49}" dt="2024-07-08T10:54:08.109" v="439" actId="20577"/>
        <pc:sldMkLst>
          <pc:docMk/>
          <pc:sldMk cId="1735191326" sldId="900"/>
        </pc:sldMkLst>
        <pc:spChg chg="mod">
          <ac:chgData name="Annemarija Apine (LV)" userId="546f5c59-3b8d-47fd-b739-a8fadc631053" providerId="ADAL" clId="{1152FAFB-594E-4D81-BBEF-423CF8B3AC49}" dt="2024-07-08T10:54:08.109" v="439" actId="20577"/>
          <ac:spMkLst>
            <pc:docMk/>
            <pc:sldMk cId="1735191326" sldId="900"/>
            <ac:spMk id="2" creationId="{C697EF02-3183-316C-47B1-AAA43503E885}"/>
          </ac:spMkLst>
        </pc:spChg>
        <pc:spChg chg="mod">
          <ac:chgData name="Annemarija Apine (LV)" userId="546f5c59-3b8d-47fd-b739-a8fadc631053" providerId="ADAL" clId="{1152FAFB-594E-4D81-BBEF-423CF8B3AC49}" dt="2024-07-08T10:53:58.269" v="415" actId="20577"/>
          <ac:spMkLst>
            <pc:docMk/>
            <pc:sldMk cId="1735191326" sldId="900"/>
            <ac:spMk id="3" creationId="{02A7C9EB-E60F-E4DD-7BE8-A36BF399BA1F}"/>
          </ac:spMkLst>
        </pc:spChg>
        <pc:spChg chg="mod">
          <ac:chgData name="Annemarija Apine (LV)" userId="546f5c59-3b8d-47fd-b739-a8fadc631053" providerId="ADAL" clId="{1152FAFB-594E-4D81-BBEF-423CF8B3AC49}" dt="2024-07-08T10:50:46.996" v="311"/>
          <ac:spMkLst>
            <pc:docMk/>
            <pc:sldMk cId="1735191326" sldId="900"/>
            <ac:spMk id="15" creationId="{D04D1D11-0D81-7A88-8906-FC420D78DCAD}"/>
          </ac:spMkLst>
        </pc:spChg>
        <pc:spChg chg="mod">
          <ac:chgData name="Annemarija Apine (LV)" userId="546f5c59-3b8d-47fd-b739-a8fadc631053" providerId="ADAL" clId="{1152FAFB-594E-4D81-BBEF-423CF8B3AC49}" dt="2024-07-08T10:50:46.996" v="311"/>
          <ac:spMkLst>
            <pc:docMk/>
            <pc:sldMk cId="1735191326" sldId="900"/>
            <ac:spMk id="18" creationId="{FE719E65-4699-694C-009D-546F7199ADFE}"/>
          </ac:spMkLst>
        </pc:spChg>
        <pc:spChg chg="mod">
          <ac:chgData name="Annemarija Apine (LV)" userId="546f5c59-3b8d-47fd-b739-a8fadc631053" providerId="ADAL" clId="{1152FAFB-594E-4D81-BBEF-423CF8B3AC49}" dt="2024-07-08T10:50:46.996" v="311"/>
          <ac:spMkLst>
            <pc:docMk/>
            <pc:sldMk cId="1735191326" sldId="900"/>
            <ac:spMk id="19" creationId="{978D8494-EFAE-1C61-D7BE-1E43043470C8}"/>
          </ac:spMkLst>
        </pc:spChg>
        <pc:spChg chg="mod">
          <ac:chgData name="Annemarija Apine (LV)" userId="546f5c59-3b8d-47fd-b739-a8fadc631053" providerId="ADAL" clId="{1152FAFB-594E-4D81-BBEF-423CF8B3AC49}" dt="2024-07-08T10:50:46.996" v="311"/>
          <ac:spMkLst>
            <pc:docMk/>
            <pc:sldMk cId="1735191326" sldId="900"/>
            <ac:spMk id="20" creationId="{A7FCF94A-BCE1-8D4E-625E-5673F826440C}"/>
          </ac:spMkLst>
        </pc:spChg>
        <pc:spChg chg="mod">
          <ac:chgData name="Annemarija Apine (LV)" userId="546f5c59-3b8d-47fd-b739-a8fadc631053" providerId="ADAL" clId="{1152FAFB-594E-4D81-BBEF-423CF8B3AC49}" dt="2024-07-08T10:50:46.996" v="311"/>
          <ac:spMkLst>
            <pc:docMk/>
            <pc:sldMk cId="1735191326" sldId="900"/>
            <ac:spMk id="21" creationId="{8F8786F2-93B7-6E5E-DEB8-E37B0ABABB9F}"/>
          </ac:spMkLst>
        </pc:spChg>
        <pc:spChg chg="mod">
          <ac:chgData name="Annemarija Apine (LV)" userId="546f5c59-3b8d-47fd-b739-a8fadc631053" providerId="ADAL" clId="{1152FAFB-594E-4D81-BBEF-423CF8B3AC49}" dt="2024-07-08T10:50:46.996" v="311"/>
          <ac:spMkLst>
            <pc:docMk/>
            <pc:sldMk cId="1735191326" sldId="900"/>
            <ac:spMk id="22" creationId="{96BD76BC-9B07-8223-F54F-4AB6B34153FD}"/>
          </ac:spMkLst>
        </pc:spChg>
        <pc:grpChg chg="del">
          <ac:chgData name="Annemarija Apine (LV)" userId="546f5c59-3b8d-47fd-b739-a8fadc631053" providerId="ADAL" clId="{1152FAFB-594E-4D81-BBEF-423CF8B3AC49}" dt="2024-07-08T10:50:46.713" v="310" actId="478"/>
          <ac:grpSpMkLst>
            <pc:docMk/>
            <pc:sldMk cId="1735191326" sldId="900"/>
            <ac:grpSpMk id="6" creationId="{0EA7E476-29E3-9792-49D5-75D35CFFB1C5}"/>
          </ac:grpSpMkLst>
        </pc:grpChg>
        <pc:grpChg chg="add mod">
          <ac:chgData name="Annemarija Apine (LV)" userId="546f5c59-3b8d-47fd-b739-a8fadc631053" providerId="ADAL" clId="{1152FAFB-594E-4D81-BBEF-423CF8B3AC49}" dt="2024-07-08T10:50:46.996" v="311"/>
          <ac:grpSpMkLst>
            <pc:docMk/>
            <pc:sldMk cId="1735191326" sldId="900"/>
            <ac:grpSpMk id="14" creationId="{BBDF8F1C-7EDD-A6A2-CA2C-7C5D33D8A44E}"/>
          </ac:grpSpMkLst>
        </pc:grpChg>
      </pc:sldChg>
      <pc:sldChg chg="addSp delSp modSp mod">
        <pc:chgData name="Annemarija Apine (LV)" userId="546f5c59-3b8d-47fd-b739-a8fadc631053" providerId="ADAL" clId="{1152FAFB-594E-4D81-BBEF-423CF8B3AC49}" dt="2024-07-08T10:57:06.832" v="495" actId="20577"/>
        <pc:sldMkLst>
          <pc:docMk/>
          <pc:sldMk cId="3011875620" sldId="903"/>
        </pc:sldMkLst>
        <pc:spChg chg="mod">
          <ac:chgData name="Annemarija Apine (LV)" userId="546f5c59-3b8d-47fd-b739-a8fadc631053" providerId="ADAL" clId="{1152FAFB-594E-4D81-BBEF-423CF8B3AC49}" dt="2024-07-08T10:50:51.842" v="314"/>
          <ac:spMkLst>
            <pc:docMk/>
            <pc:sldMk cId="3011875620" sldId="903"/>
            <ac:spMk id="6" creationId="{18FD1C43-15A6-70A2-F355-9021C8A74188}"/>
          </ac:spMkLst>
        </pc:spChg>
        <pc:spChg chg="mod">
          <ac:chgData name="Annemarija Apine (LV)" userId="546f5c59-3b8d-47fd-b739-a8fadc631053" providerId="ADAL" clId="{1152FAFB-594E-4D81-BBEF-423CF8B3AC49}" dt="2024-07-08T10:50:51.842" v="314"/>
          <ac:spMkLst>
            <pc:docMk/>
            <pc:sldMk cId="3011875620" sldId="903"/>
            <ac:spMk id="12" creationId="{40197796-0460-2D40-FB4F-0F92429071EB}"/>
          </ac:spMkLst>
        </pc:spChg>
        <pc:spChg chg="mod">
          <ac:chgData name="Annemarija Apine (LV)" userId="546f5c59-3b8d-47fd-b739-a8fadc631053" providerId="ADAL" clId="{1152FAFB-594E-4D81-BBEF-423CF8B3AC49}" dt="2024-07-08T10:50:51.842" v="314"/>
          <ac:spMkLst>
            <pc:docMk/>
            <pc:sldMk cId="3011875620" sldId="903"/>
            <ac:spMk id="13" creationId="{3FFFD6BC-CE1F-C179-1F8B-579909A90E1B}"/>
          </ac:spMkLst>
        </pc:spChg>
        <pc:spChg chg="mod">
          <ac:chgData name="Annemarija Apine (LV)" userId="546f5c59-3b8d-47fd-b739-a8fadc631053" providerId="ADAL" clId="{1152FAFB-594E-4D81-BBEF-423CF8B3AC49}" dt="2024-07-08T10:50:51.842" v="314"/>
          <ac:spMkLst>
            <pc:docMk/>
            <pc:sldMk cId="3011875620" sldId="903"/>
            <ac:spMk id="14" creationId="{F6856E64-384D-83F0-7425-131CB6D3C68E}"/>
          </ac:spMkLst>
        </pc:spChg>
        <pc:spChg chg="mod">
          <ac:chgData name="Annemarija Apine (LV)" userId="546f5c59-3b8d-47fd-b739-a8fadc631053" providerId="ADAL" clId="{1152FAFB-594E-4D81-BBEF-423CF8B3AC49}" dt="2024-07-08T10:50:51.842" v="314"/>
          <ac:spMkLst>
            <pc:docMk/>
            <pc:sldMk cId="3011875620" sldId="903"/>
            <ac:spMk id="16" creationId="{A0335284-A03F-247C-BB14-2FFD693413A6}"/>
          </ac:spMkLst>
        </pc:spChg>
        <pc:spChg chg="mod">
          <ac:chgData name="Annemarija Apine (LV)" userId="546f5c59-3b8d-47fd-b739-a8fadc631053" providerId="ADAL" clId="{1152FAFB-594E-4D81-BBEF-423CF8B3AC49}" dt="2024-07-08T10:50:51.842" v="314"/>
          <ac:spMkLst>
            <pc:docMk/>
            <pc:sldMk cId="3011875620" sldId="903"/>
            <ac:spMk id="17" creationId="{6F68A5BB-0DDF-15EE-B5CA-2BA42A8751F9}"/>
          </ac:spMkLst>
        </pc:spChg>
        <pc:spChg chg="mod">
          <ac:chgData name="Annemarija Apine (LV)" userId="546f5c59-3b8d-47fd-b739-a8fadc631053" providerId="ADAL" clId="{1152FAFB-594E-4D81-BBEF-423CF8B3AC49}" dt="2024-07-08T10:54:47.490" v="445" actId="20577"/>
          <ac:spMkLst>
            <pc:docMk/>
            <pc:sldMk cId="3011875620" sldId="903"/>
            <ac:spMk id="25" creationId="{F4EF9CAC-BCB4-3861-ABEC-9E1F2B71AD96}"/>
          </ac:spMkLst>
        </pc:spChg>
        <pc:spChg chg="mod">
          <ac:chgData name="Annemarija Apine (LV)" userId="546f5c59-3b8d-47fd-b739-a8fadc631053" providerId="ADAL" clId="{1152FAFB-594E-4D81-BBEF-423CF8B3AC49}" dt="2024-07-08T10:55:05.521" v="474" actId="20577"/>
          <ac:spMkLst>
            <pc:docMk/>
            <pc:sldMk cId="3011875620" sldId="903"/>
            <ac:spMk id="34" creationId="{48C56B3B-5C0E-89A6-1595-B0C15560EB71}"/>
          </ac:spMkLst>
        </pc:spChg>
        <pc:spChg chg="mod">
          <ac:chgData name="Annemarija Apine (LV)" userId="546f5c59-3b8d-47fd-b739-a8fadc631053" providerId="ADAL" clId="{1152FAFB-594E-4D81-BBEF-423CF8B3AC49}" dt="2024-07-08T10:57:06.832" v="495" actId="20577"/>
          <ac:spMkLst>
            <pc:docMk/>
            <pc:sldMk cId="3011875620" sldId="903"/>
            <ac:spMk id="38" creationId="{ADCF57E4-22C5-26F3-DA4D-7482BC480F36}"/>
          </ac:spMkLst>
        </pc:spChg>
        <pc:grpChg chg="add mod">
          <ac:chgData name="Annemarija Apine (LV)" userId="546f5c59-3b8d-47fd-b739-a8fadc631053" providerId="ADAL" clId="{1152FAFB-594E-4D81-BBEF-423CF8B3AC49}" dt="2024-07-08T10:50:51.842" v="314"/>
          <ac:grpSpMkLst>
            <pc:docMk/>
            <pc:sldMk cId="3011875620" sldId="903"/>
            <ac:grpSpMk id="5" creationId="{E8847673-F02F-E3F9-82D9-5317BF01B3A1}"/>
          </ac:grpSpMkLst>
        </pc:grpChg>
        <pc:grpChg chg="del">
          <ac:chgData name="Annemarija Apine (LV)" userId="546f5c59-3b8d-47fd-b739-a8fadc631053" providerId="ADAL" clId="{1152FAFB-594E-4D81-BBEF-423CF8B3AC49}" dt="2024-07-08T10:50:51.523" v="313" actId="478"/>
          <ac:grpSpMkLst>
            <pc:docMk/>
            <pc:sldMk cId="3011875620" sldId="903"/>
            <ac:grpSpMk id="18" creationId="{5DDA4596-31E5-32B2-E305-AAE4E8FF61C2}"/>
          </ac:grpSpMkLst>
        </pc:grpChg>
      </pc:sldChg>
      <pc:sldChg chg="addSp delSp modSp mod modNotes">
        <pc:chgData name="Annemarija Apine (LV)" userId="546f5c59-3b8d-47fd-b739-a8fadc631053" providerId="ADAL" clId="{1152FAFB-594E-4D81-BBEF-423CF8B3AC49}" dt="2024-07-08T11:41:14.778" v="1943" actId="368"/>
        <pc:sldMkLst>
          <pc:docMk/>
          <pc:sldMk cId="795685229" sldId="904"/>
        </pc:sldMkLst>
        <pc:spChg chg="mod">
          <ac:chgData name="Annemarija Apine (LV)" userId="546f5c59-3b8d-47fd-b739-a8fadc631053" providerId="ADAL" clId="{1152FAFB-594E-4D81-BBEF-423CF8B3AC49}" dt="2024-07-08T10:50:57.469" v="317"/>
          <ac:spMkLst>
            <pc:docMk/>
            <pc:sldMk cId="795685229" sldId="904"/>
            <ac:spMk id="16" creationId="{4AB46740-C6B3-420F-46FC-0FB8AF306B6C}"/>
          </ac:spMkLst>
        </pc:spChg>
        <pc:spChg chg="mod">
          <ac:chgData name="Annemarija Apine (LV)" userId="546f5c59-3b8d-47fd-b739-a8fadc631053" providerId="ADAL" clId="{1152FAFB-594E-4D81-BBEF-423CF8B3AC49}" dt="2024-07-08T10:50:57.469" v="317"/>
          <ac:spMkLst>
            <pc:docMk/>
            <pc:sldMk cId="795685229" sldId="904"/>
            <ac:spMk id="17" creationId="{482179B1-87D8-70F8-E724-059A4CAFA2FD}"/>
          </ac:spMkLst>
        </pc:spChg>
        <pc:spChg chg="mod">
          <ac:chgData name="Annemarija Apine (LV)" userId="546f5c59-3b8d-47fd-b739-a8fadc631053" providerId="ADAL" clId="{1152FAFB-594E-4D81-BBEF-423CF8B3AC49}" dt="2024-07-08T10:50:57.469" v="317"/>
          <ac:spMkLst>
            <pc:docMk/>
            <pc:sldMk cId="795685229" sldId="904"/>
            <ac:spMk id="18" creationId="{05E42DE2-C19F-FB4C-C3F7-D74D579B854E}"/>
          </ac:spMkLst>
        </pc:spChg>
        <pc:spChg chg="mod">
          <ac:chgData name="Annemarija Apine (LV)" userId="546f5c59-3b8d-47fd-b739-a8fadc631053" providerId="ADAL" clId="{1152FAFB-594E-4D81-BBEF-423CF8B3AC49}" dt="2024-07-08T10:50:57.469" v="317"/>
          <ac:spMkLst>
            <pc:docMk/>
            <pc:sldMk cId="795685229" sldId="904"/>
            <ac:spMk id="19" creationId="{5C9936EB-320C-75A0-802A-30FB201734E0}"/>
          </ac:spMkLst>
        </pc:spChg>
        <pc:spChg chg="mod">
          <ac:chgData name="Annemarija Apine (LV)" userId="546f5c59-3b8d-47fd-b739-a8fadc631053" providerId="ADAL" clId="{1152FAFB-594E-4D81-BBEF-423CF8B3AC49}" dt="2024-07-08T10:50:57.469" v="317"/>
          <ac:spMkLst>
            <pc:docMk/>
            <pc:sldMk cId="795685229" sldId="904"/>
            <ac:spMk id="20" creationId="{AAA7E66C-D0B6-3CB8-0A70-6D189974520A}"/>
          </ac:spMkLst>
        </pc:spChg>
        <pc:spChg chg="mod">
          <ac:chgData name="Annemarija Apine (LV)" userId="546f5c59-3b8d-47fd-b739-a8fadc631053" providerId="ADAL" clId="{1152FAFB-594E-4D81-BBEF-423CF8B3AC49}" dt="2024-07-08T10:50:57.469" v="317"/>
          <ac:spMkLst>
            <pc:docMk/>
            <pc:sldMk cId="795685229" sldId="904"/>
            <ac:spMk id="21" creationId="{4D060F39-6AFD-9B7D-CD18-0DFD782DAA09}"/>
          </ac:spMkLst>
        </pc:spChg>
        <pc:spChg chg="mod">
          <ac:chgData name="Annemarija Apine (LV)" userId="546f5c59-3b8d-47fd-b739-a8fadc631053" providerId="ADAL" clId="{1152FAFB-594E-4D81-BBEF-423CF8B3AC49}" dt="2024-07-08T10:57:25.498" v="504" actId="20577"/>
          <ac:spMkLst>
            <pc:docMk/>
            <pc:sldMk cId="795685229" sldId="904"/>
            <ac:spMk id="31" creationId="{E2CC0EEE-CAB2-2559-66CC-085D68FA85B6}"/>
          </ac:spMkLst>
        </pc:spChg>
        <pc:spChg chg="mod">
          <ac:chgData name="Annemarija Apine (LV)" userId="546f5c59-3b8d-47fd-b739-a8fadc631053" providerId="ADAL" clId="{1152FAFB-594E-4D81-BBEF-423CF8B3AC49}" dt="2024-07-08T10:57:54.015" v="521" actId="20577"/>
          <ac:spMkLst>
            <pc:docMk/>
            <pc:sldMk cId="795685229" sldId="904"/>
            <ac:spMk id="66" creationId="{CD026E74-0314-F99D-587A-EA39147E7DB9}"/>
          </ac:spMkLst>
        </pc:spChg>
        <pc:spChg chg="mod">
          <ac:chgData name="Annemarija Apine (LV)" userId="546f5c59-3b8d-47fd-b739-a8fadc631053" providerId="ADAL" clId="{1152FAFB-594E-4D81-BBEF-423CF8B3AC49}" dt="2024-07-08T10:57:35.719" v="508" actId="20577"/>
          <ac:spMkLst>
            <pc:docMk/>
            <pc:sldMk cId="795685229" sldId="904"/>
            <ac:spMk id="125" creationId="{1734212E-2EA2-B135-55B3-866F1CF570E1}"/>
          </ac:spMkLst>
        </pc:spChg>
        <pc:grpChg chg="del">
          <ac:chgData name="Annemarija Apine (LV)" userId="546f5c59-3b8d-47fd-b739-a8fadc631053" providerId="ADAL" clId="{1152FAFB-594E-4D81-BBEF-423CF8B3AC49}" dt="2024-07-08T10:50:57.153" v="316" actId="478"/>
          <ac:grpSpMkLst>
            <pc:docMk/>
            <pc:sldMk cId="795685229" sldId="904"/>
            <ac:grpSpMk id="7" creationId="{B281AF39-FB8E-544B-2470-966F287CA871}"/>
          </ac:grpSpMkLst>
        </pc:grpChg>
        <pc:grpChg chg="add mod">
          <ac:chgData name="Annemarija Apine (LV)" userId="546f5c59-3b8d-47fd-b739-a8fadc631053" providerId="ADAL" clId="{1152FAFB-594E-4D81-BBEF-423CF8B3AC49}" dt="2024-07-08T10:50:57.469" v="317"/>
          <ac:grpSpMkLst>
            <pc:docMk/>
            <pc:sldMk cId="795685229" sldId="904"/>
            <ac:grpSpMk id="15" creationId="{68806543-7C71-3D73-ACF4-35CA0964D513}"/>
          </ac:grpSpMkLst>
        </pc:grpChg>
      </pc:sldChg>
      <pc:sldChg chg="addSp delSp modSp mod">
        <pc:chgData name="Annemarija Apine (LV)" userId="546f5c59-3b8d-47fd-b739-a8fadc631053" providerId="ADAL" clId="{1152FAFB-594E-4D81-BBEF-423CF8B3AC49}" dt="2024-07-08T11:01:58.179" v="594" actId="20577"/>
        <pc:sldMkLst>
          <pc:docMk/>
          <pc:sldMk cId="507333055" sldId="905"/>
        </pc:sldMkLst>
        <pc:spChg chg="mod">
          <ac:chgData name="Annemarija Apine (LV)" userId="546f5c59-3b8d-47fd-b739-a8fadc631053" providerId="ADAL" clId="{1152FAFB-594E-4D81-BBEF-423CF8B3AC49}" dt="2024-07-08T10:51:02.069" v="320"/>
          <ac:spMkLst>
            <pc:docMk/>
            <pc:sldMk cId="507333055" sldId="905"/>
            <ac:spMk id="14" creationId="{155A60C7-DC3D-8298-284A-86E8796C415D}"/>
          </ac:spMkLst>
        </pc:spChg>
        <pc:spChg chg="mod">
          <ac:chgData name="Annemarija Apine (LV)" userId="546f5c59-3b8d-47fd-b739-a8fadc631053" providerId="ADAL" clId="{1152FAFB-594E-4D81-BBEF-423CF8B3AC49}" dt="2024-07-08T10:51:02.069" v="320"/>
          <ac:spMkLst>
            <pc:docMk/>
            <pc:sldMk cId="507333055" sldId="905"/>
            <ac:spMk id="15" creationId="{E3E489A1-0EC0-6155-59AA-1814E09D769E}"/>
          </ac:spMkLst>
        </pc:spChg>
        <pc:spChg chg="mod">
          <ac:chgData name="Annemarija Apine (LV)" userId="546f5c59-3b8d-47fd-b739-a8fadc631053" providerId="ADAL" clId="{1152FAFB-594E-4D81-BBEF-423CF8B3AC49}" dt="2024-07-08T10:51:02.069" v="320"/>
          <ac:spMkLst>
            <pc:docMk/>
            <pc:sldMk cId="507333055" sldId="905"/>
            <ac:spMk id="16" creationId="{435FB3F2-F062-D3BF-467E-2BA0847C4CD1}"/>
          </ac:spMkLst>
        </pc:spChg>
        <pc:spChg chg="mod">
          <ac:chgData name="Annemarija Apine (LV)" userId="546f5c59-3b8d-47fd-b739-a8fadc631053" providerId="ADAL" clId="{1152FAFB-594E-4D81-BBEF-423CF8B3AC49}" dt="2024-07-08T10:51:02.069" v="320"/>
          <ac:spMkLst>
            <pc:docMk/>
            <pc:sldMk cId="507333055" sldId="905"/>
            <ac:spMk id="17" creationId="{FFCE4FDE-226B-D948-809E-F95BEAB14EEF}"/>
          </ac:spMkLst>
        </pc:spChg>
        <pc:spChg chg="mod">
          <ac:chgData name="Annemarija Apine (LV)" userId="546f5c59-3b8d-47fd-b739-a8fadc631053" providerId="ADAL" clId="{1152FAFB-594E-4D81-BBEF-423CF8B3AC49}" dt="2024-07-08T10:51:02.069" v="320"/>
          <ac:spMkLst>
            <pc:docMk/>
            <pc:sldMk cId="507333055" sldId="905"/>
            <ac:spMk id="18" creationId="{4C74E6A1-69D4-60F9-9F47-9DE9E3E7E222}"/>
          </ac:spMkLst>
        </pc:spChg>
        <pc:spChg chg="mod">
          <ac:chgData name="Annemarija Apine (LV)" userId="546f5c59-3b8d-47fd-b739-a8fadc631053" providerId="ADAL" clId="{1152FAFB-594E-4D81-BBEF-423CF8B3AC49}" dt="2024-07-08T10:51:02.069" v="320"/>
          <ac:spMkLst>
            <pc:docMk/>
            <pc:sldMk cId="507333055" sldId="905"/>
            <ac:spMk id="19" creationId="{C0F255C5-DDFD-0BA7-A959-A2C9C7E4EF7A}"/>
          </ac:spMkLst>
        </pc:spChg>
        <pc:spChg chg="mod">
          <ac:chgData name="Annemarija Apine (LV)" userId="546f5c59-3b8d-47fd-b739-a8fadc631053" providerId="ADAL" clId="{1152FAFB-594E-4D81-BBEF-423CF8B3AC49}" dt="2024-07-08T11:01:58.179" v="594" actId="20577"/>
          <ac:spMkLst>
            <pc:docMk/>
            <pc:sldMk cId="507333055" sldId="905"/>
            <ac:spMk id="26" creationId="{CAFFDCE5-3051-49DF-AF83-5287E01B7716}"/>
          </ac:spMkLst>
        </pc:spChg>
        <pc:grpChg chg="del">
          <ac:chgData name="Annemarija Apine (LV)" userId="546f5c59-3b8d-47fd-b739-a8fadc631053" providerId="ADAL" clId="{1152FAFB-594E-4D81-BBEF-423CF8B3AC49}" dt="2024-07-08T10:51:01.832" v="319" actId="478"/>
          <ac:grpSpMkLst>
            <pc:docMk/>
            <pc:sldMk cId="507333055" sldId="905"/>
            <ac:grpSpMk id="5" creationId="{867DB3ED-F354-CB8D-E7D8-D9A813EA7CFC}"/>
          </ac:grpSpMkLst>
        </pc:grpChg>
        <pc:grpChg chg="add mod">
          <ac:chgData name="Annemarija Apine (LV)" userId="546f5c59-3b8d-47fd-b739-a8fadc631053" providerId="ADAL" clId="{1152FAFB-594E-4D81-BBEF-423CF8B3AC49}" dt="2024-07-08T10:51:02.069" v="320"/>
          <ac:grpSpMkLst>
            <pc:docMk/>
            <pc:sldMk cId="507333055" sldId="905"/>
            <ac:grpSpMk id="13" creationId="{CFAB965B-95EA-3C0C-E94B-5EB54E540896}"/>
          </ac:grpSpMkLst>
        </pc:grpChg>
      </pc:sldChg>
      <pc:sldChg chg="modSp mod">
        <pc:chgData name="Annemarija Apine (LV)" userId="546f5c59-3b8d-47fd-b739-a8fadc631053" providerId="ADAL" clId="{1152FAFB-594E-4D81-BBEF-423CF8B3AC49}" dt="2024-07-08T10:53:41.800" v="375" actId="20577"/>
        <pc:sldMkLst>
          <pc:docMk/>
          <pc:sldMk cId="1164346809" sldId="906"/>
        </pc:sldMkLst>
        <pc:spChg chg="mod">
          <ac:chgData name="Annemarija Apine (LV)" userId="546f5c59-3b8d-47fd-b739-a8fadc631053" providerId="ADAL" clId="{1152FAFB-594E-4D81-BBEF-423CF8B3AC49}" dt="2024-07-08T10:48:30.844" v="231" actId="20577"/>
          <ac:spMkLst>
            <pc:docMk/>
            <pc:sldMk cId="1164346809" sldId="906"/>
            <ac:spMk id="3" creationId="{686732B2-5FB3-221B-0CA8-0EE49D36265B}"/>
          </ac:spMkLst>
        </pc:spChg>
        <pc:spChg chg="mod">
          <ac:chgData name="Annemarija Apine (LV)" userId="546f5c59-3b8d-47fd-b739-a8fadc631053" providerId="ADAL" clId="{1152FAFB-594E-4D81-BBEF-423CF8B3AC49}" dt="2024-07-08T10:53:41.800" v="375" actId="20577"/>
          <ac:spMkLst>
            <pc:docMk/>
            <pc:sldMk cId="1164346809" sldId="906"/>
            <ac:spMk id="25" creationId="{D0C17218-A0C6-A96B-4B0D-6C054C03A15C}"/>
          </ac:spMkLst>
        </pc:spChg>
      </pc:sldChg>
      <pc:sldChg chg="modSp mod modNotes">
        <pc:chgData name="Annemarija Apine (LV)" userId="546f5c59-3b8d-47fd-b739-a8fadc631053" providerId="ADAL" clId="{1152FAFB-594E-4D81-BBEF-423CF8B3AC49}" dt="2024-07-08T11:41:14.785" v="1945" actId="368"/>
        <pc:sldMkLst>
          <pc:docMk/>
          <pc:sldMk cId="2300626159" sldId="908"/>
        </pc:sldMkLst>
        <pc:spChg chg="mod">
          <ac:chgData name="Annemarija Apine (LV)" userId="546f5c59-3b8d-47fd-b739-a8fadc631053" providerId="ADAL" clId="{1152FAFB-594E-4D81-BBEF-423CF8B3AC49}" dt="2024-07-08T11:07:47.981" v="767" actId="20577"/>
          <ac:spMkLst>
            <pc:docMk/>
            <pc:sldMk cId="2300626159" sldId="908"/>
            <ac:spMk id="2" creationId="{B3B9B40C-89D0-00A8-E1FD-6C775139BEFB}"/>
          </ac:spMkLst>
        </pc:spChg>
        <pc:spChg chg="mod">
          <ac:chgData name="Annemarija Apine (LV)" userId="546f5c59-3b8d-47fd-b739-a8fadc631053" providerId="ADAL" clId="{1152FAFB-594E-4D81-BBEF-423CF8B3AC49}" dt="2024-07-08T11:08:53.570" v="772"/>
          <ac:spMkLst>
            <pc:docMk/>
            <pc:sldMk cId="2300626159" sldId="908"/>
            <ac:spMk id="3" creationId="{18D846C5-0FE1-0722-5504-7D4D452EA64C}"/>
          </ac:spMkLst>
        </pc:spChg>
        <pc:spChg chg="mod">
          <ac:chgData name="Annemarija Apine (LV)" userId="546f5c59-3b8d-47fd-b739-a8fadc631053" providerId="ADAL" clId="{1152FAFB-594E-4D81-BBEF-423CF8B3AC49}" dt="2024-07-08T11:04:40.754" v="652" actId="20577"/>
          <ac:spMkLst>
            <pc:docMk/>
            <pc:sldMk cId="2300626159" sldId="908"/>
            <ac:spMk id="10" creationId="{C3DFDFF4-18D2-A047-B0B2-4C063F2C571A}"/>
          </ac:spMkLst>
        </pc:spChg>
        <pc:spChg chg="mod">
          <ac:chgData name="Annemarija Apine (LV)" userId="546f5c59-3b8d-47fd-b739-a8fadc631053" providerId="ADAL" clId="{1152FAFB-594E-4D81-BBEF-423CF8B3AC49}" dt="2024-07-08T11:04:49.442" v="661" actId="20577"/>
          <ac:spMkLst>
            <pc:docMk/>
            <pc:sldMk cId="2300626159" sldId="908"/>
            <ac:spMk id="16" creationId="{2AA0056B-1B3F-9647-9399-DD6B5207FA3B}"/>
          </ac:spMkLst>
        </pc:spChg>
        <pc:spChg chg="mod">
          <ac:chgData name="Annemarija Apine (LV)" userId="546f5c59-3b8d-47fd-b739-a8fadc631053" providerId="ADAL" clId="{1152FAFB-594E-4D81-BBEF-423CF8B3AC49}" dt="2024-07-08T11:05:10.252" v="693" actId="20577"/>
          <ac:spMkLst>
            <pc:docMk/>
            <pc:sldMk cId="2300626159" sldId="908"/>
            <ac:spMk id="18" creationId="{E4C5F8F0-E4BD-274A-8190-28583D21E512}"/>
          </ac:spMkLst>
        </pc:spChg>
        <pc:spChg chg="mod">
          <ac:chgData name="Annemarija Apine (LV)" userId="546f5c59-3b8d-47fd-b739-a8fadc631053" providerId="ADAL" clId="{1152FAFB-594E-4D81-BBEF-423CF8B3AC49}" dt="2024-07-08T11:02:45.539" v="610"/>
          <ac:spMkLst>
            <pc:docMk/>
            <pc:sldMk cId="2300626159" sldId="908"/>
            <ac:spMk id="20" creationId="{36C24187-730C-71DC-948E-6236097A3FCE}"/>
          </ac:spMkLst>
        </pc:spChg>
        <pc:spChg chg="mod">
          <ac:chgData name="Annemarija Apine (LV)" userId="546f5c59-3b8d-47fd-b739-a8fadc631053" providerId="ADAL" clId="{1152FAFB-594E-4D81-BBEF-423CF8B3AC49}" dt="2024-07-08T11:05:08.126" v="690" actId="20577"/>
          <ac:spMkLst>
            <pc:docMk/>
            <pc:sldMk cId="2300626159" sldId="908"/>
            <ac:spMk id="23" creationId="{1DFA226E-CAF3-2D42-AC96-11A51BD07541}"/>
          </ac:spMkLst>
        </pc:spChg>
        <pc:spChg chg="mod">
          <ac:chgData name="Annemarija Apine (LV)" userId="546f5c59-3b8d-47fd-b739-a8fadc631053" providerId="ADAL" clId="{1152FAFB-594E-4D81-BBEF-423CF8B3AC49}" dt="2024-07-08T11:06:01.361" v="718" actId="20577"/>
          <ac:spMkLst>
            <pc:docMk/>
            <pc:sldMk cId="2300626159" sldId="908"/>
            <ac:spMk id="24" creationId="{10B15265-346F-0349-AF94-74C872CA65DD}"/>
          </ac:spMkLst>
        </pc:spChg>
        <pc:spChg chg="mod">
          <ac:chgData name="Annemarija Apine (LV)" userId="546f5c59-3b8d-47fd-b739-a8fadc631053" providerId="ADAL" clId="{1152FAFB-594E-4D81-BBEF-423CF8B3AC49}" dt="2024-07-08T11:05:53.745" v="700" actId="20577"/>
          <ac:spMkLst>
            <pc:docMk/>
            <pc:sldMk cId="2300626159" sldId="908"/>
            <ac:spMk id="25" creationId="{73F30B4C-A440-674A-9472-8F1EB39DA9F2}"/>
          </ac:spMkLst>
        </pc:spChg>
        <pc:spChg chg="mod">
          <ac:chgData name="Annemarija Apine (LV)" userId="546f5c59-3b8d-47fd-b739-a8fadc631053" providerId="ADAL" clId="{1152FAFB-594E-4D81-BBEF-423CF8B3AC49}" dt="2024-07-08T11:07:35.043" v="763" actId="947"/>
          <ac:spMkLst>
            <pc:docMk/>
            <pc:sldMk cId="2300626159" sldId="908"/>
            <ac:spMk id="26" creationId="{8B070493-BB90-AA4F-AE2F-427F4E058BD7}"/>
          </ac:spMkLst>
        </pc:spChg>
      </pc:sldChg>
      <pc:sldChg chg="modSp mod">
        <pc:chgData name="Annemarija Apine (LV)" userId="546f5c59-3b8d-47fd-b739-a8fadc631053" providerId="ADAL" clId="{1152FAFB-594E-4D81-BBEF-423CF8B3AC49}" dt="2024-07-08T11:10:04.510" v="858" actId="20577"/>
        <pc:sldMkLst>
          <pc:docMk/>
          <pc:sldMk cId="1764034675" sldId="909"/>
        </pc:sldMkLst>
        <pc:spChg chg="mod">
          <ac:chgData name="Annemarija Apine (LV)" userId="546f5c59-3b8d-47fd-b739-a8fadc631053" providerId="ADAL" clId="{1152FAFB-594E-4D81-BBEF-423CF8B3AC49}" dt="2024-07-08T11:04:01.680" v="614"/>
          <ac:spMkLst>
            <pc:docMk/>
            <pc:sldMk cId="1764034675" sldId="909"/>
            <ac:spMk id="16" creationId="{124C852B-9A5A-2AAD-A717-90130BD385F6}"/>
          </ac:spMkLst>
        </pc:spChg>
        <pc:spChg chg="mod">
          <ac:chgData name="Annemarija Apine (LV)" userId="546f5c59-3b8d-47fd-b739-a8fadc631053" providerId="ADAL" clId="{1152FAFB-594E-4D81-BBEF-423CF8B3AC49}" dt="2024-07-08T11:09:07.702" v="796" actId="20577"/>
          <ac:spMkLst>
            <pc:docMk/>
            <pc:sldMk cId="1764034675" sldId="909"/>
            <ac:spMk id="24" creationId="{239B8622-318D-D173-F478-CF1A7EC16B5E}"/>
          </ac:spMkLst>
        </pc:spChg>
        <pc:spChg chg="mod">
          <ac:chgData name="Annemarija Apine (LV)" userId="546f5c59-3b8d-47fd-b739-a8fadc631053" providerId="ADAL" clId="{1152FAFB-594E-4D81-BBEF-423CF8B3AC49}" dt="2024-07-08T11:09:18.736" v="823" actId="20577"/>
          <ac:spMkLst>
            <pc:docMk/>
            <pc:sldMk cId="1764034675" sldId="909"/>
            <ac:spMk id="28" creationId="{A914D302-8B7D-1F34-FE6F-2FA8E18E28AD}"/>
          </ac:spMkLst>
        </pc:spChg>
        <pc:spChg chg="mod">
          <ac:chgData name="Annemarija Apine (LV)" userId="546f5c59-3b8d-47fd-b739-a8fadc631053" providerId="ADAL" clId="{1152FAFB-594E-4D81-BBEF-423CF8B3AC49}" dt="2024-07-08T11:09:29.072" v="848" actId="20577"/>
          <ac:spMkLst>
            <pc:docMk/>
            <pc:sldMk cId="1764034675" sldId="909"/>
            <ac:spMk id="34" creationId="{2E292E14-80B0-C799-DCA3-1B141B1D2C6D}"/>
          </ac:spMkLst>
        </pc:spChg>
        <pc:spChg chg="mod">
          <ac:chgData name="Annemarija Apine (LV)" userId="546f5c59-3b8d-47fd-b739-a8fadc631053" providerId="ADAL" clId="{1152FAFB-594E-4D81-BBEF-423CF8B3AC49}" dt="2024-07-08T11:10:04.510" v="858" actId="20577"/>
          <ac:spMkLst>
            <pc:docMk/>
            <pc:sldMk cId="1764034675" sldId="909"/>
            <ac:spMk id="40" creationId="{D1B7C728-9ECB-FC52-795D-8049E21F1FC0}"/>
          </ac:spMkLst>
        </pc:spChg>
      </pc:sldChg>
      <pc:sldChg chg="modSp mod">
        <pc:chgData name="Annemarija Apine (LV)" userId="546f5c59-3b8d-47fd-b739-a8fadc631053" providerId="ADAL" clId="{1152FAFB-594E-4D81-BBEF-423CF8B3AC49}" dt="2024-07-08T11:50:33.280" v="2237" actId="20577"/>
        <pc:sldMkLst>
          <pc:docMk/>
          <pc:sldMk cId="2040534611" sldId="911"/>
        </pc:sldMkLst>
        <pc:spChg chg="mod">
          <ac:chgData name="Annemarija Apine (LV)" userId="546f5c59-3b8d-47fd-b739-a8fadc631053" providerId="ADAL" clId="{1152FAFB-594E-4D81-BBEF-423CF8B3AC49}" dt="2024-07-08T11:13:44.567" v="1020" actId="20577"/>
          <ac:spMkLst>
            <pc:docMk/>
            <pc:sldMk cId="2040534611" sldId="911"/>
            <ac:spMk id="3" creationId="{F4CCF02E-F3C4-C376-8F56-61BD85A2E74B}"/>
          </ac:spMkLst>
        </pc:spChg>
        <pc:spChg chg="mod">
          <ac:chgData name="Annemarija Apine (LV)" userId="546f5c59-3b8d-47fd-b739-a8fadc631053" providerId="ADAL" clId="{1152FAFB-594E-4D81-BBEF-423CF8B3AC49}" dt="2024-07-08T11:50:33.280" v="2237" actId="20577"/>
          <ac:spMkLst>
            <pc:docMk/>
            <pc:sldMk cId="2040534611" sldId="911"/>
            <ac:spMk id="22" creationId="{138C1537-B2D2-8CD4-AB9A-7BDF4C5BA5B6}"/>
          </ac:spMkLst>
        </pc:spChg>
        <pc:spChg chg="mod">
          <ac:chgData name="Annemarija Apine (LV)" userId="546f5c59-3b8d-47fd-b739-a8fadc631053" providerId="ADAL" clId="{1152FAFB-594E-4D81-BBEF-423CF8B3AC49}" dt="2024-07-08T11:13:54.646" v="1023"/>
          <ac:spMkLst>
            <pc:docMk/>
            <pc:sldMk cId="2040534611" sldId="911"/>
            <ac:spMk id="37" creationId="{C2CA78DD-F69A-5D59-15A8-FCB689B70AC2}"/>
          </ac:spMkLst>
        </pc:spChg>
        <pc:spChg chg="mod">
          <ac:chgData name="Annemarija Apine (LV)" userId="546f5c59-3b8d-47fd-b739-a8fadc631053" providerId="ADAL" clId="{1152FAFB-594E-4D81-BBEF-423CF8B3AC49}" dt="2024-07-08T11:50:19.838" v="2228" actId="20577"/>
          <ac:spMkLst>
            <pc:docMk/>
            <pc:sldMk cId="2040534611" sldId="911"/>
            <ac:spMk id="39" creationId="{A7A994A1-7F1E-6A81-8CD8-5804507EC70D}"/>
          </ac:spMkLst>
        </pc:spChg>
      </pc:sldChg>
      <pc:sldChg chg="modSp mod">
        <pc:chgData name="Annemarija Apine (LV)" userId="546f5c59-3b8d-47fd-b739-a8fadc631053" providerId="ADAL" clId="{1152FAFB-594E-4D81-BBEF-423CF8B3AC49}" dt="2024-07-08T11:16:46.732" v="1043" actId="947"/>
        <pc:sldMkLst>
          <pc:docMk/>
          <pc:sldMk cId="3429470186" sldId="914"/>
        </pc:sldMkLst>
        <pc:spChg chg="mod">
          <ac:chgData name="Annemarija Apine (LV)" userId="546f5c59-3b8d-47fd-b739-a8fadc631053" providerId="ADAL" clId="{1152FAFB-594E-4D81-BBEF-423CF8B3AC49}" dt="2024-07-08T11:16:46.732" v="1043" actId="947"/>
          <ac:spMkLst>
            <pc:docMk/>
            <pc:sldMk cId="3429470186" sldId="914"/>
            <ac:spMk id="16" creationId="{25A25F16-3DF9-5BEF-8F70-42FAB50A6BCE}"/>
          </ac:spMkLst>
        </pc:spChg>
        <pc:spChg chg="mod">
          <ac:chgData name="Annemarija Apine (LV)" userId="546f5c59-3b8d-47fd-b739-a8fadc631053" providerId="ADAL" clId="{1152FAFB-594E-4D81-BBEF-423CF8B3AC49}" dt="2024-07-08T11:16:04.275" v="1041"/>
          <ac:spMkLst>
            <pc:docMk/>
            <pc:sldMk cId="3429470186" sldId="914"/>
            <ac:spMk id="31" creationId="{3ED63378-9AD4-6F7B-AA83-0757250B3655}"/>
          </ac:spMkLst>
        </pc:spChg>
      </pc:sldChg>
      <pc:sldChg chg="modSp mod modNotes">
        <pc:chgData name="Annemarija Apine (LV)" userId="546f5c59-3b8d-47fd-b739-a8fadc631053" providerId="ADAL" clId="{1152FAFB-594E-4D81-BBEF-423CF8B3AC49}" dt="2024-07-08T11:41:14.803" v="1951" actId="368"/>
        <pc:sldMkLst>
          <pc:docMk/>
          <pc:sldMk cId="1981412866" sldId="915"/>
        </pc:sldMkLst>
        <pc:spChg chg="mod">
          <ac:chgData name="Annemarija Apine (LV)" userId="546f5c59-3b8d-47fd-b739-a8fadc631053" providerId="ADAL" clId="{1152FAFB-594E-4D81-BBEF-423CF8B3AC49}" dt="2024-07-08T11:17:23.564" v="1069" actId="20577"/>
          <ac:spMkLst>
            <pc:docMk/>
            <pc:sldMk cId="1981412866" sldId="915"/>
            <ac:spMk id="40" creationId="{30F089A7-894F-F509-643F-95DAD0568EBA}"/>
          </ac:spMkLst>
        </pc:spChg>
        <pc:spChg chg="mod">
          <ac:chgData name="Annemarija Apine (LV)" userId="546f5c59-3b8d-47fd-b739-a8fadc631053" providerId="ADAL" clId="{1152FAFB-594E-4D81-BBEF-423CF8B3AC49}" dt="2024-07-08T11:17:30.992" v="1074" actId="20577"/>
          <ac:spMkLst>
            <pc:docMk/>
            <pc:sldMk cId="1981412866" sldId="915"/>
            <ac:spMk id="45" creationId="{11C053ED-4F43-3B06-3803-DF09CC3119C2}"/>
          </ac:spMkLst>
        </pc:spChg>
        <pc:spChg chg="mod">
          <ac:chgData name="Annemarija Apine (LV)" userId="546f5c59-3b8d-47fd-b739-a8fadc631053" providerId="ADAL" clId="{1152FAFB-594E-4D81-BBEF-423CF8B3AC49}" dt="2024-07-08T11:18:07.761" v="1096" actId="20577"/>
          <ac:spMkLst>
            <pc:docMk/>
            <pc:sldMk cId="1981412866" sldId="915"/>
            <ac:spMk id="89" creationId="{E536C4EB-5830-A9C6-7E29-F6EF449FF4C7}"/>
          </ac:spMkLst>
        </pc:spChg>
        <pc:spChg chg="mod">
          <ac:chgData name="Annemarija Apine (LV)" userId="546f5c59-3b8d-47fd-b739-a8fadc631053" providerId="ADAL" clId="{1152FAFB-594E-4D81-BBEF-423CF8B3AC49}" dt="2024-07-08T11:18:36.472" v="1129" actId="20577"/>
          <ac:spMkLst>
            <pc:docMk/>
            <pc:sldMk cId="1981412866" sldId="915"/>
            <ac:spMk id="90" creationId="{225CAB37-79D8-77DD-6CFF-B862D382D619}"/>
          </ac:spMkLst>
        </pc:spChg>
      </pc:sldChg>
      <pc:sldChg chg="modSp mod modNotes">
        <pc:chgData name="Annemarija Apine (LV)" userId="546f5c59-3b8d-47fd-b739-a8fadc631053" providerId="ADAL" clId="{1152FAFB-594E-4D81-BBEF-423CF8B3AC49}" dt="2024-07-08T11:41:14.806" v="1953" actId="368"/>
        <pc:sldMkLst>
          <pc:docMk/>
          <pc:sldMk cId="64855802" sldId="916"/>
        </pc:sldMkLst>
        <pc:spChg chg="mod">
          <ac:chgData name="Annemarija Apine (LV)" userId="546f5c59-3b8d-47fd-b739-a8fadc631053" providerId="ADAL" clId="{1152FAFB-594E-4D81-BBEF-423CF8B3AC49}" dt="2024-07-08T11:19:08.863" v="1143" actId="1076"/>
          <ac:spMkLst>
            <pc:docMk/>
            <pc:sldMk cId="64855802" sldId="916"/>
            <ac:spMk id="35" creationId="{432C5712-D5AD-47F7-FC20-0EB40EAFE2D2}"/>
          </ac:spMkLst>
        </pc:spChg>
        <pc:spChg chg="mod">
          <ac:chgData name="Annemarija Apine (LV)" userId="546f5c59-3b8d-47fd-b739-a8fadc631053" providerId="ADAL" clId="{1152FAFB-594E-4D81-BBEF-423CF8B3AC49}" dt="2024-07-08T11:19:39.364" v="1152" actId="947"/>
          <ac:spMkLst>
            <pc:docMk/>
            <pc:sldMk cId="64855802" sldId="916"/>
            <ac:spMk id="43" creationId="{B59B899D-1483-7DB7-884C-1BF5BB66EEF8}"/>
          </ac:spMkLst>
        </pc:spChg>
        <pc:spChg chg="mod">
          <ac:chgData name="Annemarija Apine (LV)" userId="546f5c59-3b8d-47fd-b739-a8fadc631053" providerId="ADAL" clId="{1152FAFB-594E-4D81-BBEF-423CF8B3AC49}" dt="2024-07-08T11:21:08.910" v="1159" actId="20577"/>
          <ac:spMkLst>
            <pc:docMk/>
            <pc:sldMk cId="64855802" sldId="916"/>
            <ac:spMk id="48" creationId="{45C97A8C-D8E3-502E-7F55-E280CB660E7E}"/>
          </ac:spMkLst>
        </pc:spChg>
        <pc:spChg chg="mod">
          <ac:chgData name="Annemarija Apine (LV)" userId="546f5c59-3b8d-47fd-b739-a8fadc631053" providerId="ADAL" clId="{1152FAFB-594E-4D81-BBEF-423CF8B3AC49}" dt="2024-07-08T11:19:01.100" v="1142" actId="20577"/>
          <ac:spMkLst>
            <pc:docMk/>
            <pc:sldMk cId="64855802" sldId="916"/>
            <ac:spMk id="88" creationId="{FAE4F479-75A7-AEA5-4879-7B116D34F1DF}"/>
          </ac:spMkLst>
        </pc:spChg>
      </pc:sldChg>
      <pc:sldChg chg="modSp mod">
        <pc:chgData name="Annemarija Apine (LV)" userId="546f5c59-3b8d-47fd-b739-a8fadc631053" providerId="ADAL" clId="{1152FAFB-594E-4D81-BBEF-423CF8B3AC49}" dt="2024-07-08T11:23:51.962" v="1188" actId="20577"/>
        <pc:sldMkLst>
          <pc:docMk/>
          <pc:sldMk cId="4273639525" sldId="917"/>
        </pc:sldMkLst>
        <pc:spChg chg="mod">
          <ac:chgData name="Annemarija Apine (LV)" userId="546f5c59-3b8d-47fd-b739-a8fadc631053" providerId="ADAL" clId="{1152FAFB-594E-4D81-BBEF-423CF8B3AC49}" dt="2024-07-08T11:23:51.962" v="1188" actId="20577"/>
          <ac:spMkLst>
            <pc:docMk/>
            <pc:sldMk cId="4273639525" sldId="917"/>
            <ac:spMk id="20" creationId="{71A7C7C0-2A0C-7790-FB11-2C935A397516}"/>
          </ac:spMkLst>
        </pc:spChg>
      </pc:sldChg>
      <pc:sldChg chg="modSp mod modNotes">
        <pc:chgData name="Annemarija Apine (LV)" userId="546f5c59-3b8d-47fd-b739-a8fadc631053" providerId="ADAL" clId="{1152FAFB-594E-4D81-BBEF-423CF8B3AC49}" dt="2024-07-08T11:41:14.809" v="1955" actId="368"/>
        <pc:sldMkLst>
          <pc:docMk/>
          <pc:sldMk cId="785221003" sldId="918"/>
        </pc:sldMkLst>
        <pc:spChg chg="mod">
          <ac:chgData name="Annemarija Apine (LV)" userId="546f5c59-3b8d-47fd-b739-a8fadc631053" providerId="ADAL" clId="{1152FAFB-594E-4D81-BBEF-423CF8B3AC49}" dt="2024-07-08T11:21:33.165" v="1169" actId="20577"/>
          <ac:spMkLst>
            <pc:docMk/>
            <pc:sldMk cId="785221003" sldId="918"/>
            <ac:spMk id="56" creationId="{C3C28A52-D275-6E2C-BE22-283C8364819D}"/>
          </ac:spMkLst>
        </pc:spChg>
      </pc:sldChg>
      <pc:sldChg chg="modSp mod">
        <pc:chgData name="Annemarija Apine (LV)" userId="546f5c59-3b8d-47fd-b739-a8fadc631053" providerId="ADAL" clId="{1152FAFB-594E-4D81-BBEF-423CF8B3AC49}" dt="2024-07-08T11:25:04.635" v="1216" actId="20577"/>
        <pc:sldMkLst>
          <pc:docMk/>
          <pc:sldMk cId="2008209705" sldId="919"/>
        </pc:sldMkLst>
        <pc:spChg chg="mod">
          <ac:chgData name="Annemarija Apine (LV)" userId="546f5c59-3b8d-47fd-b739-a8fadc631053" providerId="ADAL" clId="{1152FAFB-594E-4D81-BBEF-423CF8B3AC49}" dt="2024-07-08T11:24:56.054" v="1203" actId="20577"/>
          <ac:spMkLst>
            <pc:docMk/>
            <pc:sldMk cId="2008209705" sldId="919"/>
            <ac:spMk id="12" creationId="{F17E280A-26FF-1631-ADC9-96AE3A637C2C}"/>
          </ac:spMkLst>
        </pc:spChg>
        <pc:spChg chg="mod">
          <ac:chgData name="Annemarija Apine (LV)" userId="546f5c59-3b8d-47fd-b739-a8fadc631053" providerId="ADAL" clId="{1152FAFB-594E-4D81-BBEF-423CF8B3AC49}" dt="2024-07-08T11:25:04.635" v="1216" actId="20577"/>
          <ac:spMkLst>
            <pc:docMk/>
            <pc:sldMk cId="2008209705" sldId="919"/>
            <ac:spMk id="13" creationId="{318FD8EE-145C-CF57-FA8A-2208CA63BD22}"/>
          </ac:spMkLst>
        </pc:spChg>
      </pc:sldChg>
      <pc:sldChg chg="modSp mod">
        <pc:chgData name="Annemarija Apine (LV)" userId="546f5c59-3b8d-47fd-b739-a8fadc631053" providerId="ADAL" clId="{1152FAFB-594E-4D81-BBEF-423CF8B3AC49}" dt="2024-07-08T11:27:07.775" v="1261" actId="20577"/>
        <pc:sldMkLst>
          <pc:docMk/>
          <pc:sldMk cId="2755231185" sldId="920"/>
        </pc:sldMkLst>
        <pc:spChg chg="mod">
          <ac:chgData name="Annemarija Apine (LV)" userId="546f5c59-3b8d-47fd-b739-a8fadc631053" providerId="ADAL" clId="{1152FAFB-594E-4D81-BBEF-423CF8B3AC49}" dt="2024-07-08T11:27:07.775" v="1261" actId="20577"/>
          <ac:spMkLst>
            <pc:docMk/>
            <pc:sldMk cId="2755231185" sldId="920"/>
            <ac:spMk id="16" creationId="{30819613-CE74-49B6-0807-44FDBB81D466}"/>
          </ac:spMkLst>
        </pc:spChg>
      </pc:sldChg>
      <pc:sldChg chg="modSp mod">
        <pc:chgData name="Annemarija Apine (LV)" userId="546f5c59-3b8d-47fd-b739-a8fadc631053" providerId="ADAL" clId="{1152FAFB-594E-4D81-BBEF-423CF8B3AC49}" dt="2024-07-08T11:25:34.186" v="1243" actId="947"/>
        <pc:sldMkLst>
          <pc:docMk/>
          <pc:sldMk cId="1632897735" sldId="921"/>
        </pc:sldMkLst>
        <pc:spChg chg="mod">
          <ac:chgData name="Annemarija Apine (LV)" userId="546f5c59-3b8d-47fd-b739-a8fadc631053" providerId="ADAL" clId="{1152FAFB-594E-4D81-BBEF-423CF8B3AC49}" dt="2024-07-08T11:25:34.186" v="1243" actId="947"/>
          <ac:spMkLst>
            <pc:docMk/>
            <pc:sldMk cId="1632897735" sldId="921"/>
            <ac:spMk id="41" creationId="{A5FCE91E-7750-1062-5437-D153B9C8E110}"/>
          </ac:spMkLst>
        </pc:spChg>
        <pc:spChg chg="mod">
          <ac:chgData name="Annemarija Apine (LV)" userId="546f5c59-3b8d-47fd-b739-a8fadc631053" providerId="ADAL" clId="{1152FAFB-594E-4D81-BBEF-423CF8B3AC49}" dt="2024-07-08T11:25:16.030" v="1242" actId="20577"/>
          <ac:spMkLst>
            <pc:docMk/>
            <pc:sldMk cId="1632897735" sldId="921"/>
            <ac:spMk id="42" creationId="{41F206C0-1514-9A56-1E69-C897346ADB21}"/>
          </ac:spMkLst>
        </pc:spChg>
      </pc:sldChg>
      <pc:sldChg chg="modSp mod modNotes">
        <pc:chgData name="Annemarija Apine (LV)" userId="546f5c59-3b8d-47fd-b739-a8fadc631053" providerId="ADAL" clId="{1152FAFB-594E-4D81-BBEF-423CF8B3AC49}" dt="2024-07-08T11:41:14.817" v="1957" actId="368"/>
        <pc:sldMkLst>
          <pc:docMk/>
          <pc:sldMk cId="3183596888" sldId="922"/>
        </pc:sldMkLst>
        <pc:spChg chg="mod">
          <ac:chgData name="Annemarija Apine (LV)" userId="546f5c59-3b8d-47fd-b739-a8fadc631053" providerId="ADAL" clId="{1152FAFB-594E-4D81-BBEF-423CF8B3AC49}" dt="2024-07-08T11:27:33.723" v="1268" actId="20577"/>
          <ac:spMkLst>
            <pc:docMk/>
            <pc:sldMk cId="3183596888" sldId="922"/>
            <ac:spMk id="3" creationId="{F4CCF02E-F3C4-C376-8F56-61BD85A2E74B}"/>
          </ac:spMkLst>
        </pc:spChg>
        <pc:spChg chg="mod">
          <ac:chgData name="Annemarija Apine (LV)" userId="546f5c59-3b8d-47fd-b739-a8fadc631053" providerId="ADAL" clId="{1152FAFB-594E-4D81-BBEF-423CF8B3AC49}" dt="2024-07-08T11:28:19.860" v="1277" actId="20577"/>
          <ac:spMkLst>
            <pc:docMk/>
            <pc:sldMk cId="3183596888" sldId="922"/>
            <ac:spMk id="32" creationId="{4856FA89-D34A-DD8D-457A-FE1983E9ECD3}"/>
          </ac:spMkLst>
        </pc:spChg>
      </pc:sldChg>
      <pc:sldChg chg="modSp mod">
        <pc:chgData name="Annemarija Apine (LV)" userId="546f5c59-3b8d-47fd-b739-a8fadc631053" providerId="ADAL" clId="{1152FAFB-594E-4D81-BBEF-423CF8B3AC49}" dt="2024-07-08T10:45:46.440" v="142" actId="20577"/>
        <pc:sldMkLst>
          <pc:docMk/>
          <pc:sldMk cId="2333946943" sldId="924"/>
        </pc:sldMkLst>
        <pc:spChg chg="mod">
          <ac:chgData name="Annemarija Apine (LV)" userId="546f5c59-3b8d-47fd-b739-a8fadc631053" providerId="ADAL" clId="{1152FAFB-594E-4D81-BBEF-423CF8B3AC49}" dt="2024-07-08T10:45:13.951" v="132"/>
          <ac:spMkLst>
            <pc:docMk/>
            <pc:sldMk cId="2333946943" sldId="924"/>
            <ac:spMk id="2" creationId="{20E40FBF-934F-95FE-8778-92F849DEC1EA}"/>
          </ac:spMkLst>
        </pc:spChg>
        <pc:spChg chg="mod">
          <ac:chgData name="Annemarija Apine (LV)" userId="546f5c59-3b8d-47fd-b739-a8fadc631053" providerId="ADAL" clId="{1152FAFB-594E-4D81-BBEF-423CF8B3AC49}" dt="2024-07-08T10:45:38.096" v="140"/>
          <ac:spMkLst>
            <pc:docMk/>
            <pc:sldMk cId="2333946943" sldId="924"/>
            <ac:spMk id="3" creationId="{AAFE076C-9B8C-9BB3-8680-7E4B60DEC21C}"/>
          </ac:spMkLst>
        </pc:spChg>
        <pc:spChg chg="mod">
          <ac:chgData name="Annemarija Apine (LV)" userId="546f5c59-3b8d-47fd-b739-a8fadc631053" providerId="ADAL" clId="{1152FAFB-594E-4D81-BBEF-423CF8B3AC49}" dt="2024-07-08T10:45:44.759" v="141" actId="20577"/>
          <ac:spMkLst>
            <pc:docMk/>
            <pc:sldMk cId="2333946943" sldId="924"/>
            <ac:spMk id="7" creationId="{11B054F7-BD3F-CC04-8F9A-A47566ADA21E}"/>
          </ac:spMkLst>
        </pc:spChg>
        <pc:spChg chg="mod">
          <ac:chgData name="Annemarija Apine (LV)" userId="546f5c59-3b8d-47fd-b739-a8fadc631053" providerId="ADAL" clId="{1152FAFB-594E-4D81-BBEF-423CF8B3AC49}" dt="2024-07-08T10:45:06.321" v="129" actId="1037"/>
          <ac:spMkLst>
            <pc:docMk/>
            <pc:sldMk cId="2333946943" sldId="924"/>
            <ac:spMk id="8" creationId="{A2A4EF95-EBC5-2113-75C0-757B07E343F3}"/>
          </ac:spMkLst>
        </pc:spChg>
        <pc:spChg chg="mod">
          <ac:chgData name="Annemarija Apine (LV)" userId="546f5c59-3b8d-47fd-b739-a8fadc631053" providerId="ADAL" clId="{1152FAFB-594E-4D81-BBEF-423CF8B3AC49}" dt="2024-07-08T10:45:46.440" v="142" actId="20577"/>
          <ac:spMkLst>
            <pc:docMk/>
            <pc:sldMk cId="2333946943" sldId="924"/>
            <ac:spMk id="44" creationId="{D451C3AD-BF06-A491-5B76-787F273C0C52}"/>
          </ac:spMkLst>
        </pc:spChg>
      </pc:sldChg>
      <pc:sldChg chg="modSp mod">
        <pc:chgData name="Annemarija Apine (LV)" userId="546f5c59-3b8d-47fd-b739-a8fadc631053" providerId="ADAL" clId="{1152FAFB-594E-4D81-BBEF-423CF8B3AC49}" dt="2024-07-08T11:02:36.694" v="606"/>
        <pc:sldMkLst>
          <pc:docMk/>
          <pc:sldMk cId="76717427" sldId="926"/>
        </pc:sldMkLst>
        <pc:spChg chg="mod">
          <ac:chgData name="Annemarija Apine (LV)" userId="546f5c59-3b8d-47fd-b739-a8fadc631053" providerId="ADAL" clId="{1152FAFB-594E-4D81-BBEF-423CF8B3AC49}" dt="2024-07-08T11:02:36.694" v="606"/>
          <ac:spMkLst>
            <pc:docMk/>
            <pc:sldMk cId="76717427" sldId="926"/>
            <ac:spMk id="2" creationId="{00000000-0000-0000-0000-000000000000}"/>
          </ac:spMkLst>
        </pc:spChg>
      </pc:sldChg>
      <pc:sldChg chg="modSp mod">
        <pc:chgData name="Annemarija Apine (LV)" userId="546f5c59-3b8d-47fd-b739-a8fadc631053" providerId="ADAL" clId="{1152FAFB-594E-4D81-BBEF-423CF8B3AC49}" dt="2024-07-08T10:49:21.950" v="257" actId="20577"/>
        <pc:sldMkLst>
          <pc:docMk/>
          <pc:sldMk cId="4266541344" sldId="927"/>
        </pc:sldMkLst>
        <pc:spChg chg="mod">
          <ac:chgData name="Annemarija Apine (LV)" userId="546f5c59-3b8d-47fd-b739-a8fadc631053" providerId="ADAL" clId="{1152FAFB-594E-4D81-BBEF-423CF8B3AC49}" dt="2024-07-08T10:49:21.950" v="257" actId="20577"/>
          <ac:spMkLst>
            <pc:docMk/>
            <pc:sldMk cId="4266541344" sldId="927"/>
            <ac:spMk id="2" creationId="{00000000-0000-0000-0000-000000000000}"/>
          </ac:spMkLst>
        </pc:spChg>
      </pc:sldChg>
      <pc:sldChg chg="modNotes">
        <pc:chgData name="Annemarija Apine (LV)" userId="546f5c59-3b8d-47fd-b739-a8fadc631053" providerId="ADAL" clId="{1152FAFB-594E-4D81-BBEF-423CF8B3AC49}" dt="2024-07-08T11:41:14.791" v="1947" actId="368"/>
        <pc:sldMkLst>
          <pc:docMk/>
          <pc:sldMk cId="2463822678" sldId="928"/>
        </pc:sldMkLst>
      </pc:sldChg>
      <pc:sldChg chg="modSp mod modNotes">
        <pc:chgData name="Annemarija Apine (LV)" userId="546f5c59-3b8d-47fd-b739-a8fadc631053" providerId="ADAL" clId="{1152FAFB-594E-4D81-BBEF-423CF8B3AC49}" dt="2024-07-08T11:41:14.796" v="1949" actId="368"/>
        <pc:sldMkLst>
          <pc:docMk/>
          <pc:sldMk cId="3431578971" sldId="931"/>
        </pc:sldMkLst>
        <pc:spChg chg="mod">
          <ac:chgData name="Annemarija Apine (LV)" userId="546f5c59-3b8d-47fd-b739-a8fadc631053" providerId="ADAL" clId="{1152FAFB-594E-4D81-BBEF-423CF8B3AC49}" dt="2024-07-08T11:11:28.548" v="899" actId="20577"/>
          <ac:spMkLst>
            <pc:docMk/>
            <pc:sldMk cId="3431578971" sldId="931"/>
            <ac:spMk id="3" creationId="{F4CCF02E-F3C4-C376-8F56-61BD85A2E74B}"/>
          </ac:spMkLst>
        </pc:spChg>
        <pc:spChg chg="mod">
          <ac:chgData name="Annemarija Apine (LV)" userId="546f5c59-3b8d-47fd-b739-a8fadc631053" providerId="ADAL" clId="{1152FAFB-594E-4D81-BBEF-423CF8B3AC49}" dt="2024-07-08T11:11:34.053" v="909" actId="20577"/>
          <ac:spMkLst>
            <pc:docMk/>
            <pc:sldMk cId="3431578971" sldId="931"/>
            <ac:spMk id="51" creationId="{AFEB1935-0849-FFDB-14A2-768E555E2F79}"/>
          </ac:spMkLst>
        </pc:spChg>
        <pc:spChg chg="mod">
          <ac:chgData name="Annemarija Apine (LV)" userId="546f5c59-3b8d-47fd-b739-a8fadc631053" providerId="ADAL" clId="{1152FAFB-594E-4D81-BBEF-423CF8B3AC49}" dt="2024-07-08T11:11:52.684" v="924" actId="20577"/>
          <ac:spMkLst>
            <pc:docMk/>
            <pc:sldMk cId="3431578971" sldId="931"/>
            <ac:spMk id="100" creationId="{6196419E-02BA-D21D-1546-F1EC7C2A2D38}"/>
          </ac:spMkLst>
        </pc:spChg>
        <pc:spChg chg="mod">
          <ac:chgData name="Annemarija Apine (LV)" userId="546f5c59-3b8d-47fd-b739-a8fadc631053" providerId="ADAL" clId="{1152FAFB-594E-4D81-BBEF-423CF8B3AC49}" dt="2024-07-08T11:13:13.130" v="1007" actId="20577"/>
          <ac:spMkLst>
            <pc:docMk/>
            <pc:sldMk cId="3431578971" sldId="931"/>
            <ac:spMk id="107" creationId="{5E4C4BD5-129E-6AAF-672B-2CE5A9EA1809}"/>
          </ac:spMkLst>
        </pc:spChg>
      </pc:sldChg>
      <pc:sldChg chg="modSp mod">
        <pc:chgData name="Annemarija Apine (LV)" userId="546f5c59-3b8d-47fd-b739-a8fadc631053" providerId="ADAL" clId="{1152FAFB-594E-4D81-BBEF-423CF8B3AC49}" dt="2024-07-08T11:29:56.465" v="1304" actId="20577"/>
        <pc:sldMkLst>
          <pc:docMk/>
          <pc:sldMk cId="2630099657" sldId="933"/>
        </pc:sldMkLst>
        <pc:spChg chg="mod">
          <ac:chgData name="Annemarija Apine (LV)" userId="546f5c59-3b8d-47fd-b739-a8fadc631053" providerId="ADAL" clId="{1152FAFB-594E-4D81-BBEF-423CF8B3AC49}" dt="2024-07-08T11:29:23.589" v="1288" actId="20577"/>
          <ac:spMkLst>
            <pc:docMk/>
            <pc:sldMk cId="2630099657" sldId="933"/>
            <ac:spMk id="16" creationId="{30819613-CE74-49B6-0807-44FDBB81D466}"/>
          </ac:spMkLst>
        </pc:spChg>
        <pc:spChg chg="mod">
          <ac:chgData name="Annemarija Apine (LV)" userId="546f5c59-3b8d-47fd-b739-a8fadc631053" providerId="ADAL" clId="{1152FAFB-594E-4D81-BBEF-423CF8B3AC49}" dt="2024-07-08T11:29:39.515" v="1289" actId="20577"/>
          <ac:spMkLst>
            <pc:docMk/>
            <pc:sldMk cId="2630099657" sldId="933"/>
            <ac:spMk id="20" creationId="{BCB0856A-D775-E9B2-A22B-A661D9F8D43C}"/>
          </ac:spMkLst>
        </pc:spChg>
        <pc:spChg chg="mod">
          <ac:chgData name="Annemarija Apine (LV)" userId="546f5c59-3b8d-47fd-b739-a8fadc631053" providerId="ADAL" clId="{1152FAFB-594E-4D81-BBEF-423CF8B3AC49}" dt="2024-07-08T11:29:56.465" v="1304" actId="20577"/>
          <ac:spMkLst>
            <pc:docMk/>
            <pc:sldMk cId="2630099657" sldId="933"/>
            <ac:spMk id="22" creationId="{044C1CE5-09D8-63ED-7E23-4A59A70CC41B}"/>
          </ac:spMkLst>
        </pc:spChg>
        <pc:spChg chg="mod">
          <ac:chgData name="Annemarija Apine (LV)" userId="546f5c59-3b8d-47fd-b739-a8fadc631053" providerId="ADAL" clId="{1152FAFB-594E-4D81-BBEF-423CF8B3AC49}" dt="2024-07-08T11:29:02.908" v="1284" actId="20577"/>
          <ac:spMkLst>
            <pc:docMk/>
            <pc:sldMk cId="2630099657" sldId="933"/>
            <ac:spMk id="36" creationId="{A8F39C25-781C-A7DA-387A-D92FCABEE1F5}"/>
          </ac:spMkLst>
        </pc:spChg>
      </pc:sldChg>
      <pc:sldChg chg="modSp mod">
        <pc:chgData name="Annemarija Apine (LV)" userId="546f5c59-3b8d-47fd-b739-a8fadc631053" providerId="ADAL" clId="{1152FAFB-594E-4D81-BBEF-423CF8B3AC49}" dt="2024-07-08T11:30:37.786" v="1320" actId="20577"/>
        <pc:sldMkLst>
          <pc:docMk/>
          <pc:sldMk cId="2803239078" sldId="935"/>
        </pc:sldMkLst>
        <pc:spChg chg="mod">
          <ac:chgData name="Annemarija Apine (LV)" userId="546f5c59-3b8d-47fd-b739-a8fadc631053" providerId="ADAL" clId="{1152FAFB-594E-4D81-BBEF-423CF8B3AC49}" dt="2024-07-08T11:30:37.786" v="1320" actId="20577"/>
          <ac:spMkLst>
            <pc:docMk/>
            <pc:sldMk cId="2803239078" sldId="935"/>
            <ac:spMk id="16" creationId="{30819613-CE74-49B6-0807-44FDBB81D466}"/>
          </ac:spMkLst>
        </pc:spChg>
      </pc:sldChg>
      <pc:sldChg chg="modSp mod modNotes">
        <pc:chgData name="Annemarija Apine (LV)" userId="546f5c59-3b8d-47fd-b739-a8fadc631053" providerId="ADAL" clId="{1152FAFB-594E-4D81-BBEF-423CF8B3AC49}" dt="2024-07-08T11:41:14.832" v="1961" actId="368"/>
        <pc:sldMkLst>
          <pc:docMk/>
          <pc:sldMk cId="1939332489" sldId="936"/>
        </pc:sldMkLst>
        <pc:spChg chg="mod">
          <ac:chgData name="Annemarija Apine (LV)" userId="546f5c59-3b8d-47fd-b739-a8fadc631053" providerId="ADAL" clId="{1152FAFB-594E-4D81-BBEF-423CF8B3AC49}" dt="2024-07-08T11:32:16.033" v="1393" actId="20577"/>
          <ac:spMkLst>
            <pc:docMk/>
            <pc:sldMk cId="1939332489" sldId="936"/>
            <ac:spMk id="2" creationId="{ECED2237-CB7F-C2CD-11A3-62DC16CCA5B1}"/>
          </ac:spMkLst>
        </pc:spChg>
        <pc:spChg chg="mod">
          <ac:chgData name="Annemarija Apine (LV)" userId="546f5c59-3b8d-47fd-b739-a8fadc631053" providerId="ADAL" clId="{1152FAFB-594E-4D81-BBEF-423CF8B3AC49}" dt="2024-07-08T11:33:30.188" v="1485" actId="20577"/>
          <ac:spMkLst>
            <pc:docMk/>
            <pc:sldMk cId="1939332489" sldId="936"/>
            <ac:spMk id="3" creationId="{F4CCF02E-F3C4-C376-8F56-61BD85A2E74B}"/>
          </ac:spMkLst>
        </pc:spChg>
        <pc:spChg chg="mod">
          <ac:chgData name="Annemarija Apine (LV)" userId="546f5c59-3b8d-47fd-b739-a8fadc631053" providerId="ADAL" clId="{1152FAFB-594E-4D81-BBEF-423CF8B3AC49}" dt="2024-07-08T11:31:49.445" v="1349" actId="20577"/>
          <ac:spMkLst>
            <pc:docMk/>
            <pc:sldMk cId="1939332489" sldId="936"/>
            <ac:spMk id="11" creationId="{ECEF24F5-E26D-2531-E4A1-337E326AC9CB}"/>
          </ac:spMkLst>
        </pc:spChg>
        <pc:spChg chg="mod">
          <ac:chgData name="Annemarija Apine (LV)" userId="546f5c59-3b8d-47fd-b739-a8fadc631053" providerId="ADAL" clId="{1152FAFB-594E-4D81-BBEF-423CF8B3AC49}" dt="2024-07-08T11:32:12.903" v="1392" actId="20577"/>
          <ac:spMkLst>
            <pc:docMk/>
            <pc:sldMk cId="1939332489" sldId="936"/>
            <ac:spMk id="16" creationId="{25A25F16-3DF9-5BEF-8F70-42FAB50A6BCE}"/>
          </ac:spMkLst>
        </pc:spChg>
      </pc:sldChg>
      <pc:sldChg chg="modSp mod modNotes">
        <pc:chgData name="Annemarija Apine (LV)" userId="546f5c59-3b8d-47fd-b739-a8fadc631053" providerId="ADAL" clId="{1152FAFB-594E-4D81-BBEF-423CF8B3AC49}" dt="2024-07-08T11:41:14.829" v="1959" actId="368"/>
        <pc:sldMkLst>
          <pc:docMk/>
          <pc:sldMk cId="1263375755" sldId="937"/>
        </pc:sldMkLst>
        <pc:spChg chg="mod">
          <ac:chgData name="Annemarija Apine (LV)" userId="546f5c59-3b8d-47fd-b739-a8fadc631053" providerId="ADAL" clId="{1152FAFB-594E-4D81-BBEF-423CF8B3AC49}" dt="2024-07-08T11:31:11.182" v="1328" actId="14100"/>
          <ac:spMkLst>
            <pc:docMk/>
            <pc:sldMk cId="1263375755" sldId="937"/>
            <ac:spMk id="3" creationId="{F4CCF02E-F3C4-C376-8F56-61BD85A2E74B}"/>
          </ac:spMkLst>
        </pc:spChg>
      </pc:sldChg>
      <pc:sldChg chg="modSp mod modNotes">
        <pc:chgData name="Annemarija Apine (LV)" userId="546f5c59-3b8d-47fd-b739-a8fadc631053" providerId="ADAL" clId="{1152FAFB-594E-4D81-BBEF-423CF8B3AC49}" dt="2024-07-08T11:41:14.834" v="1963" actId="368"/>
        <pc:sldMkLst>
          <pc:docMk/>
          <pc:sldMk cId="2976985460" sldId="938"/>
        </pc:sldMkLst>
        <pc:spChg chg="mod">
          <ac:chgData name="Annemarija Apine (LV)" userId="546f5c59-3b8d-47fd-b739-a8fadc631053" providerId="ADAL" clId="{1152FAFB-594E-4D81-BBEF-423CF8B3AC49}" dt="2024-07-08T11:33:16.351" v="1460" actId="20577"/>
          <ac:spMkLst>
            <pc:docMk/>
            <pc:sldMk cId="2976985460" sldId="938"/>
            <ac:spMk id="3" creationId="{F4CCF02E-F3C4-C376-8F56-61BD85A2E74B}"/>
          </ac:spMkLst>
        </pc:spChg>
        <pc:spChg chg="mod">
          <ac:chgData name="Annemarija Apine (LV)" userId="546f5c59-3b8d-47fd-b739-a8fadc631053" providerId="ADAL" clId="{1152FAFB-594E-4D81-BBEF-423CF8B3AC49}" dt="2024-07-08T11:33:03.016" v="1457" actId="20577"/>
          <ac:spMkLst>
            <pc:docMk/>
            <pc:sldMk cId="2976985460" sldId="938"/>
            <ac:spMk id="11" creationId="{ECEF24F5-E26D-2531-E4A1-337E326AC9CB}"/>
          </ac:spMkLst>
        </pc:spChg>
      </pc:sldChg>
      <pc:sldChg chg="modSp mod modNotes">
        <pc:chgData name="Annemarija Apine (LV)" userId="546f5c59-3b8d-47fd-b739-a8fadc631053" providerId="ADAL" clId="{1152FAFB-594E-4D81-BBEF-423CF8B3AC49}" dt="2024-07-08T11:41:14.839" v="1965" actId="368"/>
        <pc:sldMkLst>
          <pc:docMk/>
          <pc:sldMk cId="558100583" sldId="939"/>
        </pc:sldMkLst>
        <pc:spChg chg="mod">
          <ac:chgData name="Annemarija Apine (LV)" userId="546f5c59-3b8d-47fd-b739-a8fadc631053" providerId="ADAL" clId="{1152FAFB-594E-4D81-BBEF-423CF8B3AC49}" dt="2024-07-08T11:33:52.837" v="1541" actId="20577"/>
          <ac:spMkLst>
            <pc:docMk/>
            <pc:sldMk cId="558100583" sldId="939"/>
            <ac:spMk id="3" creationId="{F4CCF02E-F3C4-C376-8F56-61BD85A2E74B}"/>
          </ac:spMkLst>
        </pc:spChg>
        <pc:spChg chg="mod">
          <ac:chgData name="Annemarija Apine (LV)" userId="546f5c59-3b8d-47fd-b739-a8fadc631053" providerId="ADAL" clId="{1152FAFB-594E-4D81-BBEF-423CF8B3AC49}" dt="2024-07-08T11:34:13.535" v="1559" actId="20577"/>
          <ac:spMkLst>
            <pc:docMk/>
            <pc:sldMk cId="558100583" sldId="939"/>
            <ac:spMk id="16" creationId="{30819613-CE74-49B6-0807-44FDBB81D466}"/>
          </ac:spMkLst>
        </pc:spChg>
        <pc:spChg chg="mod">
          <ac:chgData name="Annemarija Apine (LV)" userId="546f5c59-3b8d-47fd-b739-a8fadc631053" providerId="ADAL" clId="{1152FAFB-594E-4D81-BBEF-423CF8B3AC49}" dt="2024-07-08T11:35:12.058" v="1648" actId="20577"/>
          <ac:spMkLst>
            <pc:docMk/>
            <pc:sldMk cId="558100583" sldId="939"/>
            <ac:spMk id="22" creationId="{044C1CE5-09D8-63ED-7E23-4A59A70CC41B}"/>
          </ac:spMkLst>
        </pc:spChg>
        <pc:spChg chg="mod">
          <ac:chgData name="Annemarija Apine (LV)" userId="546f5c59-3b8d-47fd-b739-a8fadc631053" providerId="ADAL" clId="{1152FAFB-594E-4D81-BBEF-423CF8B3AC49}" dt="2024-07-08T11:34:05.712" v="1554" actId="20577"/>
          <ac:spMkLst>
            <pc:docMk/>
            <pc:sldMk cId="558100583" sldId="939"/>
            <ac:spMk id="36" creationId="{A8F39C25-781C-A7DA-387A-D92FCABEE1F5}"/>
          </ac:spMkLst>
        </pc:spChg>
        <pc:spChg chg="mod">
          <ac:chgData name="Annemarija Apine (LV)" userId="546f5c59-3b8d-47fd-b739-a8fadc631053" providerId="ADAL" clId="{1152FAFB-594E-4D81-BBEF-423CF8B3AC49}" dt="2024-07-08T11:34:21.126" v="1575" actId="20577"/>
          <ac:spMkLst>
            <pc:docMk/>
            <pc:sldMk cId="558100583" sldId="939"/>
            <ac:spMk id="65" creationId="{293C68F3-9D28-7611-BCD6-FEA45BDD8E56}"/>
          </ac:spMkLst>
        </pc:spChg>
      </pc:sldChg>
      <pc:sldChg chg="modSp mod modNotes">
        <pc:chgData name="Annemarija Apine (LV)" userId="546f5c59-3b8d-47fd-b739-a8fadc631053" providerId="ADAL" clId="{1152FAFB-594E-4D81-BBEF-423CF8B3AC49}" dt="2024-07-08T11:41:14.842" v="1967" actId="368"/>
        <pc:sldMkLst>
          <pc:docMk/>
          <pc:sldMk cId="2169785454" sldId="940"/>
        </pc:sldMkLst>
        <pc:spChg chg="mod">
          <ac:chgData name="Annemarija Apine (LV)" userId="546f5c59-3b8d-47fd-b739-a8fadc631053" providerId="ADAL" clId="{1152FAFB-594E-4D81-BBEF-423CF8B3AC49}" dt="2024-07-08T11:35:22.996" v="1653"/>
          <ac:spMkLst>
            <pc:docMk/>
            <pc:sldMk cId="2169785454" sldId="940"/>
            <ac:spMk id="3" creationId="{F4CCF02E-F3C4-C376-8F56-61BD85A2E74B}"/>
          </ac:spMkLst>
        </pc:spChg>
        <pc:spChg chg="mod">
          <ac:chgData name="Annemarija Apine (LV)" userId="546f5c59-3b8d-47fd-b739-a8fadc631053" providerId="ADAL" clId="{1152FAFB-594E-4D81-BBEF-423CF8B3AC49}" dt="2024-07-08T11:35:47.139" v="1664" actId="20577"/>
          <ac:spMkLst>
            <pc:docMk/>
            <pc:sldMk cId="2169785454" sldId="940"/>
            <ac:spMk id="66" creationId="{176904F0-FFB9-5BAF-13F1-EC5C9104D6E0}"/>
          </ac:spMkLst>
        </pc:spChg>
      </pc:sldChg>
      <pc:sldChg chg="modSp mod">
        <pc:chgData name="Annemarija Apine (LV)" userId="546f5c59-3b8d-47fd-b739-a8fadc631053" providerId="ADAL" clId="{1152FAFB-594E-4D81-BBEF-423CF8B3AC49}" dt="2024-07-08T11:36:10.683" v="1731" actId="6549"/>
        <pc:sldMkLst>
          <pc:docMk/>
          <pc:sldMk cId="4229434319" sldId="941"/>
        </pc:sldMkLst>
        <pc:spChg chg="mod">
          <ac:chgData name="Annemarija Apine (LV)" userId="546f5c59-3b8d-47fd-b739-a8fadc631053" providerId="ADAL" clId="{1152FAFB-594E-4D81-BBEF-423CF8B3AC49}" dt="2024-07-08T11:36:10.683" v="1731" actId="6549"/>
          <ac:spMkLst>
            <pc:docMk/>
            <pc:sldMk cId="4229434319" sldId="941"/>
            <ac:spMk id="3" creationId="{F4CCF02E-F3C4-C376-8F56-61BD85A2E74B}"/>
          </ac:spMkLst>
        </pc:spChg>
      </pc:sldChg>
      <pc:sldChg chg="modSp mod modNotes">
        <pc:chgData name="Annemarija Apine (LV)" userId="546f5c59-3b8d-47fd-b739-a8fadc631053" providerId="ADAL" clId="{1152FAFB-594E-4D81-BBEF-423CF8B3AC49}" dt="2024-07-08T11:41:14.846" v="1969" actId="368"/>
        <pc:sldMkLst>
          <pc:docMk/>
          <pc:sldMk cId="3615584869" sldId="942"/>
        </pc:sldMkLst>
        <pc:spChg chg="mod">
          <ac:chgData name="Annemarija Apine (LV)" userId="546f5c59-3b8d-47fd-b739-a8fadc631053" providerId="ADAL" clId="{1152FAFB-594E-4D81-BBEF-423CF8B3AC49}" dt="2024-07-08T11:37:04.537" v="1771" actId="20577"/>
          <ac:spMkLst>
            <pc:docMk/>
            <pc:sldMk cId="3615584869" sldId="942"/>
            <ac:spMk id="3" creationId="{F4CCF02E-F3C4-C376-8F56-61BD85A2E74B}"/>
          </ac:spMkLst>
        </pc:spChg>
        <pc:spChg chg="mod">
          <ac:chgData name="Annemarija Apine (LV)" userId="546f5c59-3b8d-47fd-b739-a8fadc631053" providerId="ADAL" clId="{1152FAFB-594E-4D81-BBEF-423CF8B3AC49}" dt="2024-07-08T11:37:12.410" v="1783" actId="20577"/>
          <ac:spMkLst>
            <pc:docMk/>
            <pc:sldMk cId="3615584869" sldId="942"/>
            <ac:spMk id="6" creationId="{9FCB5464-71C0-8D26-F8EA-D639E3AD3942}"/>
          </ac:spMkLst>
        </pc:spChg>
        <pc:spChg chg="mod">
          <ac:chgData name="Annemarija Apine (LV)" userId="546f5c59-3b8d-47fd-b739-a8fadc631053" providerId="ADAL" clId="{1152FAFB-594E-4D81-BBEF-423CF8B3AC49}" dt="2024-07-08T11:37:14.485" v="1789" actId="20577"/>
          <ac:spMkLst>
            <pc:docMk/>
            <pc:sldMk cId="3615584869" sldId="942"/>
            <ac:spMk id="12" creationId="{BCD23311-41AD-9807-EF29-568FF837616E}"/>
          </ac:spMkLst>
        </pc:spChg>
        <pc:spChg chg="mod">
          <ac:chgData name="Annemarija Apine (LV)" userId="546f5c59-3b8d-47fd-b739-a8fadc631053" providerId="ADAL" clId="{1152FAFB-594E-4D81-BBEF-423CF8B3AC49}" dt="2024-07-08T11:37:10.422" v="1777" actId="20577"/>
          <ac:spMkLst>
            <pc:docMk/>
            <pc:sldMk cId="3615584869" sldId="942"/>
            <ac:spMk id="36" creationId="{A8F39C25-781C-A7DA-387A-D92FCABEE1F5}"/>
          </ac:spMkLst>
        </pc:spChg>
      </pc:sldChg>
      <pc:sldChg chg="modSp mod">
        <pc:chgData name="Annemarija Apine (LV)" userId="546f5c59-3b8d-47fd-b739-a8fadc631053" providerId="ADAL" clId="{1152FAFB-594E-4D81-BBEF-423CF8B3AC49}" dt="2024-07-08T11:40:48.043" v="1940" actId="20577"/>
        <pc:sldMkLst>
          <pc:docMk/>
          <pc:sldMk cId="2603595337" sldId="945"/>
        </pc:sldMkLst>
        <pc:spChg chg="mod">
          <ac:chgData name="Annemarija Apine (LV)" userId="546f5c59-3b8d-47fd-b739-a8fadc631053" providerId="ADAL" clId="{1152FAFB-594E-4D81-BBEF-423CF8B3AC49}" dt="2024-07-08T11:40:48.043" v="1940" actId="20577"/>
          <ac:spMkLst>
            <pc:docMk/>
            <pc:sldMk cId="2603595337" sldId="945"/>
            <ac:spMk id="6" creationId="{33073C2D-7A64-3891-000E-CBC2D879D3D6}"/>
          </ac:spMkLst>
        </pc:spChg>
        <pc:spChg chg="mod">
          <ac:chgData name="Annemarija Apine (LV)" userId="546f5c59-3b8d-47fd-b739-a8fadc631053" providerId="ADAL" clId="{1152FAFB-594E-4D81-BBEF-423CF8B3AC49}" dt="2024-07-08T11:40:30.341" v="1938" actId="20577"/>
          <ac:spMkLst>
            <pc:docMk/>
            <pc:sldMk cId="2603595337" sldId="945"/>
            <ac:spMk id="8" creationId="{8F84A1C1-A3B2-78F7-2F05-EA937E442831}"/>
          </ac:spMkLst>
        </pc:spChg>
      </pc:sldChg>
      <pc:sldChg chg="modSp mod modNotes">
        <pc:chgData name="Annemarija Apine (LV)" userId="546f5c59-3b8d-47fd-b739-a8fadc631053" providerId="ADAL" clId="{1152FAFB-594E-4D81-BBEF-423CF8B3AC49}" dt="2024-07-08T11:42:27.960" v="2006" actId="20577"/>
        <pc:sldMkLst>
          <pc:docMk/>
          <pc:sldMk cId="3488828484" sldId="946"/>
        </pc:sldMkLst>
        <pc:spChg chg="mod">
          <ac:chgData name="Annemarija Apine (LV)" userId="546f5c59-3b8d-47fd-b739-a8fadc631053" providerId="ADAL" clId="{1152FAFB-594E-4D81-BBEF-423CF8B3AC49}" dt="2024-07-08T11:42:27.960" v="2006" actId="20577"/>
          <ac:spMkLst>
            <pc:docMk/>
            <pc:sldMk cId="3488828484" sldId="946"/>
            <ac:spMk id="51" creationId="{AFEB1935-0849-FFDB-14A2-768E555E2F79}"/>
          </ac:spMkLst>
        </pc:spChg>
        <pc:spChg chg="mod">
          <ac:chgData name="Annemarija Apine (LV)" userId="546f5c59-3b8d-47fd-b739-a8fadc631053" providerId="ADAL" clId="{1152FAFB-594E-4D81-BBEF-423CF8B3AC49}" dt="2024-07-08T11:41:34.485" v="1985" actId="6549"/>
          <ac:spMkLst>
            <pc:docMk/>
            <pc:sldMk cId="3488828484" sldId="946"/>
            <ac:spMk id="94" creationId="{2945AFC3-C832-6045-1DDE-A189FFBEDD95}"/>
          </ac:spMkLst>
        </pc:spChg>
        <pc:spChg chg="mod">
          <ac:chgData name="Annemarija Apine (LV)" userId="546f5c59-3b8d-47fd-b739-a8fadc631053" providerId="ADAL" clId="{1152FAFB-594E-4D81-BBEF-423CF8B3AC49}" dt="2024-07-08T11:42:05.986" v="1995" actId="20577"/>
          <ac:spMkLst>
            <pc:docMk/>
            <pc:sldMk cId="3488828484" sldId="946"/>
            <ac:spMk id="105" creationId="{C73B42A3-EA68-B90F-A6C9-5F7FF93DD187}"/>
          </ac:spMkLst>
        </pc:spChg>
      </pc:sldChg>
      <pc:sldChg chg="modSp mod modNotes">
        <pc:chgData name="Annemarija Apine (LV)" userId="546f5c59-3b8d-47fd-b739-a8fadc631053" providerId="ADAL" clId="{1152FAFB-594E-4D81-BBEF-423CF8B3AC49}" dt="2024-07-08T11:44:29.893" v="2056" actId="948"/>
        <pc:sldMkLst>
          <pc:docMk/>
          <pc:sldMk cId="201777098" sldId="950"/>
        </pc:sldMkLst>
        <pc:spChg chg="mod">
          <ac:chgData name="Annemarija Apine (LV)" userId="546f5c59-3b8d-47fd-b739-a8fadc631053" providerId="ADAL" clId="{1152FAFB-594E-4D81-BBEF-423CF8B3AC49}" dt="2024-07-08T11:42:17.105" v="1998" actId="20577"/>
          <ac:spMkLst>
            <pc:docMk/>
            <pc:sldMk cId="201777098" sldId="950"/>
            <ac:spMk id="3" creationId="{F4CCF02E-F3C4-C376-8F56-61BD85A2E74B}"/>
          </ac:spMkLst>
        </pc:spChg>
        <pc:spChg chg="mod">
          <ac:chgData name="Annemarija Apine (LV)" userId="546f5c59-3b8d-47fd-b739-a8fadc631053" providerId="ADAL" clId="{1152FAFB-594E-4D81-BBEF-423CF8B3AC49}" dt="2024-07-08T11:42:55.110" v="2012" actId="20577"/>
          <ac:spMkLst>
            <pc:docMk/>
            <pc:sldMk cId="201777098" sldId="950"/>
            <ac:spMk id="10" creationId="{117540F8-A58D-7804-1B3D-347E9F3DB635}"/>
          </ac:spMkLst>
        </pc:spChg>
        <pc:spChg chg="mod">
          <ac:chgData name="Annemarija Apine (LV)" userId="546f5c59-3b8d-47fd-b739-a8fadc631053" providerId="ADAL" clId="{1152FAFB-594E-4D81-BBEF-423CF8B3AC49}" dt="2024-07-08T11:42:57.391" v="2013" actId="20577"/>
          <ac:spMkLst>
            <pc:docMk/>
            <pc:sldMk cId="201777098" sldId="950"/>
            <ac:spMk id="11" creationId="{FC6ECF3B-7D0F-5ED4-1023-D069420F907E}"/>
          </ac:spMkLst>
        </pc:spChg>
        <pc:spChg chg="mod">
          <ac:chgData name="Annemarija Apine (LV)" userId="546f5c59-3b8d-47fd-b739-a8fadc631053" providerId="ADAL" clId="{1152FAFB-594E-4D81-BBEF-423CF8B3AC49}" dt="2024-07-08T11:42:59.034" v="2014" actId="20577"/>
          <ac:spMkLst>
            <pc:docMk/>
            <pc:sldMk cId="201777098" sldId="950"/>
            <ac:spMk id="13" creationId="{AF9D086A-BD99-812E-3B8D-AC1D9F9FB376}"/>
          </ac:spMkLst>
        </pc:spChg>
        <pc:spChg chg="mod">
          <ac:chgData name="Annemarija Apine (LV)" userId="546f5c59-3b8d-47fd-b739-a8fadc631053" providerId="ADAL" clId="{1152FAFB-594E-4D81-BBEF-423CF8B3AC49}" dt="2024-07-08T11:43:00.726" v="2015" actId="20577"/>
          <ac:spMkLst>
            <pc:docMk/>
            <pc:sldMk cId="201777098" sldId="950"/>
            <ac:spMk id="14" creationId="{1501B85D-102B-8D13-E6E4-D12AFF7DE72F}"/>
          </ac:spMkLst>
        </pc:spChg>
        <pc:spChg chg="mod">
          <ac:chgData name="Annemarija Apine (LV)" userId="546f5c59-3b8d-47fd-b739-a8fadc631053" providerId="ADAL" clId="{1152FAFB-594E-4D81-BBEF-423CF8B3AC49}" dt="2024-07-08T11:42:32.213" v="2011" actId="20577"/>
          <ac:spMkLst>
            <pc:docMk/>
            <pc:sldMk cId="201777098" sldId="950"/>
            <ac:spMk id="51" creationId="{AFEB1935-0849-FFDB-14A2-768E555E2F79}"/>
          </ac:spMkLst>
        </pc:spChg>
        <pc:spChg chg="mod">
          <ac:chgData name="Annemarija Apine (LV)" userId="546f5c59-3b8d-47fd-b739-a8fadc631053" providerId="ADAL" clId="{1152FAFB-594E-4D81-BBEF-423CF8B3AC49}" dt="2024-07-08T11:44:29.893" v="2056" actId="948"/>
          <ac:spMkLst>
            <pc:docMk/>
            <pc:sldMk cId="201777098" sldId="950"/>
            <ac:spMk id="105" creationId="{C73B42A3-EA68-B90F-A6C9-5F7FF93DD187}"/>
          </ac:spMkLst>
        </pc:spChg>
      </pc:sldChg>
      <pc:sldChg chg="modSp mod">
        <pc:chgData name="Annemarija Apine (LV)" userId="546f5c59-3b8d-47fd-b739-a8fadc631053" providerId="ADAL" clId="{1152FAFB-594E-4D81-BBEF-423CF8B3AC49}" dt="2024-07-08T11:51:38.458" v="2257"/>
        <pc:sldMkLst>
          <pc:docMk/>
          <pc:sldMk cId="1713450018" sldId="952"/>
        </pc:sldMkLst>
        <pc:spChg chg="mod">
          <ac:chgData name="Annemarija Apine (LV)" userId="546f5c59-3b8d-47fd-b739-a8fadc631053" providerId="ADAL" clId="{1152FAFB-594E-4D81-BBEF-423CF8B3AC49}" dt="2024-07-08T11:44:46.704" v="2090" actId="20577"/>
          <ac:spMkLst>
            <pc:docMk/>
            <pc:sldMk cId="1713450018" sldId="952"/>
            <ac:spMk id="4" creationId="{94F88B90-71DF-CB0B-C0DB-103040ABD828}"/>
          </ac:spMkLst>
        </pc:spChg>
        <pc:graphicFrameChg chg="mod modGraphic">
          <ac:chgData name="Annemarija Apine (LV)" userId="546f5c59-3b8d-47fd-b739-a8fadc631053" providerId="ADAL" clId="{1152FAFB-594E-4D81-BBEF-423CF8B3AC49}" dt="2024-07-08T11:51:38.458" v="2257"/>
          <ac:graphicFrameMkLst>
            <pc:docMk/>
            <pc:sldMk cId="1713450018" sldId="952"/>
            <ac:graphicFrameMk id="10" creationId="{DD430830-1913-0D22-CCB5-64EB0C593545}"/>
          </ac:graphicFrameMkLst>
        </pc:graphicFrameChg>
      </pc:sldChg>
      <pc:sldChg chg="modSp mod">
        <pc:chgData name="Annemarija Apine (LV)" userId="546f5c59-3b8d-47fd-b739-a8fadc631053" providerId="ADAL" clId="{1152FAFB-594E-4D81-BBEF-423CF8B3AC49}" dt="2024-07-08T11:44:42.328" v="2076" actId="20577"/>
        <pc:sldMkLst>
          <pc:docMk/>
          <pc:sldMk cId="2937916867" sldId="953"/>
        </pc:sldMkLst>
        <pc:spChg chg="mod">
          <ac:chgData name="Annemarija Apine (LV)" userId="546f5c59-3b8d-47fd-b739-a8fadc631053" providerId="ADAL" clId="{1152FAFB-594E-4D81-BBEF-423CF8B3AC49}" dt="2024-07-08T11:44:42.328" v="2076" actId="20577"/>
          <ac:spMkLst>
            <pc:docMk/>
            <pc:sldMk cId="2937916867" sldId="953"/>
            <ac:spMk id="2" creationId="{00000000-0000-0000-0000-000000000000}"/>
          </ac:spMkLst>
        </pc:spChg>
      </pc:sldChg>
      <pc:sldChg chg="modSp mod">
        <pc:chgData name="Annemarija Apine (LV)" userId="546f5c59-3b8d-47fd-b739-a8fadc631053" providerId="ADAL" clId="{1152FAFB-594E-4D81-BBEF-423CF8B3AC49}" dt="2024-07-08T11:11:12.242" v="888" actId="20577"/>
        <pc:sldMkLst>
          <pc:docMk/>
          <pc:sldMk cId="3292995886" sldId="954"/>
        </pc:sldMkLst>
        <pc:spChg chg="mod">
          <ac:chgData name="Annemarija Apine (LV)" userId="546f5c59-3b8d-47fd-b739-a8fadc631053" providerId="ADAL" clId="{1152FAFB-594E-4D81-BBEF-423CF8B3AC49}" dt="2024-07-08T11:10:19.194" v="875" actId="20577"/>
          <ac:spMkLst>
            <pc:docMk/>
            <pc:sldMk cId="3292995886" sldId="954"/>
            <ac:spMk id="68" creationId="{512F80CF-595E-3A80-F495-3198099BF352}"/>
          </ac:spMkLst>
        </pc:spChg>
        <pc:spChg chg="mod">
          <ac:chgData name="Annemarija Apine (LV)" userId="546f5c59-3b8d-47fd-b739-a8fadc631053" providerId="ADAL" clId="{1152FAFB-594E-4D81-BBEF-423CF8B3AC49}" dt="2024-07-08T11:11:12.242" v="888" actId="20577"/>
          <ac:spMkLst>
            <pc:docMk/>
            <pc:sldMk cId="3292995886" sldId="954"/>
            <ac:spMk id="73" creationId="{31125C22-727E-9F1A-6243-9118C9184F00}"/>
          </ac:spMkLst>
        </pc:spChg>
      </pc:sldChg>
      <pc:sldChg chg="modSp mod">
        <pc:chgData name="Annemarija Apine (LV)" userId="546f5c59-3b8d-47fd-b739-a8fadc631053" providerId="ADAL" clId="{1152FAFB-594E-4D81-BBEF-423CF8B3AC49}" dt="2024-07-08T11:40:17.304" v="1936" actId="20577"/>
        <pc:sldMkLst>
          <pc:docMk/>
          <pc:sldMk cId="425128272" sldId="960"/>
        </pc:sldMkLst>
        <pc:spChg chg="mod">
          <ac:chgData name="Annemarija Apine (LV)" userId="546f5c59-3b8d-47fd-b739-a8fadc631053" providerId="ADAL" clId="{1152FAFB-594E-4D81-BBEF-423CF8B3AC49}" dt="2024-07-08T11:39:44.934" v="1914" actId="20577"/>
          <ac:spMkLst>
            <pc:docMk/>
            <pc:sldMk cId="425128272" sldId="960"/>
            <ac:spMk id="3" creationId="{F4CCF02E-F3C4-C376-8F56-61BD85A2E74B}"/>
          </ac:spMkLst>
        </pc:spChg>
        <pc:spChg chg="mod">
          <ac:chgData name="Annemarija Apine (LV)" userId="546f5c59-3b8d-47fd-b739-a8fadc631053" providerId="ADAL" clId="{1152FAFB-594E-4D81-BBEF-423CF8B3AC49}" dt="2024-07-08T11:40:17.304" v="1936" actId="20577"/>
          <ac:spMkLst>
            <pc:docMk/>
            <pc:sldMk cId="425128272" sldId="960"/>
            <ac:spMk id="8" creationId="{8F84A1C1-A3B2-78F7-2F05-EA937E442831}"/>
          </ac:spMkLst>
        </pc:spChg>
      </pc:sldChg>
      <pc:sldChg chg="modSp mod">
        <pc:chgData name="Annemarija Apine (LV)" userId="546f5c59-3b8d-47fd-b739-a8fadc631053" providerId="ADAL" clId="{1152FAFB-594E-4D81-BBEF-423CF8B3AC49}" dt="2024-07-08T11:38:36.979" v="1848" actId="20577"/>
        <pc:sldMkLst>
          <pc:docMk/>
          <pc:sldMk cId="4141191697" sldId="963"/>
        </pc:sldMkLst>
        <pc:spChg chg="mod">
          <ac:chgData name="Annemarija Apine (LV)" userId="546f5c59-3b8d-47fd-b739-a8fadc631053" providerId="ADAL" clId="{1152FAFB-594E-4D81-BBEF-423CF8B3AC49}" dt="2024-07-08T11:38:36.979" v="1848" actId="20577"/>
          <ac:spMkLst>
            <pc:docMk/>
            <pc:sldMk cId="4141191697" sldId="963"/>
            <ac:spMk id="25" creationId="{2B261BF4-92C6-462D-AA95-793AE54DD688}"/>
          </ac:spMkLst>
        </pc:spChg>
        <pc:spChg chg="mod">
          <ac:chgData name="Annemarija Apine (LV)" userId="546f5c59-3b8d-47fd-b739-a8fadc631053" providerId="ADAL" clId="{1152FAFB-594E-4D81-BBEF-423CF8B3AC49}" dt="2024-07-08T11:37:55.881" v="1815" actId="20577"/>
          <ac:spMkLst>
            <pc:docMk/>
            <pc:sldMk cId="4141191697" sldId="963"/>
            <ac:spMk id="51" creationId="{AFEB1935-0849-FFDB-14A2-768E555E2F79}"/>
          </ac:spMkLst>
        </pc:spChg>
      </pc:sldChg>
      <pc:sldChg chg="modSp mod">
        <pc:chgData name="Annemarija Apine (LV)" userId="546f5c59-3b8d-47fd-b739-a8fadc631053" providerId="ADAL" clId="{1152FAFB-594E-4D81-BBEF-423CF8B3AC49}" dt="2024-07-08T11:39:27.486" v="1896"/>
        <pc:sldMkLst>
          <pc:docMk/>
          <pc:sldMk cId="1785961526" sldId="964"/>
        </pc:sldMkLst>
        <pc:spChg chg="mod">
          <ac:chgData name="Annemarija Apine (LV)" userId="546f5c59-3b8d-47fd-b739-a8fadc631053" providerId="ADAL" clId="{1152FAFB-594E-4D81-BBEF-423CF8B3AC49}" dt="2024-07-08T11:39:27.486" v="1896"/>
          <ac:spMkLst>
            <pc:docMk/>
            <pc:sldMk cId="1785961526" sldId="964"/>
            <ac:spMk id="11" creationId="{07889E6A-8E21-2803-30A1-A645AF04340F}"/>
          </ac:spMkLst>
        </pc:spChg>
        <pc:spChg chg="mod">
          <ac:chgData name="Annemarija Apine (LV)" userId="546f5c59-3b8d-47fd-b739-a8fadc631053" providerId="ADAL" clId="{1152FAFB-594E-4D81-BBEF-423CF8B3AC49}" dt="2024-07-08T11:39:11.986" v="1891" actId="947"/>
          <ac:spMkLst>
            <pc:docMk/>
            <pc:sldMk cId="1785961526" sldId="964"/>
            <ac:spMk id="51" creationId="{AFEB1935-0849-FFDB-14A2-768E555E2F79}"/>
          </ac:spMkLst>
        </pc:spChg>
      </pc:sldChg>
      <pc:sldChg chg="modSp mod">
        <pc:chgData name="Annemarija Apine (LV)" userId="546f5c59-3b8d-47fd-b739-a8fadc631053" providerId="ADAL" clId="{1152FAFB-594E-4D81-BBEF-423CF8B3AC49}" dt="2024-07-08T10:43:38.705" v="80" actId="20577"/>
        <pc:sldMkLst>
          <pc:docMk/>
          <pc:sldMk cId="4177676083" sldId="2147482025"/>
        </pc:sldMkLst>
        <pc:spChg chg="mod">
          <ac:chgData name="Annemarija Apine (LV)" userId="546f5c59-3b8d-47fd-b739-a8fadc631053" providerId="ADAL" clId="{1152FAFB-594E-4D81-BBEF-423CF8B3AC49}" dt="2024-07-08T10:40:56.942" v="79" actId="20577"/>
          <ac:spMkLst>
            <pc:docMk/>
            <pc:sldMk cId="4177676083" sldId="2147482025"/>
            <ac:spMk id="3" creationId="{4EF6DB77-182C-C281-1C2F-C2E2D9AB6583}"/>
          </ac:spMkLst>
        </pc:spChg>
        <pc:spChg chg="mod">
          <ac:chgData name="Annemarija Apine (LV)" userId="546f5c59-3b8d-47fd-b739-a8fadc631053" providerId="ADAL" clId="{1152FAFB-594E-4D81-BBEF-423CF8B3AC49}" dt="2024-07-08T10:40:51.517" v="61" actId="20577"/>
          <ac:spMkLst>
            <pc:docMk/>
            <pc:sldMk cId="4177676083" sldId="2147482025"/>
            <ac:spMk id="4" creationId="{DE559977-5422-3158-C786-2983A20A2674}"/>
          </ac:spMkLst>
        </pc:spChg>
        <pc:spChg chg="mod">
          <ac:chgData name="Annemarija Apine (LV)" userId="546f5c59-3b8d-47fd-b739-a8fadc631053" providerId="ADAL" clId="{1152FAFB-594E-4D81-BBEF-423CF8B3AC49}" dt="2024-07-08T10:43:38.705" v="80" actId="20577"/>
          <ac:spMkLst>
            <pc:docMk/>
            <pc:sldMk cId="4177676083" sldId="2147482025"/>
            <ac:spMk id="6" creationId="{2CB3F9F5-858C-1D21-4D13-EAEDABE2E74A}"/>
          </ac:spMkLst>
        </pc:spChg>
      </pc:sldChg>
      <pc:sldChg chg="addSp delSp modSp add del mod">
        <pc:chgData name="Annemarija Apine (LV)" userId="546f5c59-3b8d-47fd-b739-a8fadc631053" providerId="ADAL" clId="{1152FAFB-594E-4D81-BBEF-423CF8B3AC49}" dt="2024-07-08T10:40:38.082" v="48" actId="47"/>
        <pc:sldMkLst>
          <pc:docMk/>
          <pc:sldMk cId="3071604049" sldId="2147482026"/>
        </pc:sldMkLst>
        <pc:spChg chg="mod">
          <ac:chgData name="Annemarija Apine (LV)" userId="546f5c59-3b8d-47fd-b739-a8fadc631053" providerId="ADAL" clId="{1152FAFB-594E-4D81-BBEF-423CF8B3AC49}" dt="2024-07-08T10:37:24.002" v="14" actId="1076"/>
          <ac:spMkLst>
            <pc:docMk/>
            <pc:sldMk cId="3071604049" sldId="2147482026"/>
            <ac:spMk id="2" creationId="{40C94636-67C5-CC6E-9572-F8450A951DAF}"/>
          </ac:spMkLst>
        </pc:spChg>
        <pc:spChg chg="add mod">
          <ac:chgData name="Annemarija Apine (LV)" userId="546f5c59-3b8d-47fd-b739-a8fadc631053" providerId="ADAL" clId="{1152FAFB-594E-4D81-BBEF-423CF8B3AC49}" dt="2024-07-08T10:40:13.904" v="44" actId="1076"/>
          <ac:spMkLst>
            <pc:docMk/>
            <pc:sldMk cId="3071604049" sldId="2147482026"/>
            <ac:spMk id="9" creationId="{07A81CED-435C-4318-7E98-64498C761362}"/>
          </ac:spMkLst>
        </pc:spChg>
        <pc:spChg chg="mod">
          <ac:chgData name="Annemarija Apine (LV)" userId="546f5c59-3b8d-47fd-b739-a8fadc631053" providerId="ADAL" clId="{1152FAFB-594E-4D81-BBEF-423CF8B3AC49}" dt="2024-07-08T10:37:08.337" v="7"/>
          <ac:spMkLst>
            <pc:docMk/>
            <pc:sldMk cId="3071604049" sldId="2147482026"/>
            <ac:spMk id="22" creationId="{A23194B3-7795-B693-1047-15EAD1BF84E8}"/>
          </ac:spMkLst>
        </pc:spChg>
        <pc:spChg chg="add mod">
          <ac:chgData name="Annemarija Apine (LV)" userId="546f5c59-3b8d-47fd-b739-a8fadc631053" providerId="ADAL" clId="{1152FAFB-594E-4D81-BBEF-423CF8B3AC49}" dt="2024-07-08T10:40:13.904" v="44" actId="1076"/>
          <ac:spMkLst>
            <pc:docMk/>
            <pc:sldMk cId="3071604049" sldId="2147482026"/>
            <ac:spMk id="24" creationId="{7CE30465-FB77-52CE-338F-7F12EBBA9DA4}"/>
          </ac:spMkLst>
        </pc:spChg>
        <pc:spChg chg="mod">
          <ac:chgData name="Annemarija Apine (LV)" userId="546f5c59-3b8d-47fd-b739-a8fadc631053" providerId="ADAL" clId="{1152FAFB-594E-4D81-BBEF-423CF8B3AC49}" dt="2024-07-08T10:37:14.742" v="12"/>
          <ac:spMkLst>
            <pc:docMk/>
            <pc:sldMk cId="3071604049" sldId="2147482026"/>
            <ac:spMk id="28" creationId="{C16C8DB9-3881-94F9-A654-2D14350544F3}"/>
          </ac:spMkLst>
        </pc:spChg>
        <pc:spChg chg="mod">
          <ac:chgData name="Annemarija Apine (LV)" userId="546f5c59-3b8d-47fd-b739-a8fadc631053" providerId="ADAL" clId="{1152FAFB-594E-4D81-BBEF-423CF8B3AC49}" dt="2024-07-08T10:39:39.358" v="40" actId="20577"/>
          <ac:spMkLst>
            <pc:docMk/>
            <pc:sldMk cId="3071604049" sldId="2147482026"/>
            <ac:spMk id="29" creationId="{9EC6938E-F2BC-AC86-28EB-89CA269398B1}"/>
          </ac:spMkLst>
        </pc:spChg>
        <pc:grpChg chg="add mod">
          <ac:chgData name="Annemarija Apine (LV)" userId="546f5c59-3b8d-47fd-b739-a8fadc631053" providerId="ADAL" clId="{1152FAFB-594E-4D81-BBEF-423CF8B3AC49}" dt="2024-07-08T10:40:13.904" v="44" actId="1076"/>
          <ac:grpSpMkLst>
            <pc:docMk/>
            <pc:sldMk cId="3071604049" sldId="2147482026"/>
            <ac:grpSpMk id="3" creationId="{B780F63A-529F-B0BC-8FF7-39368145E7F7}"/>
          </ac:grpSpMkLst>
        </pc:grpChg>
        <pc:grpChg chg="add mod">
          <ac:chgData name="Annemarija Apine (LV)" userId="546f5c59-3b8d-47fd-b739-a8fadc631053" providerId="ADAL" clId="{1152FAFB-594E-4D81-BBEF-423CF8B3AC49}" dt="2024-07-08T10:40:13.904" v="44" actId="1076"/>
          <ac:grpSpMkLst>
            <pc:docMk/>
            <pc:sldMk cId="3071604049" sldId="2147482026"/>
            <ac:grpSpMk id="4" creationId="{96391A0D-C6BC-D7FA-04A9-DE8D105465D5}"/>
          </ac:grpSpMkLst>
        </pc:grpChg>
        <pc:picChg chg="del">
          <ac:chgData name="Annemarija Apine (LV)" userId="546f5c59-3b8d-47fd-b739-a8fadc631053" providerId="ADAL" clId="{1152FAFB-594E-4D81-BBEF-423CF8B3AC49}" dt="2024-07-08T10:37:28.469" v="15" actId="478"/>
          <ac:picMkLst>
            <pc:docMk/>
            <pc:sldMk cId="3071604049" sldId="2147482026"/>
            <ac:picMk id="5" creationId="{631590FE-98F3-B64D-B148-CC7F8DD2FB18}"/>
          </ac:picMkLst>
        </pc:picChg>
        <pc:picChg chg="add mod">
          <ac:chgData name="Annemarija Apine (LV)" userId="546f5c59-3b8d-47fd-b739-a8fadc631053" providerId="ADAL" clId="{1152FAFB-594E-4D81-BBEF-423CF8B3AC49}" dt="2024-07-08T10:40:13.904" v="44" actId="1076"/>
          <ac:picMkLst>
            <pc:docMk/>
            <pc:sldMk cId="3071604049" sldId="2147482026"/>
            <ac:picMk id="7" creationId="{D3834ACF-3CA3-E767-EFCC-DCB3CB76CC06}"/>
          </ac:picMkLst>
        </pc:picChg>
        <pc:picChg chg="del">
          <ac:chgData name="Annemarija Apine (LV)" userId="546f5c59-3b8d-47fd-b739-a8fadc631053" providerId="ADAL" clId="{1152FAFB-594E-4D81-BBEF-423CF8B3AC49}" dt="2024-07-08T10:37:28.469" v="15" actId="478"/>
          <ac:picMkLst>
            <pc:docMk/>
            <pc:sldMk cId="3071604049" sldId="2147482026"/>
            <ac:picMk id="8" creationId="{6A890E5E-5277-4353-F064-A3C824D92D0B}"/>
          </ac:picMkLst>
        </pc:picChg>
        <pc:picChg chg="add mod">
          <ac:chgData name="Annemarija Apine (LV)" userId="546f5c59-3b8d-47fd-b739-a8fadc631053" providerId="ADAL" clId="{1152FAFB-594E-4D81-BBEF-423CF8B3AC49}" dt="2024-07-08T10:40:13.904" v="44" actId="1076"/>
          <ac:picMkLst>
            <pc:docMk/>
            <pc:sldMk cId="3071604049" sldId="2147482026"/>
            <ac:picMk id="23" creationId="{8906F70F-A346-CE1C-604E-C814C368EDB5}"/>
          </ac:picMkLst>
        </pc:picChg>
        <pc:picChg chg="add del">
          <ac:chgData name="Annemarija Apine (LV)" userId="546f5c59-3b8d-47fd-b739-a8fadc631053" providerId="ADAL" clId="{1152FAFB-594E-4D81-BBEF-423CF8B3AC49}" dt="2024-07-08T10:40:02.513" v="42"/>
          <ac:picMkLst>
            <pc:docMk/>
            <pc:sldMk cId="3071604049" sldId="2147482026"/>
            <ac:picMk id="1026" creationId="{7A04C9D0-423E-51FC-EC8D-B6B5598FBB02}"/>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en-US"/>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pPr rtl="0"/>
            <a:fld id="{D70301B5-88AD-1849-891D-EA2905EB5A88}" type="datetimeFigureOut">
              <a:rPr lang="en-US" smtClean="0"/>
              <a:t>7/8/2024</a:t>
            </a:fld>
            <a:endParaRPr lang="en-US"/>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en-US"/>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23A602F4-4C0C-5F4F-8771-7E15167AE556}" type="slidenum">
              <a:rPr lang="en-US" smtClean="0"/>
              <a:t>‹#›</a:t>
            </a:fld>
            <a:endParaRPr lang="en-US"/>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pPr rtl="0"/>
            <a:fld id="{7850AB23-24A6-494C-BA00-B87242B78CB4}" type="datetimeFigureOut">
              <a:rPr lang="en-GB" smtClean="0"/>
              <a:t>08/07/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rtl="0"/>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20CA530D-631F-4981-98F0-E6C07C67E1A3}" type="slidenum">
              <a:rPr lang="en-GB" smtClean="0"/>
              <a:t>‹#›</a:t>
            </a:fld>
            <a:endParaRPr lang="en-GB"/>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0CA530D-631F-4981-98F0-E6C07C67E1A3}" type="slidenum">
              <a:rPr lang="en-GB" smtClean="0"/>
              <a:t>1</a:t>
            </a:fld>
            <a:endParaRPr lang="en-GB"/>
          </a:p>
        </p:txBody>
      </p:sp>
    </p:spTree>
    <p:extLst>
      <p:ext uri="{BB962C8B-B14F-4D97-AF65-F5344CB8AC3E}">
        <p14:creationId xmlns:p14="http://schemas.microsoft.com/office/powerpoint/2010/main" val="11282563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latin typeface="Calibri"/>
              <a:ea typeface="Calibri"/>
              <a:cs typeface="Calibri"/>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4</a:t>
            </a:fld>
            <a:endParaRPr lang="en-GB"/>
          </a:p>
        </p:txBody>
      </p:sp>
    </p:spTree>
    <p:extLst>
      <p:ext uri="{BB962C8B-B14F-4D97-AF65-F5344CB8AC3E}">
        <p14:creationId xmlns:p14="http://schemas.microsoft.com/office/powerpoint/2010/main" val="6368054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5</a:t>
            </a:fld>
            <a:endParaRPr lang="en-GB"/>
          </a:p>
        </p:txBody>
      </p:sp>
    </p:spTree>
    <p:extLst>
      <p:ext uri="{BB962C8B-B14F-4D97-AF65-F5344CB8AC3E}">
        <p14:creationId xmlns:p14="http://schemas.microsoft.com/office/powerpoint/2010/main" val="40805446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6</a:t>
            </a:fld>
            <a:endParaRPr lang="en-GB"/>
          </a:p>
        </p:txBody>
      </p:sp>
    </p:spTree>
    <p:extLst>
      <p:ext uri="{BB962C8B-B14F-4D97-AF65-F5344CB8AC3E}">
        <p14:creationId xmlns:p14="http://schemas.microsoft.com/office/powerpoint/2010/main" val="13723977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7</a:t>
            </a:fld>
            <a:endParaRPr lang="en-GB"/>
          </a:p>
        </p:txBody>
      </p:sp>
    </p:spTree>
    <p:extLst>
      <p:ext uri="{BB962C8B-B14F-4D97-AF65-F5344CB8AC3E}">
        <p14:creationId xmlns:p14="http://schemas.microsoft.com/office/powerpoint/2010/main" val="35076012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latin typeface="Calibri"/>
              <a:cs typeface="Calibri"/>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8</a:t>
            </a:fld>
            <a:endParaRPr lang="en-GB"/>
          </a:p>
        </p:txBody>
      </p:sp>
    </p:spTree>
    <p:extLst>
      <p:ext uri="{BB962C8B-B14F-4D97-AF65-F5344CB8AC3E}">
        <p14:creationId xmlns:p14="http://schemas.microsoft.com/office/powerpoint/2010/main" val="34122407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9</a:t>
            </a:fld>
            <a:endParaRPr lang="en-GB"/>
          </a:p>
        </p:txBody>
      </p:sp>
    </p:spTree>
    <p:extLst>
      <p:ext uri="{BB962C8B-B14F-4D97-AF65-F5344CB8AC3E}">
        <p14:creationId xmlns:p14="http://schemas.microsoft.com/office/powerpoint/2010/main" val="28616312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0</a:t>
            </a:fld>
            <a:endParaRPr lang="en-GB"/>
          </a:p>
        </p:txBody>
      </p:sp>
    </p:spTree>
    <p:extLst>
      <p:ext uri="{BB962C8B-B14F-4D97-AF65-F5344CB8AC3E}">
        <p14:creationId xmlns:p14="http://schemas.microsoft.com/office/powerpoint/2010/main" val="41731335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1</a:t>
            </a:fld>
            <a:endParaRPr lang="en-GB"/>
          </a:p>
        </p:txBody>
      </p:sp>
    </p:spTree>
    <p:extLst>
      <p:ext uri="{BB962C8B-B14F-4D97-AF65-F5344CB8AC3E}">
        <p14:creationId xmlns:p14="http://schemas.microsoft.com/office/powerpoint/2010/main" val="12179238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2</a:t>
            </a:fld>
            <a:endParaRPr lang="en-GB"/>
          </a:p>
        </p:txBody>
      </p:sp>
    </p:spTree>
    <p:extLst>
      <p:ext uri="{BB962C8B-B14F-4D97-AF65-F5344CB8AC3E}">
        <p14:creationId xmlns:p14="http://schemas.microsoft.com/office/powerpoint/2010/main" val="29453180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3</a:t>
            </a:fld>
            <a:endParaRPr lang="en-GB"/>
          </a:p>
        </p:txBody>
      </p:sp>
    </p:spTree>
    <p:extLst>
      <p:ext uri="{BB962C8B-B14F-4D97-AF65-F5344CB8AC3E}">
        <p14:creationId xmlns:p14="http://schemas.microsoft.com/office/powerpoint/2010/main" val="30158576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latin typeface="Calibri"/>
              <a:ea typeface="Calibri"/>
              <a:cs typeface="Calibri"/>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4</a:t>
            </a:fld>
            <a:endParaRPr lang="en-GB"/>
          </a:p>
        </p:txBody>
      </p:sp>
    </p:spTree>
    <p:extLst>
      <p:ext uri="{BB962C8B-B14F-4D97-AF65-F5344CB8AC3E}">
        <p14:creationId xmlns:p14="http://schemas.microsoft.com/office/powerpoint/2010/main" val="155168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4</a:t>
            </a:fld>
            <a:endParaRPr lang="en-GB"/>
          </a:p>
        </p:txBody>
      </p:sp>
    </p:spTree>
    <p:extLst>
      <p:ext uri="{BB962C8B-B14F-4D97-AF65-F5344CB8AC3E}">
        <p14:creationId xmlns:p14="http://schemas.microsoft.com/office/powerpoint/2010/main" val="20879602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algn="just" rtl="0"/>
            <a:endParaRPr lang="en-GB" sz="120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5</a:t>
            </a:fld>
            <a:endParaRPr lang="en-GB"/>
          </a:p>
        </p:txBody>
      </p:sp>
    </p:spTree>
    <p:extLst>
      <p:ext uri="{BB962C8B-B14F-4D97-AF65-F5344CB8AC3E}">
        <p14:creationId xmlns:p14="http://schemas.microsoft.com/office/powerpoint/2010/main" val="25657675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algn="just" rtl="0"/>
            <a:endParaRPr lang="en-GB" sz="120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6</a:t>
            </a:fld>
            <a:endParaRPr lang="en-GB"/>
          </a:p>
        </p:txBody>
      </p:sp>
    </p:spTree>
    <p:extLst>
      <p:ext uri="{BB962C8B-B14F-4D97-AF65-F5344CB8AC3E}">
        <p14:creationId xmlns:p14="http://schemas.microsoft.com/office/powerpoint/2010/main" val="22134394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226695" algn="just" rtl="0" hangingPunct="0"/>
            <a:endParaRPr lang="en-GB" sz="180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7</a:t>
            </a:fld>
            <a:endParaRPr lang="en-GB"/>
          </a:p>
        </p:txBody>
      </p:sp>
    </p:spTree>
    <p:extLst>
      <p:ext uri="{BB962C8B-B14F-4D97-AF65-F5344CB8AC3E}">
        <p14:creationId xmlns:p14="http://schemas.microsoft.com/office/powerpoint/2010/main" val="32315455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algn="just" rtl="0"/>
            <a:endParaRPr lang="en-GB" sz="180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8</a:t>
            </a:fld>
            <a:endParaRPr lang="en-GB"/>
          </a:p>
        </p:txBody>
      </p:sp>
    </p:spTree>
    <p:extLst>
      <p:ext uri="{BB962C8B-B14F-4D97-AF65-F5344CB8AC3E}">
        <p14:creationId xmlns:p14="http://schemas.microsoft.com/office/powerpoint/2010/main" val="40718022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9</a:t>
            </a:fld>
            <a:endParaRPr lang="en-GB"/>
          </a:p>
        </p:txBody>
      </p:sp>
    </p:spTree>
    <p:extLst>
      <p:ext uri="{BB962C8B-B14F-4D97-AF65-F5344CB8AC3E}">
        <p14:creationId xmlns:p14="http://schemas.microsoft.com/office/powerpoint/2010/main" val="29236752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algn="just" rtl="0"/>
            <a:endParaRPr lang="en-GB" sz="180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0</a:t>
            </a:fld>
            <a:endParaRPr lang="en-GB"/>
          </a:p>
        </p:txBody>
      </p:sp>
    </p:spTree>
    <p:extLst>
      <p:ext uri="{BB962C8B-B14F-4D97-AF65-F5344CB8AC3E}">
        <p14:creationId xmlns:p14="http://schemas.microsoft.com/office/powerpoint/2010/main" val="38287563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algn="just" rtl="0"/>
            <a:endParaRPr lang="en-GB" sz="180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1</a:t>
            </a:fld>
            <a:endParaRPr lang="en-GB"/>
          </a:p>
        </p:txBody>
      </p:sp>
    </p:spTree>
    <p:extLst>
      <p:ext uri="{BB962C8B-B14F-4D97-AF65-F5344CB8AC3E}">
        <p14:creationId xmlns:p14="http://schemas.microsoft.com/office/powerpoint/2010/main" val="23190331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algn="just" rtl="0"/>
            <a:endParaRPr lang="en-GB" sz="180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2</a:t>
            </a:fld>
            <a:endParaRPr lang="en-GB"/>
          </a:p>
        </p:txBody>
      </p:sp>
    </p:spTree>
    <p:extLst>
      <p:ext uri="{BB962C8B-B14F-4D97-AF65-F5344CB8AC3E}">
        <p14:creationId xmlns:p14="http://schemas.microsoft.com/office/powerpoint/2010/main" val="5192233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3</a:t>
            </a:fld>
            <a:endParaRPr lang="en-GB"/>
          </a:p>
        </p:txBody>
      </p:sp>
    </p:spTree>
    <p:extLst>
      <p:ext uri="{BB962C8B-B14F-4D97-AF65-F5344CB8AC3E}">
        <p14:creationId xmlns:p14="http://schemas.microsoft.com/office/powerpoint/2010/main" val="37682342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5</a:t>
            </a:fld>
            <a:endParaRPr lang="en-GB"/>
          </a:p>
        </p:txBody>
      </p:sp>
    </p:spTree>
    <p:extLst>
      <p:ext uri="{BB962C8B-B14F-4D97-AF65-F5344CB8AC3E}">
        <p14:creationId xmlns:p14="http://schemas.microsoft.com/office/powerpoint/2010/main" val="126615105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4</a:t>
            </a:fld>
            <a:endParaRPr lang="en-GB"/>
          </a:p>
        </p:txBody>
      </p:sp>
    </p:spTree>
    <p:extLst>
      <p:ext uri="{BB962C8B-B14F-4D97-AF65-F5344CB8AC3E}">
        <p14:creationId xmlns:p14="http://schemas.microsoft.com/office/powerpoint/2010/main" val="155478941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5</a:t>
            </a:fld>
            <a:endParaRPr lang="en-GB"/>
          </a:p>
        </p:txBody>
      </p:sp>
    </p:spTree>
    <p:extLst>
      <p:ext uri="{BB962C8B-B14F-4D97-AF65-F5344CB8AC3E}">
        <p14:creationId xmlns:p14="http://schemas.microsoft.com/office/powerpoint/2010/main" val="24277849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6</a:t>
            </a:fld>
            <a:endParaRPr lang="en-GB"/>
          </a:p>
        </p:txBody>
      </p:sp>
    </p:spTree>
    <p:extLst>
      <p:ext uri="{BB962C8B-B14F-4D97-AF65-F5344CB8AC3E}">
        <p14:creationId xmlns:p14="http://schemas.microsoft.com/office/powerpoint/2010/main" val="96827953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algn="just"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7</a:t>
            </a:fld>
            <a:endParaRPr lang="en-GB"/>
          </a:p>
        </p:txBody>
      </p:sp>
    </p:spTree>
    <p:extLst>
      <p:ext uri="{BB962C8B-B14F-4D97-AF65-F5344CB8AC3E}">
        <p14:creationId xmlns:p14="http://schemas.microsoft.com/office/powerpoint/2010/main" val="34851849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algn="just" rtl="0"/>
            <a:endParaRPr lang="en-GB" sz="180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8</a:t>
            </a:fld>
            <a:endParaRPr lang="en-GB"/>
          </a:p>
        </p:txBody>
      </p:sp>
    </p:spTree>
    <p:extLst>
      <p:ext uri="{BB962C8B-B14F-4D97-AF65-F5344CB8AC3E}">
        <p14:creationId xmlns:p14="http://schemas.microsoft.com/office/powerpoint/2010/main" val="2473891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algn="just"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9</a:t>
            </a:fld>
            <a:endParaRPr lang="en-GB"/>
          </a:p>
        </p:txBody>
      </p:sp>
    </p:spTree>
    <p:extLst>
      <p:ext uri="{BB962C8B-B14F-4D97-AF65-F5344CB8AC3E}">
        <p14:creationId xmlns:p14="http://schemas.microsoft.com/office/powerpoint/2010/main" val="21651763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40</a:t>
            </a:fld>
            <a:endParaRPr lang="en-GB"/>
          </a:p>
        </p:txBody>
      </p:sp>
    </p:spTree>
    <p:extLst>
      <p:ext uri="{BB962C8B-B14F-4D97-AF65-F5344CB8AC3E}">
        <p14:creationId xmlns:p14="http://schemas.microsoft.com/office/powerpoint/2010/main" val="395190677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41</a:t>
            </a:fld>
            <a:endParaRPr lang="en-GB"/>
          </a:p>
        </p:txBody>
      </p:sp>
    </p:spTree>
    <p:extLst>
      <p:ext uri="{BB962C8B-B14F-4D97-AF65-F5344CB8AC3E}">
        <p14:creationId xmlns:p14="http://schemas.microsoft.com/office/powerpoint/2010/main" val="134839271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42</a:t>
            </a:fld>
            <a:endParaRPr lang="en-GB"/>
          </a:p>
        </p:txBody>
      </p:sp>
    </p:spTree>
    <p:extLst>
      <p:ext uri="{BB962C8B-B14F-4D97-AF65-F5344CB8AC3E}">
        <p14:creationId xmlns:p14="http://schemas.microsoft.com/office/powerpoint/2010/main" val="397073071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43</a:t>
            </a:fld>
            <a:endParaRPr lang="en-GB"/>
          </a:p>
        </p:txBody>
      </p:sp>
    </p:spTree>
    <p:extLst>
      <p:ext uri="{BB962C8B-B14F-4D97-AF65-F5344CB8AC3E}">
        <p14:creationId xmlns:p14="http://schemas.microsoft.com/office/powerpoint/2010/main" val="16847138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7</a:t>
            </a:fld>
            <a:endParaRPr lang="en-GB"/>
          </a:p>
        </p:txBody>
      </p:sp>
    </p:spTree>
    <p:extLst>
      <p:ext uri="{BB962C8B-B14F-4D97-AF65-F5344CB8AC3E}">
        <p14:creationId xmlns:p14="http://schemas.microsoft.com/office/powerpoint/2010/main" val="22555873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44</a:t>
            </a:fld>
            <a:endParaRPr lang="en-GB"/>
          </a:p>
        </p:txBody>
      </p:sp>
    </p:spTree>
    <p:extLst>
      <p:ext uri="{BB962C8B-B14F-4D97-AF65-F5344CB8AC3E}">
        <p14:creationId xmlns:p14="http://schemas.microsoft.com/office/powerpoint/2010/main" val="82372001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45</a:t>
            </a:fld>
            <a:endParaRPr lang="en-GB"/>
          </a:p>
        </p:txBody>
      </p:sp>
    </p:spTree>
    <p:extLst>
      <p:ext uri="{BB962C8B-B14F-4D97-AF65-F5344CB8AC3E}">
        <p14:creationId xmlns:p14="http://schemas.microsoft.com/office/powerpoint/2010/main" val="129544967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latin typeface="Calibri"/>
              <a:ea typeface="Calibri"/>
              <a:cs typeface="Calibri"/>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46</a:t>
            </a:fld>
            <a:endParaRPr lang="en-GB"/>
          </a:p>
        </p:txBody>
      </p:sp>
    </p:spTree>
    <p:extLst>
      <p:ext uri="{BB962C8B-B14F-4D97-AF65-F5344CB8AC3E}">
        <p14:creationId xmlns:p14="http://schemas.microsoft.com/office/powerpoint/2010/main" val="163870170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47</a:t>
            </a:fld>
            <a:endParaRPr lang="en-GB"/>
          </a:p>
        </p:txBody>
      </p:sp>
    </p:spTree>
    <p:extLst>
      <p:ext uri="{BB962C8B-B14F-4D97-AF65-F5344CB8AC3E}">
        <p14:creationId xmlns:p14="http://schemas.microsoft.com/office/powerpoint/2010/main" val="12833198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latin typeface="Calibri"/>
              <a:ea typeface="Calibri"/>
              <a:cs typeface="Calibri"/>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8</a:t>
            </a:fld>
            <a:endParaRPr lang="en-GB"/>
          </a:p>
        </p:txBody>
      </p:sp>
    </p:spTree>
    <p:extLst>
      <p:ext uri="{BB962C8B-B14F-4D97-AF65-F5344CB8AC3E}">
        <p14:creationId xmlns:p14="http://schemas.microsoft.com/office/powerpoint/2010/main" val="19901586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pPr rtl="0"/>
            <a:fld id="{20CA530D-631F-4981-98F0-E6C07C67E1A3}" type="slidenum">
              <a:rPr lang="en-GB" smtClean="0"/>
              <a:t>10</a:t>
            </a:fld>
            <a:endParaRPr lang="en-GB"/>
          </a:p>
        </p:txBody>
      </p:sp>
    </p:spTree>
    <p:extLst>
      <p:ext uri="{BB962C8B-B14F-4D97-AF65-F5344CB8AC3E}">
        <p14:creationId xmlns:p14="http://schemas.microsoft.com/office/powerpoint/2010/main" val="10894410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algn="just" rtl="0" hangingPunct="0">
              <a:tabLst>
                <a:tab pos="90170" algn="l"/>
              </a:tabLst>
            </a:pPr>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1</a:t>
            </a:fld>
            <a:endParaRPr lang="en-GB"/>
          </a:p>
        </p:txBody>
      </p:sp>
    </p:spTree>
    <p:extLst>
      <p:ext uri="{BB962C8B-B14F-4D97-AF65-F5344CB8AC3E}">
        <p14:creationId xmlns:p14="http://schemas.microsoft.com/office/powerpoint/2010/main" val="32978186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algn="just" rtl="0" hangingPunct="0">
              <a:tabLst>
                <a:tab pos="90170" algn="l"/>
              </a:tabLst>
            </a:pPr>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2</a:t>
            </a:fld>
            <a:endParaRPr lang="en-GB"/>
          </a:p>
        </p:txBody>
      </p:sp>
    </p:spTree>
    <p:extLst>
      <p:ext uri="{BB962C8B-B14F-4D97-AF65-F5344CB8AC3E}">
        <p14:creationId xmlns:p14="http://schemas.microsoft.com/office/powerpoint/2010/main" val="25590198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algn="just" rtl="0" hangingPunct="0">
              <a:tabLst>
                <a:tab pos="90170" algn="l"/>
              </a:tabLst>
            </a:pPr>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3</a:t>
            </a:fld>
            <a:endParaRPr lang="en-GB"/>
          </a:p>
        </p:txBody>
      </p:sp>
    </p:spTree>
    <p:extLst>
      <p:ext uri="{BB962C8B-B14F-4D97-AF65-F5344CB8AC3E}">
        <p14:creationId xmlns:p14="http://schemas.microsoft.com/office/powerpoint/2010/main" val="5905145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All Grey">
    <p:bg>
      <p:bgPr>
        <a:solidFill>
          <a:srgbClr val="46464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rtlCol="0" anchor="b" anchorCtr="0"/>
          <a:lstStyle>
            <a:lvl1pPr algn="l">
              <a:lnSpc>
                <a:spcPct val="85000"/>
              </a:lnSpc>
              <a:defRPr sz="6000">
                <a:solidFill>
                  <a:schemeClr val="bg1"/>
                </a:solidFill>
              </a:defRPr>
            </a:lvl1pPr>
          </a:lstStyle>
          <a:p>
            <a:pPr rtl="0"/>
            <a:r>
              <a:rPr lang="en-gb"/>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rtlCol="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en-gb"/>
              <a:t>[Presentation subtitle]</a:t>
            </a:r>
          </a:p>
        </p:txBody>
      </p:sp>
    </p:spTree>
    <p:extLst>
      <p:ext uri="{BB962C8B-B14F-4D97-AF65-F5344CB8AC3E}">
        <p14:creationId xmlns:p14="http://schemas.microsoft.com/office/powerpoint/2010/main" val="3917376436"/>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EB58BF2-7720-951A-0737-25DCDFC44C9A}"/>
              </a:ext>
            </a:extLst>
          </p:cNvPr>
          <p:cNvGraphicFramePr>
            <a:graphicFrameLocks noChangeAspect="1"/>
          </p:cNvGraphicFramePr>
          <p:nvPr userDrawn="1">
            <p:custDataLst>
              <p:tags r:id="rId1"/>
            </p:custDataLst>
            <p:extLst>
              <p:ext uri="{D42A27DB-BD31-4B8C-83A1-F6EECF244321}">
                <p14:modId xmlns:p14="http://schemas.microsoft.com/office/powerpoint/2010/main" val="1981240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2" name="think-cell data - do not delete" hidden="1">
                        <a:extLst>
                          <a:ext uri="{FF2B5EF4-FFF2-40B4-BE49-F238E27FC236}">
                            <a16:creationId xmlns:a16="http://schemas.microsoft.com/office/drawing/2014/main" id="{7EB58BF2-7720-951A-0737-25DCDFC44C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13">
            <a:extLst>
              <a:ext uri="{FF2B5EF4-FFF2-40B4-BE49-F238E27FC236}">
                <a16:creationId xmlns:a16="http://schemas.microsoft.com/office/drawing/2014/main" id="{A6EC04CA-D2F1-3C13-C6B0-7A92F7B31B2A}"/>
              </a:ext>
            </a:extLst>
          </p:cNvPr>
          <p:cNvSpPr>
            <a:spLocks noGrp="1"/>
          </p:cNvSpPr>
          <p:nvPr>
            <p:ph type="pic" sz="quarter" idx="10"/>
          </p:nvPr>
        </p:nvSpPr>
        <p:spPr>
          <a:xfrm>
            <a:off x="4327525" y="0"/>
            <a:ext cx="7864475" cy="6858000"/>
          </a:xfrm>
        </p:spPr>
        <p:txBody>
          <a:bodyPr rtlCol="0"/>
          <a:lstStyle/>
          <a:p>
            <a:pPr rtl="0"/>
            <a:endParaRPr lang="en-GB"/>
          </a:p>
        </p:txBody>
      </p:sp>
      <p:sp>
        <p:nvSpPr>
          <p:cNvPr id="5" name="Freeform 13">
            <a:extLst>
              <a:ext uri="{FF2B5EF4-FFF2-40B4-BE49-F238E27FC236}">
                <a16:creationId xmlns:a16="http://schemas.microsoft.com/office/drawing/2014/main" id="{3FECC16A-B1FD-FAF5-EB5C-6894270D0777}"/>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sp>
        <p:nvSpPr>
          <p:cNvPr id="2" name="Title 1"/>
          <p:cNvSpPr>
            <a:spLocks noGrp="1"/>
          </p:cNvSpPr>
          <p:nvPr>
            <p:ph type="ctrTitle" hasCustomPrompt="1"/>
          </p:nvPr>
        </p:nvSpPr>
        <p:spPr>
          <a:xfrm>
            <a:off x="442912" y="428625"/>
            <a:ext cx="7418388" cy="2428874"/>
          </a:xfrm>
        </p:spPr>
        <p:txBody>
          <a:bodyPr vert="horz" rtlCol="0" anchor="b" anchorCtr="0"/>
          <a:lstStyle>
            <a:lvl1pPr algn="l">
              <a:lnSpc>
                <a:spcPct val="85000"/>
              </a:lnSpc>
              <a:defRPr sz="6000">
                <a:solidFill>
                  <a:schemeClr val="bg1"/>
                </a:solidFill>
              </a:defRPr>
            </a:lvl1pPr>
          </a:lstStyle>
          <a:p>
            <a:pPr rtl="0"/>
            <a:r>
              <a:rPr lang="en-gb"/>
              <a:t>[Divider]</a:t>
            </a:r>
            <a:endParaRPr lang="en-GB"/>
          </a:p>
        </p:txBody>
      </p:sp>
    </p:spTree>
    <p:extLst>
      <p:ext uri="{BB962C8B-B14F-4D97-AF65-F5344CB8AC3E}">
        <p14:creationId xmlns:p14="http://schemas.microsoft.com/office/powerpoint/2010/main" val="579876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rtlCol="0"/>
          <a:lstStyle/>
          <a:p>
            <a:pPr rtl="0"/>
            <a:fld id="{7870704B-CE94-48CC-AF30-84932A1262A7}" type="slidenum">
              <a:rPr lang="en-GB" smtClean="0"/>
              <a:pPr/>
              <a:t>‹#›</a:t>
            </a:fld>
            <a:endParaRPr lang="en-GB"/>
          </a:p>
        </p:txBody>
      </p:sp>
    </p:spTree>
    <p:extLst>
      <p:ext uri="{BB962C8B-B14F-4D97-AF65-F5344CB8AC3E}">
        <p14:creationId xmlns:p14="http://schemas.microsoft.com/office/powerpoint/2010/main" val="5765659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2" y="2103120"/>
            <a:ext cx="11306175" cy="4073842"/>
          </a:xfrm>
        </p:spPr>
        <p:txBody>
          <a:bodyPr rtlCol="0"/>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2" name="Title 1"/>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6" name="Slide Number Placeholder 5">
            <a:extLst>
              <a:ext uri="{FF2B5EF4-FFF2-40B4-BE49-F238E27FC236}">
                <a16:creationId xmlns:a16="http://schemas.microsoft.com/office/drawing/2014/main" id="{7092926E-C7A2-1946-B74B-5EC49D3EAE3C}"/>
              </a:ext>
            </a:extLst>
          </p:cNvPr>
          <p:cNvSpPr>
            <a:spLocks noGrp="1"/>
          </p:cNvSpPr>
          <p:nvPr>
            <p:ph type="sldNum" sz="quarter" idx="11"/>
          </p:nvPr>
        </p:nvSpPr>
        <p:spPr/>
        <p:txBody>
          <a:bodyPr rtlCol="0"/>
          <a:lstStyle/>
          <a:p>
            <a:pPr rtl="0"/>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2A29A14A-827E-1247-9162-E763C985ACD0}"/>
              </a:ext>
            </a:extLst>
          </p:cNvPr>
          <p:cNvSpPr>
            <a:spLocks noGrp="1"/>
          </p:cNvSpPr>
          <p:nvPr>
            <p:ph type="dt" sz="half" idx="12"/>
          </p:nvPr>
        </p:nvSpPr>
        <p:spPr/>
        <p:txBody>
          <a:bodyPr rtlCol="0"/>
          <a:lstStyle/>
          <a:p>
            <a:pPr rtl="0"/>
            <a:r>
              <a:rPr lang="en-gb"/>
              <a:t>Date</a:t>
            </a:r>
          </a:p>
        </p:txBody>
      </p:sp>
      <p:sp>
        <p:nvSpPr>
          <p:cNvPr id="5" name="Footer Placeholder 4">
            <a:extLst>
              <a:ext uri="{FF2B5EF4-FFF2-40B4-BE49-F238E27FC236}">
                <a16:creationId xmlns:a16="http://schemas.microsoft.com/office/drawing/2014/main" id="{B0AE826D-197B-B84E-8B9B-E0610700761D}"/>
              </a:ext>
            </a:extLst>
          </p:cNvPr>
          <p:cNvSpPr>
            <a:spLocks noGrp="1"/>
          </p:cNvSpPr>
          <p:nvPr>
            <p:ph type="ftr" sz="quarter" idx="13"/>
          </p:nvPr>
        </p:nvSpPr>
        <p:spPr/>
        <p:txBody>
          <a:bodyPr rtlCol="0"/>
          <a:lstStyle/>
          <a:p>
            <a:pPr algn="l" rtl="0"/>
            <a:r>
              <a:rPr lang="en-gb"/>
              <a:t>Presentation Title</a:t>
            </a:r>
          </a:p>
        </p:txBody>
      </p:sp>
    </p:spTree>
    <p:extLst>
      <p:ext uri="{BB962C8B-B14F-4D97-AF65-F5344CB8AC3E}">
        <p14:creationId xmlns:p14="http://schemas.microsoft.com/office/powerpoint/2010/main" val="21235206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3" name="Content Placeholder 2"/>
          <p:cNvSpPr>
            <a:spLocks noGrp="1"/>
          </p:cNvSpPr>
          <p:nvPr>
            <p:ph idx="1" hasCustomPrompt="1"/>
          </p:nvPr>
        </p:nvSpPr>
        <p:spPr>
          <a:xfrm>
            <a:off x="442913" y="2103120"/>
            <a:ext cx="7418387" cy="407384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endParaRPr lang="en-GB"/>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rtlCol="0"/>
          <a:lstStyle/>
          <a:p>
            <a:pPr rtl="0"/>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FA1CAC76-AD94-234E-8386-FD25DC54D41B}"/>
              </a:ext>
            </a:extLst>
          </p:cNvPr>
          <p:cNvSpPr>
            <a:spLocks noGrp="1"/>
          </p:cNvSpPr>
          <p:nvPr>
            <p:ph type="dt" sz="half" idx="12"/>
          </p:nvPr>
        </p:nvSpPr>
        <p:spPr/>
        <p:txBody>
          <a:bodyPr rtlCol="0"/>
          <a:lstStyle/>
          <a:p>
            <a:pPr rtl="0"/>
            <a:r>
              <a:rPr lang="en-gb"/>
              <a:t>Date</a:t>
            </a:r>
          </a:p>
        </p:txBody>
      </p:sp>
      <p:sp>
        <p:nvSpPr>
          <p:cNvPr id="5" name="Footer Placeholder 4">
            <a:extLst>
              <a:ext uri="{FF2B5EF4-FFF2-40B4-BE49-F238E27FC236}">
                <a16:creationId xmlns:a16="http://schemas.microsoft.com/office/drawing/2014/main" id="{89486007-FECF-0B43-98E4-BE646CA75FA9}"/>
              </a:ext>
            </a:extLst>
          </p:cNvPr>
          <p:cNvSpPr>
            <a:spLocks noGrp="1"/>
          </p:cNvSpPr>
          <p:nvPr>
            <p:ph type="ftr" sz="quarter" idx="13"/>
          </p:nvPr>
        </p:nvSpPr>
        <p:spPr/>
        <p:txBody>
          <a:bodyPr rtlCol="0"/>
          <a:lstStyle/>
          <a:p>
            <a:pPr algn="l" rtl="0"/>
            <a:r>
              <a:rPr lang="en-gb"/>
              <a:t>Presentation Title</a:t>
            </a:r>
          </a:p>
        </p:txBody>
      </p:sp>
    </p:spTree>
    <p:extLst>
      <p:ext uri="{BB962C8B-B14F-4D97-AF65-F5344CB8AC3E}">
        <p14:creationId xmlns:p14="http://schemas.microsoft.com/office/powerpoint/2010/main" val="11771131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3" name="Content Placeholder 2"/>
          <p:cNvSpPr>
            <a:spLocks noGrp="1"/>
          </p:cNvSpPr>
          <p:nvPr>
            <p:ph idx="1" hasCustomPrompt="1"/>
          </p:nvPr>
        </p:nvSpPr>
        <p:spPr>
          <a:xfrm>
            <a:off x="442913" y="2103120"/>
            <a:ext cx="11306175" cy="407384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endParaRPr lang="en-GB"/>
          </a:p>
        </p:txBody>
      </p:sp>
      <p:sp>
        <p:nvSpPr>
          <p:cNvPr id="6" name="Slide Number Placeholder 5">
            <a:extLst>
              <a:ext uri="{FF2B5EF4-FFF2-40B4-BE49-F238E27FC236}">
                <a16:creationId xmlns:a16="http://schemas.microsoft.com/office/drawing/2014/main" id="{C7AE0E6F-13EB-BD40-A19F-F1CFDDB46584}"/>
              </a:ext>
            </a:extLst>
          </p:cNvPr>
          <p:cNvSpPr>
            <a:spLocks noGrp="1"/>
          </p:cNvSpPr>
          <p:nvPr>
            <p:ph type="sldNum" sz="quarter" idx="11"/>
          </p:nvPr>
        </p:nvSpPr>
        <p:spPr/>
        <p:txBody>
          <a:bodyPr rtlCol="0"/>
          <a:lstStyle/>
          <a:p>
            <a:pPr rtl="0"/>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77EE818A-A3B1-A74B-A063-799FD726DC71}"/>
              </a:ext>
            </a:extLst>
          </p:cNvPr>
          <p:cNvSpPr>
            <a:spLocks noGrp="1"/>
          </p:cNvSpPr>
          <p:nvPr>
            <p:ph type="dt" sz="half" idx="12"/>
          </p:nvPr>
        </p:nvSpPr>
        <p:spPr/>
        <p:txBody>
          <a:bodyPr rtlCol="0"/>
          <a:lstStyle/>
          <a:p>
            <a:pPr rtl="0"/>
            <a:r>
              <a:rPr lang="en-gb"/>
              <a:t>Date</a:t>
            </a:r>
          </a:p>
        </p:txBody>
      </p:sp>
      <p:sp>
        <p:nvSpPr>
          <p:cNvPr id="5" name="Footer Placeholder 4">
            <a:extLst>
              <a:ext uri="{FF2B5EF4-FFF2-40B4-BE49-F238E27FC236}">
                <a16:creationId xmlns:a16="http://schemas.microsoft.com/office/drawing/2014/main" id="{3EB0F34F-6B8E-584C-9E9F-165D07878245}"/>
              </a:ext>
            </a:extLst>
          </p:cNvPr>
          <p:cNvSpPr>
            <a:spLocks noGrp="1"/>
          </p:cNvSpPr>
          <p:nvPr>
            <p:ph type="ftr" sz="quarter" idx="13"/>
          </p:nvPr>
        </p:nvSpPr>
        <p:spPr/>
        <p:txBody>
          <a:bodyPr rtlCol="0"/>
          <a:lstStyle/>
          <a:p>
            <a:pPr algn="l" rtl="0"/>
            <a:r>
              <a:rPr lang="en-gb"/>
              <a:t>Presentation Title</a:t>
            </a:r>
          </a:p>
        </p:txBody>
      </p:sp>
    </p:spTree>
    <p:extLst>
      <p:ext uri="{BB962C8B-B14F-4D97-AF65-F5344CB8AC3E}">
        <p14:creationId xmlns:p14="http://schemas.microsoft.com/office/powerpoint/2010/main" val="32581720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endParaRPr lang="en-GB"/>
          </a:p>
        </p:txBody>
      </p:sp>
      <p:sp>
        <p:nvSpPr>
          <p:cNvPr id="5" name="Title 4"/>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6" name="Slide Number Placeholder 5">
            <a:extLst>
              <a:ext uri="{FF2B5EF4-FFF2-40B4-BE49-F238E27FC236}">
                <a16:creationId xmlns:a16="http://schemas.microsoft.com/office/drawing/2014/main" id="{A1127051-9445-A34F-940C-D451EEF39800}"/>
              </a:ext>
            </a:extLst>
          </p:cNvPr>
          <p:cNvSpPr>
            <a:spLocks noGrp="1"/>
          </p:cNvSpPr>
          <p:nvPr>
            <p:ph type="sldNum" sz="quarter" idx="11"/>
          </p:nvPr>
        </p:nvSpPr>
        <p:spPr/>
        <p:txBody>
          <a:bodyPr rtlCol="0"/>
          <a:lstStyle/>
          <a:p>
            <a:pPr rtl="0"/>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C5E96824-1DC8-8F4C-9F19-4AA8BD36E946}"/>
              </a:ext>
            </a:extLst>
          </p:cNvPr>
          <p:cNvSpPr>
            <a:spLocks noGrp="1"/>
          </p:cNvSpPr>
          <p:nvPr>
            <p:ph type="dt" sz="half" idx="12"/>
          </p:nvPr>
        </p:nvSpPr>
        <p:spPr/>
        <p:txBody>
          <a:bodyPr rtlCol="0"/>
          <a:lstStyle/>
          <a:p>
            <a:pPr rtl="0"/>
            <a:r>
              <a:rPr lang="en-gb"/>
              <a:t>Date</a:t>
            </a:r>
          </a:p>
        </p:txBody>
      </p:sp>
      <p:sp>
        <p:nvSpPr>
          <p:cNvPr id="4" name="Footer Placeholder 3">
            <a:extLst>
              <a:ext uri="{FF2B5EF4-FFF2-40B4-BE49-F238E27FC236}">
                <a16:creationId xmlns:a16="http://schemas.microsoft.com/office/drawing/2014/main" id="{46C406C8-2617-D442-A446-EA4D0CC6D9A3}"/>
              </a:ext>
            </a:extLst>
          </p:cNvPr>
          <p:cNvSpPr>
            <a:spLocks noGrp="1"/>
          </p:cNvSpPr>
          <p:nvPr>
            <p:ph type="ftr" sz="quarter" idx="13"/>
          </p:nvPr>
        </p:nvSpPr>
        <p:spPr/>
        <p:txBody>
          <a:bodyPr rtlCol="0"/>
          <a:lstStyle/>
          <a:p>
            <a:pPr algn="l" rtl="0"/>
            <a:r>
              <a:rPr lang="en-gb"/>
              <a:t>Presentation Title</a:t>
            </a:r>
          </a:p>
        </p:txBody>
      </p:sp>
    </p:spTree>
    <p:extLst>
      <p:ext uri="{BB962C8B-B14F-4D97-AF65-F5344CB8AC3E}">
        <p14:creationId xmlns:p14="http://schemas.microsoft.com/office/powerpoint/2010/main" val="31647214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our Text Boxes for Icons">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7" name="Text Placeholder 12"/>
          <p:cNvSpPr>
            <a:spLocks noGrp="1"/>
          </p:cNvSpPr>
          <p:nvPr>
            <p:ph type="body" sz="quarter" idx="16" hasCustomPrompt="1"/>
          </p:nvPr>
        </p:nvSpPr>
        <p:spPr>
          <a:xfrm>
            <a:off x="3359638" y="3429000"/>
            <a:ext cx="2560320" cy="2743200"/>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9" name="Text Placeholder 12"/>
          <p:cNvSpPr>
            <a:spLocks noGrp="1"/>
          </p:cNvSpPr>
          <p:nvPr>
            <p:ph type="body" sz="quarter" idx="18" hasCustomPrompt="1"/>
          </p:nvPr>
        </p:nvSpPr>
        <p:spPr>
          <a:xfrm>
            <a:off x="6276363" y="3429000"/>
            <a:ext cx="2560320" cy="2743200"/>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5" name="Text Placeholder 12"/>
          <p:cNvSpPr>
            <a:spLocks noGrp="1"/>
          </p:cNvSpPr>
          <p:nvPr>
            <p:ph type="body" sz="quarter" idx="20" hasCustomPrompt="1"/>
          </p:nvPr>
        </p:nvSpPr>
        <p:spPr>
          <a:xfrm>
            <a:off x="9193088" y="3429000"/>
            <a:ext cx="2560320" cy="2743200"/>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4" name="Title 3"/>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A3D2E598-676F-DE44-A364-05E35FEB3110}"/>
              </a:ext>
            </a:extLst>
          </p:cNvPr>
          <p:cNvSpPr>
            <a:spLocks noGrp="1"/>
          </p:cNvSpPr>
          <p:nvPr>
            <p:ph type="sldNum" sz="quarter" idx="22"/>
          </p:nvPr>
        </p:nvSpPr>
        <p:spPr/>
        <p:txBody>
          <a:bodyPr rtlCol="0"/>
          <a:lstStyle/>
          <a:p>
            <a:pPr rtl="0"/>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D4EE7D73-CC34-F34E-8E0D-FE9EFCAB5B6D}"/>
              </a:ext>
            </a:extLst>
          </p:cNvPr>
          <p:cNvSpPr>
            <a:spLocks noGrp="1"/>
          </p:cNvSpPr>
          <p:nvPr>
            <p:ph type="dt" sz="half" idx="23"/>
          </p:nvPr>
        </p:nvSpPr>
        <p:spPr/>
        <p:txBody>
          <a:bodyPr rtlCol="0"/>
          <a:lstStyle/>
          <a:p>
            <a:pPr rtl="0"/>
            <a:r>
              <a:rPr lang="en-gb"/>
              <a:t>Date</a:t>
            </a:r>
          </a:p>
        </p:txBody>
      </p:sp>
      <p:sp>
        <p:nvSpPr>
          <p:cNvPr id="3" name="Footer Placeholder 2">
            <a:extLst>
              <a:ext uri="{FF2B5EF4-FFF2-40B4-BE49-F238E27FC236}">
                <a16:creationId xmlns:a16="http://schemas.microsoft.com/office/drawing/2014/main" id="{3D69DEA3-5E99-424B-BE2E-8D9202AD4FC0}"/>
              </a:ext>
            </a:extLst>
          </p:cNvPr>
          <p:cNvSpPr>
            <a:spLocks noGrp="1"/>
          </p:cNvSpPr>
          <p:nvPr>
            <p:ph type="ftr" sz="quarter" idx="24"/>
          </p:nvPr>
        </p:nvSpPr>
        <p:spPr/>
        <p:txBody>
          <a:bodyPr rtlCol="0"/>
          <a:lstStyle/>
          <a:p>
            <a:pPr algn="l" rtl="0"/>
            <a:r>
              <a:rPr lang="en-gb"/>
              <a:t>Presentation Title</a:t>
            </a:r>
          </a:p>
        </p:txBody>
      </p:sp>
    </p:spTree>
    <p:extLst>
      <p:ext uri="{BB962C8B-B14F-4D97-AF65-F5344CB8AC3E}">
        <p14:creationId xmlns:p14="http://schemas.microsoft.com/office/powerpoint/2010/main" val="1593770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8D441EEF-A6BC-2368-26BE-D00D5952AFE6}"/>
              </a:ext>
            </a:extLst>
          </p:cNvPr>
          <p:cNvGraphicFramePr>
            <a:graphicFrameLocks noChangeAspect="1"/>
          </p:cNvGraphicFramePr>
          <p:nvPr userDrawn="1">
            <p:custDataLst>
              <p:tags r:id="rId1"/>
            </p:custDataLst>
            <p:extLst>
              <p:ext uri="{D42A27DB-BD31-4B8C-83A1-F6EECF244321}">
                <p14:modId xmlns:p14="http://schemas.microsoft.com/office/powerpoint/2010/main" val="3422456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1" name="think-cell data - do not delete" hidden="1">
                        <a:extLst>
                          <a:ext uri="{FF2B5EF4-FFF2-40B4-BE49-F238E27FC236}">
                            <a16:creationId xmlns:a16="http://schemas.microsoft.com/office/drawing/2014/main" id="{8D441EEF-A6BC-2368-26BE-D00D5952AF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42913" y="432001"/>
            <a:ext cx="11306175" cy="1387274"/>
          </a:xfrm>
        </p:spPr>
        <p:txBody>
          <a:bodyPr vert="horz"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a:xfrm>
            <a:off x="9984296" y="6355080"/>
            <a:ext cx="1764792" cy="137160"/>
          </a:xfrm>
        </p:spPr>
        <p:txBody>
          <a:bodyPr rtlCol="0"/>
          <a:lstStyle/>
          <a:p>
            <a:pPr rtl="0"/>
            <a:r>
              <a:rPr lang="en-gb"/>
              <a:t>Date</a:t>
            </a:r>
          </a:p>
        </p:txBody>
      </p:sp>
      <p:sp>
        <p:nvSpPr>
          <p:cNvPr id="9" name="Text Placeholder 8">
            <a:extLst>
              <a:ext uri="{FF2B5EF4-FFF2-40B4-BE49-F238E27FC236}">
                <a16:creationId xmlns:a16="http://schemas.microsoft.com/office/drawing/2014/main" id="{DD2FB3D1-7235-0BBC-7185-07B5EA3F3CD8}"/>
              </a:ext>
            </a:extLst>
          </p:cNvPr>
          <p:cNvSpPr>
            <a:spLocks noGrp="1"/>
          </p:cNvSpPr>
          <p:nvPr>
            <p:ph type="body" sz="quarter" idx="13" hasCustomPrompt="1"/>
          </p:nvPr>
        </p:nvSpPr>
        <p:spPr>
          <a:xfrm>
            <a:off x="442913" y="6491287"/>
            <a:ext cx="3600000" cy="138113"/>
          </a:xfrm>
        </p:spPr>
        <p:txBody>
          <a:bodyPr rtlCol="0" anchor="ctr"/>
          <a:lstStyle>
            <a:lvl1pPr>
              <a:spcAft>
                <a:spcPts val="0"/>
              </a:spcAft>
              <a:defRPr sz="750" b="0">
                <a:solidFill>
                  <a:schemeClr val="accent1"/>
                </a:solidFill>
              </a:defRPr>
            </a:lvl1pPr>
          </a:lstStyle>
          <a:p>
            <a:pPr lvl="0" rtl="0"/>
            <a:r>
              <a:rPr lang="en-gb"/>
              <a:t>Footer</a:t>
            </a:r>
            <a:endParaRPr lang="en-GB"/>
          </a:p>
        </p:txBody>
      </p:sp>
    </p:spTree>
    <p:extLst>
      <p:ext uri="{BB962C8B-B14F-4D97-AF65-F5344CB8AC3E}">
        <p14:creationId xmlns:p14="http://schemas.microsoft.com/office/powerpoint/2010/main" val="15315883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95797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1251F687-9DDF-5971-6C01-48B246449A4A}"/>
              </a:ext>
            </a:extLst>
          </p:cNvPr>
          <p:cNvSpPr>
            <a:spLocks noGrp="1"/>
          </p:cNvSpPr>
          <p:nvPr>
            <p:ph type="pic" sz="quarter" idx="10"/>
          </p:nvPr>
        </p:nvSpPr>
        <p:spPr>
          <a:xfrm>
            <a:off x="0" y="0"/>
            <a:ext cx="12192000" cy="6858000"/>
          </a:xfrm>
        </p:spPr>
        <p:txBody>
          <a:bodyPr rtlCol="0"/>
          <a:lstStyle/>
          <a:p>
            <a:pPr rtl="0"/>
            <a:endParaRPr lang="en-GB"/>
          </a:p>
        </p:txBody>
      </p:sp>
    </p:spTree>
    <p:extLst>
      <p:ext uri="{BB962C8B-B14F-4D97-AF65-F5344CB8AC3E}">
        <p14:creationId xmlns:p14="http://schemas.microsoft.com/office/powerpoint/2010/main" val="1741556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B1482CA-31CA-3B52-3F46-FD91ED32E52A}"/>
              </a:ext>
            </a:extLst>
          </p:cNvPr>
          <p:cNvGraphicFramePr>
            <a:graphicFrameLocks noChangeAspect="1"/>
          </p:cNvGraphicFramePr>
          <p:nvPr userDrawn="1">
            <p:custDataLst>
              <p:tags r:id="rId13"/>
            </p:custDataLst>
            <p:extLst>
              <p:ext uri="{D42A27DB-BD31-4B8C-83A1-F6EECF244321}">
                <p14:modId xmlns:p14="http://schemas.microsoft.com/office/powerpoint/2010/main" val="835304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73" imgH="476" progId="TCLayout.ActiveDocument.1">
                  <p:embed/>
                </p:oleObj>
              </mc:Choice>
              <mc:Fallback>
                <p:oleObj name="think-cell Slide" r:id="rId14" imgW="473" imgH="476" progId="TCLayout.ActiveDocument.1">
                  <p:embed/>
                  <p:pic>
                    <p:nvPicPr>
                      <p:cNvPr id="9" name="think-cell data - do not delete" hidden="1">
                        <a:extLst>
                          <a:ext uri="{FF2B5EF4-FFF2-40B4-BE49-F238E27FC236}">
                            <a16:creationId xmlns:a16="http://schemas.microsoft.com/office/drawing/2014/main" id="{BB1482CA-31CA-3B52-3F46-FD91ED32E52A}"/>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pPr rtl="0"/>
            <a:r>
              <a:rPr lang="en-gb"/>
              <a:t>[Slide title]</a:t>
            </a:r>
            <a:endParaRPr lang="en-GB"/>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6" name="Slide Number Placeholder 5"/>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sz="750">
                <a:solidFill>
                  <a:schemeClr val="tx1"/>
                </a:solidFill>
              </a:defRPr>
            </a:lvl1pPr>
          </a:lstStyle>
          <a:p>
            <a:pPr rtl="0"/>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CAC161DD-0A25-2B4E-956E-04296B5905CA}"/>
              </a:ext>
            </a:extLst>
          </p:cNvPr>
          <p:cNvSpPr>
            <a:spLocks noGrp="1"/>
          </p:cNvSpPr>
          <p:nvPr>
            <p:ph type="dt" sz="half" idx="2"/>
          </p:nvPr>
        </p:nvSpPr>
        <p:spPr>
          <a:xfrm>
            <a:off x="9984296" y="6355080"/>
            <a:ext cx="1764792" cy="137160"/>
          </a:xfrm>
          <a:prstGeom prst="rect">
            <a:avLst/>
          </a:prstGeom>
        </p:spPr>
        <p:txBody>
          <a:bodyPr vert="horz" lIns="0" tIns="0" rIns="0" bIns="0" rtlCol="0" anchor="b" anchorCtr="0"/>
          <a:lstStyle>
            <a:lvl1pPr algn="r">
              <a:defRPr sz="750">
                <a:solidFill>
                  <a:schemeClr val="tx1"/>
                </a:solidFill>
              </a:defRPr>
            </a:lvl1pPr>
          </a:lstStyle>
          <a:p>
            <a:pPr rtl="0"/>
            <a:r>
              <a:rPr lang="en-gb"/>
              <a:t>Date</a:t>
            </a:r>
          </a:p>
        </p:txBody>
      </p:sp>
      <p:sp>
        <p:nvSpPr>
          <p:cNvPr id="5" name="Footer Placeholder 4">
            <a:extLst>
              <a:ext uri="{FF2B5EF4-FFF2-40B4-BE49-F238E27FC236}">
                <a16:creationId xmlns:a16="http://schemas.microsoft.com/office/drawing/2014/main" id="{BE929DBE-EF12-9845-B0FD-DF795B823DF1}"/>
              </a:ext>
            </a:extLst>
          </p:cNvPr>
          <p:cNvSpPr>
            <a:spLocks noGrp="1"/>
          </p:cNvSpPr>
          <p:nvPr>
            <p:ph type="ftr" sz="quarter" idx="3"/>
          </p:nvPr>
        </p:nvSpPr>
        <p:spPr>
          <a:xfrm>
            <a:off x="442912" y="6355080"/>
            <a:ext cx="5473701" cy="137160"/>
          </a:xfrm>
          <a:prstGeom prst="rect">
            <a:avLst/>
          </a:prstGeom>
        </p:spPr>
        <p:txBody>
          <a:bodyPr vert="horz" lIns="0" tIns="0" rIns="0" bIns="0" rtlCol="0" anchor="b" anchorCtr="0"/>
          <a:lstStyle>
            <a:lvl1pPr algn="ctr">
              <a:defRPr sz="750">
                <a:solidFill>
                  <a:schemeClr val="tx1"/>
                </a:solidFill>
              </a:defRPr>
            </a:lvl1pPr>
          </a:lstStyle>
          <a:p>
            <a:pPr algn="l" rtl="0"/>
            <a:r>
              <a:rPr lang="en-gb"/>
              <a:t>Presentation Title</a:t>
            </a:r>
          </a:p>
        </p:txBody>
      </p:sp>
    </p:spTree>
    <p:extLst>
      <p:ext uri="{BB962C8B-B14F-4D97-AF65-F5344CB8AC3E}">
        <p14:creationId xmlns:p14="http://schemas.microsoft.com/office/powerpoint/2010/main" val="3011101579"/>
      </p:ext>
    </p:extLst>
  </p:cSld>
  <p:clrMap bg1="lt1" tx1="dk1" bg2="lt2" tx2="dk2" accent1="accent1" accent2="accent2" accent3="accent3" accent4="accent4" accent5="accent5" accent6="accent6" hlink="hlink" folHlink="folHlink"/>
  <p:sldLayoutIdLst>
    <p:sldLayoutId id="2147483728" r:id="rId1"/>
    <p:sldLayoutId id="2147483740" r:id="rId2"/>
    <p:sldLayoutId id="2147483741" r:id="rId3"/>
    <p:sldLayoutId id="2147483742" r:id="rId4"/>
    <p:sldLayoutId id="2147483743" r:id="rId5"/>
    <p:sldLayoutId id="2147483750" r:id="rId6"/>
    <p:sldLayoutId id="2147483786" r:id="rId7"/>
    <p:sldLayoutId id="2147483787" r:id="rId8"/>
    <p:sldLayoutId id="2147483790" r:id="rId9"/>
    <p:sldLayoutId id="2147483791" r:id="rId10"/>
    <p:sldLayoutId id="2147483792" r:id="rId11"/>
  </p:sldLayoutIdLst>
  <p:hf hdr="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F26B43"/>
          </p15:clr>
        </p15:guide>
        <p15:guide id="1" pos="279" userDrawn="1">
          <p15:clr>
            <a:srgbClr val="F26B43"/>
          </p15:clr>
        </p15:guide>
        <p15:guide id="2" pos="7401" userDrawn="1">
          <p15:clr>
            <a:srgbClr val="F26B43"/>
          </p15:clr>
        </p15:guide>
        <p15:guide id="3" pos="3953" userDrawn="1">
          <p15:clr>
            <a:srgbClr val="F26B43"/>
          </p15:clr>
        </p15:guide>
        <p15:guide id="4" pos="3727" userDrawn="1">
          <p15:clr>
            <a:srgbClr val="F26B43"/>
          </p15:clr>
        </p15:guide>
        <p15:guide id="5" orient="horz" pos="3888" userDrawn="1">
          <p15:clr>
            <a:srgbClr val="F26B43"/>
          </p15:clr>
        </p15:guide>
        <p15:guide id="6" pos="2726" userDrawn="1">
          <p15:clr>
            <a:srgbClr val="F26B43"/>
          </p15:clr>
        </p15:guide>
        <p15:guide id="7" pos="2502" userDrawn="1">
          <p15:clr>
            <a:srgbClr val="F26B43"/>
          </p15:clr>
        </p15:guide>
        <p15:guide id="8" pos="4952" userDrawn="1">
          <p15:clr>
            <a:srgbClr val="F26B43"/>
          </p15:clr>
        </p15:guide>
        <p15:guide id="9" pos="5177" userDrawn="1">
          <p15:clr>
            <a:srgbClr val="F26B43"/>
          </p15:clr>
        </p15:guide>
        <p15:guide id="10" orient="horz" pos="2160" userDrawn="1">
          <p15:clr>
            <a:srgbClr val="F26B43"/>
          </p15:clr>
        </p15:guide>
        <p15:guide id="11" orient="horz" pos="1325" userDrawn="1">
          <p15:clr>
            <a:srgbClr val="F26B43"/>
          </p15:clr>
        </p15:guide>
        <p15:guide id="12" orient="horz" pos="1146" userDrawn="1">
          <p15:clr>
            <a:srgbClr val="F26B43"/>
          </p15:clr>
        </p15:guide>
        <p15:guide id="13" orient="horz" pos="27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1.xml"/><Relationship Id="rId7"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5.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6.png"/><Relationship Id="rId2" Type="http://schemas.openxmlformats.org/officeDocument/2006/relationships/slideLayout" Target="../slideLayouts/slideLayout7.xml"/><Relationship Id="rId1" Type="http://schemas.openxmlformats.org/officeDocument/2006/relationships/tags" Target="../tags/tag15.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16.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6.png"/><Relationship Id="rId2" Type="http://schemas.openxmlformats.org/officeDocument/2006/relationships/slideLayout" Target="../slideLayouts/slideLayout7.xml"/><Relationship Id="rId1" Type="http://schemas.openxmlformats.org/officeDocument/2006/relationships/tags" Target="../tags/tag17.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0.xml"/><Relationship Id="rId1" Type="http://schemas.openxmlformats.org/officeDocument/2006/relationships/tags" Target="../tags/tag18.xml"/><Relationship Id="rId6" Type="http://schemas.openxmlformats.org/officeDocument/2006/relationships/image" Target="../media/image15.jpeg"/><Relationship Id="rId5" Type="http://schemas.openxmlformats.org/officeDocument/2006/relationships/image" Target="../media/image2.emf"/><Relationship Id="rId4" Type="http://schemas.openxmlformats.org/officeDocument/2006/relationships/oleObject" Target="../embeddings/oleObject17.bin"/></Relationships>
</file>

<file path=ppt/slides/_rels/slide15.xml.rels><?xml version="1.0" encoding="UTF-8" standalone="yes"?>
<Relationships xmlns="http://schemas.openxmlformats.org/package/2006/relationships"><Relationship Id="rId8" Type="http://schemas.openxmlformats.org/officeDocument/2006/relationships/hyperlink" Target="https://www.youtube.com/watch?v=l83uNiZHdsw" TargetMode="External"/><Relationship Id="rId3" Type="http://schemas.openxmlformats.org/officeDocument/2006/relationships/notesSlide" Target="../notesSlides/notesSlide11.xml"/><Relationship Id="rId7" Type="http://schemas.openxmlformats.org/officeDocument/2006/relationships/hyperlink" Target="https://www.youtube.com/watch?v=9DsVHRubNI4" TargetMode="External"/><Relationship Id="rId2" Type="http://schemas.openxmlformats.org/officeDocument/2006/relationships/slideLayout" Target="../slideLayouts/slideLayout5.xml"/><Relationship Id="rId1" Type="http://schemas.openxmlformats.org/officeDocument/2006/relationships/tags" Target="../tags/tag19.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20.xml"/><Relationship Id="rId6" Type="http://schemas.openxmlformats.org/officeDocument/2006/relationships/image" Target="../media/image17.jpe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0.xml"/><Relationship Id="rId1" Type="http://schemas.openxmlformats.org/officeDocument/2006/relationships/tags" Target="../tags/tag21.xml"/><Relationship Id="rId6" Type="http://schemas.openxmlformats.org/officeDocument/2006/relationships/image" Target="../media/image18.jpeg"/><Relationship Id="rId5" Type="http://schemas.openxmlformats.org/officeDocument/2006/relationships/image" Target="../media/image2.emf"/><Relationship Id="rId4" Type="http://schemas.openxmlformats.org/officeDocument/2006/relationships/oleObject" Target="../embeddings/oleObject20.bin"/></Relationships>
</file>

<file path=ppt/slides/_rels/slide18.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6.png"/><Relationship Id="rId18" Type="http://schemas.openxmlformats.org/officeDocument/2006/relationships/image" Target="../media/image31.svg"/><Relationship Id="rId3" Type="http://schemas.openxmlformats.org/officeDocument/2006/relationships/notesSlide" Target="../notesSlides/notesSlide14.xml"/><Relationship Id="rId21" Type="http://schemas.openxmlformats.org/officeDocument/2006/relationships/image" Target="../media/image34.png"/><Relationship Id="rId7" Type="http://schemas.openxmlformats.org/officeDocument/2006/relationships/image" Target="../media/image20.png"/><Relationship Id="rId12" Type="http://schemas.openxmlformats.org/officeDocument/2006/relationships/image" Target="../media/image25.svg"/><Relationship Id="rId17" Type="http://schemas.openxmlformats.org/officeDocument/2006/relationships/image" Target="../media/image30.png"/><Relationship Id="rId25" Type="http://schemas.openxmlformats.org/officeDocument/2006/relationships/image" Target="../media/image6.png"/><Relationship Id="rId2" Type="http://schemas.openxmlformats.org/officeDocument/2006/relationships/slideLayout" Target="../slideLayouts/slideLayout11.xml"/><Relationship Id="rId16" Type="http://schemas.openxmlformats.org/officeDocument/2006/relationships/image" Target="../media/image29.svg"/><Relationship Id="rId20" Type="http://schemas.openxmlformats.org/officeDocument/2006/relationships/image" Target="../media/image33.svg"/><Relationship Id="rId1" Type="http://schemas.openxmlformats.org/officeDocument/2006/relationships/tags" Target="../tags/tag22.xml"/><Relationship Id="rId6" Type="http://schemas.openxmlformats.org/officeDocument/2006/relationships/image" Target="../media/image1.emf"/><Relationship Id="rId11" Type="http://schemas.openxmlformats.org/officeDocument/2006/relationships/image" Target="../media/image24.png"/><Relationship Id="rId24" Type="http://schemas.openxmlformats.org/officeDocument/2006/relationships/image" Target="../media/image37.svg"/><Relationship Id="rId5" Type="http://schemas.openxmlformats.org/officeDocument/2006/relationships/oleObject" Target="../embeddings/oleObject21.bin"/><Relationship Id="rId15" Type="http://schemas.openxmlformats.org/officeDocument/2006/relationships/image" Target="../media/image28.png"/><Relationship Id="rId23" Type="http://schemas.openxmlformats.org/officeDocument/2006/relationships/image" Target="../media/image36.png"/><Relationship Id="rId10" Type="http://schemas.openxmlformats.org/officeDocument/2006/relationships/image" Target="../media/image23.svg"/><Relationship Id="rId19" Type="http://schemas.openxmlformats.org/officeDocument/2006/relationships/image" Target="../media/image32.png"/><Relationship Id="rId4" Type="http://schemas.openxmlformats.org/officeDocument/2006/relationships/image" Target="../media/image19.jpeg"/><Relationship Id="rId9" Type="http://schemas.openxmlformats.org/officeDocument/2006/relationships/image" Target="../media/image22.png"/><Relationship Id="rId14" Type="http://schemas.openxmlformats.org/officeDocument/2006/relationships/image" Target="../media/image27.svg"/><Relationship Id="rId22" Type="http://schemas.openxmlformats.org/officeDocument/2006/relationships/image" Target="../media/image35.sv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6.png"/><Relationship Id="rId2" Type="http://schemas.openxmlformats.org/officeDocument/2006/relationships/slideLayout" Target="../slideLayouts/slideLayout7.xml"/><Relationship Id="rId1" Type="http://schemas.openxmlformats.org/officeDocument/2006/relationships/tags" Target="../tags/tag23.xml"/><Relationship Id="rId6" Type="http://schemas.openxmlformats.org/officeDocument/2006/relationships/image" Target="../media/image38.jpe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1.xml"/><Relationship Id="rId1" Type="http://schemas.openxmlformats.org/officeDocument/2006/relationships/tags" Target="../tags/tag6.xml"/><Relationship Id="rId6" Type="http://schemas.openxmlformats.org/officeDocument/2006/relationships/image" Target="../media/image7.jpeg"/><Relationship Id="rId5" Type="http://schemas.openxmlformats.org/officeDocument/2006/relationships/image" Target="../media/image6.pn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6.png"/><Relationship Id="rId2" Type="http://schemas.openxmlformats.org/officeDocument/2006/relationships/slideLayout" Target="../slideLayouts/slideLayout7.xml"/><Relationship Id="rId1" Type="http://schemas.openxmlformats.org/officeDocument/2006/relationships/tags" Target="../tags/tag24.xml"/><Relationship Id="rId6" Type="http://schemas.openxmlformats.org/officeDocument/2006/relationships/image" Target="../media/image38.jpe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6.png"/><Relationship Id="rId2" Type="http://schemas.openxmlformats.org/officeDocument/2006/relationships/slideLayout" Target="../slideLayouts/slideLayout7.xml"/><Relationship Id="rId1" Type="http://schemas.openxmlformats.org/officeDocument/2006/relationships/tags" Target="../tags/tag25.xml"/><Relationship Id="rId6" Type="http://schemas.openxmlformats.org/officeDocument/2006/relationships/image" Target="../media/image38.jpe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27.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5.xml"/><Relationship Id="rId1" Type="http://schemas.openxmlformats.org/officeDocument/2006/relationships/tags" Target="../tags/tag32.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29.xml.rels><?xml version="1.0" encoding="UTF-8" standalone="yes"?>
<Relationships xmlns="http://schemas.openxmlformats.org/package/2006/relationships"><Relationship Id="rId8" Type="http://schemas.openxmlformats.org/officeDocument/2006/relationships/hyperlink" Target="https://www.nmpd.gov.lv/lv/sliksana" TargetMode="External"/><Relationship Id="rId3" Type="http://schemas.openxmlformats.org/officeDocument/2006/relationships/notesSlide" Target="../notesSlides/notesSlide25.xml"/><Relationship Id="rId7" Type="http://schemas.openxmlformats.org/officeDocument/2006/relationships/image" Target="../media/image6.png"/><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image" Target="../media/image39.jpe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1.xml"/><Relationship Id="rId1" Type="http://schemas.openxmlformats.org/officeDocument/2006/relationships/tags" Target="../tags/tag7.xml"/><Relationship Id="rId5" Type="http://schemas.openxmlformats.org/officeDocument/2006/relationships/image" Target="../media/image8.jpe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5.xml"/><Relationship Id="rId1" Type="http://schemas.openxmlformats.org/officeDocument/2006/relationships/tags" Target="../tags/tag34.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5.xml"/><Relationship Id="rId1" Type="http://schemas.openxmlformats.org/officeDocument/2006/relationships/tags" Target="../tags/tag35.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6.png"/><Relationship Id="rId2" Type="http://schemas.openxmlformats.org/officeDocument/2006/relationships/slideLayout" Target="../slideLayouts/slideLayout5.xml"/><Relationship Id="rId1" Type="http://schemas.openxmlformats.org/officeDocument/2006/relationships/tags" Target="../tags/tag36.x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image" Target="../media/image40.jpe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6.png"/><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image" Target="../media/image41.jpe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34.xml.rels><?xml version="1.0" encoding="UTF-8" standalone="yes"?>
<Relationships xmlns="http://schemas.openxmlformats.org/package/2006/relationships"><Relationship Id="rId8" Type="http://schemas.openxmlformats.org/officeDocument/2006/relationships/hyperlink" Target="https://www.youtube.com/watch?v=Ue407uWqzC0" TargetMode="External"/><Relationship Id="rId3" Type="http://schemas.openxmlformats.org/officeDocument/2006/relationships/notesSlide" Target="../notesSlides/notesSlide30.xml"/><Relationship Id="rId7" Type="http://schemas.openxmlformats.org/officeDocument/2006/relationships/image" Target="../media/image6.png"/><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image" Target="../media/image38.jpe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6.png"/><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image" Target="../media/image42.jpe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36.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notesSlide" Target="../notesSlides/notesSlide32.xml"/><Relationship Id="rId7" Type="http://schemas.openxmlformats.org/officeDocument/2006/relationships/image" Target="../media/image43.png"/><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9.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46.svg"/><Relationship Id="rId2" Type="http://schemas.openxmlformats.org/officeDocument/2006/relationships/slideLayout" Target="../slideLayouts/slideLayout5.xml"/><Relationship Id="rId1" Type="http://schemas.openxmlformats.org/officeDocument/2006/relationships/tags" Target="../tags/tag41.x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40.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hyperlink" Target="https://www.youtube.com/watch?v=BVocuHX4xOI&amp;t=2s" TargetMode="External"/><Relationship Id="rId2" Type="http://schemas.openxmlformats.org/officeDocument/2006/relationships/slideLayout" Target="../slideLayouts/slideLayout5.xml"/><Relationship Id="rId1" Type="http://schemas.openxmlformats.org/officeDocument/2006/relationships/tags" Target="../tags/tag42.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41.bin"/></Relationships>
</file>

<file path=ppt/slides/_rels/slide39.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notesSlide" Target="../notesSlides/notesSlide35.xml"/><Relationship Id="rId7" Type="http://schemas.openxmlformats.org/officeDocument/2006/relationships/image" Target="../media/image47.png"/><Relationship Id="rId2" Type="http://schemas.openxmlformats.org/officeDocument/2006/relationships/slideLayout" Target="../slideLayouts/slideLayout5.xml"/><Relationship Id="rId1" Type="http://schemas.openxmlformats.org/officeDocument/2006/relationships/tags" Target="../tags/tag43.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42.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8.xml"/><Relationship Id="rId6" Type="http://schemas.openxmlformats.org/officeDocument/2006/relationships/image" Target="../media/image9.jpeg"/><Relationship Id="rId5" Type="http://schemas.openxmlformats.org/officeDocument/2006/relationships/image" Target="../media/image2.emf"/><Relationship Id="rId4" Type="http://schemas.openxmlformats.org/officeDocument/2006/relationships/oleObject" Target="../embeddings/oleObject7.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6.png"/><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image" Target="../media/image49.jpe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6.png"/><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image" Target="../media/image49.jpe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6.png"/><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image" Target="../media/image50.jpe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6.png"/><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image" Target="../media/image51.jpe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6.png"/><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image" Target="../media/image52.jpeg"/><Relationship Id="rId5" Type="http://schemas.openxmlformats.org/officeDocument/2006/relationships/image" Target="../media/image1.emf"/><Relationship Id="rId4" Type="http://schemas.openxmlformats.org/officeDocument/2006/relationships/oleObject" Target="../embeddings/oleObject47.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6.png"/><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image" Target="../media/image53.jpeg"/><Relationship Id="rId5" Type="http://schemas.openxmlformats.org/officeDocument/2006/relationships/image" Target="../media/image1.emf"/><Relationship Id="rId4" Type="http://schemas.openxmlformats.org/officeDocument/2006/relationships/oleObject" Target="../embeddings/oleObject48.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0.xml"/><Relationship Id="rId1" Type="http://schemas.openxmlformats.org/officeDocument/2006/relationships/tags" Target="../tags/tag50.xml"/><Relationship Id="rId6" Type="http://schemas.openxmlformats.org/officeDocument/2006/relationships/image" Target="../media/image54.jpeg"/><Relationship Id="rId5" Type="http://schemas.openxmlformats.org/officeDocument/2006/relationships/image" Target="../media/image2.emf"/><Relationship Id="rId4" Type="http://schemas.openxmlformats.org/officeDocument/2006/relationships/oleObject" Target="../embeddings/oleObject49.bin"/></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7.xml"/><Relationship Id="rId1" Type="http://schemas.openxmlformats.org/officeDocument/2006/relationships/tags" Target="../tags/tag10.xml"/><Relationship Id="rId5" Type="http://schemas.openxmlformats.org/officeDocument/2006/relationships/image" Target="../media/image10.jpe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0.xml"/><Relationship Id="rId1" Type="http://schemas.openxmlformats.org/officeDocument/2006/relationships/tags" Target="../tags/tag12.xml"/><Relationship Id="rId6" Type="http://schemas.openxmlformats.org/officeDocument/2006/relationships/image" Target="../media/image12.jpeg"/><Relationship Id="rId5" Type="http://schemas.openxmlformats.org/officeDocument/2006/relationships/image" Target="../media/image2.emf"/><Relationship Id="rId4" Type="http://schemas.openxmlformats.org/officeDocument/2006/relationships/oleObject" Target="../embeddings/oleObject11.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5.xml"/><Relationship Id="rId1" Type="http://schemas.openxmlformats.org/officeDocument/2006/relationships/tags" Target="../tags/tag13.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519BE3E-6430-6DF8-7979-F97BC9AEB1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think-cell data - do not delete" hidden="1">
                        <a:extLst>
                          <a:ext uri="{FF2B5EF4-FFF2-40B4-BE49-F238E27FC236}">
                            <a16:creationId xmlns:a16="http://schemas.microsoft.com/office/drawing/2014/main" id="{F519BE3E-6430-6DF8-7979-F97BC9AEB1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5" name="Picture Placeholder 24" descr="A group of people in blue uniforms&#10;&#10;Description automatically generated">
            <a:extLst>
              <a:ext uri="{FF2B5EF4-FFF2-40B4-BE49-F238E27FC236}">
                <a16:creationId xmlns:a16="http://schemas.microsoft.com/office/drawing/2014/main" id="{C8497267-3385-72A7-9442-F96BED434CC7}"/>
              </a:ext>
            </a:extLst>
          </p:cNvPr>
          <p:cNvPicPr>
            <a:picLocks noGrp="1" noChangeAspect="1"/>
          </p:cNvPicPr>
          <p:nvPr>
            <p:ph type="pic" sz="quarter" idx="10"/>
          </p:nvPr>
        </p:nvPicPr>
        <p:blipFill>
          <a:blip r:embed="rId6"/>
          <a:srcRect t="7812" b="7812"/>
          <a:stretch>
            <a:fillRect/>
          </a:stretch>
        </p:blipFill>
        <p:spPr>
          <a:xfrm>
            <a:off x="0" y="0"/>
            <a:ext cx="12192000" cy="6858000"/>
          </a:xfrm>
        </p:spPr>
      </p:pic>
      <p:sp>
        <p:nvSpPr>
          <p:cNvPr id="15" name="Rectangle 14">
            <a:extLst>
              <a:ext uri="{FF2B5EF4-FFF2-40B4-BE49-F238E27FC236}">
                <a16:creationId xmlns:a16="http://schemas.microsoft.com/office/drawing/2014/main" id="{BE44F20B-FA95-2861-40B9-74FCD9F509AC}"/>
              </a:ext>
            </a:extLst>
          </p:cNvPr>
          <p:cNvSpPr>
            <a:spLocks/>
          </p:cNvSpPr>
          <p:nvPr/>
        </p:nvSpPr>
        <p:spPr>
          <a:xfrm>
            <a:off x="10886" y="0"/>
            <a:ext cx="12192000" cy="6858000"/>
          </a:xfrm>
          <a:prstGeom prst="rect">
            <a:avLst/>
          </a:prstGeom>
          <a:solidFill>
            <a:srgbClr val="525A72">
              <a:alpha val="50000"/>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0" name="Rectangle 9">
            <a:extLst>
              <a:ext uri="{FF2B5EF4-FFF2-40B4-BE49-F238E27FC236}">
                <a16:creationId xmlns:a16="http://schemas.microsoft.com/office/drawing/2014/main" id="{1AF1F518-FFCA-3677-677C-CC302DF4DAFE}"/>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1" name="Rectangle 10">
            <a:extLst>
              <a:ext uri="{FF2B5EF4-FFF2-40B4-BE49-F238E27FC236}">
                <a16:creationId xmlns:a16="http://schemas.microsoft.com/office/drawing/2014/main" id="{DBC36456-4B66-EB4A-D981-C3F1BA8DC87C}"/>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Rectangle 11">
            <a:extLst>
              <a:ext uri="{FF2B5EF4-FFF2-40B4-BE49-F238E27FC236}">
                <a16:creationId xmlns:a16="http://schemas.microsoft.com/office/drawing/2014/main" id="{123D026D-5D8F-A549-5FE7-CFE0079FF1A4}"/>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3" name="Rectangle 12">
            <a:extLst>
              <a:ext uri="{FF2B5EF4-FFF2-40B4-BE49-F238E27FC236}">
                <a16:creationId xmlns:a16="http://schemas.microsoft.com/office/drawing/2014/main" id="{2CDF9D1C-06B6-DBD5-46F8-513B52B4445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E62C2375-E0A6-F543-AA10-2197973EFACB}"/>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6" name="Taisnstūris 6">
            <a:extLst>
              <a:ext uri="{FF2B5EF4-FFF2-40B4-BE49-F238E27FC236}">
                <a16:creationId xmlns:a16="http://schemas.microsoft.com/office/drawing/2014/main" id="{12D56AF0-5D91-586B-FC86-6E2EA8AA6489}"/>
              </a:ext>
            </a:extLst>
          </p:cNvPr>
          <p:cNvSpPr/>
          <p:nvPr/>
        </p:nvSpPr>
        <p:spPr>
          <a:xfrm>
            <a:off x="12398077" y="0"/>
            <a:ext cx="635096" cy="809893"/>
          </a:xfrm>
          <a:prstGeom prst="rect">
            <a:avLst/>
          </a:prstGeom>
          <a:solidFill>
            <a:srgbClr val="A4A3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7" name="Taisnstūris 3">
            <a:extLst>
              <a:ext uri="{FF2B5EF4-FFF2-40B4-BE49-F238E27FC236}">
                <a16:creationId xmlns:a16="http://schemas.microsoft.com/office/drawing/2014/main" id="{2AD67365-5F03-E963-4C79-A9BF11E64D4B}"/>
              </a:ext>
            </a:extLst>
          </p:cNvPr>
          <p:cNvSpPr/>
          <p:nvPr/>
        </p:nvSpPr>
        <p:spPr>
          <a:xfrm>
            <a:off x="12398125" y="956285"/>
            <a:ext cx="635000" cy="809625"/>
          </a:xfrm>
          <a:prstGeom prst="rect">
            <a:avLst/>
          </a:prstGeom>
          <a:solidFill>
            <a:srgbClr val="A81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8" name="Taisnstūris 4">
            <a:extLst>
              <a:ext uri="{FF2B5EF4-FFF2-40B4-BE49-F238E27FC236}">
                <a16:creationId xmlns:a16="http://schemas.microsoft.com/office/drawing/2014/main" id="{3EFF9D7B-F6C9-BDA4-7649-F6C5399146DF}"/>
              </a:ext>
            </a:extLst>
          </p:cNvPr>
          <p:cNvSpPr/>
          <p:nvPr/>
        </p:nvSpPr>
        <p:spPr>
          <a:xfrm>
            <a:off x="12398125" y="1912302"/>
            <a:ext cx="635000" cy="809625"/>
          </a:xfrm>
          <a:prstGeom prst="rect">
            <a:avLst/>
          </a:pr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9" name="Taisnstūris 7">
            <a:extLst>
              <a:ext uri="{FF2B5EF4-FFF2-40B4-BE49-F238E27FC236}">
                <a16:creationId xmlns:a16="http://schemas.microsoft.com/office/drawing/2014/main" id="{3BD32581-6C0C-F715-E58C-F0FC848A828C}"/>
              </a:ext>
            </a:extLst>
          </p:cNvPr>
          <p:cNvSpPr/>
          <p:nvPr/>
        </p:nvSpPr>
        <p:spPr>
          <a:xfrm>
            <a:off x="12398125" y="2868319"/>
            <a:ext cx="635000" cy="809625"/>
          </a:xfrm>
          <a:prstGeom prst="rect">
            <a:avLst/>
          </a:prstGeom>
          <a:solidFill>
            <a:srgbClr val="D18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20" name="Taisnstūris 5">
            <a:extLst>
              <a:ext uri="{FF2B5EF4-FFF2-40B4-BE49-F238E27FC236}">
                <a16:creationId xmlns:a16="http://schemas.microsoft.com/office/drawing/2014/main" id="{C32CDEE4-492E-89E4-B047-D845DF6A57F6}"/>
              </a:ext>
            </a:extLst>
          </p:cNvPr>
          <p:cNvSpPr/>
          <p:nvPr/>
        </p:nvSpPr>
        <p:spPr>
          <a:xfrm>
            <a:off x="12398125" y="3824336"/>
            <a:ext cx="635000" cy="809625"/>
          </a:xfrm>
          <a:prstGeom prst="rect">
            <a:avLst/>
          </a:prstGeom>
          <a:solidFill>
            <a:srgbClr val="D0C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21" name="Rectangle 20">
            <a:extLst>
              <a:ext uri="{FF2B5EF4-FFF2-40B4-BE49-F238E27FC236}">
                <a16:creationId xmlns:a16="http://schemas.microsoft.com/office/drawing/2014/main" id="{E8EC1277-A063-49F0-81F3-8CB8E7AB2F86}"/>
              </a:ext>
            </a:extLst>
          </p:cNvPr>
          <p:cNvSpPr/>
          <p:nvPr/>
        </p:nvSpPr>
        <p:spPr>
          <a:xfrm>
            <a:off x="12398125" y="4780352"/>
            <a:ext cx="635000" cy="809625"/>
          </a:xfrm>
          <a:prstGeom prst="rect">
            <a:avLst/>
          </a:prstGeom>
          <a:solidFill>
            <a:srgbClr val="CFD6E8"/>
          </a:solidFill>
          <a:ln>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 name="Rectangle 1">
            <a:extLst>
              <a:ext uri="{FF2B5EF4-FFF2-40B4-BE49-F238E27FC236}">
                <a16:creationId xmlns:a16="http://schemas.microsoft.com/office/drawing/2014/main" id="{40C94636-67C5-CC6E-9572-F8450A951DAF}"/>
              </a:ext>
            </a:extLst>
          </p:cNvPr>
          <p:cNvSpPr/>
          <p:nvPr/>
        </p:nvSpPr>
        <p:spPr>
          <a:xfrm>
            <a:off x="0" y="4952770"/>
            <a:ext cx="11034402" cy="190523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2" name="TextBox 21">
            <a:extLst>
              <a:ext uri="{FF2B5EF4-FFF2-40B4-BE49-F238E27FC236}">
                <a16:creationId xmlns:a16="http://schemas.microsoft.com/office/drawing/2014/main" id="{A23194B3-7795-B693-1047-15EAD1BF84E8}"/>
              </a:ext>
            </a:extLst>
          </p:cNvPr>
          <p:cNvSpPr txBox="1"/>
          <p:nvPr/>
        </p:nvSpPr>
        <p:spPr>
          <a:xfrm>
            <a:off x="0" y="857851"/>
            <a:ext cx="6238875" cy="1415120"/>
          </a:xfrm>
          <a:prstGeom prst="rect">
            <a:avLst/>
          </a:prstGeom>
          <a:solidFill>
            <a:srgbClr val="525A72"/>
          </a:solidFill>
        </p:spPr>
        <p:txBody>
          <a:bodyPr wrap="square" lIns="468000" tIns="108000" rIns="108000" bIns="108000" anchor="ctr">
            <a:noAutofit/>
          </a:bodyPr>
          <a:lstStyle/>
          <a:p>
            <a:pPr>
              <a:lnSpc>
                <a:spcPct val="90000"/>
              </a:lnSpc>
              <a:spcBef>
                <a:spcPts val="1000"/>
              </a:spcBef>
            </a:pPr>
            <a:r>
              <a:rPr lang="lv-LV" sz="4400" dirty="0">
                <a:solidFill>
                  <a:schemeClr val="bg1"/>
                </a:solidFill>
                <a:latin typeface="+mj-lt"/>
              </a:rPr>
              <a:t>7. First aid </a:t>
            </a:r>
            <a:r>
              <a:rPr lang="lv-LV" sz="4400" dirty="0" err="1">
                <a:solidFill>
                  <a:schemeClr val="bg1"/>
                </a:solidFill>
                <a:latin typeface="+mj-lt"/>
              </a:rPr>
              <a:t>skills</a:t>
            </a:r>
            <a:endParaRPr lang="lv-LV" sz="4400" dirty="0">
              <a:solidFill>
                <a:schemeClr val="bg1"/>
              </a:solidFill>
              <a:latin typeface="+mj-lt"/>
            </a:endParaRPr>
          </a:p>
        </p:txBody>
      </p:sp>
      <p:sp>
        <p:nvSpPr>
          <p:cNvPr id="28" name="TextBox 27">
            <a:extLst>
              <a:ext uri="{FF2B5EF4-FFF2-40B4-BE49-F238E27FC236}">
                <a16:creationId xmlns:a16="http://schemas.microsoft.com/office/drawing/2014/main" id="{C16C8DB9-3881-94F9-A654-2D14350544F3}"/>
              </a:ext>
            </a:extLst>
          </p:cNvPr>
          <p:cNvSpPr txBox="1"/>
          <p:nvPr/>
        </p:nvSpPr>
        <p:spPr>
          <a:xfrm>
            <a:off x="0" y="435446"/>
            <a:ext cx="5515617" cy="422405"/>
          </a:xfrm>
          <a:prstGeom prst="rect">
            <a:avLst/>
          </a:prstGeom>
          <a:solidFill>
            <a:srgbClr val="CFD6E8"/>
          </a:solidFill>
        </p:spPr>
        <p:txBody>
          <a:bodyPr wrap="square" lIns="468000" tIns="72000" rIns="72000" bIns="72000" anchor="t">
            <a:spAutoFit/>
          </a:bodyPr>
          <a:lstStyle/>
          <a:p>
            <a:r>
              <a:rPr lang="lv-LV" dirty="0" err="1">
                <a:latin typeface="+mj-lt"/>
              </a:rPr>
              <a:t>Study</a:t>
            </a:r>
            <a:r>
              <a:rPr lang="lv-LV" dirty="0">
                <a:latin typeface="+mj-lt"/>
              </a:rPr>
              <a:t> </a:t>
            </a:r>
            <a:r>
              <a:rPr lang="lv-LV" dirty="0" err="1">
                <a:latin typeface="+mj-lt"/>
              </a:rPr>
              <a:t>course</a:t>
            </a:r>
            <a:r>
              <a:rPr lang="lv-LV" dirty="0">
                <a:latin typeface="+mj-lt"/>
              </a:rPr>
              <a:t> "</a:t>
            </a:r>
            <a:r>
              <a:rPr lang="lv-LV" dirty="0" err="1">
                <a:latin typeface="+mj-lt"/>
              </a:rPr>
              <a:t>Civil</a:t>
            </a:r>
            <a:r>
              <a:rPr lang="lv-LV" dirty="0">
                <a:latin typeface="+mj-lt"/>
              </a:rPr>
              <a:t> </a:t>
            </a:r>
            <a:r>
              <a:rPr lang="lv-LV" dirty="0" err="1">
                <a:latin typeface="+mj-lt"/>
              </a:rPr>
              <a:t>Protection</a:t>
            </a:r>
            <a:r>
              <a:rPr lang="lv-LV" dirty="0">
                <a:latin typeface="+mj-lt"/>
              </a:rPr>
              <a:t>"</a:t>
            </a:r>
          </a:p>
        </p:txBody>
      </p:sp>
      <p:sp>
        <p:nvSpPr>
          <p:cNvPr id="29" name="TextBox 28">
            <a:extLst>
              <a:ext uri="{FF2B5EF4-FFF2-40B4-BE49-F238E27FC236}">
                <a16:creationId xmlns:a16="http://schemas.microsoft.com/office/drawing/2014/main" id="{9EC6938E-F2BC-AC86-28EB-89CA269398B1}"/>
              </a:ext>
            </a:extLst>
          </p:cNvPr>
          <p:cNvSpPr txBox="1"/>
          <p:nvPr/>
        </p:nvSpPr>
        <p:spPr>
          <a:xfrm>
            <a:off x="442911" y="2949097"/>
            <a:ext cx="10113199" cy="1515012"/>
          </a:xfrm>
          <a:prstGeom prst="rect">
            <a:avLst/>
          </a:prstGeom>
          <a:noFill/>
        </p:spPr>
        <p:txBody>
          <a:bodyPr wrap="square" lIns="72000" tIns="72000" rIns="72000" bIns="72000">
            <a:spAutoFit/>
          </a:bodyPr>
          <a:lstStyle/>
          <a:p>
            <a:pPr rtl="0">
              <a:lnSpc>
                <a:spcPct val="100000"/>
              </a:lnSpc>
              <a:spcAft>
                <a:spcPts val="600"/>
              </a:spcAft>
              <a:buSzPct val="100000"/>
            </a:pPr>
            <a:r>
              <a:rPr lang="en-gb" sz="1400" dirty="0">
                <a:solidFill>
                  <a:schemeClr val="bg1"/>
                </a:solidFill>
                <a:latin typeface="+mj-lt"/>
              </a:rPr>
              <a:t>Developed on the basis of a </a:t>
            </a:r>
            <a:r>
              <a:rPr lang="en-gb" sz="1400" dirty="0">
                <a:solidFill>
                  <a:schemeClr val="bg1"/>
                </a:solidFill>
                <a:effectLst/>
                <a:latin typeface="+mj-lt"/>
                <a:ea typeface="Times New Roman" panose="02020603050405020304" pitchFamily="18" charset="0"/>
              </a:rPr>
              <a:t>document by the </a:t>
            </a:r>
            <a:r>
              <a:rPr lang="lv-LV" sz="1400" dirty="0" err="1">
                <a:solidFill>
                  <a:schemeClr val="bg1"/>
                </a:solidFill>
                <a:effectLst/>
                <a:latin typeface="+mj-lt"/>
                <a:ea typeface="Times New Roman" panose="02020603050405020304" pitchFamily="18" charset="0"/>
              </a:rPr>
              <a:t>State</a:t>
            </a:r>
            <a:r>
              <a:rPr lang="lv-LV" sz="1400" dirty="0">
                <a:solidFill>
                  <a:schemeClr val="bg1"/>
                </a:solidFill>
                <a:effectLst/>
                <a:latin typeface="+mj-lt"/>
                <a:ea typeface="Times New Roman" panose="02020603050405020304" pitchFamily="18" charset="0"/>
              </a:rPr>
              <a:t> </a:t>
            </a:r>
            <a:r>
              <a:rPr lang="en-gb" sz="1400" dirty="0">
                <a:solidFill>
                  <a:schemeClr val="bg1"/>
                </a:solidFill>
                <a:effectLst/>
                <a:latin typeface="+mj-lt"/>
                <a:ea typeface="Times New Roman" panose="02020603050405020304" pitchFamily="18" charset="0"/>
              </a:rPr>
              <a:t>Emergency Medical Service </a:t>
            </a:r>
            <a:br>
              <a:rPr lang="lv-LV" sz="1400" dirty="0">
                <a:solidFill>
                  <a:schemeClr val="bg1"/>
                </a:solidFill>
                <a:effectLst/>
                <a:latin typeface="+mj-lt"/>
                <a:ea typeface="Times New Roman" panose="02020603050405020304" pitchFamily="18" charset="0"/>
              </a:rPr>
            </a:br>
            <a:r>
              <a:rPr lang="en-gb" sz="1400" dirty="0">
                <a:solidFill>
                  <a:schemeClr val="bg1"/>
                </a:solidFill>
                <a:effectLst/>
                <a:latin typeface="+mj-lt"/>
                <a:ea typeface="Times New Roman" panose="02020603050405020304" pitchFamily="18" charset="0"/>
              </a:rPr>
              <a:t>"</a:t>
            </a:r>
            <a:r>
              <a:rPr lang="en-gb" sz="1400" dirty="0">
                <a:solidFill>
                  <a:schemeClr val="bg1"/>
                </a:solidFill>
                <a:latin typeface="+mj-lt"/>
              </a:rPr>
              <a:t>Guidelines for first aid - basic knowledge and skills"</a:t>
            </a:r>
            <a:endParaRPr lang="en-GB" sz="1400" dirty="0">
              <a:solidFill>
                <a:schemeClr val="bg1"/>
              </a:solidFill>
              <a:latin typeface="+mj-lt"/>
            </a:endParaRPr>
          </a:p>
          <a:p>
            <a:pPr>
              <a:spcAft>
                <a:spcPts val="600"/>
              </a:spcAft>
              <a:buSzPct val="100000"/>
            </a:pPr>
            <a:r>
              <a:rPr lang="en-US" sz="1400" b="0" i="0" dirty="0">
                <a:solidFill>
                  <a:schemeClr val="bg1"/>
                </a:solidFill>
                <a:effectLst/>
                <a:latin typeface="+mj-lt"/>
              </a:rPr>
              <a:t>Developed in the framework of the European Commission’s Civil Protection Financial Instrument "Track1" project "Establishment of comprehensive civil protection and disaster management training for governmental institutions, civil protection commissions of municipalities, universities, Fire Safety and Civil Protection College, as well as establishing safety advice for the public" (ECHO/SUB/2022/TRACK1/884396) ​</a:t>
            </a:r>
            <a:endParaRPr lang="lv-LV" sz="1400" dirty="0">
              <a:solidFill>
                <a:schemeClr val="bg1"/>
              </a:solidFill>
              <a:latin typeface="+mj-lt"/>
            </a:endParaRPr>
          </a:p>
        </p:txBody>
      </p:sp>
      <p:grpSp>
        <p:nvGrpSpPr>
          <p:cNvPr id="3" name="Group 2">
            <a:extLst>
              <a:ext uri="{FF2B5EF4-FFF2-40B4-BE49-F238E27FC236}">
                <a16:creationId xmlns:a16="http://schemas.microsoft.com/office/drawing/2014/main" id="{B780F63A-529F-B0BC-8FF7-39368145E7F7}"/>
              </a:ext>
            </a:extLst>
          </p:cNvPr>
          <p:cNvGrpSpPr/>
          <p:nvPr/>
        </p:nvGrpSpPr>
        <p:grpSpPr>
          <a:xfrm>
            <a:off x="694659" y="5008254"/>
            <a:ext cx="1307297" cy="1580543"/>
            <a:chOff x="94218" y="-202019"/>
            <a:chExt cx="1599282" cy="1844621"/>
          </a:xfrm>
        </p:grpSpPr>
        <p:pic>
          <p:nvPicPr>
            <p:cNvPr id="23" name="Picture 22" descr="A blue and black flag with black text&#10;&#10;Description automatically generated">
              <a:extLst>
                <a:ext uri="{FF2B5EF4-FFF2-40B4-BE49-F238E27FC236}">
                  <a16:creationId xmlns:a16="http://schemas.microsoft.com/office/drawing/2014/main" id="{8906F70F-A346-CE1C-604E-C814C368EDB5}"/>
                </a:ext>
              </a:extLst>
            </p:cNvPr>
            <p:cNvPicPr>
              <a:picLocks noChangeAspect="1"/>
            </p:cNvPicPr>
            <p:nvPr/>
          </p:nvPicPr>
          <p:blipFill>
            <a:blip r:embed="rId7"/>
            <a:stretch>
              <a:fillRect/>
            </a:stretch>
          </p:blipFill>
          <p:spPr>
            <a:xfrm>
              <a:off x="127590" y="-202019"/>
              <a:ext cx="1565910" cy="1586865"/>
            </a:xfrm>
            <a:prstGeom prst="rect">
              <a:avLst/>
            </a:prstGeom>
          </p:spPr>
        </p:pic>
        <p:sp>
          <p:nvSpPr>
            <p:cNvPr id="24" name="Text Box 2">
              <a:extLst>
                <a:ext uri="{FF2B5EF4-FFF2-40B4-BE49-F238E27FC236}">
                  <a16:creationId xmlns:a16="http://schemas.microsoft.com/office/drawing/2014/main" id="{7CE30465-FB77-52CE-338F-7F12EBBA9DA4}"/>
                </a:ext>
              </a:extLst>
            </p:cNvPr>
            <p:cNvSpPr txBox="1">
              <a:spLocks noChangeArrowheads="1"/>
            </p:cNvSpPr>
            <p:nvPr/>
          </p:nvSpPr>
          <p:spPr bwMode="auto">
            <a:xfrm>
              <a:off x="94218" y="889332"/>
              <a:ext cx="1524000" cy="753270"/>
            </a:xfrm>
            <a:prstGeom prst="rect">
              <a:avLst/>
            </a:prstGeom>
            <a:solidFill>
              <a:schemeClr val="bg1"/>
            </a:solidFill>
            <a:ln w="9525">
              <a:noFill/>
              <a:miter lim="800000"/>
              <a:headEnd/>
              <a:tailEnd/>
            </a:ln>
          </p:spPr>
          <p:txBody>
            <a:bodyPr rot="0" vert="horz" wrap="square" lIns="91440" tIns="45720" rIns="91440" bIns="0" anchor="t" anchorCtr="0">
              <a:noAutofit/>
            </a:bodyPr>
            <a:lstStyle>
              <a:defPPr rtl="0">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7000"/>
                </a:lnSpc>
                <a:spcAft>
                  <a:spcPts val="800"/>
                </a:spcAft>
              </a:pPr>
              <a:r>
                <a:rPr lang="en-GB" sz="1200" b="1" kern="100" dirty="0">
                  <a:solidFill>
                    <a:srgbClr val="003399"/>
                  </a:solidFill>
                  <a:effectLst/>
                  <a:latin typeface="Arial" panose="020B0604020202020204" pitchFamily="34" charset="0"/>
                  <a:ea typeface="Arial" panose="020B0604020202020204" pitchFamily="34" charset="0"/>
                  <a:cs typeface="Times New Roman" panose="02020603050405020304" pitchFamily="18" charset="0"/>
                </a:rPr>
                <a:t>Funded by</a:t>
              </a:r>
              <a:br>
                <a:rPr lang="en-GB" sz="1200" b="1" kern="100" dirty="0">
                  <a:solidFill>
                    <a:srgbClr val="003399"/>
                  </a:solidFill>
                  <a:effectLst/>
                  <a:latin typeface="Arial" panose="020B0604020202020204" pitchFamily="34" charset="0"/>
                  <a:ea typeface="Arial" panose="020B0604020202020204" pitchFamily="34" charset="0"/>
                  <a:cs typeface="Times New Roman" panose="02020603050405020304" pitchFamily="18" charset="0"/>
                </a:rPr>
              </a:br>
              <a:r>
                <a:rPr lang="en-GB" sz="1200" b="1" kern="100" dirty="0">
                  <a:solidFill>
                    <a:srgbClr val="003399"/>
                  </a:solidFill>
                  <a:effectLst/>
                  <a:latin typeface="Arial" panose="020B0604020202020204" pitchFamily="34" charset="0"/>
                  <a:ea typeface="Arial" panose="020B0604020202020204" pitchFamily="34" charset="0"/>
                  <a:cs typeface="Times New Roman" panose="02020603050405020304" pitchFamily="18" charset="0"/>
                </a:rPr>
                <a:t>The European Union</a:t>
              </a:r>
              <a:endParaRPr lang="en-US" sz="1100" kern="100" dirty="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GB" sz="1100" kern="100" dirty="0">
                  <a:effectLst/>
                  <a:latin typeface="Arial" panose="020B0604020202020204" pitchFamily="34" charset="0"/>
                  <a:ea typeface="Aptos" panose="020B0004020202020204" pitchFamily="34" charset="0"/>
                  <a:cs typeface="Times New Roman" panose="02020603050405020304" pitchFamily="18" charset="0"/>
                </a:rPr>
                <a:t> </a:t>
              </a:r>
              <a:endParaRPr lang="en-US" sz="1100" kern="100" dirty="0">
                <a:effectLst/>
                <a:latin typeface="Aptos" panose="020B0004020202020204" pitchFamily="34" charset="0"/>
                <a:ea typeface="Aptos" panose="020B0004020202020204" pitchFamily="34" charset="0"/>
                <a:cs typeface="Times New Roman" panose="02020603050405020304" pitchFamily="18" charset="0"/>
              </a:endParaRPr>
            </a:p>
          </p:txBody>
        </p:sp>
      </p:grpSp>
      <p:grpSp>
        <p:nvGrpSpPr>
          <p:cNvPr id="4" name="Group 3">
            <a:extLst>
              <a:ext uri="{FF2B5EF4-FFF2-40B4-BE49-F238E27FC236}">
                <a16:creationId xmlns:a16="http://schemas.microsoft.com/office/drawing/2014/main" id="{96391A0D-C6BC-D7FA-04A9-DE8D105465D5}"/>
              </a:ext>
            </a:extLst>
          </p:cNvPr>
          <p:cNvGrpSpPr/>
          <p:nvPr/>
        </p:nvGrpSpPr>
        <p:grpSpPr>
          <a:xfrm>
            <a:off x="2220531" y="5201487"/>
            <a:ext cx="1570991" cy="1356995"/>
            <a:chOff x="0" y="0"/>
            <a:chExt cx="1571080" cy="1357086"/>
          </a:xfrm>
        </p:grpSpPr>
        <p:pic>
          <p:nvPicPr>
            <p:cNvPr id="7" name="Picture 6" descr="Valsts ugunsdzēsības un glābšanas dienests">
              <a:extLst>
                <a:ext uri="{FF2B5EF4-FFF2-40B4-BE49-F238E27FC236}">
                  <a16:creationId xmlns:a16="http://schemas.microsoft.com/office/drawing/2014/main" id="{D3834ACF-3CA3-E767-EFCC-DCB3CB76CC06}"/>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8943" y="0"/>
              <a:ext cx="1422400" cy="1278255"/>
            </a:xfrm>
            <a:prstGeom prst="rect">
              <a:avLst/>
            </a:prstGeom>
            <a:noFill/>
            <a:extLst>
              <a:ext uri="{909E8E84-426E-40DD-AFC4-6F175D3DCCD1}">
                <a14:hiddenFill xmlns:a14="http://schemas.microsoft.com/office/drawing/2010/main">
                  <a:solidFill>
                    <a:srgbClr val="FFFFFF"/>
                  </a:solidFill>
                </a14:hiddenFill>
              </a:ext>
            </a:extLst>
          </p:spPr>
        </p:pic>
        <p:sp>
          <p:nvSpPr>
            <p:cNvPr id="9" name="Text Box 2">
              <a:extLst>
                <a:ext uri="{FF2B5EF4-FFF2-40B4-BE49-F238E27FC236}">
                  <a16:creationId xmlns:a16="http://schemas.microsoft.com/office/drawing/2014/main" id="{07A81CED-435C-4318-7E98-64498C761362}"/>
                </a:ext>
              </a:extLst>
            </p:cNvPr>
            <p:cNvSpPr txBox="1">
              <a:spLocks noChangeArrowheads="1"/>
            </p:cNvSpPr>
            <p:nvPr/>
          </p:nvSpPr>
          <p:spPr bwMode="auto">
            <a:xfrm>
              <a:off x="0" y="889000"/>
              <a:ext cx="1571080" cy="468086"/>
            </a:xfrm>
            <a:prstGeom prst="rect">
              <a:avLst/>
            </a:prstGeom>
            <a:solidFill>
              <a:schemeClr val="bg1"/>
            </a:solidFill>
            <a:ln w="9525">
              <a:noFill/>
              <a:miter lim="800000"/>
              <a:headEnd/>
              <a:tailEnd/>
            </a:ln>
          </p:spPr>
          <p:txBody>
            <a:bodyPr rot="0" vert="horz" wrap="square" lIns="91440" tIns="45720" rIns="91440" bIns="0" anchor="t" anchorCtr="0">
              <a:noAutofit/>
            </a:bodyPr>
            <a:lstStyle>
              <a:defPPr rtl="0">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spcAft>
                  <a:spcPts val="800"/>
                </a:spcAft>
              </a:pPr>
              <a:r>
                <a:rPr lang="en-GB" sz="1100" b="1" kern="100" dirty="0">
                  <a:solidFill>
                    <a:srgbClr val="000000"/>
                  </a:solidFill>
                  <a:effectLst/>
                  <a:latin typeface="Arial Narrow" panose="020B0606020202030204" pitchFamily="34" charset="0"/>
                  <a:ea typeface="Arial Narrow" panose="020B0606020202030204" pitchFamily="34" charset="0"/>
                  <a:cs typeface="Arial" panose="020B0604020202020204" pitchFamily="34" charset="0"/>
                </a:rPr>
                <a:t>State Fire and Rescue Service</a:t>
              </a:r>
              <a:endParaRPr lang="en-US" sz="1100" kern="100" dirty="0">
                <a:effectLst/>
                <a:latin typeface="Aptos" panose="020B0004020202020204" pitchFamily="34" charset="0"/>
                <a:ea typeface="Aptos" panose="020B0004020202020204" pitchFamily="34" charset="0"/>
                <a:cs typeface="Times New Roman" panose="02020603050405020304" pitchFamily="18" charset="0"/>
              </a:endParaRPr>
            </a:p>
          </p:txBody>
        </p:sp>
      </p:grpSp>
    </p:spTree>
    <p:extLst>
      <p:ext uri="{BB962C8B-B14F-4D97-AF65-F5344CB8AC3E}">
        <p14:creationId xmlns:p14="http://schemas.microsoft.com/office/powerpoint/2010/main" val="30716040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6EF7C33-FF6D-2EC0-BE2C-041D2DDCEFC9}"/>
              </a:ext>
            </a:extLst>
          </p:cNvPr>
          <p:cNvGraphicFramePr>
            <a:graphicFrameLocks noChangeAspect="1"/>
          </p:cNvGraphicFramePr>
          <p:nvPr>
            <p:custDataLst>
              <p:tags r:id="rId1"/>
            </p:custDataLst>
            <p:extLst>
              <p:ext uri="{D42A27DB-BD31-4B8C-83A1-F6EECF244321}">
                <p14:modId xmlns:p14="http://schemas.microsoft.com/office/powerpoint/2010/main" val="1858014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16EF7C33-FF6D-2EC0-BE2C-041D2DDCEF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2A7C9EB-E60F-E4DD-7BE8-A36BF399BA1F}"/>
              </a:ext>
            </a:extLst>
          </p:cNvPr>
          <p:cNvSpPr>
            <a:spLocks noGrp="1"/>
          </p:cNvSpPr>
          <p:nvPr>
            <p:ph type="title"/>
          </p:nvPr>
        </p:nvSpPr>
        <p:spPr/>
        <p:txBody>
          <a:bodyPr vert="horz" rtlCol="0"/>
          <a:lstStyle/>
          <a:p>
            <a:pPr rtl="0"/>
            <a:r>
              <a:rPr lang="en-gb" dirty="0"/>
              <a:t>What is the sequence of the </a:t>
            </a:r>
            <a:r>
              <a:rPr lang="lv-LV" dirty="0" err="1"/>
              <a:t>chain</a:t>
            </a:r>
            <a:r>
              <a:rPr lang="lv-LV" dirty="0"/>
              <a:t> </a:t>
            </a:r>
            <a:r>
              <a:rPr lang="lv-LV" dirty="0" err="1"/>
              <a:t>of</a:t>
            </a:r>
            <a:r>
              <a:rPr lang="lv-LV" dirty="0"/>
              <a:t> </a:t>
            </a:r>
            <a:r>
              <a:rPr lang="lv-LV" dirty="0" err="1"/>
              <a:t>survival</a:t>
            </a:r>
            <a:r>
              <a:rPr lang="en-gb" dirty="0"/>
              <a:t>? </a:t>
            </a:r>
            <a:br>
              <a:rPr lang="lv-LV" dirty="0"/>
            </a:br>
            <a:r>
              <a:rPr lang="en-gb" dirty="0"/>
              <a:t>Which steps are you tasked with? </a:t>
            </a:r>
          </a:p>
        </p:txBody>
      </p:sp>
      <p:sp>
        <p:nvSpPr>
          <p:cNvPr id="4" name="Slide Number Placeholder 3">
            <a:extLst>
              <a:ext uri="{FF2B5EF4-FFF2-40B4-BE49-F238E27FC236}">
                <a16:creationId xmlns:a16="http://schemas.microsoft.com/office/drawing/2014/main" id="{D7358D30-8A69-1769-6574-925287413D76}"/>
              </a:ext>
            </a:extLst>
          </p:cNvPr>
          <p:cNvSpPr>
            <a:spLocks noGrp="1"/>
          </p:cNvSpPr>
          <p:nvPr>
            <p:ph type="sldNum" sz="quarter" idx="11"/>
          </p:nvPr>
        </p:nvSpPr>
        <p:spPr/>
        <p:txBody>
          <a:bodyPr rtlCol="0"/>
          <a:lstStyle/>
          <a:p>
            <a:pPr rtl="0"/>
            <a:fld id="{7870704B-CE94-48CC-AF30-84932A1262A7}" type="slidenum">
              <a:rPr lang="lv-LV" smtClean="0"/>
              <a:pPr rtl="0"/>
              <a:t>10</a:t>
            </a:fld>
            <a:endParaRPr lang="lv-LV"/>
          </a:p>
        </p:txBody>
      </p:sp>
      <p:sp>
        <p:nvSpPr>
          <p:cNvPr id="30" name="Arrow: Right 29">
            <a:extLst>
              <a:ext uri="{FF2B5EF4-FFF2-40B4-BE49-F238E27FC236}">
                <a16:creationId xmlns:a16="http://schemas.microsoft.com/office/drawing/2014/main" id="{0E5402E0-269A-92B5-BC8D-30D2207F23A4}"/>
              </a:ext>
            </a:extLst>
          </p:cNvPr>
          <p:cNvSpPr/>
          <p:nvPr/>
        </p:nvSpPr>
        <p:spPr>
          <a:xfrm>
            <a:off x="9523133" y="4584743"/>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400"/>
          </a:p>
        </p:txBody>
      </p:sp>
      <p:sp>
        <p:nvSpPr>
          <p:cNvPr id="2" name="Rectangle 1">
            <a:extLst>
              <a:ext uri="{FF2B5EF4-FFF2-40B4-BE49-F238E27FC236}">
                <a16:creationId xmlns:a16="http://schemas.microsoft.com/office/drawing/2014/main" id="{C697EF02-3183-316C-47B1-AAA43503E885}"/>
              </a:ext>
            </a:extLst>
          </p:cNvPr>
          <p:cNvSpPr/>
          <p:nvPr/>
        </p:nvSpPr>
        <p:spPr>
          <a:xfrm>
            <a:off x="452644" y="1973520"/>
            <a:ext cx="6612491" cy="100989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hangingPunct="0"/>
            <a:r>
              <a:rPr lang="en-gb" sz="1400" dirty="0">
                <a:solidFill>
                  <a:schemeClr val="tx1"/>
                </a:solidFill>
                <a:effectLst/>
                <a:ea typeface="Times New Roman" panose="02020603050405020304" pitchFamily="18" charset="0"/>
              </a:rPr>
              <a:t>Each </a:t>
            </a:r>
            <a:r>
              <a:rPr lang="lv-LV" sz="1400" dirty="0" err="1">
                <a:solidFill>
                  <a:schemeClr val="tx1"/>
                </a:solidFill>
                <a:effectLst/>
                <a:ea typeface="Times New Roman" panose="02020603050405020304" pitchFamily="18" charset="0"/>
              </a:rPr>
              <a:t>chain</a:t>
            </a:r>
            <a:r>
              <a:rPr lang="lv-LV" sz="1400" dirty="0">
                <a:solidFill>
                  <a:schemeClr val="tx1"/>
                </a:solidFill>
                <a:effectLst/>
                <a:ea typeface="Times New Roman" panose="02020603050405020304" pitchFamily="18" charset="0"/>
              </a:rPr>
              <a:t> </a:t>
            </a:r>
            <a:r>
              <a:rPr lang="lv-LV" sz="1400" dirty="0" err="1">
                <a:solidFill>
                  <a:schemeClr val="tx1"/>
                </a:solidFill>
                <a:effectLst/>
                <a:ea typeface="Times New Roman" panose="02020603050405020304" pitchFamily="18" charset="0"/>
              </a:rPr>
              <a:t>of</a:t>
            </a:r>
            <a:r>
              <a:rPr lang="lv-LV" sz="1400" dirty="0">
                <a:solidFill>
                  <a:schemeClr val="tx1"/>
                </a:solidFill>
                <a:effectLst/>
                <a:ea typeface="Times New Roman" panose="02020603050405020304" pitchFamily="18" charset="0"/>
              </a:rPr>
              <a:t> </a:t>
            </a:r>
            <a:r>
              <a:rPr lang="lv-LV" sz="1400" dirty="0" err="1">
                <a:solidFill>
                  <a:schemeClr val="tx1"/>
                </a:solidFill>
                <a:effectLst/>
                <a:ea typeface="Times New Roman" panose="02020603050405020304" pitchFamily="18" charset="0"/>
              </a:rPr>
              <a:t>survival</a:t>
            </a:r>
            <a:r>
              <a:rPr lang="lv-LV" sz="1400" dirty="0">
                <a:solidFill>
                  <a:schemeClr val="tx1"/>
                </a:solidFill>
                <a:effectLst/>
                <a:ea typeface="Times New Roman" panose="02020603050405020304" pitchFamily="18" charset="0"/>
              </a:rPr>
              <a:t> </a:t>
            </a:r>
            <a:r>
              <a:rPr lang="en-gb" sz="1400" dirty="0">
                <a:solidFill>
                  <a:schemeClr val="tx1"/>
                </a:solidFill>
                <a:effectLst/>
                <a:ea typeface="Times New Roman" panose="02020603050405020304" pitchFamily="18" charset="0"/>
              </a:rPr>
              <a:t>is only as strong as its weakest link.</a:t>
            </a:r>
          </a:p>
          <a:p>
            <a:pPr rtl="0" hangingPunct="0"/>
            <a:r>
              <a:rPr lang="en-gb" sz="1400" dirty="0">
                <a:solidFill>
                  <a:schemeClr val="tx1"/>
                </a:solidFill>
                <a:effectLst/>
                <a:ea typeface="Times New Roman" panose="02020603050405020304" pitchFamily="18" charset="0"/>
              </a:rPr>
              <a:t>Your job is to work within the </a:t>
            </a:r>
            <a:r>
              <a:rPr lang="en-gb" sz="1400" b="1" dirty="0">
                <a:solidFill>
                  <a:schemeClr val="tx1"/>
                </a:solidFill>
                <a:effectLst/>
                <a:ea typeface="Times New Roman" panose="02020603050405020304" pitchFamily="18" charset="0"/>
              </a:rPr>
              <a:t>first three </a:t>
            </a:r>
            <a:r>
              <a:rPr lang="en-gb" sz="1400" dirty="0">
                <a:solidFill>
                  <a:schemeClr val="tx1"/>
                </a:solidFill>
                <a:effectLst/>
                <a:ea typeface="Times New Roman" panose="02020603050405020304" pitchFamily="18" charset="0"/>
              </a:rPr>
              <a:t>links of the </a:t>
            </a:r>
            <a:r>
              <a:rPr lang="lv-LV" sz="1400" dirty="0">
                <a:solidFill>
                  <a:schemeClr val="tx1"/>
                </a:solidFill>
                <a:effectLst/>
                <a:ea typeface="Times New Roman" panose="02020603050405020304" pitchFamily="18" charset="0"/>
              </a:rPr>
              <a:t>it</a:t>
            </a:r>
            <a:r>
              <a:rPr lang="en-gb" sz="1400" dirty="0">
                <a:solidFill>
                  <a:schemeClr val="tx1"/>
                </a:solidFill>
                <a:effectLst/>
                <a:ea typeface="Times New Roman" panose="02020603050405020304" pitchFamily="18" charset="0"/>
              </a:rPr>
              <a:t>.</a:t>
            </a:r>
          </a:p>
        </p:txBody>
      </p:sp>
      <p:sp>
        <p:nvSpPr>
          <p:cNvPr id="16" name="Content Placeholder 1">
            <a:extLst>
              <a:ext uri="{FF2B5EF4-FFF2-40B4-BE49-F238E27FC236}">
                <a16:creationId xmlns:a16="http://schemas.microsoft.com/office/drawing/2014/main" id="{BA798A18-B6C9-5AD5-0309-542D9063F7F3}"/>
              </a:ext>
            </a:extLst>
          </p:cNvPr>
          <p:cNvSpPr txBox="1">
            <a:spLocks/>
          </p:cNvSpPr>
          <p:nvPr/>
        </p:nvSpPr>
        <p:spPr>
          <a:xfrm>
            <a:off x="442913" y="4404743"/>
            <a:ext cx="1914207" cy="576000"/>
          </a:xfrm>
          <a:prstGeom prst="rect">
            <a:avLst/>
          </a:prstGeom>
          <a:solidFill>
            <a:schemeClr val="accent2"/>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r>
              <a:rPr lang="en-gb" sz="1400">
                <a:solidFill>
                  <a:schemeClr val="bg1"/>
                </a:solidFill>
              </a:rPr>
              <a:t>Immediate measures</a:t>
            </a:r>
          </a:p>
        </p:txBody>
      </p:sp>
      <p:sp>
        <p:nvSpPr>
          <p:cNvPr id="17" name="Content Placeholder 1">
            <a:extLst>
              <a:ext uri="{FF2B5EF4-FFF2-40B4-BE49-F238E27FC236}">
                <a16:creationId xmlns:a16="http://schemas.microsoft.com/office/drawing/2014/main" id="{8151CA2C-8981-B68D-64B7-28A4A90DA327}"/>
              </a:ext>
            </a:extLst>
          </p:cNvPr>
          <p:cNvSpPr txBox="1">
            <a:spLocks/>
          </p:cNvSpPr>
          <p:nvPr/>
        </p:nvSpPr>
        <p:spPr>
          <a:xfrm>
            <a:off x="1112016" y="3482975"/>
            <a:ext cx="576000" cy="576000"/>
          </a:xfrm>
          <a:prstGeom prst="rect">
            <a:avLst/>
          </a:prstGeom>
          <a:solidFill>
            <a:schemeClr val="bg1"/>
          </a:solidFill>
          <a:ln>
            <a:noFill/>
          </a:ln>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r>
              <a:rPr lang="en-gb" sz="4000">
                <a:solidFill>
                  <a:schemeClr val="accent2"/>
                </a:solidFill>
              </a:rPr>
              <a:t>1</a:t>
            </a:r>
          </a:p>
        </p:txBody>
      </p:sp>
      <p:sp>
        <p:nvSpPr>
          <p:cNvPr id="26" name="Content Placeholder 1">
            <a:extLst>
              <a:ext uri="{FF2B5EF4-FFF2-40B4-BE49-F238E27FC236}">
                <a16:creationId xmlns:a16="http://schemas.microsoft.com/office/drawing/2014/main" id="{65EC1BE1-13D8-345C-448E-BFA1A08ADD25}"/>
              </a:ext>
            </a:extLst>
          </p:cNvPr>
          <p:cNvSpPr txBox="1">
            <a:spLocks/>
          </p:cNvSpPr>
          <p:nvPr/>
        </p:nvSpPr>
        <p:spPr>
          <a:xfrm rot="5400000">
            <a:off x="1363504" y="3867150"/>
            <a:ext cx="73025" cy="576263"/>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lv-LV" sz="1400">
              <a:solidFill>
                <a:schemeClr val="bg1"/>
              </a:solidFill>
            </a:endParaRPr>
          </a:p>
        </p:txBody>
      </p:sp>
      <p:sp>
        <p:nvSpPr>
          <p:cNvPr id="38" name="Content Placeholder 1">
            <a:extLst>
              <a:ext uri="{FF2B5EF4-FFF2-40B4-BE49-F238E27FC236}">
                <a16:creationId xmlns:a16="http://schemas.microsoft.com/office/drawing/2014/main" id="{B3BF45B1-878A-6384-B57A-0E2DDAE87F72}"/>
              </a:ext>
            </a:extLst>
          </p:cNvPr>
          <p:cNvSpPr txBox="1">
            <a:spLocks/>
          </p:cNvSpPr>
          <p:nvPr/>
        </p:nvSpPr>
        <p:spPr>
          <a:xfrm>
            <a:off x="2792055" y="4404743"/>
            <a:ext cx="1914207" cy="576000"/>
          </a:xfrm>
          <a:prstGeom prst="rect">
            <a:avLst/>
          </a:prstGeom>
          <a:solidFill>
            <a:schemeClr val="accent2"/>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r>
              <a:rPr lang="en-gb" sz="1400">
                <a:solidFill>
                  <a:schemeClr val="bg1"/>
                </a:solidFill>
              </a:rPr>
              <a:t>Calling for help</a:t>
            </a:r>
          </a:p>
        </p:txBody>
      </p:sp>
      <p:sp>
        <p:nvSpPr>
          <p:cNvPr id="39" name="Content Placeholder 1">
            <a:extLst>
              <a:ext uri="{FF2B5EF4-FFF2-40B4-BE49-F238E27FC236}">
                <a16:creationId xmlns:a16="http://schemas.microsoft.com/office/drawing/2014/main" id="{6FBC0546-09C1-004A-40CC-EF2125A3E636}"/>
              </a:ext>
            </a:extLst>
          </p:cNvPr>
          <p:cNvSpPr txBox="1">
            <a:spLocks/>
          </p:cNvSpPr>
          <p:nvPr/>
        </p:nvSpPr>
        <p:spPr>
          <a:xfrm>
            <a:off x="3458264" y="3482975"/>
            <a:ext cx="576000" cy="576000"/>
          </a:xfrm>
          <a:prstGeom prst="rect">
            <a:avLst/>
          </a:prstGeom>
          <a:solidFill>
            <a:schemeClr val="bg1"/>
          </a:solidFill>
          <a:ln>
            <a:noFill/>
          </a:ln>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r>
              <a:rPr lang="en-gb" sz="4000">
                <a:solidFill>
                  <a:schemeClr val="accent2"/>
                </a:solidFill>
              </a:rPr>
              <a:t>2</a:t>
            </a:r>
          </a:p>
        </p:txBody>
      </p:sp>
      <p:sp>
        <p:nvSpPr>
          <p:cNvPr id="40" name="Content Placeholder 1">
            <a:extLst>
              <a:ext uri="{FF2B5EF4-FFF2-40B4-BE49-F238E27FC236}">
                <a16:creationId xmlns:a16="http://schemas.microsoft.com/office/drawing/2014/main" id="{57B73D69-1346-AB3E-2B83-74CE4618BD54}"/>
              </a:ext>
            </a:extLst>
          </p:cNvPr>
          <p:cNvSpPr txBox="1">
            <a:spLocks/>
          </p:cNvSpPr>
          <p:nvPr/>
        </p:nvSpPr>
        <p:spPr>
          <a:xfrm rot="5400000">
            <a:off x="3709752" y="3867150"/>
            <a:ext cx="73025" cy="576263"/>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lv-LV" sz="1400">
              <a:solidFill>
                <a:schemeClr val="bg1"/>
              </a:solidFill>
            </a:endParaRPr>
          </a:p>
        </p:txBody>
      </p:sp>
      <p:sp>
        <p:nvSpPr>
          <p:cNvPr id="43" name="Content Placeholder 1">
            <a:extLst>
              <a:ext uri="{FF2B5EF4-FFF2-40B4-BE49-F238E27FC236}">
                <a16:creationId xmlns:a16="http://schemas.microsoft.com/office/drawing/2014/main" id="{B7165ACE-6816-8C1A-0E1A-FCA6963F41F4}"/>
              </a:ext>
            </a:extLst>
          </p:cNvPr>
          <p:cNvSpPr txBox="1">
            <a:spLocks/>
          </p:cNvSpPr>
          <p:nvPr/>
        </p:nvSpPr>
        <p:spPr>
          <a:xfrm>
            <a:off x="5141197" y="4404743"/>
            <a:ext cx="1914207" cy="576000"/>
          </a:xfrm>
          <a:prstGeom prst="rect">
            <a:avLst/>
          </a:prstGeom>
          <a:solidFill>
            <a:schemeClr val="accent2"/>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r>
              <a:rPr lang="en-gb" sz="1400">
                <a:solidFill>
                  <a:schemeClr val="bg1"/>
                </a:solidFill>
              </a:rPr>
              <a:t>Care for the victim</a:t>
            </a:r>
          </a:p>
        </p:txBody>
      </p:sp>
      <p:sp>
        <p:nvSpPr>
          <p:cNvPr id="44" name="Content Placeholder 1">
            <a:extLst>
              <a:ext uri="{FF2B5EF4-FFF2-40B4-BE49-F238E27FC236}">
                <a16:creationId xmlns:a16="http://schemas.microsoft.com/office/drawing/2014/main" id="{7B06B257-212B-0CF9-9F65-466A796A3B21}"/>
              </a:ext>
            </a:extLst>
          </p:cNvPr>
          <p:cNvSpPr txBox="1">
            <a:spLocks/>
          </p:cNvSpPr>
          <p:nvPr/>
        </p:nvSpPr>
        <p:spPr>
          <a:xfrm>
            <a:off x="5804512" y="3482975"/>
            <a:ext cx="576000" cy="576000"/>
          </a:xfrm>
          <a:prstGeom prst="rect">
            <a:avLst/>
          </a:prstGeom>
          <a:solidFill>
            <a:schemeClr val="bg1"/>
          </a:solidFill>
          <a:ln>
            <a:noFill/>
          </a:ln>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r>
              <a:rPr lang="en-gb" sz="4000">
                <a:solidFill>
                  <a:schemeClr val="accent2"/>
                </a:solidFill>
              </a:rPr>
              <a:t>3</a:t>
            </a:r>
          </a:p>
        </p:txBody>
      </p:sp>
      <p:sp>
        <p:nvSpPr>
          <p:cNvPr id="45" name="Content Placeholder 1">
            <a:extLst>
              <a:ext uri="{FF2B5EF4-FFF2-40B4-BE49-F238E27FC236}">
                <a16:creationId xmlns:a16="http://schemas.microsoft.com/office/drawing/2014/main" id="{D55CC03F-D983-B21C-EA37-379DE9F97A03}"/>
              </a:ext>
            </a:extLst>
          </p:cNvPr>
          <p:cNvSpPr txBox="1">
            <a:spLocks/>
          </p:cNvSpPr>
          <p:nvPr/>
        </p:nvSpPr>
        <p:spPr>
          <a:xfrm rot="5400000">
            <a:off x="6056000" y="3867150"/>
            <a:ext cx="73025" cy="576263"/>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lv-LV" sz="1400">
              <a:solidFill>
                <a:schemeClr val="bg1"/>
              </a:solidFill>
            </a:endParaRPr>
          </a:p>
        </p:txBody>
      </p:sp>
      <p:sp>
        <p:nvSpPr>
          <p:cNvPr id="47" name="Content Placeholder 1">
            <a:extLst>
              <a:ext uri="{FF2B5EF4-FFF2-40B4-BE49-F238E27FC236}">
                <a16:creationId xmlns:a16="http://schemas.microsoft.com/office/drawing/2014/main" id="{2DD24A6F-2555-7D50-6B9E-19589A959683}"/>
              </a:ext>
            </a:extLst>
          </p:cNvPr>
          <p:cNvSpPr txBox="1">
            <a:spLocks/>
          </p:cNvSpPr>
          <p:nvPr/>
        </p:nvSpPr>
        <p:spPr>
          <a:xfrm>
            <a:off x="7490339" y="4404743"/>
            <a:ext cx="1914207" cy="576000"/>
          </a:xfrm>
          <a:prstGeom prst="rect">
            <a:avLst/>
          </a:prstGeom>
          <a:solidFill>
            <a:schemeClr val="accent4">
              <a:lumMod val="75000"/>
            </a:schemeClr>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r>
              <a:rPr lang="en-gb" sz="1400">
                <a:solidFill>
                  <a:schemeClr val="bg1"/>
                </a:solidFill>
              </a:rPr>
              <a:t>Emergency assistance</a:t>
            </a:r>
          </a:p>
        </p:txBody>
      </p:sp>
      <p:sp>
        <p:nvSpPr>
          <p:cNvPr id="48" name="Content Placeholder 1">
            <a:extLst>
              <a:ext uri="{FF2B5EF4-FFF2-40B4-BE49-F238E27FC236}">
                <a16:creationId xmlns:a16="http://schemas.microsoft.com/office/drawing/2014/main" id="{CAAFFC2F-2EFD-CD7C-DEEE-DBA02C9CB423}"/>
              </a:ext>
            </a:extLst>
          </p:cNvPr>
          <p:cNvSpPr txBox="1">
            <a:spLocks/>
          </p:cNvSpPr>
          <p:nvPr/>
        </p:nvSpPr>
        <p:spPr>
          <a:xfrm>
            <a:off x="8150760" y="3482975"/>
            <a:ext cx="576000" cy="576000"/>
          </a:xfrm>
          <a:prstGeom prst="rect">
            <a:avLst/>
          </a:prstGeom>
          <a:solidFill>
            <a:schemeClr val="bg1"/>
          </a:solidFill>
          <a:ln>
            <a:noFill/>
          </a:ln>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r>
              <a:rPr lang="en-gb" sz="4000">
                <a:solidFill>
                  <a:schemeClr val="accent4"/>
                </a:solidFill>
              </a:rPr>
              <a:t>4</a:t>
            </a:r>
          </a:p>
        </p:txBody>
      </p:sp>
      <p:sp>
        <p:nvSpPr>
          <p:cNvPr id="49" name="Content Placeholder 1">
            <a:extLst>
              <a:ext uri="{FF2B5EF4-FFF2-40B4-BE49-F238E27FC236}">
                <a16:creationId xmlns:a16="http://schemas.microsoft.com/office/drawing/2014/main" id="{53548C78-2935-71B8-851B-769FCB896034}"/>
              </a:ext>
            </a:extLst>
          </p:cNvPr>
          <p:cNvSpPr txBox="1">
            <a:spLocks/>
          </p:cNvSpPr>
          <p:nvPr/>
        </p:nvSpPr>
        <p:spPr>
          <a:xfrm rot="5400000">
            <a:off x="8402248" y="3867150"/>
            <a:ext cx="73025" cy="576263"/>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lv-LV" sz="1400">
              <a:solidFill>
                <a:schemeClr val="bg1"/>
              </a:solidFill>
            </a:endParaRPr>
          </a:p>
        </p:txBody>
      </p:sp>
      <p:sp>
        <p:nvSpPr>
          <p:cNvPr id="55" name="Content Placeholder 1">
            <a:extLst>
              <a:ext uri="{FF2B5EF4-FFF2-40B4-BE49-F238E27FC236}">
                <a16:creationId xmlns:a16="http://schemas.microsoft.com/office/drawing/2014/main" id="{D19AF0DB-E5A6-2252-087C-6AA7A679E44D}"/>
              </a:ext>
            </a:extLst>
          </p:cNvPr>
          <p:cNvSpPr txBox="1">
            <a:spLocks/>
          </p:cNvSpPr>
          <p:nvPr/>
        </p:nvSpPr>
        <p:spPr>
          <a:xfrm>
            <a:off x="9839479" y="4404743"/>
            <a:ext cx="1914207" cy="576000"/>
          </a:xfrm>
          <a:prstGeom prst="rect">
            <a:avLst/>
          </a:prstGeom>
          <a:solidFill>
            <a:schemeClr val="accent4">
              <a:lumMod val="75000"/>
            </a:schemeClr>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r>
              <a:rPr lang="en-gb" sz="1400">
                <a:solidFill>
                  <a:schemeClr val="bg1"/>
                </a:solidFill>
              </a:rPr>
              <a:t>Hospital</a:t>
            </a:r>
          </a:p>
        </p:txBody>
      </p:sp>
      <p:sp>
        <p:nvSpPr>
          <p:cNvPr id="56" name="Content Placeholder 1">
            <a:extLst>
              <a:ext uri="{FF2B5EF4-FFF2-40B4-BE49-F238E27FC236}">
                <a16:creationId xmlns:a16="http://schemas.microsoft.com/office/drawing/2014/main" id="{3A969FC1-A5DF-7F7A-364B-B4B37D4AA186}"/>
              </a:ext>
            </a:extLst>
          </p:cNvPr>
          <p:cNvSpPr txBox="1">
            <a:spLocks/>
          </p:cNvSpPr>
          <p:nvPr/>
        </p:nvSpPr>
        <p:spPr>
          <a:xfrm>
            <a:off x="10508582" y="3482975"/>
            <a:ext cx="576000" cy="576000"/>
          </a:xfrm>
          <a:prstGeom prst="rect">
            <a:avLst/>
          </a:prstGeom>
          <a:solidFill>
            <a:schemeClr val="bg1"/>
          </a:solidFill>
          <a:ln>
            <a:noFill/>
          </a:ln>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r>
              <a:rPr lang="en-gb" sz="4000">
                <a:solidFill>
                  <a:schemeClr val="accent4"/>
                </a:solidFill>
              </a:rPr>
              <a:t>5</a:t>
            </a:r>
          </a:p>
        </p:txBody>
      </p:sp>
      <p:sp>
        <p:nvSpPr>
          <p:cNvPr id="57" name="Content Placeholder 1">
            <a:extLst>
              <a:ext uri="{FF2B5EF4-FFF2-40B4-BE49-F238E27FC236}">
                <a16:creationId xmlns:a16="http://schemas.microsoft.com/office/drawing/2014/main" id="{6E357888-D229-2881-630B-92EDB810D202}"/>
              </a:ext>
            </a:extLst>
          </p:cNvPr>
          <p:cNvSpPr txBox="1">
            <a:spLocks/>
          </p:cNvSpPr>
          <p:nvPr/>
        </p:nvSpPr>
        <p:spPr>
          <a:xfrm rot="5400000">
            <a:off x="10760070" y="3867150"/>
            <a:ext cx="73025" cy="576263"/>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lv-LV" sz="1400">
              <a:solidFill>
                <a:schemeClr val="bg1"/>
              </a:solidFill>
            </a:endParaRPr>
          </a:p>
        </p:txBody>
      </p:sp>
      <p:sp>
        <p:nvSpPr>
          <p:cNvPr id="58" name="Arrow: Right 57">
            <a:extLst>
              <a:ext uri="{FF2B5EF4-FFF2-40B4-BE49-F238E27FC236}">
                <a16:creationId xmlns:a16="http://schemas.microsoft.com/office/drawing/2014/main" id="{73A5DA40-EC68-C1DD-E470-027AE8CCAA6A}"/>
              </a:ext>
            </a:extLst>
          </p:cNvPr>
          <p:cNvSpPr/>
          <p:nvPr/>
        </p:nvSpPr>
        <p:spPr>
          <a:xfrm>
            <a:off x="7173991" y="4584743"/>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400"/>
          </a:p>
        </p:txBody>
      </p:sp>
      <p:sp>
        <p:nvSpPr>
          <p:cNvPr id="59" name="Arrow: Right 58">
            <a:extLst>
              <a:ext uri="{FF2B5EF4-FFF2-40B4-BE49-F238E27FC236}">
                <a16:creationId xmlns:a16="http://schemas.microsoft.com/office/drawing/2014/main" id="{69BA0589-D566-AAB4-31E4-35DD4F0EA8AD}"/>
              </a:ext>
            </a:extLst>
          </p:cNvPr>
          <p:cNvSpPr/>
          <p:nvPr/>
        </p:nvSpPr>
        <p:spPr>
          <a:xfrm>
            <a:off x="4824849" y="4584743"/>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400"/>
          </a:p>
        </p:txBody>
      </p:sp>
      <p:sp>
        <p:nvSpPr>
          <p:cNvPr id="60" name="Arrow: Right 59">
            <a:extLst>
              <a:ext uri="{FF2B5EF4-FFF2-40B4-BE49-F238E27FC236}">
                <a16:creationId xmlns:a16="http://schemas.microsoft.com/office/drawing/2014/main" id="{CB6722E8-D1A5-E761-7A03-E5BE22B6FF50}"/>
              </a:ext>
            </a:extLst>
          </p:cNvPr>
          <p:cNvSpPr/>
          <p:nvPr/>
        </p:nvSpPr>
        <p:spPr>
          <a:xfrm>
            <a:off x="2475707" y="4584743"/>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400"/>
          </a:p>
        </p:txBody>
      </p:sp>
      <p:sp>
        <p:nvSpPr>
          <p:cNvPr id="61" name="Content Placeholder 1">
            <a:extLst>
              <a:ext uri="{FF2B5EF4-FFF2-40B4-BE49-F238E27FC236}">
                <a16:creationId xmlns:a16="http://schemas.microsoft.com/office/drawing/2014/main" id="{B96B44FD-B302-C466-E087-68303F31E913}"/>
              </a:ext>
            </a:extLst>
          </p:cNvPr>
          <p:cNvSpPr txBox="1">
            <a:spLocks/>
          </p:cNvSpPr>
          <p:nvPr/>
        </p:nvSpPr>
        <p:spPr>
          <a:xfrm>
            <a:off x="442913" y="4966192"/>
            <a:ext cx="1914207" cy="1209062"/>
          </a:xfrm>
          <a:prstGeom prst="rect">
            <a:avLst/>
          </a:prstGeom>
          <a:solidFill>
            <a:schemeClr val="accent4"/>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endParaRPr lang="lv-LV" sz="1400">
              <a:solidFill>
                <a:schemeClr val="bg1"/>
              </a:solidFill>
            </a:endParaRPr>
          </a:p>
        </p:txBody>
      </p:sp>
      <p:sp>
        <p:nvSpPr>
          <p:cNvPr id="62" name="Content Placeholder 1">
            <a:extLst>
              <a:ext uri="{FF2B5EF4-FFF2-40B4-BE49-F238E27FC236}">
                <a16:creationId xmlns:a16="http://schemas.microsoft.com/office/drawing/2014/main" id="{AAF63E4B-E49D-0898-F096-917EC5BB8784}"/>
              </a:ext>
            </a:extLst>
          </p:cNvPr>
          <p:cNvSpPr txBox="1">
            <a:spLocks/>
          </p:cNvSpPr>
          <p:nvPr/>
        </p:nvSpPr>
        <p:spPr>
          <a:xfrm>
            <a:off x="2792055" y="4966192"/>
            <a:ext cx="1914207" cy="1209062"/>
          </a:xfrm>
          <a:prstGeom prst="rect">
            <a:avLst/>
          </a:prstGeom>
          <a:solidFill>
            <a:schemeClr val="accent4"/>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endParaRPr lang="lv-LV" sz="1400">
              <a:solidFill>
                <a:schemeClr val="bg1"/>
              </a:solidFill>
            </a:endParaRPr>
          </a:p>
        </p:txBody>
      </p:sp>
      <p:sp>
        <p:nvSpPr>
          <p:cNvPr id="63" name="Content Placeholder 1">
            <a:extLst>
              <a:ext uri="{FF2B5EF4-FFF2-40B4-BE49-F238E27FC236}">
                <a16:creationId xmlns:a16="http://schemas.microsoft.com/office/drawing/2014/main" id="{C107C544-9363-E16D-C21A-14EB3086FD5E}"/>
              </a:ext>
            </a:extLst>
          </p:cNvPr>
          <p:cNvSpPr txBox="1">
            <a:spLocks/>
          </p:cNvSpPr>
          <p:nvPr/>
        </p:nvSpPr>
        <p:spPr>
          <a:xfrm>
            <a:off x="5141197" y="4966192"/>
            <a:ext cx="1914207" cy="1209062"/>
          </a:xfrm>
          <a:prstGeom prst="rect">
            <a:avLst/>
          </a:prstGeom>
          <a:solidFill>
            <a:schemeClr val="accent4"/>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endParaRPr lang="lv-LV" sz="1400">
              <a:solidFill>
                <a:schemeClr val="bg1"/>
              </a:solidFill>
            </a:endParaRPr>
          </a:p>
        </p:txBody>
      </p:sp>
      <p:sp>
        <p:nvSpPr>
          <p:cNvPr id="64" name="Content Placeholder 1">
            <a:extLst>
              <a:ext uri="{FF2B5EF4-FFF2-40B4-BE49-F238E27FC236}">
                <a16:creationId xmlns:a16="http://schemas.microsoft.com/office/drawing/2014/main" id="{BAC6FD31-C415-55AA-743A-8F036F3BF365}"/>
              </a:ext>
            </a:extLst>
          </p:cNvPr>
          <p:cNvSpPr txBox="1">
            <a:spLocks/>
          </p:cNvSpPr>
          <p:nvPr/>
        </p:nvSpPr>
        <p:spPr>
          <a:xfrm>
            <a:off x="7490339" y="4966192"/>
            <a:ext cx="1914207" cy="1209062"/>
          </a:xfrm>
          <a:prstGeom prst="rect">
            <a:avLst/>
          </a:prstGeom>
          <a:solidFill>
            <a:schemeClr val="accent4"/>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endParaRPr lang="lv-LV" sz="1400">
              <a:solidFill>
                <a:schemeClr val="bg1"/>
              </a:solidFill>
            </a:endParaRPr>
          </a:p>
        </p:txBody>
      </p:sp>
      <p:sp>
        <p:nvSpPr>
          <p:cNvPr id="65" name="Content Placeholder 1">
            <a:extLst>
              <a:ext uri="{FF2B5EF4-FFF2-40B4-BE49-F238E27FC236}">
                <a16:creationId xmlns:a16="http://schemas.microsoft.com/office/drawing/2014/main" id="{DFB0571C-3F32-08BC-2216-A09604DF1E6C}"/>
              </a:ext>
            </a:extLst>
          </p:cNvPr>
          <p:cNvSpPr txBox="1">
            <a:spLocks/>
          </p:cNvSpPr>
          <p:nvPr/>
        </p:nvSpPr>
        <p:spPr>
          <a:xfrm>
            <a:off x="9839479" y="4966192"/>
            <a:ext cx="1914207" cy="1209062"/>
          </a:xfrm>
          <a:prstGeom prst="rect">
            <a:avLst/>
          </a:prstGeom>
          <a:solidFill>
            <a:schemeClr val="accent4"/>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endParaRPr lang="lv-LV" sz="1400">
              <a:solidFill>
                <a:schemeClr val="bg1"/>
              </a:solidFill>
            </a:endParaRPr>
          </a:p>
        </p:txBody>
      </p:sp>
      <p:grpSp>
        <p:nvGrpSpPr>
          <p:cNvPr id="80" name="Group 79">
            <a:extLst>
              <a:ext uri="{FF2B5EF4-FFF2-40B4-BE49-F238E27FC236}">
                <a16:creationId xmlns:a16="http://schemas.microsoft.com/office/drawing/2014/main" id="{A4F7EE97-2488-C4D0-BB25-B488D03588E8}"/>
              </a:ext>
            </a:extLst>
          </p:cNvPr>
          <p:cNvGrpSpPr/>
          <p:nvPr/>
        </p:nvGrpSpPr>
        <p:grpSpPr>
          <a:xfrm>
            <a:off x="445292" y="3078135"/>
            <a:ext cx="6611938" cy="466725"/>
            <a:chOff x="442912" y="4552769"/>
            <a:chExt cx="6611938" cy="466725"/>
          </a:xfrm>
        </p:grpSpPr>
        <p:cxnSp>
          <p:nvCxnSpPr>
            <p:cNvPr id="74" name="Straight Connector 73">
              <a:extLst>
                <a:ext uri="{FF2B5EF4-FFF2-40B4-BE49-F238E27FC236}">
                  <a16:creationId xmlns:a16="http://schemas.microsoft.com/office/drawing/2014/main" id="{A8DECBD2-2863-5ED3-4429-484529B7452F}"/>
                </a:ext>
              </a:extLst>
            </p:cNvPr>
            <p:cNvCxnSpPr>
              <a:cxnSpLocks/>
            </p:cNvCxnSpPr>
            <p:nvPr/>
          </p:nvCxnSpPr>
          <p:spPr>
            <a:xfrm>
              <a:off x="442912" y="4785337"/>
              <a:ext cx="6611938" cy="1588"/>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77" name="Rectangle 76">
              <a:extLst>
                <a:ext uri="{FF2B5EF4-FFF2-40B4-BE49-F238E27FC236}">
                  <a16:creationId xmlns:a16="http://schemas.microsoft.com/office/drawing/2014/main" id="{C5B0266C-673F-07DD-2F60-FC169E43A4DF}"/>
                </a:ext>
              </a:extLst>
            </p:cNvPr>
            <p:cNvSpPr/>
            <p:nvPr/>
          </p:nvSpPr>
          <p:spPr>
            <a:xfrm>
              <a:off x="3515796" y="4552769"/>
              <a:ext cx="466725" cy="466725"/>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78" name="Rectangle 77">
              <a:extLst>
                <a:ext uri="{FF2B5EF4-FFF2-40B4-BE49-F238E27FC236}">
                  <a16:creationId xmlns:a16="http://schemas.microsoft.com/office/drawing/2014/main" id="{DFE62713-DB24-82F8-B530-DB2B5AE42760}"/>
                </a:ext>
              </a:extLst>
            </p:cNvPr>
            <p:cNvSpPr/>
            <p:nvPr/>
          </p:nvSpPr>
          <p:spPr>
            <a:xfrm>
              <a:off x="5864938" y="4552769"/>
              <a:ext cx="466725" cy="466725"/>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79" name="Rectangle 78">
              <a:extLst>
                <a:ext uri="{FF2B5EF4-FFF2-40B4-BE49-F238E27FC236}">
                  <a16:creationId xmlns:a16="http://schemas.microsoft.com/office/drawing/2014/main" id="{832CB56B-9DC0-1F1E-3972-5DDA898A7AB2}"/>
                </a:ext>
              </a:extLst>
            </p:cNvPr>
            <p:cNvSpPr/>
            <p:nvPr/>
          </p:nvSpPr>
          <p:spPr>
            <a:xfrm>
              <a:off x="1166654" y="4552769"/>
              <a:ext cx="466725" cy="466725"/>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69" name="Arrow: Right 68">
              <a:extLst>
                <a:ext uri="{FF2B5EF4-FFF2-40B4-BE49-F238E27FC236}">
                  <a16:creationId xmlns:a16="http://schemas.microsoft.com/office/drawing/2014/main" id="{326E79A8-DB05-0E8C-C83A-BE4E3C60AB93}"/>
                </a:ext>
              </a:extLst>
            </p:cNvPr>
            <p:cNvSpPr/>
            <p:nvPr/>
          </p:nvSpPr>
          <p:spPr>
            <a:xfrm rot="5400000">
              <a:off x="3650278" y="4678131"/>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400"/>
            </a:p>
          </p:txBody>
        </p:sp>
        <p:sp>
          <p:nvSpPr>
            <p:cNvPr id="70" name="Arrow: Right 69">
              <a:extLst>
                <a:ext uri="{FF2B5EF4-FFF2-40B4-BE49-F238E27FC236}">
                  <a16:creationId xmlns:a16="http://schemas.microsoft.com/office/drawing/2014/main" id="{CF682008-4016-07AA-D26B-E95268052C66}"/>
                </a:ext>
              </a:extLst>
            </p:cNvPr>
            <p:cNvSpPr/>
            <p:nvPr/>
          </p:nvSpPr>
          <p:spPr>
            <a:xfrm rot="5400000">
              <a:off x="1301136" y="4678132"/>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400"/>
            </a:p>
          </p:txBody>
        </p:sp>
        <p:sp>
          <p:nvSpPr>
            <p:cNvPr id="71" name="Arrow: Right 70">
              <a:extLst>
                <a:ext uri="{FF2B5EF4-FFF2-40B4-BE49-F238E27FC236}">
                  <a16:creationId xmlns:a16="http://schemas.microsoft.com/office/drawing/2014/main" id="{7DAB69D4-9C93-DE4E-6744-B5556D9203A5}"/>
                </a:ext>
              </a:extLst>
            </p:cNvPr>
            <p:cNvSpPr/>
            <p:nvPr/>
          </p:nvSpPr>
          <p:spPr>
            <a:xfrm rot="5400000">
              <a:off x="5999420" y="4678133"/>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400"/>
            </a:p>
          </p:txBody>
        </p:sp>
      </p:grpSp>
      <p:sp>
        <p:nvSpPr>
          <p:cNvPr id="81" name="Google Shape;1982;p97">
            <a:extLst>
              <a:ext uri="{FF2B5EF4-FFF2-40B4-BE49-F238E27FC236}">
                <a16:creationId xmlns:a16="http://schemas.microsoft.com/office/drawing/2014/main" id="{DDCA628C-F107-F2EE-29A3-F9E29FA8073D}"/>
              </a:ext>
            </a:extLst>
          </p:cNvPr>
          <p:cNvSpPr/>
          <p:nvPr/>
        </p:nvSpPr>
        <p:spPr>
          <a:xfrm>
            <a:off x="1148016" y="5295780"/>
            <a:ext cx="504000" cy="504000"/>
          </a:xfrm>
          <a:custGeom>
            <a:avLst/>
            <a:gdLst/>
            <a:ahLst/>
            <a:cxnLst/>
            <a:rect l="l" t="t" r="r" b="b"/>
            <a:pathLst>
              <a:path w="576" h="576" extrusionOk="0">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grpSp>
        <p:nvGrpSpPr>
          <p:cNvPr id="82" name="Google Shape;1739;p92">
            <a:extLst>
              <a:ext uri="{FF2B5EF4-FFF2-40B4-BE49-F238E27FC236}">
                <a16:creationId xmlns:a16="http://schemas.microsoft.com/office/drawing/2014/main" id="{496FB1E0-A56A-675A-A493-CE87F37A3B9E}"/>
              </a:ext>
            </a:extLst>
          </p:cNvPr>
          <p:cNvGrpSpPr/>
          <p:nvPr/>
        </p:nvGrpSpPr>
        <p:grpSpPr>
          <a:xfrm>
            <a:off x="3497160" y="5318720"/>
            <a:ext cx="504001" cy="503999"/>
            <a:chOff x="1222708" y="1464170"/>
            <a:chExt cx="459607" cy="459296"/>
          </a:xfrm>
        </p:grpSpPr>
        <p:sp>
          <p:nvSpPr>
            <p:cNvPr id="83" name="Google Shape;1740;p92">
              <a:extLst>
                <a:ext uri="{FF2B5EF4-FFF2-40B4-BE49-F238E27FC236}">
                  <a16:creationId xmlns:a16="http://schemas.microsoft.com/office/drawing/2014/main" id="{0E6A2134-BA4E-F1D6-4C61-74C950656B53}"/>
                </a:ext>
              </a:extLst>
            </p:cNvPr>
            <p:cNvSpPr/>
            <p:nvPr/>
          </p:nvSpPr>
          <p:spPr>
            <a:xfrm>
              <a:off x="1338832" y="1621799"/>
              <a:ext cx="174833" cy="70840"/>
            </a:xfrm>
            <a:custGeom>
              <a:avLst/>
              <a:gdLst/>
              <a:ahLst/>
              <a:cxnLst/>
              <a:rect l="l" t="t" r="r" b="b"/>
              <a:pathLst>
                <a:path w="174833" h="70840" extrusionOk="0">
                  <a:moveTo>
                    <a:pt x="174833" y="70840"/>
                  </a:moveTo>
                  <a:lnTo>
                    <a:pt x="34397" y="70840"/>
                  </a:lnTo>
                  <a:cubicBezTo>
                    <a:pt x="14823" y="70253"/>
                    <a:pt x="-571" y="53920"/>
                    <a:pt x="16" y="34358"/>
                  </a:cubicBezTo>
                  <a:cubicBezTo>
                    <a:pt x="581" y="15619"/>
                    <a:pt x="15649" y="561"/>
                    <a:pt x="34397" y="0"/>
                  </a:cubicBezTo>
                  <a:lnTo>
                    <a:pt x="44771" y="0"/>
                  </a:lnTo>
                  <a:lnTo>
                    <a:pt x="44771" y="19616"/>
                  </a:lnTo>
                  <a:lnTo>
                    <a:pt x="34302" y="19616"/>
                  </a:lnTo>
                  <a:cubicBezTo>
                    <a:pt x="25566" y="20796"/>
                    <a:pt x="19444" y="28827"/>
                    <a:pt x="20622" y="37554"/>
                  </a:cubicBezTo>
                  <a:cubicBezTo>
                    <a:pt x="21586" y="44670"/>
                    <a:pt x="27184" y="50264"/>
                    <a:pt x="34302" y="51224"/>
                  </a:cubicBezTo>
                  <a:lnTo>
                    <a:pt x="174737" y="51224"/>
                  </a:lnTo>
                  <a:close/>
                </a:path>
              </a:pathLst>
            </a:custGeom>
            <a:solidFill>
              <a:srgbClr val="000000"/>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84" name="Google Shape;1741;p92">
              <a:extLst>
                <a:ext uri="{FF2B5EF4-FFF2-40B4-BE49-F238E27FC236}">
                  <a16:creationId xmlns:a16="http://schemas.microsoft.com/office/drawing/2014/main" id="{E32EE091-D3C1-06E6-9082-073AD5CF7765}"/>
                </a:ext>
              </a:extLst>
            </p:cNvPr>
            <p:cNvSpPr/>
            <p:nvPr/>
          </p:nvSpPr>
          <p:spPr>
            <a:xfrm>
              <a:off x="1286551" y="1716178"/>
              <a:ext cx="174833" cy="70840"/>
            </a:xfrm>
            <a:custGeom>
              <a:avLst/>
              <a:gdLst/>
              <a:ahLst/>
              <a:cxnLst/>
              <a:rect l="l" t="t" r="r" b="b"/>
              <a:pathLst>
                <a:path w="174833" h="70840" extrusionOk="0">
                  <a:moveTo>
                    <a:pt x="44898" y="70840"/>
                  </a:moveTo>
                  <a:lnTo>
                    <a:pt x="34397" y="70840"/>
                  </a:lnTo>
                  <a:cubicBezTo>
                    <a:pt x="14823" y="70253"/>
                    <a:pt x="-571" y="53920"/>
                    <a:pt x="16" y="34358"/>
                  </a:cubicBezTo>
                  <a:cubicBezTo>
                    <a:pt x="581" y="15619"/>
                    <a:pt x="15649" y="561"/>
                    <a:pt x="34397" y="0"/>
                  </a:cubicBezTo>
                  <a:lnTo>
                    <a:pt x="174833" y="0"/>
                  </a:lnTo>
                  <a:lnTo>
                    <a:pt x="174833" y="19616"/>
                  </a:lnTo>
                  <a:lnTo>
                    <a:pt x="34397" y="19616"/>
                  </a:lnTo>
                  <a:cubicBezTo>
                    <a:pt x="25662" y="20796"/>
                    <a:pt x="19540" y="28827"/>
                    <a:pt x="20718" y="37554"/>
                  </a:cubicBezTo>
                  <a:cubicBezTo>
                    <a:pt x="21682" y="44670"/>
                    <a:pt x="27280" y="50264"/>
                    <a:pt x="34397" y="51224"/>
                  </a:cubicBezTo>
                  <a:lnTo>
                    <a:pt x="44898" y="51224"/>
                  </a:lnTo>
                  <a:close/>
                </a:path>
              </a:pathLst>
            </a:custGeom>
            <a:solidFill>
              <a:srgbClr val="000000"/>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85" name="Google Shape;1742;p92">
              <a:extLst>
                <a:ext uri="{FF2B5EF4-FFF2-40B4-BE49-F238E27FC236}">
                  <a16:creationId xmlns:a16="http://schemas.microsoft.com/office/drawing/2014/main" id="{9A2306D2-77A7-80C7-F244-EA7DEC804D5E}"/>
                </a:ext>
              </a:extLst>
            </p:cNvPr>
            <p:cNvSpPr/>
            <p:nvPr/>
          </p:nvSpPr>
          <p:spPr>
            <a:xfrm>
              <a:off x="1368601" y="1752028"/>
              <a:ext cx="145063" cy="70808"/>
            </a:xfrm>
            <a:custGeom>
              <a:avLst/>
              <a:gdLst/>
              <a:ahLst/>
              <a:cxnLst/>
              <a:rect l="l" t="t" r="r" b="b"/>
              <a:pathLst>
                <a:path w="145063" h="70808" extrusionOk="0">
                  <a:moveTo>
                    <a:pt x="45897" y="70808"/>
                  </a:moveTo>
                  <a:lnTo>
                    <a:pt x="35428" y="70808"/>
                  </a:lnTo>
                  <a:cubicBezTo>
                    <a:pt x="15863" y="70808"/>
                    <a:pt x="0" y="54956"/>
                    <a:pt x="0" y="35404"/>
                  </a:cubicBezTo>
                  <a:cubicBezTo>
                    <a:pt x="0" y="15852"/>
                    <a:pt x="15863" y="0"/>
                    <a:pt x="35428" y="0"/>
                  </a:cubicBezTo>
                  <a:lnTo>
                    <a:pt x="145064" y="0"/>
                  </a:lnTo>
                  <a:lnTo>
                    <a:pt x="145064" y="19616"/>
                  </a:lnTo>
                  <a:lnTo>
                    <a:pt x="35428" y="19616"/>
                  </a:lnTo>
                  <a:cubicBezTo>
                    <a:pt x="26702" y="18372"/>
                    <a:pt x="18621" y="24435"/>
                    <a:pt x="17379" y="33156"/>
                  </a:cubicBezTo>
                  <a:cubicBezTo>
                    <a:pt x="16134" y="41873"/>
                    <a:pt x="22202" y="49949"/>
                    <a:pt x="30925" y="51192"/>
                  </a:cubicBezTo>
                  <a:cubicBezTo>
                    <a:pt x="32418" y="51406"/>
                    <a:pt x="33934" y="51406"/>
                    <a:pt x="35428" y="51192"/>
                  </a:cubicBezTo>
                  <a:lnTo>
                    <a:pt x="45897" y="51192"/>
                  </a:lnTo>
                  <a:close/>
                </a:path>
              </a:pathLst>
            </a:custGeom>
            <a:solidFill>
              <a:srgbClr val="000000"/>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86" name="Google Shape;1743;p92">
              <a:extLst>
                <a:ext uri="{FF2B5EF4-FFF2-40B4-BE49-F238E27FC236}">
                  <a16:creationId xmlns:a16="http://schemas.microsoft.com/office/drawing/2014/main" id="{BBC2D154-4911-B47F-9B45-8A1CC3B13EFD}"/>
                </a:ext>
              </a:extLst>
            </p:cNvPr>
            <p:cNvSpPr/>
            <p:nvPr/>
          </p:nvSpPr>
          <p:spPr>
            <a:xfrm>
              <a:off x="1222708" y="1464170"/>
              <a:ext cx="459607" cy="459296"/>
            </a:xfrm>
            <a:custGeom>
              <a:avLst/>
              <a:gdLst/>
              <a:ahLst/>
              <a:cxnLst/>
              <a:rect l="l" t="t" r="r" b="b"/>
              <a:pathLst>
                <a:path w="459607" h="459296" extrusionOk="0">
                  <a:moveTo>
                    <a:pt x="372059" y="328908"/>
                  </a:moveTo>
                  <a:cubicBezTo>
                    <a:pt x="365394" y="328908"/>
                    <a:pt x="359994" y="323511"/>
                    <a:pt x="359994" y="316851"/>
                  </a:cubicBezTo>
                  <a:lnTo>
                    <a:pt x="359994" y="287890"/>
                  </a:lnTo>
                  <a:lnTo>
                    <a:pt x="368197" y="283807"/>
                  </a:lnTo>
                  <a:cubicBezTo>
                    <a:pt x="380884" y="276583"/>
                    <a:pt x="388432" y="262849"/>
                    <a:pt x="387730" y="248275"/>
                  </a:cubicBezTo>
                  <a:cubicBezTo>
                    <a:pt x="387625" y="233811"/>
                    <a:pt x="379116" y="220724"/>
                    <a:pt x="365931" y="214753"/>
                  </a:cubicBezTo>
                  <a:lnTo>
                    <a:pt x="357153" y="211564"/>
                  </a:lnTo>
                  <a:lnTo>
                    <a:pt x="357153" y="165825"/>
                  </a:lnTo>
                  <a:lnTo>
                    <a:pt x="316906" y="165825"/>
                  </a:lnTo>
                  <a:cubicBezTo>
                    <a:pt x="313382" y="165771"/>
                    <a:pt x="310567" y="162869"/>
                    <a:pt x="310625" y="159347"/>
                  </a:cubicBezTo>
                  <a:cubicBezTo>
                    <a:pt x="310637" y="158524"/>
                    <a:pt x="310810" y="157714"/>
                    <a:pt x="311129" y="156958"/>
                  </a:cubicBezTo>
                  <a:lnTo>
                    <a:pt x="371229" y="19616"/>
                  </a:lnTo>
                  <a:lnTo>
                    <a:pt x="379815" y="0"/>
                  </a:lnTo>
                  <a:lnTo>
                    <a:pt x="0" y="0"/>
                  </a:lnTo>
                  <a:lnTo>
                    <a:pt x="0" y="459297"/>
                  </a:lnTo>
                  <a:lnTo>
                    <a:pt x="459608" y="459297"/>
                  </a:lnTo>
                  <a:lnTo>
                    <a:pt x="459608" y="328908"/>
                  </a:lnTo>
                  <a:close/>
                  <a:moveTo>
                    <a:pt x="439947" y="439681"/>
                  </a:moveTo>
                  <a:lnTo>
                    <a:pt x="19597" y="439681"/>
                  </a:lnTo>
                  <a:lnTo>
                    <a:pt x="19597" y="19616"/>
                  </a:lnTo>
                  <a:lnTo>
                    <a:pt x="349781" y="19616"/>
                  </a:lnTo>
                  <a:lnTo>
                    <a:pt x="293128" y="149112"/>
                  </a:lnTo>
                  <a:cubicBezTo>
                    <a:pt x="287398" y="162259"/>
                    <a:pt x="293418" y="177557"/>
                    <a:pt x="306574" y="183282"/>
                  </a:cubicBezTo>
                  <a:cubicBezTo>
                    <a:pt x="309833" y="184701"/>
                    <a:pt x="313350" y="185435"/>
                    <a:pt x="316906" y="185441"/>
                  </a:cubicBezTo>
                  <a:lnTo>
                    <a:pt x="337524" y="185441"/>
                  </a:lnTo>
                  <a:lnTo>
                    <a:pt x="337524" y="225598"/>
                  </a:lnTo>
                  <a:lnTo>
                    <a:pt x="358143" y="232902"/>
                  </a:lnTo>
                  <a:cubicBezTo>
                    <a:pt x="364230" y="235890"/>
                    <a:pt x="368091" y="242072"/>
                    <a:pt x="368101" y="248850"/>
                  </a:cubicBezTo>
                  <a:cubicBezTo>
                    <a:pt x="368586" y="255879"/>
                    <a:pt x="365165" y="262606"/>
                    <a:pt x="359196" y="266360"/>
                  </a:cubicBezTo>
                  <a:lnTo>
                    <a:pt x="340365" y="275738"/>
                  </a:lnTo>
                  <a:lnTo>
                    <a:pt x="340365" y="316819"/>
                  </a:lnTo>
                  <a:cubicBezTo>
                    <a:pt x="340384" y="334304"/>
                    <a:pt x="354562" y="348472"/>
                    <a:pt x="372059" y="348492"/>
                  </a:cubicBezTo>
                  <a:lnTo>
                    <a:pt x="439947" y="348492"/>
                  </a:lnTo>
                  <a:close/>
                </a:path>
              </a:pathLst>
            </a:custGeom>
            <a:solidFill>
              <a:srgbClr val="000000"/>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87" name="Google Shape;1744;p92">
              <a:extLst>
                <a:ext uri="{FF2B5EF4-FFF2-40B4-BE49-F238E27FC236}">
                  <a16:creationId xmlns:a16="http://schemas.microsoft.com/office/drawing/2014/main" id="{DFB5AA23-26C2-FB44-26CD-6286CF29ECC9}"/>
                </a:ext>
              </a:extLst>
            </p:cNvPr>
            <p:cNvSpPr/>
            <p:nvPr/>
          </p:nvSpPr>
          <p:spPr>
            <a:xfrm>
              <a:off x="1600863" y="1523783"/>
              <a:ext cx="44109" cy="44079"/>
            </a:xfrm>
            <a:custGeom>
              <a:avLst/>
              <a:gdLst/>
              <a:ahLst/>
              <a:cxnLst/>
              <a:rect l="l" t="t" r="r" b="b"/>
              <a:pathLst>
                <a:path w="44109" h="44079" extrusionOk="0">
                  <a:moveTo>
                    <a:pt x="44110" y="22040"/>
                  </a:moveTo>
                  <a:cubicBezTo>
                    <a:pt x="44110" y="34212"/>
                    <a:pt x="34235" y="44080"/>
                    <a:pt x="22055" y="44080"/>
                  </a:cubicBezTo>
                  <a:cubicBezTo>
                    <a:pt x="9874" y="44080"/>
                    <a:pt x="0" y="34212"/>
                    <a:pt x="0" y="22040"/>
                  </a:cubicBezTo>
                  <a:cubicBezTo>
                    <a:pt x="0" y="9868"/>
                    <a:pt x="9874" y="0"/>
                    <a:pt x="22055" y="0"/>
                  </a:cubicBezTo>
                  <a:cubicBezTo>
                    <a:pt x="34235" y="0"/>
                    <a:pt x="44110" y="9868"/>
                    <a:pt x="44110" y="22040"/>
                  </a:cubicBezTo>
                  <a:close/>
                </a:path>
              </a:pathLst>
            </a:custGeom>
            <a:solidFill>
              <a:srgbClr val="000000"/>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grpSp>
      <p:grpSp>
        <p:nvGrpSpPr>
          <p:cNvPr id="88" name="Google Shape;1631;p92">
            <a:extLst>
              <a:ext uri="{FF2B5EF4-FFF2-40B4-BE49-F238E27FC236}">
                <a16:creationId xmlns:a16="http://schemas.microsoft.com/office/drawing/2014/main" id="{35189943-8174-BDC5-E00B-6AA3B261EF4D}"/>
              </a:ext>
            </a:extLst>
          </p:cNvPr>
          <p:cNvGrpSpPr/>
          <p:nvPr/>
        </p:nvGrpSpPr>
        <p:grpSpPr>
          <a:xfrm>
            <a:off x="5846296" y="5318736"/>
            <a:ext cx="503999" cy="504009"/>
            <a:chOff x="3886200" y="2057400"/>
            <a:chExt cx="1371600" cy="1371600"/>
          </a:xfrm>
        </p:grpSpPr>
        <p:sp>
          <p:nvSpPr>
            <p:cNvPr id="89" name="Google Shape;1632;p92">
              <a:extLst>
                <a:ext uri="{FF2B5EF4-FFF2-40B4-BE49-F238E27FC236}">
                  <a16:creationId xmlns:a16="http://schemas.microsoft.com/office/drawing/2014/main" id="{5BDDF6DF-E697-00B7-6FDF-654A81CBB5E7}"/>
                </a:ext>
              </a:extLst>
            </p:cNvPr>
            <p:cNvSpPr/>
            <p:nvPr/>
          </p:nvSpPr>
          <p:spPr>
            <a:xfrm>
              <a:off x="4568285" y="2533269"/>
              <a:ext cx="27813" cy="62769"/>
            </a:xfrm>
            <a:custGeom>
              <a:avLst/>
              <a:gdLst/>
              <a:ahLst/>
              <a:cxnLst/>
              <a:rect l="l" t="t" r="r" b="b"/>
              <a:pathLst>
                <a:path w="27813" h="62769" extrusionOk="0">
                  <a:moveTo>
                    <a:pt x="0" y="0"/>
                  </a:moveTo>
                  <a:lnTo>
                    <a:pt x="27813" y="0"/>
                  </a:lnTo>
                  <a:lnTo>
                    <a:pt x="27813" y="62770"/>
                  </a:lnTo>
                  <a:lnTo>
                    <a:pt x="0" y="62770"/>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90" name="Google Shape;1633;p92">
              <a:extLst>
                <a:ext uri="{FF2B5EF4-FFF2-40B4-BE49-F238E27FC236}">
                  <a16:creationId xmlns:a16="http://schemas.microsoft.com/office/drawing/2014/main" id="{4C849506-7AF9-F820-5CF0-7D6E33F03113}"/>
                </a:ext>
              </a:extLst>
            </p:cNvPr>
            <p:cNvSpPr/>
            <p:nvPr/>
          </p:nvSpPr>
          <p:spPr>
            <a:xfrm>
              <a:off x="4273295" y="2680716"/>
              <a:ext cx="95" cy="9525"/>
            </a:xfrm>
            <a:custGeom>
              <a:avLst/>
              <a:gdLst/>
              <a:ahLst/>
              <a:cxnLst/>
              <a:rect l="l" t="t" r="r" b="b"/>
              <a:pathLst>
                <a:path w="95" h="9525" extrusionOk="0">
                  <a:moveTo>
                    <a:pt x="0" y="0"/>
                  </a:moveTo>
                  <a:lnTo>
                    <a:pt x="95" y="0"/>
                  </a:lnTo>
                  <a:lnTo>
                    <a:pt x="95" y="0"/>
                  </a:lnTo>
                  <a:lnTo>
                    <a:pt x="0" y="0"/>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91" name="Google Shape;1634;p92">
              <a:extLst>
                <a:ext uri="{FF2B5EF4-FFF2-40B4-BE49-F238E27FC236}">
                  <a16:creationId xmlns:a16="http://schemas.microsoft.com/office/drawing/2014/main" id="{D5FD63F2-1B6A-7954-A06D-677EB870039A}"/>
                </a:ext>
              </a:extLst>
            </p:cNvPr>
            <p:cNvSpPr/>
            <p:nvPr/>
          </p:nvSpPr>
          <p:spPr>
            <a:xfrm>
              <a:off x="4596860" y="2533269"/>
              <a:ext cx="27813" cy="62769"/>
            </a:xfrm>
            <a:custGeom>
              <a:avLst/>
              <a:gdLst/>
              <a:ahLst/>
              <a:cxnLst/>
              <a:rect l="l" t="t" r="r" b="b"/>
              <a:pathLst>
                <a:path w="27813" h="62769" extrusionOk="0">
                  <a:moveTo>
                    <a:pt x="0" y="0"/>
                  </a:moveTo>
                  <a:lnTo>
                    <a:pt x="27813" y="0"/>
                  </a:lnTo>
                  <a:lnTo>
                    <a:pt x="27813" y="62770"/>
                  </a:lnTo>
                  <a:lnTo>
                    <a:pt x="0" y="62770"/>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92" name="Google Shape;1635;p92">
              <a:extLst>
                <a:ext uri="{FF2B5EF4-FFF2-40B4-BE49-F238E27FC236}">
                  <a16:creationId xmlns:a16="http://schemas.microsoft.com/office/drawing/2014/main" id="{F8FFD178-37DE-9024-CC8B-32143627DB53}"/>
                </a:ext>
              </a:extLst>
            </p:cNvPr>
            <p:cNvSpPr/>
            <p:nvPr/>
          </p:nvSpPr>
          <p:spPr>
            <a:xfrm>
              <a:off x="3886200" y="2057400"/>
              <a:ext cx="1371600" cy="1371600"/>
            </a:xfrm>
            <a:custGeom>
              <a:avLst/>
              <a:gdLst/>
              <a:ahLst/>
              <a:cxnLst/>
              <a:rect l="l" t="t" r="r" b="b"/>
              <a:pathLst>
                <a:path w="1371600" h="1371600" extrusionOk="0">
                  <a:moveTo>
                    <a:pt x="0" y="0"/>
                  </a:moveTo>
                  <a:lnTo>
                    <a:pt x="0" y="1371600"/>
                  </a:lnTo>
                  <a:lnTo>
                    <a:pt x="1371600" y="1371600"/>
                  </a:lnTo>
                  <a:lnTo>
                    <a:pt x="1371600" y="0"/>
                  </a:lnTo>
                  <a:close/>
                  <a:moveTo>
                    <a:pt x="1313021" y="1313021"/>
                  </a:moveTo>
                  <a:lnTo>
                    <a:pt x="58579" y="1313021"/>
                  </a:lnTo>
                  <a:lnTo>
                    <a:pt x="58579" y="58484"/>
                  </a:lnTo>
                  <a:lnTo>
                    <a:pt x="1313021" y="58484"/>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93" name="Google Shape;1636;p92">
              <a:extLst>
                <a:ext uri="{FF2B5EF4-FFF2-40B4-BE49-F238E27FC236}">
                  <a16:creationId xmlns:a16="http://schemas.microsoft.com/office/drawing/2014/main" id="{D8F4B1B1-E4D3-8F38-0B75-A345F1876D56}"/>
                </a:ext>
              </a:extLst>
            </p:cNvPr>
            <p:cNvSpPr/>
            <p:nvPr/>
          </p:nvSpPr>
          <p:spPr>
            <a:xfrm>
              <a:off x="4076700" y="2314003"/>
              <a:ext cx="983456" cy="905446"/>
            </a:xfrm>
            <a:custGeom>
              <a:avLst/>
              <a:gdLst/>
              <a:ahLst/>
              <a:cxnLst/>
              <a:rect l="l" t="t" r="r" b="b"/>
              <a:pathLst>
                <a:path w="983456" h="905446" extrusionOk="0">
                  <a:moveTo>
                    <a:pt x="180975" y="661321"/>
                  </a:moveTo>
                  <a:lnTo>
                    <a:pt x="414052" y="661321"/>
                  </a:lnTo>
                  <a:lnTo>
                    <a:pt x="414052" y="811911"/>
                  </a:lnTo>
                  <a:lnTo>
                    <a:pt x="924878" y="811911"/>
                  </a:lnTo>
                  <a:lnTo>
                    <a:pt x="924878" y="905447"/>
                  </a:lnTo>
                  <a:lnTo>
                    <a:pt x="983456" y="905447"/>
                  </a:lnTo>
                  <a:lnTo>
                    <a:pt x="983456" y="347282"/>
                  </a:lnTo>
                  <a:lnTo>
                    <a:pt x="924878" y="347282"/>
                  </a:lnTo>
                  <a:lnTo>
                    <a:pt x="924878" y="393668"/>
                  </a:lnTo>
                  <a:lnTo>
                    <a:pt x="414052" y="393668"/>
                  </a:lnTo>
                  <a:lnTo>
                    <a:pt x="414052" y="475012"/>
                  </a:lnTo>
                  <a:lnTo>
                    <a:pt x="389001" y="475012"/>
                  </a:lnTo>
                  <a:cubicBezTo>
                    <a:pt x="389001" y="473583"/>
                    <a:pt x="389001" y="472059"/>
                    <a:pt x="389001" y="470726"/>
                  </a:cubicBezTo>
                  <a:cubicBezTo>
                    <a:pt x="389042" y="401951"/>
                    <a:pt x="358117" y="336813"/>
                    <a:pt x="304800" y="293370"/>
                  </a:cubicBezTo>
                  <a:lnTo>
                    <a:pt x="304800" y="58198"/>
                  </a:lnTo>
                  <a:lnTo>
                    <a:pt x="456438" y="58198"/>
                  </a:lnTo>
                  <a:lnTo>
                    <a:pt x="456438" y="95250"/>
                  </a:lnTo>
                  <a:lnTo>
                    <a:pt x="413290" y="95250"/>
                  </a:lnTo>
                  <a:lnTo>
                    <a:pt x="413290" y="275177"/>
                  </a:lnTo>
                  <a:lnTo>
                    <a:pt x="558260" y="275177"/>
                  </a:lnTo>
                  <a:lnTo>
                    <a:pt x="558260" y="95250"/>
                  </a:lnTo>
                  <a:lnTo>
                    <a:pt x="515112" y="95250"/>
                  </a:lnTo>
                  <a:lnTo>
                    <a:pt x="515112" y="0"/>
                  </a:lnTo>
                  <a:lnTo>
                    <a:pt x="246221" y="0"/>
                  </a:lnTo>
                  <a:lnTo>
                    <a:pt x="246221" y="258699"/>
                  </a:lnTo>
                  <a:cubicBezTo>
                    <a:pt x="225356" y="250321"/>
                    <a:pt x="203372" y="245057"/>
                    <a:pt x="180975" y="243078"/>
                  </a:cubicBezTo>
                  <a:lnTo>
                    <a:pt x="180975" y="185261"/>
                  </a:lnTo>
                  <a:lnTo>
                    <a:pt x="0" y="185261"/>
                  </a:lnTo>
                  <a:lnTo>
                    <a:pt x="0" y="905447"/>
                  </a:lnTo>
                  <a:lnTo>
                    <a:pt x="180975" y="905447"/>
                  </a:lnTo>
                  <a:close/>
                  <a:moveTo>
                    <a:pt x="471488" y="153829"/>
                  </a:moveTo>
                  <a:lnTo>
                    <a:pt x="499300" y="153829"/>
                  </a:lnTo>
                  <a:lnTo>
                    <a:pt x="499300" y="216694"/>
                  </a:lnTo>
                  <a:lnTo>
                    <a:pt x="471869" y="216694"/>
                  </a:lnTo>
                  <a:close/>
                  <a:moveTo>
                    <a:pt x="472154" y="452247"/>
                  </a:moveTo>
                  <a:lnTo>
                    <a:pt x="924878" y="452247"/>
                  </a:lnTo>
                  <a:lnTo>
                    <a:pt x="924878" y="753047"/>
                  </a:lnTo>
                  <a:lnTo>
                    <a:pt x="472535" y="753047"/>
                  </a:lnTo>
                  <a:close/>
                  <a:moveTo>
                    <a:pt x="180975" y="302038"/>
                  </a:moveTo>
                  <a:cubicBezTo>
                    <a:pt x="266330" y="312345"/>
                    <a:pt x="330559" y="384750"/>
                    <a:pt x="330613" y="470726"/>
                  </a:cubicBezTo>
                  <a:cubicBezTo>
                    <a:pt x="330613" y="472154"/>
                    <a:pt x="330613" y="473583"/>
                    <a:pt x="330613" y="475012"/>
                  </a:cubicBezTo>
                  <a:lnTo>
                    <a:pt x="180975" y="475012"/>
                  </a:lnTo>
                  <a:close/>
                  <a:moveTo>
                    <a:pt x="180975" y="533972"/>
                  </a:moveTo>
                  <a:lnTo>
                    <a:pt x="414052" y="533972"/>
                  </a:lnTo>
                  <a:lnTo>
                    <a:pt x="414052" y="603123"/>
                  </a:lnTo>
                  <a:lnTo>
                    <a:pt x="180975" y="603123"/>
                  </a:lnTo>
                  <a:close/>
                  <a:moveTo>
                    <a:pt x="122396" y="847154"/>
                  </a:moveTo>
                  <a:lnTo>
                    <a:pt x="59341" y="847154"/>
                  </a:lnTo>
                  <a:lnTo>
                    <a:pt x="59341" y="243840"/>
                  </a:lnTo>
                  <a:lnTo>
                    <a:pt x="122777" y="243840"/>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grpSp>
      <p:grpSp>
        <p:nvGrpSpPr>
          <p:cNvPr id="94" name="Google Shape;1654;p92">
            <a:extLst>
              <a:ext uri="{FF2B5EF4-FFF2-40B4-BE49-F238E27FC236}">
                <a16:creationId xmlns:a16="http://schemas.microsoft.com/office/drawing/2014/main" id="{594AAC2C-5B65-E8F9-8ECC-13E411076E0A}"/>
              </a:ext>
            </a:extLst>
          </p:cNvPr>
          <p:cNvGrpSpPr/>
          <p:nvPr/>
        </p:nvGrpSpPr>
        <p:grpSpPr>
          <a:xfrm>
            <a:off x="10544589" y="5318798"/>
            <a:ext cx="504001" cy="504009"/>
            <a:chOff x="3523866" y="3895566"/>
            <a:chExt cx="457200" cy="457200"/>
          </a:xfrm>
        </p:grpSpPr>
        <p:sp>
          <p:nvSpPr>
            <p:cNvPr id="95" name="Google Shape;1655;p92">
              <a:extLst>
                <a:ext uri="{FF2B5EF4-FFF2-40B4-BE49-F238E27FC236}">
                  <a16:creationId xmlns:a16="http://schemas.microsoft.com/office/drawing/2014/main" id="{0BF8B685-24EB-F6B7-6D96-1C3A29FAAB97}"/>
                </a:ext>
              </a:extLst>
            </p:cNvPr>
            <p:cNvSpPr/>
            <p:nvPr/>
          </p:nvSpPr>
          <p:spPr>
            <a:xfrm>
              <a:off x="3721986" y="4124166"/>
              <a:ext cx="60959" cy="22828"/>
            </a:xfrm>
            <a:custGeom>
              <a:avLst/>
              <a:gdLst/>
              <a:ahLst/>
              <a:cxnLst/>
              <a:rect l="l" t="t" r="r" b="b"/>
              <a:pathLst>
                <a:path w="60959" h="22828" extrusionOk="0">
                  <a:moveTo>
                    <a:pt x="0" y="0"/>
                  </a:moveTo>
                  <a:lnTo>
                    <a:pt x="60960" y="0"/>
                  </a:lnTo>
                  <a:lnTo>
                    <a:pt x="60960" y="22828"/>
                  </a:lnTo>
                  <a:lnTo>
                    <a:pt x="0" y="22828"/>
                  </a:lnTo>
                  <a:lnTo>
                    <a:pt x="0" y="0"/>
                  </a:lnTo>
                  <a:lnTo>
                    <a:pt x="0" y="0"/>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96" name="Google Shape;1656;p92">
              <a:extLst>
                <a:ext uri="{FF2B5EF4-FFF2-40B4-BE49-F238E27FC236}">
                  <a16:creationId xmlns:a16="http://schemas.microsoft.com/office/drawing/2014/main" id="{EE7AEC1C-C5B3-E723-B9E4-E1B584899F72}"/>
                </a:ext>
              </a:extLst>
            </p:cNvPr>
            <p:cNvSpPr/>
            <p:nvPr/>
          </p:nvSpPr>
          <p:spPr>
            <a:xfrm>
              <a:off x="3721986" y="4154614"/>
              <a:ext cx="60959" cy="22891"/>
            </a:xfrm>
            <a:custGeom>
              <a:avLst/>
              <a:gdLst/>
              <a:ahLst/>
              <a:cxnLst/>
              <a:rect l="l" t="t" r="r" b="b"/>
              <a:pathLst>
                <a:path w="60959" h="22891" extrusionOk="0">
                  <a:moveTo>
                    <a:pt x="0" y="0"/>
                  </a:moveTo>
                  <a:lnTo>
                    <a:pt x="60960" y="0"/>
                  </a:lnTo>
                  <a:lnTo>
                    <a:pt x="60960" y="22892"/>
                  </a:lnTo>
                  <a:lnTo>
                    <a:pt x="0" y="22892"/>
                  </a:lnTo>
                  <a:lnTo>
                    <a:pt x="0" y="0"/>
                  </a:lnTo>
                  <a:lnTo>
                    <a:pt x="0" y="0"/>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97" name="Google Shape;1657;p92">
              <a:extLst>
                <a:ext uri="{FF2B5EF4-FFF2-40B4-BE49-F238E27FC236}">
                  <a16:creationId xmlns:a16="http://schemas.microsoft.com/office/drawing/2014/main" id="{01F7ABBA-99EA-9BF1-9BB6-0E00A4C88043}"/>
                </a:ext>
              </a:extLst>
            </p:cNvPr>
            <p:cNvSpPr/>
            <p:nvPr/>
          </p:nvSpPr>
          <p:spPr>
            <a:xfrm>
              <a:off x="3523866" y="3895566"/>
              <a:ext cx="457200" cy="457200"/>
            </a:xfrm>
            <a:custGeom>
              <a:avLst/>
              <a:gdLst/>
              <a:ahLst/>
              <a:cxnLst/>
              <a:rect l="l" t="t" r="r" b="b"/>
              <a:pathLst>
                <a:path w="457200" h="457200" extrusionOk="0">
                  <a:moveTo>
                    <a:pt x="0" y="0"/>
                  </a:moveTo>
                  <a:lnTo>
                    <a:pt x="0" y="457200"/>
                  </a:lnTo>
                  <a:lnTo>
                    <a:pt x="457200" y="457200"/>
                  </a:lnTo>
                  <a:lnTo>
                    <a:pt x="457200" y="0"/>
                  </a:lnTo>
                  <a:close/>
                  <a:moveTo>
                    <a:pt x="154813" y="436880"/>
                  </a:moveTo>
                  <a:lnTo>
                    <a:pt x="75438" y="436880"/>
                  </a:lnTo>
                  <a:lnTo>
                    <a:pt x="75438" y="167862"/>
                  </a:lnTo>
                  <a:lnTo>
                    <a:pt x="154813" y="167862"/>
                  </a:lnTo>
                  <a:lnTo>
                    <a:pt x="154813" y="436880"/>
                  </a:lnTo>
                  <a:close/>
                  <a:moveTo>
                    <a:pt x="240538" y="436880"/>
                  </a:moveTo>
                  <a:lnTo>
                    <a:pt x="215900" y="436880"/>
                  </a:lnTo>
                  <a:lnTo>
                    <a:pt x="215900" y="358966"/>
                  </a:lnTo>
                  <a:lnTo>
                    <a:pt x="240570" y="358966"/>
                  </a:lnTo>
                  <a:lnTo>
                    <a:pt x="240570" y="436880"/>
                  </a:lnTo>
                  <a:close/>
                  <a:moveTo>
                    <a:pt x="281813" y="147955"/>
                  </a:moveTo>
                  <a:lnTo>
                    <a:pt x="281813" y="436880"/>
                  </a:lnTo>
                  <a:lnTo>
                    <a:pt x="260350" y="436880"/>
                  </a:lnTo>
                  <a:lnTo>
                    <a:pt x="260350" y="339122"/>
                  </a:lnTo>
                  <a:lnTo>
                    <a:pt x="195929" y="339122"/>
                  </a:lnTo>
                  <a:lnTo>
                    <a:pt x="195929" y="436880"/>
                  </a:lnTo>
                  <a:lnTo>
                    <a:pt x="174625" y="436880"/>
                  </a:lnTo>
                  <a:lnTo>
                    <a:pt x="174625" y="81280"/>
                  </a:lnTo>
                  <a:lnTo>
                    <a:pt x="281591" y="81280"/>
                  </a:lnTo>
                  <a:lnTo>
                    <a:pt x="281591" y="147955"/>
                  </a:lnTo>
                  <a:close/>
                  <a:moveTo>
                    <a:pt x="381476" y="436880"/>
                  </a:moveTo>
                  <a:lnTo>
                    <a:pt x="302387" y="436880"/>
                  </a:lnTo>
                  <a:lnTo>
                    <a:pt x="302387" y="167862"/>
                  </a:lnTo>
                  <a:lnTo>
                    <a:pt x="381254" y="167862"/>
                  </a:lnTo>
                  <a:lnTo>
                    <a:pt x="381254" y="436880"/>
                  </a:lnTo>
                  <a:close/>
                  <a:moveTo>
                    <a:pt x="437579" y="436880"/>
                  </a:moveTo>
                  <a:lnTo>
                    <a:pt x="401066" y="436880"/>
                  </a:lnTo>
                  <a:lnTo>
                    <a:pt x="401066" y="147955"/>
                  </a:lnTo>
                  <a:lnTo>
                    <a:pt x="302387" y="147955"/>
                  </a:lnTo>
                  <a:lnTo>
                    <a:pt x="302387" y="61436"/>
                  </a:lnTo>
                  <a:lnTo>
                    <a:pt x="154813" y="61436"/>
                  </a:lnTo>
                  <a:lnTo>
                    <a:pt x="154813" y="148019"/>
                  </a:lnTo>
                  <a:lnTo>
                    <a:pt x="55626" y="148019"/>
                  </a:lnTo>
                  <a:lnTo>
                    <a:pt x="55626" y="436944"/>
                  </a:lnTo>
                  <a:lnTo>
                    <a:pt x="19844" y="436944"/>
                  </a:lnTo>
                  <a:lnTo>
                    <a:pt x="19844" y="19812"/>
                  </a:lnTo>
                  <a:lnTo>
                    <a:pt x="437356" y="19812"/>
                  </a:lnTo>
                  <a:lnTo>
                    <a:pt x="437356" y="436880"/>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98" name="Google Shape;1658;p92">
              <a:extLst>
                <a:ext uri="{FF2B5EF4-FFF2-40B4-BE49-F238E27FC236}">
                  <a16:creationId xmlns:a16="http://schemas.microsoft.com/office/drawing/2014/main" id="{67E0A6C9-5F93-35C3-BA83-3265A17A644E}"/>
                </a:ext>
              </a:extLst>
            </p:cNvPr>
            <p:cNvSpPr/>
            <p:nvPr/>
          </p:nvSpPr>
          <p:spPr>
            <a:xfrm>
              <a:off x="3721986" y="4002214"/>
              <a:ext cx="60959" cy="53371"/>
            </a:xfrm>
            <a:custGeom>
              <a:avLst/>
              <a:gdLst/>
              <a:ahLst/>
              <a:cxnLst/>
              <a:rect l="l" t="t" r="r" b="b"/>
              <a:pathLst>
                <a:path w="60959" h="53371" extrusionOk="0">
                  <a:moveTo>
                    <a:pt x="19463" y="53372"/>
                  </a:moveTo>
                  <a:lnTo>
                    <a:pt x="40481" y="53372"/>
                  </a:lnTo>
                  <a:lnTo>
                    <a:pt x="40481" y="35719"/>
                  </a:lnTo>
                  <a:lnTo>
                    <a:pt x="60960" y="35719"/>
                  </a:lnTo>
                  <a:lnTo>
                    <a:pt x="60960" y="17208"/>
                  </a:lnTo>
                  <a:lnTo>
                    <a:pt x="40481" y="17208"/>
                  </a:lnTo>
                  <a:lnTo>
                    <a:pt x="40481" y="0"/>
                  </a:lnTo>
                  <a:lnTo>
                    <a:pt x="19463" y="0"/>
                  </a:lnTo>
                  <a:lnTo>
                    <a:pt x="19463" y="17208"/>
                  </a:lnTo>
                  <a:lnTo>
                    <a:pt x="0" y="17208"/>
                  </a:lnTo>
                  <a:lnTo>
                    <a:pt x="0" y="35719"/>
                  </a:lnTo>
                  <a:lnTo>
                    <a:pt x="19463" y="35719"/>
                  </a:lnTo>
                  <a:lnTo>
                    <a:pt x="19463" y="53372"/>
                  </a:lnTo>
                  <a:lnTo>
                    <a:pt x="19463" y="53372"/>
                  </a:lnTo>
                  <a:lnTo>
                    <a:pt x="19463" y="53372"/>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99" name="Google Shape;1659;p92">
              <a:extLst>
                <a:ext uri="{FF2B5EF4-FFF2-40B4-BE49-F238E27FC236}">
                  <a16:creationId xmlns:a16="http://schemas.microsoft.com/office/drawing/2014/main" id="{4D545500-2FFA-ECE0-FA08-582982308EB9}"/>
                </a:ext>
              </a:extLst>
            </p:cNvPr>
            <p:cNvSpPr/>
            <p:nvPr/>
          </p:nvSpPr>
          <p:spPr>
            <a:xfrm>
              <a:off x="3622926" y="4116514"/>
              <a:ext cx="30479" cy="15240"/>
            </a:xfrm>
            <a:custGeom>
              <a:avLst/>
              <a:gdLst/>
              <a:ahLst/>
              <a:cxnLst/>
              <a:rect l="l" t="t" r="r" b="b"/>
              <a:pathLst>
                <a:path w="30479" h="15240" extrusionOk="0">
                  <a:moveTo>
                    <a:pt x="0" y="0"/>
                  </a:moveTo>
                  <a:lnTo>
                    <a:pt x="30480" y="0"/>
                  </a:lnTo>
                  <a:lnTo>
                    <a:pt x="30480" y="15240"/>
                  </a:lnTo>
                  <a:lnTo>
                    <a:pt x="0" y="15240"/>
                  </a:lnTo>
                  <a:lnTo>
                    <a:pt x="0" y="0"/>
                  </a:lnTo>
                  <a:lnTo>
                    <a:pt x="0" y="0"/>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00" name="Google Shape;1660;p92">
              <a:extLst>
                <a:ext uri="{FF2B5EF4-FFF2-40B4-BE49-F238E27FC236}">
                  <a16:creationId xmlns:a16="http://schemas.microsoft.com/office/drawing/2014/main" id="{2132EE1A-86EE-0738-ED0F-28A9295E2885}"/>
                </a:ext>
              </a:extLst>
            </p:cNvPr>
            <p:cNvSpPr/>
            <p:nvPr/>
          </p:nvSpPr>
          <p:spPr>
            <a:xfrm>
              <a:off x="3622926" y="4146994"/>
              <a:ext cx="30479" cy="22859"/>
            </a:xfrm>
            <a:custGeom>
              <a:avLst/>
              <a:gdLst/>
              <a:ahLst/>
              <a:cxnLst/>
              <a:rect l="l" t="t" r="r" b="b"/>
              <a:pathLst>
                <a:path w="30479" h="22859" extrusionOk="0">
                  <a:moveTo>
                    <a:pt x="0" y="0"/>
                  </a:moveTo>
                  <a:lnTo>
                    <a:pt x="30480" y="0"/>
                  </a:lnTo>
                  <a:lnTo>
                    <a:pt x="30480" y="22860"/>
                  </a:lnTo>
                  <a:lnTo>
                    <a:pt x="0" y="22860"/>
                  </a:lnTo>
                  <a:lnTo>
                    <a:pt x="0" y="0"/>
                  </a:lnTo>
                  <a:lnTo>
                    <a:pt x="0" y="0"/>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01" name="Google Shape;1661;p92">
              <a:extLst>
                <a:ext uri="{FF2B5EF4-FFF2-40B4-BE49-F238E27FC236}">
                  <a16:creationId xmlns:a16="http://schemas.microsoft.com/office/drawing/2014/main" id="{CFB7CC00-E26B-7DBA-041D-09E2981F93CA}"/>
                </a:ext>
              </a:extLst>
            </p:cNvPr>
            <p:cNvSpPr/>
            <p:nvPr/>
          </p:nvSpPr>
          <p:spPr>
            <a:xfrm>
              <a:off x="3622926" y="4185094"/>
              <a:ext cx="30479" cy="15271"/>
            </a:xfrm>
            <a:custGeom>
              <a:avLst/>
              <a:gdLst/>
              <a:ahLst/>
              <a:cxnLst/>
              <a:rect l="l" t="t" r="r" b="b"/>
              <a:pathLst>
                <a:path w="30479" h="15271" extrusionOk="0">
                  <a:moveTo>
                    <a:pt x="0" y="0"/>
                  </a:moveTo>
                  <a:lnTo>
                    <a:pt x="30480" y="0"/>
                  </a:lnTo>
                  <a:lnTo>
                    <a:pt x="30480" y="15272"/>
                  </a:lnTo>
                  <a:lnTo>
                    <a:pt x="0" y="15272"/>
                  </a:lnTo>
                  <a:lnTo>
                    <a:pt x="0" y="0"/>
                  </a:lnTo>
                  <a:lnTo>
                    <a:pt x="0" y="0"/>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02" name="Google Shape;1662;p92">
              <a:extLst>
                <a:ext uri="{FF2B5EF4-FFF2-40B4-BE49-F238E27FC236}">
                  <a16:creationId xmlns:a16="http://schemas.microsoft.com/office/drawing/2014/main" id="{15EC7B77-49D7-6AD2-FB2D-8180FD60E8B6}"/>
                </a:ext>
              </a:extLst>
            </p:cNvPr>
            <p:cNvSpPr/>
            <p:nvPr/>
          </p:nvSpPr>
          <p:spPr>
            <a:xfrm>
              <a:off x="3622926" y="4215606"/>
              <a:ext cx="30479" cy="22859"/>
            </a:xfrm>
            <a:custGeom>
              <a:avLst/>
              <a:gdLst/>
              <a:ahLst/>
              <a:cxnLst/>
              <a:rect l="l" t="t" r="r" b="b"/>
              <a:pathLst>
                <a:path w="30479" h="22859" extrusionOk="0">
                  <a:moveTo>
                    <a:pt x="0" y="0"/>
                  </a:moveTo>
                  <a:lnTo>
                    <a:pt x="30480" y="0"/>
                  </a:lnTo>
                  <a:lnTo>
                    <a:pt x="30480" y="22860"/>
                  </a:lnTo>
                  <a:lnTo>
                    <a:pt x="0" y="22860"/>
                  </a:lnTo>
                  <a:lnTo>
                    <a:pt x="0" y="0"/>
                  </a:lnTo>
                  <a:lnTo>
                    <a:pt x="0" y="0"/>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03" name="Google Shape;1663;p92">
              <a:extLst>
                <a:ext uri="{FF2B5EF4-FFF2-40B4-BE49-F238E27FC236}">
                  <a16:creationId xmlns:a16="http://schemas.microsoft.com/office/drawing/2014/main" id="{93B3CE46-1839-A491-018E-5C5D47EA5C53}"/>
                </a:ext>
              </a:extLst>
            </p:cNvPr>
            <p:cNvSpPr/>
            <p:nvPr/>
          </p:nvSpPr>
          <p:spPr>
            <a:xfrm>
              <a:off x="3622926" y="4253706"/>
              <a:ext cx="30479" cy="22859"/>
            </a:xfrm>
            <a:custGeom>
              <a:avLst/>
              <a:gdLst/>
              <a:ahLst/>
              <a:cxnLst/>
              <a:rect l="l" t="t" r="r" b="b"/>
              <a:pathLst>
                <a:path w="30479" h="22859" extrusionOk="0">
                  <a:moveTo>
                    <a:pt x="0" y="0"/>
                  </a:moveTo>
                  <a:lnTo>
                    <a:pt x="30480" y="0"/>
                  </a:lnTo>
                  <a:lnTo>
                    <a:pt x="30480" y="22860"/>
                  </a:lnTo>
                  <a:lnTo>
                    <a:pt x="0" y="22860"/>
                  </a:lnTo>
                  <a:lnTo>
                    <a:pt x="0" y="0"/>
                  </a:lnTo>
                  <a:lnTo>
                    <a:pt x="0" y="0"/>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04" name="Google Shape;1664;p92">
              <a:extLst>
                <a:ext uri="{FF2B5EF4-FFF2-40B4-BE49-F238E27FC236}">
                  <a16:creationId xmlns:a16="http://schemas.microsoft.com/office/drawing/2014/main" id="{F2DFFD91-F045-017F-AB94-50397BBD2076}"/>
                </a:ext>
              </a:extLst>
            </p:cNvPr>
            <p:cNvSpPr/>
            <p:nvPr/>
          </p:nvSpPr>
          <p:spPr>
            <a:xfrm>
              <a:off x="3622926" y="4291806"/>
              <a:ext cx="30479" cy="15208"/>
            </a:xfrm>
            <a:custGeom>
              <a:avLst/>
              <a:gdLst/>
              <a:ahLst/>
              <a:cxnLst/>
              <a:rect l="l" t="t" r="r" b="b"/>
              <a:pathLst>
                <a:path w="30479" h="15208" extrusionOk="0">
                  <a:moveTo>
                    <a:pt x="0" y="0"/>
                  </a:moveTo>
                  <a:lnTo>
                    <a:pt x="30480" y="0"/>
                  </a:lnTo>
                  <a:lnTo>
                    <a:pt x="30480" y="15208"/>
                  </a:lnTo>
                  <a:lnTo>
                    <a:pt x="0" y="15208"/>
                  </a:lnTo>
                  <a:lnTo>
                    <a:pt x="0" y="0"/>
                  </a:lnTo>
                  <a:lnTo>
                    <a:pt x="0" y="0"/>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05" name="Google Shape;1665;p92">
              <a:extLst>
                <a:ext uri="{FF2B5EF4-FFF2-40B4-BE49-F238E27FC236}">
                  <a16:creationId xmlns:a16="http://schemas.microsoft.com/office/drawing/2014/main" id="{952EFDB1-B39C-9CFF-195D-FFA30B863AED}"/>
                </a:ext>
              </a:extLst>
            </p:cNvPr>
            <p:cNvSpPr/>
            <p:nvPr/>
          </p:nvSpPr>
          <p:spPr>
            <a:xfrm>
              <a:off x="3851525" y="4116514"/>
              <a:ext cx="22860" cy="15240"/>
            </a:xfrm>
            <a:custGeom>
              <a:avLst/>
              <a:gdLst/>
              <a:ahLst/>
              <a:cxnLst/>
              <a:rect l="l" t="t" r="r" b="b"/>
              <a:pathLst>
                <a:path w="22860" h="15240" extrusionOk="0">
                  <a:moveTo>
                    <a:pt x="0" y="0"/>
                  </a:moveTo>
                  <a:lnTo>
                    <a:pt x="22860" y="0"/>
                  </a:lnTo>
                  <a:lnTo>
                    <a:pt x="22860" y="15240"/>
                  </a:lnTo>
                  <a:lnTo>
                    <a:pt x="0" y="15240"/>
                  </a:lnTo>
                  <a:lnTo>
                    <a:pt x="0" y="0"/>
                  </a:lnTo>
                  <a:lnTo>
                    <a:pt x="0" y="0"/>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06" name="Google Shape;1666;p92">
              <a:extLst>
                <a:ext uri="{FF2B5EF4-FFF2-40B4-BE49-F238E27FC236}">
                  <a16:creationId xmlns:a16="http://schemas.microsoft.com/office/drawing/2014/main" id="{2BF2D093-2A49-877E-57FB-C64EFE51EDD9}"/>
                </a:ext>
              </a:extLst>
            </p:cNvPr>
            <p:cNvSpPr/>
            <p:nvPr/>
          </p:nvSpPr>
          <p:spPr>
            <a:xfrm>
              <a:off x="3851525" y="4146994"/>
              <a:ext cx="22860" cy="22859"/>
            </a:xfrm>
            <a:custGeom>
              <a:avLst/>
              <a:gdLst/>
              <a:ahLst/>
              <a:cxnLst/>
              <a:rect l="l" t="t" r="r" b="b"/>
              <a:pathLst>
                <a:path w="22860" h="22859" extrusionOk="0">
                  <a:moveTo>
                    <a:pt x="0" y="0"/>
                  </a:moveTo>
                  <a:lnTo>
                    <a:pt x="22860" y="0"/>
                  </a:lnTo>
                  <a:lnTo>
                    <a:pt x="22860" y="22860"/>
                  </a:lnTo>
                  <a:lnTo>
                    <a:pt x="0" y="22860"/>
                  </a:lnTo>
                  <a:lnTo>
                    <a:pt x="0" y="0"/>
                  </a:lnTo>
                  <a:lnTo>
                    <a:pt x="0" y="0"/>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07" name="Google Shape;1667;p92">
              <a:extLst>
                <a:ext uri="{FF2B5EF4-FFF2-40B4-BE49-F238E27FC236}">
                  <a16:creationId xmlns:a16="http://schemas.microsoft.com/office/drawing/2014/main" id="{D821A797-6F35-403F-F3BD-1B2C96A9BB9E}"/>
                </a:ext>
              </a:extLst>
            </p:cNvPr>
            <p:cNvSpPr/>
            <p:nvPr/>
          </p:nvSpPr>
          <p:spPr>
            <a:xfrm>
              <a:off x="3851525" y="4185094"/>
              <a:ext cx="22860" cy="15271"/>
            </a:xfrm>
            <a:custGeom>
              <a:avLst/>
              <a:gdLst/>
              <a:ahLst/>
              <a:cxnLst/>
              <a:rect l="l" t="t" r="r" b="b"/>
              <a:pathLst>
                <a:path w="22860" h="15271" extrusionOk="0">
                  <a:moveTo>
                    <a:pt x="0" y="0"/>
                  </a:moveTo>
                  <a:lnTo>
                    <a:pt x="22860" y="0"/>
                  </a:lnTo>
                  <a:lnTo>
                    <a:pt x="22860" y="15272"/>
                  </a:lnTo>
                  <a:lnTo>
                    <a:pt x="0" y="15272"/>
                  </a:lnTo>
                  <a:lnTo>
                    <a:pt x="0" y="0"/>
                  </a:lnTo>
                  <a:lnTo>
                    <a:pt x="0" y="0"/>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08" name="Google Shape;1668;p92">
              <a:extLst>
                <a:ext uri="{FF2B5EF4-FFF2-40B4-BE49-F238E27FC236}">
                  <a16:creationId xmlns:a16="http://schemas.microsoft.com/office/drawing/2014/main" id="{90D09C20-B8D2-405F-DC35-7461DFF6F67B}"/>
                </a:ext>
              </a:extLst>
            </p:cNvPr>
            <p:cNvSpPr/>
            <p:nvPr/>
          </p:nvSpPr>
          <p:spPr>
            <a:xfrm>
              <a:off x="3851525" y="4215606"/>
              <a:ext cx="22860" cy="22859"/>
            </a:xfrm>
            <a:custGeom>
              <a:avLst/>
              <a:gdLst/>
              <a:ahLst/>
              <a:cxnLst/>
              <a:rect l="l" t="t" r="r" b="b"/>
              <a:pathLst>
                <a:path w="22860" h="22859" extrusionOk="0">
                  <a:moveTo>
                    <a:pt x="0" y="0"/>
                  </a:moveTo>
                  <a:lnTo>
                    <a:pt x="22860" y="0"/>
                  </a:lnTo>
                  <a:lnTo>
                    <a:pt x="22860" y="22860"/>
                  </a:lnTo>
                  <a:lnTo>
                    <a:pt x="0" y="22860"/>
                  </a:lnTo>
                  <a:lnTo>
                    <a:pt x="0" y="0"/>
                  </a:lnTo>
                  <a:lnTo>
                    <a:pt x="0" y="0"/>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09" name="Google Shape;1669;p92">
              <a:extLst>
                <a:ext uri="{FF2B5EF4-FFF2-40B4-BE49-F238E27FC236}">
                  <a16:creationId xmlns:a16="http://schemas.microsoft.com/office/drawing/2014/main" id="{420CBE9D-90E6-55AB-2247-F721592065BB}"/>
                </a:ext>
              </a:extLst>
            </p:cNvPr>
            <p:cNvSpPr/>
            <p:nvPr/>
          </p:nvSpPr>
          <p:spPr>
            <a:xfrm>
              <a:off x="3851525" y="4253706"/>
              <a:ext cx="22860" cy="22859"/>
            </a:xfrm>
            <a:custGeom>
              <a:avLst/>
              <a:gdLst/>
              <a:ahLst/>
              <a:cxnLst/>
              <a:rect l="l" t="t" r="r" b="b"/>
              <a:pathLst>
                <a:path w="22860" h="22859" extrusionOk="0">
                  <a:moveTo>
                    <a:pt x="0" y="0"/>
                  </a:moveTo>
                  <a:lnTo>
                    <a:pt x="22860" y="0"/>
                  </a:lnTo>
                  <a:lnTo>
                    <a:pt x="22860" y="22860"/>
                  </a:lnTo>
                  <a:lnTo>
                    <a:pt x="0" y="22860"/>
                  </a:lnTo>
                  <a:lnTo>
                    <a:pt x="0" y="0"/>
                  </a:lnTo>
                  <a:lnTo>
                    <a:pt x="0" y="0"/>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10" name="Google Shape;1670;p92">
              <a:extLst>
                <a:ext uri="{FF2B5EF4-FFF2-40B4-BE49-F238E27FC236}">
                  <a16:creationId xmlns:a16="http://schemas.microsoft.com/office/drawing/2014/main" id="{2FADEC4E-0BF5-23E5-656D-FB6FA5CA766B}"/>
                </a:ext>
              </a:extLst>
            </p:cNvPr>
            <p:cNvSpPr/>
            <p:nvPr/>
          </p:nvSpPr>
          <p:spPr>
            <a:xfrm>
              <a:off x="3851525" y="4291806"/>
              <a:ext cx="22860" cy="15208"/>
            </a:xfrm>
            <a:custGeom>
              <a:avLst/>
              <a:gdLst/>
              <a:ahLst/>
              <a:cxnLst/>
              <a:rect l="l" t="t" r="r" b="b"/>
              <a:pathLst>
                <a:path w="22860" h="15208" extrusionOk="0">
                  <a:moveTo>
                    <a:pt x="0" y="0"/>
                  </a:moveTo>
                  <a:lnTo>
                    <a:pt x="22860" y="0"/>
                  </a:lnTo>
                  <a:lnTo>
                    <a:pt x="22860" y="15208"/>
                  </a:lnTo>
                  <a:lnTo>
                    <a:pt x="0" y="15208"/>
                  </a:lnTo>
                  <a:lnTo>
                    <a:pt x="0" y="0"/>
                  </a:lnTo>
                  <a:lnTo>
                    <a:pt x="0" y="0"/>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grpSp>
      <p:grpSp>
        <p:nvGrpSpPr>
          <p:cNvPr id="111" name="Google Shape;1543;p92">
            <a:extLst>
              <a:ext uri="{FF2B5EF4-FFF2-40B4-BE49-F238E27FC236}">
                <a16:creationId xmlns:a16="http://schemas.microsoft.com/office/drawing/2014/main" id="{25E49F92-0710-7B61-8355-C954630A29B3}"/>
              </a:ext>
            </a:extLst>
          </p:cNvPr>
          <p:cNvGrpSpPr/>
          <p:nvPr/>
        </p:nvGrpSpPr>
        <p:grpSpPr>
          <a:xfrm>
            <a:off x="8195440" y="5318723"/>
            <a:ext cx="504000" cy="504000"/>
            <a:chOff x="11403518" y="3895566"/>
            <a:chExt cx="457200" cy="457200"/>
          </a:xfrm>
        </p:grpSpPr>
        <p:sp>
          <p:nvSpPr>
            <p:cNvPr id="112" name="Google Shape;1544;p92">
              <a:extLst>
                <a:ext uri="{FF2B5EF4-FFF2-40B4-BE49-F238E27FC236}">
                  <a16:creationId xmlns:a16="http://schemas.microsoft.com/office/drawing/2014/main" id="{1BE88429-4F3F-636B-DB20-E431D496B9EB}"/>
                </a:ext>
              </a:extLst>
            </p:cNvPr>
            <p:cNvSpPr/>
            <p:nvPr/>
          </p:nvSpPr>
          <p:spPr>
            <a:xfrm>
              <a:off x="11403518" y="3895566"/>
              <a:ext cx="457200" cy="457200"/>
            </a:xfrm>
            <a:custGeom>
              <a:avLst/>
              <a:gdLst/>
              <a:ahLst/>
              <a:cxnLst/>
              <a:rect l="l" t="t" r="r" b="b"/>
              <a:pathLst>
                <a:path w="457200" h="457200" extrusionOk="0">
                  <a:moveTo>
                    <a:pt x="358426" y="48038"/>
                  </a:moveTo>
                  <a:lnTo>
                    <a:pt x="358426" y="0"/>
                  </a:lnTo>
                  <a:lnTo>
                    <a:pt x="98774" y="0"/>
                  </a:lnTo>
                  <a:lnTo>
                    <a:pt x="98774" y="48038"/>
                  </a:lnTo>
                  <a:lnTo>
                    <a:pt x="0" y="48038"/>
                  </a:lnTo>
                  <a:lnTo>
                    <a:pt x="0" y="457200"/>
                  </a:lnTo>
                  <a:lnTo>
                    <a:pt x="457200" y="457200"/>
                  </a:lnTo>
                  <a:lnTo>
                    <a:pt x="457200" y="48038"/>
                  </a:lnTo>
                  <a:close/>
                  <a:moveTo>
                    <a:pt x="118300" y="19463"/>
                  </a:moveTo>
                  <a:lnTo>
                    <a:pt x="338900" y="19463"/>
                  </a:lnTo>
                  <a:lnTo>
                    <a:pt x="338900" y="47625"/>
                  </a:lnTo>
                  <a:lnTo>
                    <a:pt x="118300" y="47625"/>
                  </a:lnTo>
                  <a:close/>
                  <a:moveTo>
                    <a:pt x="19526" y="225679"/>
                  </a:moveTo>
                  <a:lnTo>
                    <a:pt x="86201" y="225679"/>
                  </a:lnTo>
                  <a:cubicBezTo>
                    <a:pt x="84633" y="234301"/>
                    <a:pt x="83836" y="243046"/>
                    <a:pt x="83820" y="251809"/>
                  </a:cubicBezTo>
                  <a:cubicBezTo>
                    <a:pt x="83817" y="261123"/>
                    <a:pt x="84711" y="270416"/>
                    <a:pt x="86487" y="279559"/>
                  </a:cubicBezTo>
                  <a:lnTo>
                    <a:pt x="19526" y="279559"/>
                  </a:lnTo>
                  <a:close/>
                  <a:moveTo>
                    <a:pt x="437674" y="437674"/>
                  </a:moveTo>
                  <a:lnTo>
                    <a:pt x="19526" y="437674"/>
                  </a:lnTo>
                  <a:lnTo>
                    <a:pt x="19526" y="299085"/>
                  </a:lnTo>
                  <a:lnTo>
                    <a:pt x="92075" y="299085"/>
                  </a:lnTo>
                  <a:cubicBezTo>
                    <a:pt x="118172" y="374574"/>
                    <a:pt x="200523" y="414614"/>
                    <a:pt x="276012" y="388515"/>
                  </a:cubicBezTo>
                  <a:cubicBezTo>
                    <a:pt x="317967" y="374012"/>
                    <a:pt x="350939" y="341039"/>
                    <a:pt x="365443" y="299085"/>
                  </a:cubicBezTo>
                  <a:lnTo>
                    <a:pt x="437832" y="299085"/>
                  </a:lnTo>
                  <a:close/>
                  <a:moveTo>
                    <a:pt x="103505" y="251809"/>
                  </a:moveTo>
                  <a:cubicBezTo>
                    <a:pt x="103502" y="243026"/>
                    <a:pt x="104428" y="234267"/>
                    <a:pt x="106267" y="225679"/>
                  </a:cubicBezTo>
                  <a:cubicBezTo>
                    <a:pt x="107691" y="219018"/>
                    <a:pt x="109666" y="212487"/>
                    <a:pt x="112173" y="206153"/>
                  </a:cubicBezTo>
                  <a:cubicBezTo>
                    <a:pt x="137346" y="141852"/>
                    <a:pt x="209879" y="110133"/>
                    <a:pt x="274180" y="135306"/>
                  </a:cubicBezTo>
                  <a:cubicBezTo>
                    <a:pt x="306639" y="148013"/>
                    <a:pt x="332321" y="173694"/>
                    <a:pt x="345027" y="206153"/>
                  </a:cubicBezTo>
                  <a:cubicBezTo>
                    <a:pt x="347532" y="212487"/>
                    <a:pt x="349510" y="219018"/>
                    <a:pt x="350933" y="225679"/>
                  </a:cubicBezTo>
                  <a:cubicBezTo>
                    <a:pt x="365373" y="293241"/>
                    <a:pt x="322307" y="359715"/>
                    <a:pt x="254743" y="374155"/>
                  </a:cubicBezTo>
                  <a:cubicBezTo>
                    <a:pt x="187181" y="388595"/>
                    <a:pt x="120706" y="345529"/>
                    <a:pt x="106267" y="277965"/>
                  </a:cubicBezTo>
                  <a:cubicBezTo>
                    <a:pt x="104430" y="269368"/>
                    <a:pt x="103504" y="260601"/>
                    <a:pt x="103505" y="251809"/>
                  </a:cubicBezTo>
                  <a:close/>
                  <a:moveTo>
                    <a:pt x="437674" y="279559"/>
                  </a:moveTo>
                  <a:lnTo>
                    <a:pt x="370554" y="279559"/>
                  </a:lnTo>
                  <a:cubicBezTo>
                    <a:pt x="372332" y="270416"/>
                    <a:pt x="373224" y="261123"/>
                    <a:pt x="373221" y="251809"/>
                  </a:cubicBezTo>
                  <a:cubicBezTo>
                    <a:pt x="373205" y="243046"/>
                    <a:pt x="372408" y="234301"/>
                    <a:pt x="370840" y="225679"/>
                  </a:cubicBezTo>
                  <a:lnTo>
                    <a:pt x="437515" y="225679"/>
                  </a:lnTo>
                  <a:close/>
                  <a:moveTo>
                    <a:pt x="437674" y="206153"/>
                  </a:moveTo>
                  <a:lnTo>
                    <a:pt x="365824" y="206153"/>
                  </a:lnTo>
                  <a:cubicBezTo>
                    <a:pt x="340604" y="130366"/>
                    <a:pt x="258724" y="89373"/>
                    <a:pt x="182938" y="114591"/>
                  </a:cubicBezTo>
                  <a:cubicBezTo>
                    <a:pt x="139696" y="128980"/>
                    <a:pt x="105766" y="162911"/>
                    <a:pt x="91377" y="206153"/>
                  </a:cubicBezTo>
                  <a:lnTo>
                    <a:pt x="19526" y="206153"/>
                  </a:lnTo>
                  <a:lnTo>
                    <a:pt x="19526" y="67564"/>
                  </a:lnTo>
                  <a:lnTo>
                    <a:pt x="437674" y="67564"/>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113" name="Google Shape;1545;p92">
              <a:extLst>
                <a:ext uri="{FF2B5EF4-FFF2-40B4-BE49-F238E27FC236}">
                  <a16:creationId xmlns:a16="http://schemas.microsoft.com/office/drawing/2014/main" id="{D285C823-677E-8121-1429-CCB32B027A8B}"/>
                </a:ext>
              </a:extLst>
            </p:cNvPr>
            <p:cNvSpPr/>
            <p:nvPr/>
          </p:nvSpPr>
          <p:spPr>
            <a:xfrm>
              <a:off x="11539503" y="4054760"/>
              <a:ext cx="185229" cy="185229"/>
            </a:xfrm>
            <a:custGeom>
              <a:avLst/>
              <a:gdLst/>
              <a:ahLst/>
              <a:cxnLst/>
              <a:rect l="l" t="t" r="r" b="b"/>
              <a:pathLst>
                <a:path w="185229" h="185229" extrusionOk="0">
                  <a:moveTo>
                    <a:pt x="54959" y="185230"/>
                  </a:moveTo>
                  <a:lnTo>
                    <a:pt x="130270" y="185230"/>
                  </a:lnTo>
                  <a:lnTo>
                    <a:pt x="130270" y="130270"/>
                  </a:lnTo>
                  <a:lnTo>
                    <a:pt x="185229" y="130270"/>
                  </a:lnTo>
                  <a:lnTo>
                    <a:pt x="185229" y="54959"/>
                  </a:lnTo>
                  <a:lnTo>
                    <a:pt x="130270" y="54959"/>
                  </a:lnTo>
                  <a:lnTo>
                    <a:pt x="130270" y="0"/>
                  </a:lnTo>
                  <a:lnTo>
                    <a:pt x="54959" y="0"/>
                  </a:lnTo>
                  <a:lnTo>
                    <a:pt x="54959" y="54959"/>
                  </a:lnTo>
                  <a:lnTo>
                    <a:pt x="0" y="54959"/>
                  </a:lnTo>
                  <a:lnTo>
                    <a:pt x="0" y="130270"/>
                  </a:lnTo>
                  <a:lnTo>
                    <a:pt x="54959" y="130270"/>
                  </a:lnTo>
                  <a:close/>
                  <a:moveTo>
                    <a:pt x="19590" y="110681"/>
                  </a:moveTo>
                  <a:lnTo>
                    <a:pt x="19590" y="74486"/>
                  </a:lnTo>
                  <a:lnTo>
                    <a:pt x="74486" y="74486"/>
                  </a:lnTo>
                  <a:lnTo>
                    <a:pt x="74486" y="19526"/>
                  </a:lnTo>
                  <a:lnTo>
                    <a:pt x="110744" y="19526"/>
                  </a:lnTo>
                  <a:lnTo>
                    <a:pt x="110744" y="74486"/>
                  </a:lnTo>
                  <a:lnTo>
                    <a:pt x="165640" y="74486"/>
                  </a:lnTo>
                  <a:lnTo>
                    <a:pt x="165640" y="110681"/>
                  </a:lnTo>
                  <a:lnTo>
                    <a:pt x="110744" y="110681"/>
                  </a:lnTo>
                  <a:lnTo>
                    <a:pt x="110744" y="165640"/>
                  </a:lnTo>
                  <a:lnTo>
                    <a:pt x="74486" y="165640"/>
                  </a:lnTo>
                  <a:lnTo>
                    <a:pt x="74486" y="110681"/>
                  </a:lnTo>
                  <a:lnTo>
                    <a:pt x="19590" y="110681"/>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grpSp>
      <p:sp>
        <p:nvSpPr>
          <p:cNvPr id="5" name="Rectangle 4">
            <a:extLst>
              <a:ext uri="{FF2B5EF4-FFF2-40B4-BE49-F238E27FC236}">
                <a16:creationId xmlns:a16="http://schemas.microsoft.com/office/drawing/2014/main" id="{775EC90E-5DCE-2B24-A5AB-0F9245BDD3E7}"/>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14" name="Group 13">
            <a:extLst>
              <a:ext uri="{FF2B5EF4-FFF2-40B4-BE49-F238E27FC236}">
                <a16:creationId xmlns:a16="http://schemas.microsoft.com/office/drawing/2014/main" id="{BBDF8F1C-7EDD-A6A2-CA2C-7C5D33D8A44E}"/>
              </a:ext>
            </a:extLst>
          </p:cNvPr>
          <p:cNvGrpSpPr/>
          <p:nvPr/>
        </p:nvGrpSpPr>
        <p:grpSpPr>
          <a:xfrm>
            <a:off x="9307133" y="126781"/>
            <a:ext cx="2441955" cy="217488"/>
            <a:chOff x="9307133" y="126781"/>
            <a:chExt cx="2441955" cy="217488"/>
          </a:xfrm>
        </p:grpSpPr>
        <p:sp>
          <p:nvSpPr>
            <p:cNvPr id="15" name="Rectangle 14">
              <a:extLst>
                <a:ext uri="{FF2B5EF4-FFF2-40B4-BE49-F238E27FC236}">
                  <a16:creationId xmlns:a16="http://schemas.microsoft.com/office/drawing/2014/main" id="{D04D1D11-0D81-7A88-8906-FC420D78DCAD}"/>
                </a:ext>
              </a:extLst>
            </p:cNvPr>
            <p:cNvSpPr/>
            <p:nvPr/>
          </p:nvSpPr>
          <p:spPr>
            <a:xfrm>
              <a:off x="9307133"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8" name="Rectangle 17">
              <a:extLst>
                <a:ext uri="{FF2B5EF4-FFF2-40B4-BE49-F238E27FC236}">
                  <a16:creationId xmlns:a16="http://schemas.microsoft.com/office/drawing/2014/main" id="{FE719E65-4699-694C-009D-546F7199ADFE}"/>
                </a:ext>
              </a:extLst>
            </p:cNvPr>
            <p:cNvSpPr/>
            <p:nvPr/>
          </p:nvSpPr>
          <p:spPr>
            <a:xfrm>
              <a:off x="9790783" y="126781"/>
              <a:ext cx="1237148"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dirty="0">
                  <a:ln>
                    <a:noFill/>
                  </a:ln>
                  <a:solidFill>
                    <a:srgbClr val="000000"/>
                  </a:solidFill>
                  <a:effectLst/>
                  <a:uLnTx/>
                  <a:uFillTx/>
                  <a:ea typeface="Georgia"/>
                  <a:cs typeface="Georgia"/>
                  <a:sym typeface="Georgia"/>
                </a:rPr>
                <a:t>Steps </a:t>
              </a:r>
              <a:r>
                <a:rPr kumimoji="0" lang="lv-LV" sz="800" b="1" i="0" u="none" strike="noStrike" kern="0" cap="none" spc="0" normalizeH="0" baseline="0" noProof="0" dirty="0" err="1">
                  <a:ln>
                    <a:noFill/>
                  </a:ln>
                  <a:solidFill>
                    <a:srgbClr val="000000"/>
                  </a:solidFill>
                  <a:effectLst/>
                  <a:uLnTx/>
                  <a:uFillTx/>
                  <a:ea typeface="Georgia"/>
                  <a:cs typeface="Georgia"/>
                  <a:sym typeface="Georgia"/>
                </a:rPr>
                <a:t>at</a:t>
              </a:r>
              <a:r>
                <a:rPr kumimoji="0" lang="lv-LV" sz="800" b="1" i="0" u="none" strike="noStrike" kern="0" cap="none" spc="0" normalizeH="0" baseline="0" noProof="0" dirty="0">
                  <a:ln>
                    <a:noFill/>
                  </a:ln>
                  <a:solidFill>
                    <a:srgbClr val="000000"/>
                  </a:solidFill>
                  <a:effectLst/>
                  <a:uLnTx/>
                  <a:uFillTx/>
                  <a:ea typeface="Georgia"/>
                  <a:cs typeface="Georgia"/>
                  <a:sym typeface="Georgia"/>
                </a:rPr>
                <a:t> </a:t>
              </a:r>
              <a:r>
                <a:rPr kumimoji="0" lang="lv-LV" sz="800" b="1" i="0" u="none" strike="noStrike" kern="0" cap="none" spc="0" normalizeH="0" baseline="0" noProof="0" dirty="0" err="1">
                  <a:ln>
                    <a:noFill/>
                  </a:ln>
                  <a:solidFill>
                    <a:srgbClr val="000000"/>
                  </a:solidFill>
                  <a:effectLst/>
                  <a:uLnTx/>
                  <a:uFillTx/>
                  <a:ea typeface="Georgia"/>
                  <a:cs typeface="Georgia"/>
                  <a:sym typeface="Georgia"/>
                </a:rPr>
                <a:t>the</a:t>
              </a:r>
              <a:r>
                <a:rPr kumimoji="0" lang="lv-LV" sz="800" b="1" i="0" u="none" strike="noStrike" kern="0" cap="none" spc="0" normalizeH="0" baseline="0" noProof="0" dirty="0">
                  <a:ln>
                    <a:noFill/>
                  </a:ln>
                  <a:solidFill>
                    <a:srgbClr val="000000"/>
                  </a:solidFill>
                  <a:effectLst/>
                  <a:uLnTx/>
                  <a:uFillTx/>
                  <a:ea typeface="Georgia"/>
                  <a:cs typeface="Georgia"/>
                  <a:sym typeface="Georgia"/>
                </a:rPr>
                <a:t> </a:t>
              </a:r>
              <a:r>
                <a:rPr kumimoji="0" lang="lv-LV" sz="800" b="1" i="0" u="none" strike="noStrike" kern="0" cap="none" spc="0" normalizeH="0" baseline="0" noProof="0" dirty="0" err="1">
                  <a:ln>
                    <a:noFill/>
                  </a:ln>
                  <a:solidFill>
                    <a:srgbClr val="000000"/>
                  </a:solidFill>
                  <a:effectLst/>
                  <a:uLnTx/>
                  <a:uFillTx/>
                  <a:ea typeface="Georgia"/>
                  <a:cs typeface="Georgia"/>
                  <a:sym typeface="Georgia"/>
                </a:rPr>
                <a:t>scene</a:t>
              </a:r>
              <a:r>
                <a:rPr kumimoji="0" lang="lv-LV" sz="800" b="1" i="0" u="none" strike="noStrike" kern="0" cap="none" spc="0" normalizeH="0" baseline="0" noProof="0" dirty="0">
                  <a:ln>
                    <a:noFill/>
                  </a:ln>
                  <a:solidFill>
                    <a:srgbClr val="000000"/>
                  </a:solidFill>
                  <a:effectLst/>
                  <a:uLnTx/>
                  <a:uFillTx/>
                  <a:ea typeface="Georgia"/>
                  <a:cs typeface="Georgia"/>
                  <a:sym typeface="Georgia"/>
                </a:rPr>
                <a:t> </a:t>
              </a:r>
              <a:br>
                <a:rPr kumimoji="0" lang="lv-LV" sz="800" b="1" i="0" u="none" strike="noStrike" kern="0" cap="none" spc="0" normalizeH="0" baseline="0" noProof="0" dirty="0">
                  <a:ln>
                    <a:noFill/>
                  </a:ln>
                  <a:solidFill>
                    <a:srgbClr val="000000"/>
                  </a:solidFill>
                  <a:effectLst/>
                  <a:uLnTx/>
                  <a:uFillTx/>
                  <a:ea typeface="Georgia"/>
                  <a:cs typeface="Georgia"/>
                  <a:sym typeface="Georgia"/>
                </a:rPr>
              </a:br>
              <a:r>
                <a:rPr kumimoji="0" lang="lv-LV" sz="800" b="1" i="0" u="none" strike="noStrike" kern="0" cap="none" spc="0" normalizeH="0" baseline="0" noProof="0" dirty="0" err="1">
                  <a:ln>
                    <a:noFill/>
                  </a:ln>
                  <a:solidFill>
                    <a:srgbClr val="000000"/>
                  </a:solidFill>
                  <a:effectLst/>
                  <a:uLnTx/>
                  <a:uFillTx/>
                  <a:ea typeface="Georgia"/>
                  <a:cs typeface="Georgia"/>
                  <a:sym typeface="Georgia"/>
                </a:rPr>
                <a:t>of</a:t>
              </a:r>
              <a:r>
                <a:rPr kumimoji="0" lang="lv-LV" sz="800" b="1" i="0" u="none" strike="noStrike" kern="0" cap="none" spc="0" normalizeH="0" baseline="0" noProof="0" dirty="0">
                  <a:ln>
                    <a:noFill/>
                  </a:ln>
                  <a:solidFill>
                    <a:srgbClr val="000000"/>
                  </a:solidFill>
                  <a:effectLst/>
                  <a:uLnTx/>
                  <a:uFillTx/>
                  <a:ea typeface="Georgia"/>
                  <a:cs typeface="Georgia"/>
                  <a:sym typeface="Georgia"/>
                </a:rPr>
                <a:t> </a:t>
              </a:r>
              <a:r>
                <a:rPr kumimoji="0" lang="lv-LV" sz="800" b="1" i="0" u="none" strike="noStrike" kern="0" cap="none" spc="0" normalizeH="0" baseline="0" noProof="0" dirty="0" err="1">
                  <a:ln>
                    <a:noFill/>
                  </a:ln>
                  <a:solidFill>
                    <a:srgbClr val="000000"/>
                  </a:solidFill>
                  <a:effectLst/>
                  <a:uLnTx/>
                  <a:uFillTx/>
                  <a:ea typeface="Georgia"/>
                  <a:cs typeface="Georgia"/>
                  <a:sym typeface="Georgia"/>
                </a:rPr>
                <a:t>the</a:t>
              </a:r>
              <a:r>
                <a:rPr kumimoji="0" lang="lv-LV" sz="800" b="1" i="0" u="none" strike="noStrike" kern="0" cap="none" spc="0" normalizeH="0" baseline="0" noProof="0" dirty="0">
                  <a:ln>
                    <a:noFill/>
                  </a:ln>
                  <a:solidFill>
                    <a:srgbClr val="000000"/>
                  </a:solidFill>
                  <a:effectLst/>
                  <a:uLnTx/>
                  <a:uFillTx/>
                  <a:ea typeface="Georgia"/>
                  <a:cs typeface="Georgia"/>
                  <a:sym typeface="Georgia"/>
                </a:rPr>
                <a:t> </a:t>
              </a:r>
              <a:r>
                <a:rPr kumimoji="0" lang="lv-LV" sz="800" b="1" i="0" u="none" strike="noStrike" kern="0" cap="none" spc="0" normalizeH="0" baseline="0" noProof="0" dirty="0" err="1">
                  <a:ln>
                    <a:noFill/>
                  </a:ln>
                  <a:solidFill>
                    <a:srgbClr val="000000"/>
                  </a:solidFill>
                  <a:effectLst/>
                  <a:uLnTx/>
                  <a:uFillTx/>
                  <a:ea typeface="Georgia"/>
                  <a:cs typeface="Georgia"/>
                  <a:sym typeface="Georgia"/>
                </a:rPr>
                <a:t>accident</a:t>
              </a:r>
              <a:endParaRPr kumimoji="0" lang="lv-LV" sz="800" b="1" i="0" u="none" strike="noStrike" kern="0" cap="none" spc="0" normalizeH="0" baseline="0" noProof="0" dirty="0">
                <a:ln>
                  <a:noFill/>
                </a:ln>
                <a:solidFill>
                  <a:srgbClr val="000000"/>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978D8494-EFAE-1C61-D7BE-1E43043470C8}"/>
                </a:ext>
              </a:extLst>
            </p:cNvPr>
            <p:cNvSpPr/>
            <p:nvPr/>
          </p:nvSpPr>
          <p:spPr>
            <a:xfrm>
              <a:off x="955040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2</a:t>
              </a:r>
              <a:endParaRPr kumimoji="0" lang="lv-LV" sz="800" b="1" i="0" u="none" strike="noStrike" kern="0" cap="none" spc="0" normalizeH="0" baseline="0" noProof="0">
                <a:ln>
                  <a:noFill/>
                </a:ln>
                <a:effectLst/>
                <a:uLnTx/>
                <a:uFillTx/>
                <a:ea typeface="Georgia"/>
                <a:cs typeface="Georgia"/>
                <a:sym typeface="Georgia"/>
              </a:endParaRPr>
            </a:p>
          </p:txBody>
        </p:sp>
        <p:sp>
          <p:nvSpPr>
            <p:cNvPr id="20" name="Rectangle 19">
              <a:extLst>
                <a:ext uri="{FF2B5EF4-FFF2-40B4-BE49-F238E27FC236}">
                  <a16:creationId xmlns:a16="http://schemas.microsoft.com/office/drawing/2014/main" id="{A7FCF94A-BCE1-8D4E-625E-5673F826440C}"/>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8F8786F2-93B7-6E5E-DEB8-E37B0ABABB9F}"/>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4</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2" name="Rectangle 21">
              <a:extLst>
                <a:ext uri="{FF2B5EF4-FFF2-40B4-BE49-F238E27FC236}">
                  <a16:creationId xmlns:a16="http://schemas.microsoft.com/office/drawing/2014/main" id="{96BD76BC-9B07-8223-F54F-4AB6B34153FD}"/>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17351913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5BA6788F-AF5C-AB56-A6FB-EB7116022A62}"/>
              </a:ext>
            </a:extLst>
          </p:cNvPr>
          <p:cNvGraphicFramePr>
            <a:graphicFrameLocks noChangeAspect="1"/>
          </p:cNvGraphicFramePr>
          <p:nvPr>
            <p:custDataLst>
              <p:tags r:id="rId1"/>
            </p:custDataLst>
            <p:extLst>
              <p:ext uri="{D42A27DB-BD31-4B8C-83A1-F6EECF244321}">
                <p14:modId xmlns:p14="http://schemas.microsoft.com/office/powerpoint/2010/main" val="3588944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5" name="think-cell data - do not delete" hidden="1">
                        <a:extLst>
                          <a:ext uri="{FF2B5EF4-FFF2-40B4-BE49-F238E27FC236}">
                            <a16:creationId xmlns:a16="http://schemas.microsoft.com/office/drawing/2014/main" id="{5BA6788F-AF5C-AB56-A6FB-EB7116022A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2" name="Picture 31">
            <a:extLst>
              <a:ext uri="{FF2B5EF4-FFF2-40B4-BE49-F238E27FC236}">
                <a16:creationId xmlns:a16="http://schemas.microsoft.com/office/drawing/2014/main" id="{C99C3321-AADB-8522-5455-B67E37EB9B30}"/>
              </a:ext>
            </a:extLst>
          </p:cNvPr>
          <p:cNvPicPr>
            <a:picLocks noChangeAspect="1"/>
          </p:cNvPicPr>
          <p:nvPr/>
        </p:nvPicPr>
        <p:blipFill rotWithShape="1">
          <a:blip r:embed="rId6"/>
          <a:srcRect t="38008"/>
          <a:stretch/>
        </p:blipFill>
        <p:spPr>
          <a:xfrm>
            <a:off x="0" y="1819274"/>
            <a:ext cx="12192000" cy="5038725"/>
          </a:xfrm>
          <a:prstGeom prst="rect">
            <a:avLst/>
          </a:prstGeom>
        </p:spPr>
      </p:pic>
      <p:sp>
        <p:nvSpPr>
          <p:cNvPr id="33" name="Rectangle 32">
            <a:extLst>
              <a:ext uri="{FF2B5EF4-FFF2-40B4-BE49-F238E27FC236}">
                <a16:creationId xmlns:a16="http://schemas.microsoft.com/office/drawing/2014/main" id="{91B5CAE0-F039-3450-C576-47A650EA1505}"/>
              </a:ext>
            </a:extLst>
          </p:cNvPr>
          <p:cNvSpPr/>
          <p:nvPr/>
        </p:nvSpPr>
        <p:spPr>
          <a:xfrm>
            <a:off x="0" y="1819274"/>
            <a:ext cx="12192000" cy="5038725"/>
          </a:xfrm>
          <a:prstGeom prst="rect">
            <a:avLst/>
          </a:prstGeom>
          <a:solidFill>
            <a:schemeClr val="accent3">
              <a:alpha val="7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4" name="TextBox 23">
            <a:extLst>
              <a:ext uri="{FF2B5EF4-FFF2-40B4-BE49-F238E27FC236}">
                <a16:creationId xmlns:a16="http://schemas.microsoft.com/office/drawing/2014/main" id="{DA042BFC-9321-AE2A-D685-F5B36EFD0C0A}"/>
              </a:ext>
            </a:extLst>
          </p:cNvPr>
          <p:cNvSpPr txBox="1"/>
          <p:nvPr/>
        </p:nvSpPr>
        <p:spPr>
          <a:xfrm>
            <a:off x="442912" y="2872740"/>
            <a:ext cx="3529013" cy="3299460"/>
          </a:xfrm>
          <a:prstGeom prst="rect">
            <a:avLst/>
          </a:prstGeom>
          <a:solidFill>
            <a:schemeClr val="bg1">
              <a:alpha val="85000"/>
            </a:schemeClr>
          </a:solidFill>
        </p:spPr>
        <p:txBody>
          <a:bodyPr wrap="square" lIns="72000" tIns="72000" rIns="72000" bIns="72000" rtlCol="0">
            <a:noAutofit/>
          </a:bodyPr>
          <a:lstStyle/>
          <a:p>
            <a:pPr marL="285750" indent="-285750" rtl="0">
              <a:spcAft>
                <a:spcPts val="600"/>
              </a:spcAft>
              <a:buSzPct val="120000"/>
              <a:buBlip>
                <a:blip r:embed="rId7"/>
              </a:buBlip>
            </a:pPr>
            <a:r>
              <a:rPr lang="en-gb" sz="1400" dirty="0"/>
              <a:t>Assess whether giving help puts you at risk</a:t>
            </a:r>
          </a:p>
          <a:p>
            <a:pPr marL="285750" indent="-285750" rtl="0">
              <a:spcAft>
                <a:spcPts val="600"/>
              </a:spcAft>
              <a:buSzPct val="120000"/>
              <a:buBlip>
                <a:blip r:embed="rId7"/>
              </a:buBlip>
            </a:pPr>
            <a:r>
              <a:rPr lang="en-gb" sz="1400" dirty="0"/>
              <a:t>If possible, use protective equipment</a:t>
            </a:r>
          </a:p>
          <a:p>
            <a:pPr marL="285750" indent="-285750" rtl="0">
              <a:spcAft>
                <a:spcPts val="600"/>
              </a:spcAft>
              <a:buSzPct val="120000"/>
              <a:buBlip>
                <a:blip r:embed="rId7"/>
              </a:buBlip>
            </a:pPr>
            <a:r>
              <a:rPr lang="en-gb" sz="1400" dirty="0"/>
              <a:t>In case of risk of infection, use a mouth and nose covering for yourself and, if possible, for the victim</a:t>
            </a:r>
          </a:p>
        </p:txBody>
      </p:sp>
      <p:sp>
        <p:nvSpPr>
          <p:cNvPr id="25" name="Content Placeholder 1">
            <a:extLst>
              <a:ext uri="{FF2B5EF4-FFF2-40B4-BE49-F238E27FC236}">
                <a16:creationId xmlns:a16="http://schemas.microsoft.com/office/drawing/2014/main" id="{F4EF9CAC-BCB4-3861-ABEC-9E1F2B71AD96}"/>
              </a:ext>
            </a:extLst>
          </p:cNvPr>
          <p:cNvSpPr txBox="1">
            <a:spLocks/>
          </p:cNvSpPr>
          <p:nvPr/>
        </p:nvSpPr>
        <p:spPr>
          <a:xfrm>
            <a:off x="442914" y="2175439"/>
            <a:ext cx="3529012" cy="576000"/>
          </a:xfrm>
          <a:prstGeom prst="rect">
            <a:avLst/>
          </a:prstGeom>
          <a:solidFill>
            <a:schemeClr val="accent2"/>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lv-LV" sz="1400" dirty="0" err="1">
                <a:solidFill>
                  <a:schemeClr val="bg1"/>
                </a:solidFill>
              </a:rPr>
              <a:t>Your</a:t>
            </a:r>
            <a:r>
              <a:rPr lang="en-gb" sz="1400" dirty="0">
                <a:solidFill>
                  <a:schemeClr val="bg1"/>
                </a:solidFill>
              </a:rPr>
              <a:t> safety</a:t>
            </a:r>
          </a:p>
        </p:txBody>
      </p:sp>
      <p:sp>
        <p:nvSpPr>
          <p:cNvPr id="2" name="Title 1">
            <a:extLst>
              <a:ext uri="{FF2B5EF4-FFF2-40B4-BE49-F238E27FC236}">
                <a16:creationId xmlns:a16="http://schemas.microsoft.com/office/drawing/2014/main" id="{EDFBCEAB-7D4A-91D0-E036-AAFACC3ABE8D}"/>
              </a:ext>
            </a:extLst>
          </p:cNvPr>
          <p:cNvSpPr>
            <a:spLocks noGrp="1"/>
          </p:cNvSpPr>
          <p:nvPr>
            <p:ph type="title"/>
          </p:nvPr>
        </p:nvSpPr>
        <p:spPr/>
        <p:txBody>
          <a:bodyPr vert="horz" rtlCol="0"/>
          <a:lstStyle/>
          <a:p>
            <a:pPr rtl="0"/>
            <a:r>
              <a:rPr lang="en-gb"/>
              <a:t>What immediate action should be taken? </a:t>
            </a:r>
          </a:p>
        </p:txBody>
      </p:sp>
      <p:sp>
        <p:nvSpPr>
          <p:cNvPr id="4" name="Slide Number Placeholder 3">
            <a:extLst>
              <a:ext uri="{FF2B5EF4-FFF2-40B4-BE49-F238E27FC236}">
                <a16:creationId xmlns:a16="http://schemas.microsoft.com/office/drawing/2014/main" id="{A6320228-D809-6F87-2500-99BCB217E23A}"/>
              </a:ext>
            </a:extLst>
          </p:cNvPr>
          <p:cNvSpPr>
            <a:spLocks noGrp="1"/>
          </p:cNvSpPr>
          <p:nvPr>
            <p:ph type="sldNum" sz="quarter" idx="11"/>
          </p:nvPr>
        </p:nvSpPr>
        <p:spPr/>
        <p:txBody>
          <a:bodyPr rtlCol="0"/>
          <a:lstStyle/>
          <a:p>
            <a:pPr rtl="0"/>
            <a:fld id="{7870704B-CE94-48CC-AF30-84932A1262A7}" type="slidenum">
              <a:rPr lang="lv-LV" smtClean="0">
                <a:solidFill>
                  <a:schemeClr val="bg1"/>
                </a:solidFill>
              </a:rPr>
              <a:pPr rtl="0"/>
              <a:t>11</a:t>
            </a:fld>
            <a:endParaRPr lang="lv-LV">
              <a:solidFill>
                <a:schemeClr val="bg1"/>
              </a:solidFill>
            </a:endParaRPr>
          </a:p>
        </p:txBody>
      </p:sp>
      <p:grpSp>
        <p:nvGrpSpPr>
          <p:cNvPr id="57" name="Group 56">
            <a:extLst>
              <a:ext uri="{FF2B5EF4-FFF2-40B4-BE49-F238E27FC236}">
                <a16:creationId xmlns:a16="http://schemas.microsoft.com/office/drawing/2014/main" id="{9F6F67FF-2EDF-5A97-61F2-6CC866CB9959}"/>
              </a:ext>
            </a:extLst>
          </p:cNvPr>
          <p:cNvGrpSpPr/>
          <p:nvPr/>
        </p:nvGrpSpPr>
        <p:grpSpPr>
          <a:xfrm>
            <a:off x="7902708" y="432000"/>
            <a:ext cx="3846380" cy="360000"/>
            <a:chOff x="7902708" y="432000"/>
            <a:chExt cx="3846380" cy="360000"/>
          </a:xfrm>
        </p:grpSpPr>
        <p:sp>
          <p:nvSpPr>
            <p:cNvPr id="7" name="TextBox 6">
              <a:extLst>
                <a:ext uri="{FF2B5EF4-FFF2-40B4-BE49-F238E27FC236}">
                  <a16:creationId xmlns:a16="http://schemas.microsoft.com/office/drawing/2014/main" id="{ABE8EE39-C466-6083-2B14-0237C935C96B}"/>
                </a:ext>
              </a:extLst>
            </p:cNvPr>
            <p:cNvSpPr txBox="1"/>
            <p:nvPr/>
          </p:nvSpPr>
          <p:spPr>
            <a:xfrm>
              <a:off x="7902708" y="432000"/>
              <a:ext cx="1055778" cy="360000"/>
            </a:xfrm>
            <a:prstGeom prst="rect">
              <a:avLst/>
            </a:prstGeom>
            <a:solidFill>
              <a:schemeClr val="accent3"/>
            </a:solidFill>
            <a:ln w="28575">
              <a:noFill/>
            </a:ln>
          </p:spPr>
          <p:txBody>
            <a:bodyPr wrap="square" lIns="72000" tIns="72000" rIns="72000" bIns="72000" rtlCol="0" anchor="ctr">
              <a:noAutofit/>
            </a:bodyPr>
            <a:lstStyle/>
            <a:p>
              <a:pPr algn="ctr" rtl="0">
                <a:lnSpc>
                  <a:spcPct val="100000"/>
                </a:lnSpc>
                <a:buSzPct val="100000"/>
              </a:pPr>
              <a:r>
                <a:rPr lang="en-gb" sz="1100" b="1">
                  <a:solidFill>
                    <a:schemeClr val="bg1"/>
                  </a:solidFill>
                  <a:effectLst/>
                  <a:ea typeface="Calibri" panose="020F0502020204030204" pitchFamily="34" charset="0"/>
                  <a:cs typeface="Times New Roman" panose="02020603050405020304" pitchFamily="18" charset="0"/>
                </a:rPr>
                <a:t>Immediate measures</a:t>
              </a:r>
              <a:endParaRPr lang="lv-LV" sz="1100" b="1">
                <a:solidFill>
                  <a:schemeClr val="bg1"/>
                </a:solidFill>
              </a:endParaRPr>
            </a:p>
          </p:txBody>
        </p:sp>
        <p:sp>
          <p:nvSpPr>
            <p:cNvPr id="8" name="TextBox 7">
              <a:extLst>
                <a:ext uri="{FF2B5EF4-FFF2-40B4-BE49-F238E27FC236}">
                  <a16:creationId xmlns:a16="http://schemas.microsoft.com/office/drawing/2014/main" id="{D3075EA9-222C-FBAB-0F0E-D4775F00C87E}"/>
                </a:ext>
              </a:extLst>
            </p:cNvPr>
            <p:cNvSpPr txBox="1"/>
            <p:nvPr/>
          </p:nvSpPr>
          <p:spPr>
            <a:xfrm>
              <a:off x="9298009" y="432000"/>
              <a:ext cx="1055778" cy="360000"/>
            </a:xfrm>
            <a:prstGeom prst="rect">
              <a:avLst/>
            </a:prstGeom>
            <a:solidFill>
              <a:schemeClr val="accent6"/>
            </a:solidFill>
            <a:ln w="28575">
              <a:noFill/>
            </a:ln>
          </p:spPr>
          <p:txBody>
            <a:bodyPr wrap="square" lIns="72000" tIns="72000" rIns="72000" bIns="72000" rtlCol="0" anchor="ctr">
              <a:noAutofit/>
            </a:bodyPr>
            <a:lstStyle/>
            <a:p>
              <a:pPr algn="ctr" rtl="0">
                <a:lnSpc>
                  <a:spcPct val="100000"/>
                </a:lnSpc>
                <a:buSzPct val="100000"/>
              </a:pPr>
              <a:r>
                <a:rPr lang="en-gb" sz="1100">
                  <a:solidFill>
                    <a:schemeClr val="accent3"/>
                  </a:solidFill>
                  <a:effectLst/>
                  <a:ea typeface="Calibri" panose="020F0502020204030204" pitchFamily="34" charset="0"/>
                  <a:cs typeface="Times New Roman" panose="02020603050405020304" pitchFamily="18" charset="0"/>
                </a:rPr>
                <a:t>Calling for help</a:t>
              </a:r>
              <a:endParaRPr lang="lv-LV" sz="1100">
                <a:solidFill>
                  <a:schemeClr val="accent3"/>
                </a:solidFill>
              </a:endParaRPr>
            </a:p>
          </p:txBody>
        </p:sp>
        <p:sp>
          <p:nvSpPr>
            <p:cNvPr id="9" name="TextBox 8">
              <a:extLst>
                <a:ext uri="{FF2B5EF4-FFF2-40B4-BE49-F238E27FC236}">
                  <a16:creationId xmlns:a16="http://schemas.microsoft.com/office/drawing/2014/main" id="{08B6A8B7-7C80-74FA-BFD5-B86DDE664F74}"/>
                </a:ext>
              </a:extLst>
            </p:cNvPr>
            <p:cNvSpPr txBox="1"/>
            <p:nvPr/>
          </p:nvSpPr>
          <p:spPr>
            <a:xfrm>
              <a:off x="10693310" y="432000"/>
              <a:ext cx="1055778" cy="360000"/>
            </a:xfrm>
            <a:prstGeom prst="rect">
              <a:avLst/>
            </a:prstGeom>
            <a:solidFill>
              <a:schemeClr val="accent6"/>
            </a:solidFill>
            <a:ln w="28575">
              <a:noFill/>
            </a:ln>
          </p:spPr>
          <p:txBody>
            <a:bodyPr wrap="square" lIns="72000" tIns="72000" rIns="72000" bIns="72000" rtlCol="0" anchor="ctr">
              <a:noAutofit/>
            </a:bodyPr>
            <a:lstStyle/>
            <a:p>
              <a:pPr algn="ctr" rtl="0">
                <a:lnSpc>
                  <a:spcPct val="100000"/>
                </a:lnSpc>
                <a:buSzPct val="100000"/>
              </a:pPr>
              <a:r>
                <a:rPr lang="en-gb" sz="1100">
                  <a:solidFill>
                    <a:schemeClr val="accent3"/>
                  </a:solidFill>
                  <a:effectLst/>
                  <a:ea typeface="Calibri" panose="020F0502020204030204" pitchFamily="34" charset="0"/>
                  <a:cs typeface="Times New Roman" panose="02020603050405020304" pitchFamily="18" charset="0"/>
                </a:rPr>
                <a:t>Victim </a:t>
              </a:r>
            </a:p>
            <a:p>
              <a:pPr algn="ctr" rtl="0">
                <a:lnSpc>
                  <a:spcPct val="100000"/>
                </a:lnSpc>
                <a:buSzPct val="100000"/>
              </a:pPr>
              <a:r>
                <a:rPr lang="en-gb" sz="1100">
                  <a:solidFill>
                    <a:schemeClr val="accent3"/>
                  </a:solidFill>
                  <a:effectLst/>
                  <a:ea typeface="Calibri" panose="020F0502020204030204" pitchFamily="34" charset="0"/>
                  <a:cs typeface="Times New Roman" panose="02020603050405020304" pitchFamily="18" charset="0"/>
                </a:rPr>
                <a:t>Care</a:t>
              </a:r>
              <a:endParaRPr lang="lv-LV" sz="1100">
                <a:solidFill>
                  <a:schemeClr val="accent3"/>
                </a:solidFill>
              </a:endParaRPr>
            </a:p>
          </p:txBody>
        </p:sp>
        <p:sp>
          <p:nvSpPr>
            <p:cNvPr id="10" name="Arrow: Right 9">
              <a:extLst>
                <a:ext uri="{FF2B5EF4-FFF2-40B4-BE49-F238E27FC236}">
                  <a16:creationId xmlns:a16="http://schemas.microsoft.com/office/drawing/2014/main" id="{B337C822-0ACB-7395-4E9F-FE78A0258C7B}"/>
                </a:ext>
              </a:extLst>
            </p:cNvPr>
            <p:cNvSpPr/>
            <p:nvPr/>
          </p:nvSpPr>
          <p:spPr>
            <a:xfrm>
              <a:off x="9029367" y="504000"/>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11" name="Arrow: Right 10">
              <a:extLst>
                <a:ext uri="{FF2B5EF4-FFF2-40B4-BE49-F238E27FC236}">
                  <a16:creationId xmlns:a16="http://schemas.microsoft.com/office/drawing/2014/main" id="{BEFB8D44-5692-BC7D-1631-1623E5005441}"/>
                </a:ext>
              </a:extLst>
            </p:cNvPr>
            <p:cNvSpPr/>
            <p:nvPr/>
          </p:nvSpPr>
          <p:spPr>
            <a:xfrm>
              <a:off x="10424668" y="504000"/>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grpSp>
      <p:sp>
        <p:nvSpPr>
          <p:cNvPr id="34" name="TextBox 33">
            <a:extLst>
              <a:ext uri="{FF2B5EF4-FFF2-40B4-BE49-F238E27FC236}">
                <a16:creationId xmlns:a16="http://schemas.microsoft.com/office/drawing/2014/main" id="{48C56B3B-5C0E-89A6-1595-B0C15560EB71}"/>
              </a:ext>
            </a:extLst>
          </p:cNvPr>
          <p:cNvSpPr txBox="1"/>
          <p:nvPr/>
        </p:nvSpPr>
        <p:spPr>
          <a:xfrm>
            <a:off x="4327523" y="2872740"/>
            <a:ext cx="3529013" cy="3299460"/>
          </a:xfrm>
          <a:prstGeom prst="rect">
            <a:avLst/>
          </a:prstGeom>
          <a:solidFill>
            <a:schemeClr val="bg1">
              <a:alpha val="85000"/>
            </a:schemeClr>
          </a:solidFill>
        </p:spPr>
        <p:txBody>
          <a:bodyPr wrap="square" lIns="72000" tIns="72000" rIns="72000" bIns="72000" rtlCol="0">
            <a:noAutofit/>
          </a:bodyPr>
          <a:lstStyle/>
          <a:p>
            <a:pPr marL="285750" indent="-285750" rtl="0">
              <a:spcAft>
                <a:spcPts val="600"/>
              </a:spcAft>
              <a:buSzPct val="120000"/>
              <a:buBlip>
                <a:blip r:embed="rId7"/>
              </a:buBlip>
            </a:pPr>
            <a:r>
              <a:rPr lang="lv-LV" sz="1400" dirty="0" err="1"/>
              <a:t>Shutting</a:t>
            </a:r>
            <a:r>
              <a:rPr lang="lv-LV" sz="1400" dirty="0"/>
              <a:t> </a:t>
            </a:r>
            <a:r>
              <a:rPr lang="lv-LV" sz="1400" dirty="0" err="1"/>
              <a:t>off</a:t>
            </a:r>
            <a:r>
              <a:rPr lang="lv-LV" sz="1400" dirty="0"/>
              <a:t> </a:t>
            </a:r>
            <a:r>
              <a:rPr lang="lv-LV" sz="1400" dirty="0" err="1"/>
              <a:t>gas</a:t>
            </a:r>
            <a:r>
              <a:rPr lang="lv-LV" sz="1400" dirty="0"/>
              <a:t> </a:t>
            </a:r>
            <a:r>
              <a:rPr lang="lv-LV" sz="1400" dirty="0" err="1"/>
              <a:t>supply</a:t>
            </a:r>
            <a:endParaRPr lang="en-gb" sz="1400" dirty="0"/>
          </a:p>
          <a:p>
            <a:pPr marL="285750" indent="-285750" rtl="0">
              <a:spcAft>
                <a:spcPts val="600"/>
              </a:spcAft>
              <a:buSzPct val="120000"/>
              <a:buBlip>
                <a:blip r:embed="rId7"/>
              </a:buBlip>
            </a:pPr>
            <a:r>
              <a:rPr lang="en-gb" sz="1400" dirty="0"/>
              <a:t>Extinguishing burning clothing</a:t>
            </a:r>
          </a:p>
          <a:p>
            <a:pPr marL="285750" indent="-285750" rtl="0">
              <a:spcAft>
                <a:spcPts val="600"/>
              </a:spcAft>
              <a:buSzPct val="120000"/>
              <a:buBlip>
                <a:blip r:embed="rId7"/>
              </a:buBlip>
            </a:pPr>
            <a:r>
              <a:rPr lang="en-gb" sz="1400" dirty="0"/>
              <a:t>Cutting off electricity</a:t>
            </a:r>
          </a:p>
          <a:p>
            <a:pPr marL="285750" indent="-285750" rtl="0">
              <a:spcAft>
                <a:spcPts val="600"/>
              </a:spcAft>
              <a:buSzPct val="120000"/>
              <a:buBlip>
                <a:blip r:embed="rId7"/>
              </a:buBlip>
            </a:pPr>
            <a:r>
              <a:rPr lang="en-gb" sz="1400" dirty="0"/>
              <a:t>Installation of warning signs</a:t>
            </a:r>
          </a:p>
          <a:p>
            <a:pPr marL="285750" indent="-285750" rtl="0">
              <a:spcAft>
                <a:spcPts val="600"/>
              </a:spcAft>
              <a:buSzPct val="120000"/>
              <a:buBlip>
                <a:blip r:embed="rId7"/>
              </a:buBlip>
            </a:pPr>
            <a:r>
              <a:rPr lang="en-gb" sz="1400" dirty="0"/>
              <a:t>Etc.</a:t>
            </a:r>
          </a:p>
        </p:txBody>
      </p:sp>
      <p:sp>
        <p:nvSpPr>
          <p:cNvPr id="35" name="Content Placeholder 1">
            <a:extLst>
              <a:ext uri="{FF2B5EF4-FFF2-40B4-BE49-F238E27FC236}">
                <a16:creationId xmlns:a16="http://schemas.microsoft.com/office/drawing/2014/main" id="{B766C826-6D08-3C51-A63F-286C166B5215}"/>
              </a:ext>
            </a:extLst>
          </p:cNvPr>
          <p:cNvSpPr txBox="1">
            <a:spLocks/>
          </p:cNvSpPr>
          <p:nvPr/>
        </p:nvSpPr>
        <p:spPr>
          <a:xfrm>
            <a:off x="4327525" y="2175439"/>
            <a:ext cx="3529012" cy="576000"/>
          </a:xfrm>
          <a:prstGeom prst="rect">
            <a:avLst/>
          </a:prstGeom>
          <a:solidFill>
            <a:schemeClr val="accent2"/>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400">
                <a:solidFill>
                  <a:schemeClr val="bg1"/>
                </a:solidFill>
              </a:rPr>
              <a:t>Preventing external hazards</a:t>
            </a:r>
          </a:p>
        </p:txBody>
      </p:sp>
      <p:sp>
        <p:nvSpPr>
          <p:cNvPr id="38" name="TextBox 37">
            <a:extLst>
              <a:ext uri="{FF2B5EF4-FFF2-40B4-BE49-F238E27FC236}">
                <a16:creationId xmlns:a16="http://schemas.microsoft.com/office/drawing/2014/main" id="{ADCF57E4-22C5-26F3-DA4D-7482BC480F36}"/>
              </a:ext>
            </a:extLst>
          </p:cNvPr>
          <p:cNvSpPr txBox="1"/>
          <p:nvPr/>
        </p:nvSpPr>
        <p:spPr>
          <a:xfrm>
            <a:off x="8220076" y="2872740"/>
            <a:ext cx="3529013" cy="3299460"/>
          </a:xfrm>
          <a:prstGeom prst="rect">
            <a:avLst/>
          </a:prstGeom>
          <a:solidFill>
            <a:schemeClr val="bg1">
              <a:alpha val="85000"/>
            </a:schemeClr>
          </a:solidFill>
        </p:spPr>
        <p:txBody>
          <a:bodyPr wrap="square" lIns="72000" tIns="72000" rIns="72000" bIns="72000" rtlCol="0">
            <a:noAutofit/>
          </a:bodyPr>
          <a:lstStyle/>
          <a:p>
            <a:pPr marL="285750" indent="-285750" rtl="0">
              <a:spcAft>
                <a:spcPts val="600"/>
              </a:spcAft>
              <a:buSzPct val="120000"/>
              <a:buBlip>
                <a:blip r:embed="rId7"/>
              </a:buBlip>
            </a:pPr>
            <a:r>
              <a:rPr lang="en-gb" sz="1400" dirty="0"/>
              <a:t>Stop bleeding</a:t>
            </a:r>
          </a:p>
          <a:p>
            <a:pPr marL="285750" indent="-285750" rtl="0">
              <a:spcAft>
                <a:spcPts val="600"/>
              </a:spcAft>
              <a:buSzPct val="120000"/>
              <a:buBlip>
                <a:blip r:embed="rId7"/>
              </a:buBlip>
            </a:pPr>
            <a:r>
              <a:rPr lang="lv-LV" sz="1400" dirty="0" err="1"/>
              <a:t>Chest</a:t>
            </a:r>
            <a:r>
              <a:rPr lang="lv-LV" sz="1400" dirty="0"/>
              <a:t> </a:t>
            </a:r>
            <a:r>
              <a:rPr lang="lv-LV" sz="1400" dirty="0" err="1"/>
              <a:t>compressions</a:t>
            </a:r>
            <a:endParaRPr lang="en-gb" sz="1400" dirty="0"/>
          </a:p>
          <a:p>
            <a:pPr marL="285750" indent="-285750" rtl="0">
              <a:spcAft>
                <a:spcPts val="600"/>
              </a:spcAft>
              <a:buSzPct val="120000"/>
              <a:buBlip>
                <a:blip r:embed="rId7"/>
              </a:buBlip>
            </a:pPr>
            <a:r>
              <a:rPr lang="en-GB" sz="1400" dirty="0"/>
              <a:t>Mouth-to-mouth resuscitation</a:t>
            </a:r>
            <a:endParaRPr lang="en-gb" sz="1400" dirty="0"/>
          </a:p>
        </p:txBody>
      </p:sp>
      <p:sp>
        <p:nvSpPr>
          <p:cNvPr id="39" name="Content Placeholder 1">
            <a:extLst>
              <a:ext uri="{FF2B5EF4-FFF2-40B4-BE49-F238E27FC236}">
                <a16:creationId xmlns:a16="http://schemas.microsoft.com/office/drawing/2014/main" id="{3B3A753D-2643-22D3-98E8-407917D7B655}"/>
              </a:ext>
            </a:extLst>
          </p:cNvPr>
          <p:cNvSpPr txBox="1">
            <a:spLocks/>
          </p:cNvSpPr>
          <p:nvPr/>
        </p:nvSpPr>
        <p:spPr>
          <a:xfrm>
            <a:off x="8220078" y="2175439"/>
            <a:ext cx="3529012" cy="576000"/>
          </a:xfrm>
          <a:prstGeom prst="rect">
            <a:avLst/>
          </a:prstGeom>
          <a:solidFill>
            <a:schemeClr val="accent2"/>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400">
                <a:solidFill>
                  <a:schemeClr val="bg1"/>
                </a:solidFill>
              </a:rPr>
              <a:t>Life-saving measures </a:t>
            </a:r>
          </a:p>
        </p:txBody>
      </p:sp>
      <p:sp>
        <p:nvSpPr>
          <p:cNvPr id="42" name="Content Placeholder 1">
            <a:extLst>
              <a:ext uri="{FF2B5EF4-FFF2-40B4-BE49-F238E27FC236}">
                <a16:creationId xmlns:a16="http://schemas.microsoft.com/office/drawing/2014/main" id="{68F2028E-9AD9-74A4-45F4-1624B4155640}"/>
              </a:ext>
            </a:extLst>
          </p:cNvPr>
          <p:cNvSpPr txBox="1">
            <a:spLocks/>
          </p:cNvSpPr>
          <p:nvPr/>
        </p:nvSpPr>
        <p:spPr>
          <a:xfrm>
            <a:off x="442914" y="2103438"/>
            <a:ext cx="3529012" cy="72000"/>
          </a:xfrm>
          <a:prstGeom prst="rect">
            <a:avLst/>
          </a:prstGeom>
          <a:solidFill>
            <a:schemeClr val="accent6"/>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lv-LV" sz="1400">
              <a:solidFill>
                <a:schemeClr val="bg1"/>
              </a:solidFill>
            </a:endParaRPr>
          </a:p>
        </p:txBody>
      </p:sp>
      <p:sp>
        <p:nvSpPr>
          <p:cNvPr id="43" name="Content Placeholder 1">
            <a:extLst>
              <a:ext uri="{FF2B5EF4-FFF2-40B4-BE49-F238E27FC236}">
                <a16:creationId xmlns:a16="http://schemas.microsoft.com/office/drawing/2014/main" id="{2B9AE07F-5163-AD73-9B73-F4ADAAB4CB84}"/>
              </a:ext>
            </a:extLst>
          </p:cNvPr>
          <p:cNvSpPr txBox="1">
            <a:spLocks/>
          </p:cNvSpPr>
          <p:nvPr/>
        </p:nvSpPr>
        <p:spPr>
          <a:xfrm>
            <a:off x="4327525" y="2103438"/>
            <a:ext cx="3529012" cy="72000"/>
          </a:xfrm>
          <a:prstGeom prst="rect">
            <a:avLst/>
          </a:prstGeom>
          <a:solidFill>
            <a:schemeClr val="accent6"/>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lv-LV" sz="1400">
              <a:solidFill>
                <a:schemeClr val="bg1"/>
              </a:solidFill>
            </a:endParaRPr>
          </a:p>
        </p:txBody>
      </p:sp>
      <p:sp>
        <p:nvSpPr>
          <p:cNvPr id="44" name="Content Placeholder 1">
            <a:extLst>
              <a:ext uri="{FF2B5EF4-FFF2-40B4-BE49-F238E27FC236}">
                <a16:creationId xmlns:a16="http://schemas.microsoft.com/office/drawing/2014/main" id="{9EC2ECCE-24AA-0CA5-D23D-11487EDED9A5}"/>
              </a:ext>
            </a:extLst>
          </p:cNvPr>
          <p:cNvSpPr txBox="1">
            <a:spLocks/>
          </p:cNvSpPr>
          <p:nvPr/>
        </p:nvSpPr>
        <p:spPr>
          <a:xfrm>
            <a:off x="8220078" y="2103438"/>
            <a:ext cx="3529012" cy="72000"/>
          </a:xfrm>
          <a:prstGeom prst="rect">
            <a:avLst/>
          </a:prstGeom>
          <a:solidFill>
            <a:schemeClr val="accent6"/>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lv-LV" sz="1400">
              <a:solidFill>
                <a:schemeClr val="bg1"/>
              </a:solidFill>
            </a:endParaRPr>
          </a:p>
        </p:txBody>
      </p:sp>
      <p:grpSp>
        <p:nvGrpSpPr>
          <p:cNvPr id="47" name="Google Shape;1692;p92">
            <a:extLst>
              <a:ext uri="{FF2B5EF4-FFF2-40B4-BE49-F238E27FC236}">
                <a16:creationId xmlns:a16="http://schemas.microsoft.com/office/drawing/2014/main" id="{C171BA25-5382-4AC1-434C-CF8A04131F54}"/>
              </a:ext>
            </a:extLst>
          </p:cNvPr>
          <p:cNvGrpSpPr/>
          <p:nvPr/>
        </p:nvGrpSpPr>
        <p:grpSpPr>
          <a:xfrm>
            <a:off x="3326974" y="5521066"/>
            <a:ext cx="457200" cy="457200"/>
            <a:chOff x="8448646" y="4634724"/>
            <a:chExt cx="457200" cy="457200"/>
          </a:xfrm>
        </p:grpSpPr>
        <p:sp>
          <p:nvSpPr>
            <p:cNvPr id="48" name="Google Shape;1693;p92">
              <a:extLst>
                <a:ext uri="{FF2B5EF4-FFF2-40B4-BE49-F238E27FC236}">
                  <a16:creationId xmlns:a16="http://schemas.microsoft.com/office/drawing/2014/main" id="{F2E39767-EDB9-484C-0B35-744F3795A6CD}"/>
                </a:ext>
              </a:extLst>
            </p:cNvPr>
            <p:cNvSpPr/>
            <p:nvPr/>
          </p:nvSpPr>
          <p:spPr>
            <a:xfrm>
              <a:off x="8448646" y="4634724"/>
              <a:ext cx="457200" cy="457200"/>
            </a:xfrm>
            <a:custGeom>
              <a:avLst/>
              <a:gdLst/>
              <a:ahLst/>
              <a:cxnLst/>
              <a:rect l="l" t="t" r="r" b="b"/>
              <a:pathLst>
                <a:path w="457200" h="457200" extrusionOk="0">
                  <a:moveTo>
                    <a:pt x="0" y="0"/>
                  </a:moveTo>
                  <a:lnTo>
                    <a:pt x="0" y="457200"/>
                  </a:lnTo>
                  <a:lnTo>
                    <a:pt x="457200" y="457200"/>
                  </a:lnTo>
                  <a:lnTo>
                    <a:pt x="457200" y="0"/>
                  </a:lnTo>
                  <a:close/>
                  <a:moveTo>
                    <a:pt x="437674" y="437674"/>
                  </a:moveTo>
                  <a:lnTo>
                    <a:pt x="19526" y="437674"/>
                  </a:lnTo>
                  <a:lnTo>
                    <a:pt x="19526" y="19526"/>
                  </a:lnTo>
                  <a:lnTo>
                    <a:pt x="437674" y="19526"/>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1800" b="1">
                <a:solidFill>
                  <a:schemeClr val="dk1"/>
                </a:solidFill>
                <a:latin typeface="Arial"/>
                <a:ea typeface="Arial"/>
                <a:cs typeface="Arial"/>
                <a:sym typeface="Arial"/>
              </a:endParaRPr>
            </a:p>
          </p:txBody>
        </p:sp>
        <p:sp>
          <p:nvSpPr>
            <p:cNvPr id="49" name="Google Shape;1694;p92">
              <a:extLst>
                <a:ext uri="{FF2B5EF4-FFF2-40B4-BE49-F238E27FC236}">
                  <a16:creationId xmlns:a16="http://schemas.microsoft.com/office/drawing/2014/main" id="{572A06AC-8F3F-01E9-3219-527A4685D974}"/>
                </a:ext>
              </a:extLst>
            </p:cNvPr>
            <p:cNvSpPr/>
            <p:nvPr/>
          </p:nvSpPr>
          <p:spPr>
            <a:xfrm>
              <a:off x="8624636" y="4755691"/>
              <a:ext cx="108204" cy="144684"/>
            </a:xfrm>
            <a:custGeom>
              <a:avLst/>
              <a:gdLst/>
              <a:ahLst/>
              <a:cxnLst/>
              <a:rect l="l" t="t" r="r" b="b"/>
              <a:pathLst>
                <a:path w="108204" h="144684" extrusionOk="0">
                  <a:moveTo>
                    <a:pt x="55308" y="144685"/>
                  </a:moveTo>
                  <a:cubicBezTo>
                    <a:pt x="71882" y="144685"/>
                    <a:pt x="81344" y="135160"/>
                    <a:pt x="91631" y="125635"/>
                  </a:cubicBezTo>
                  <a:cubicBezTo>
                    <a:pt x="103410" y="113983"/>
                    <a:pt x="108204" y="90138"/>
                    <a:pt x="108204" y="59309"/>
                  </a:cubicBezTo>
                  <a:cubicBezTo>
                    <a:pt x="108204" y="26067"/>
                    <a:pt x="83725" y="0"/>
                    <a:pt x="55308" y="0"/>
                  </a:cubicBezTo>
                  <a:cubicBezTo>
                    <a:pt x="23558" y="0"/>
                    <a:pt x="0" y="26067"/>
                    <a:pt x="0" y="59309"/>
                  </a:cubicBezTo>
                  <a:cubicBezTo>
                    <a:pt x="0" y="90138"/>
                    <a:pt x="7112" y="113856"/>
                    <a:pt x="19050" y="125730"/>
                  </a:cubicBezTo>
                  <a:cubicBezTo>
                    <a:pt x="28448" y="137573"/>
                    <a:pt x="38703" y="144685"/>
                    <a:pt x="55308" y="144685"/>
                  </a:cubicBezTo>
                  <a:close/>
                  <a:moveTo>
                    <a:pt x="55308" y="18955"/>
                  </a:moveTo>
                  <a:cubicBezTo>
                    <a:pt x="74358" y="18955"/>
                    <a:pt x="89249" y="35560"/>
                    <a:pt x="89249" y="59309"/>
                  </a:cubicBezTo>
                  <a:cubicBezTo>
                    <a:pt x="89249" y="83058"/>
                    <a:pt x="83725" y="104458"/>
                    <a:pt x="76613" y="113983"/>
                  </a:cubicBezTo>
                  <a:cubicBezTo>
                    <a:pt x="67088" y="123508"/>
                    <a:pt x="62389" y="128207"/>
                    <a:pt x="55308" y="128207"/>
                  </a:cubicBezTo>
                  <a:cubicBezTo>
                    <a:pt x="48228" y="128207"/>
                    <a:pt x="43434" y="123508"/>
                    <a:pt x="33179" y="113983"/>
                  </a:cubicBezTo>
                  <a:cubicBezTo>
                    <a:pt x="23654" y="104458"/>
                    <a:pt x="18955" y="85408"/>
                    <a:pt x="18955" y="59436"/>
                  </a:cubicBezTo>
                  <a:cubicBezTo>
                    <a:pt x="18955" y="35560"/>
                    <a:pt x="35560" y="18955"/>
                    <a:pt x="55308" y="18955"/>
                  </a:cubicBez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1800" b="1">
                <a:solidFill>
                  <a:schemeClr val="dk1"/>
                </a:solidFill>
                <a:latin typeface="Arial"/>
                <a:ea typeface="Arial"/>
                <a:cs typeface="Arial"/>
                <a:sym typeface="Arial"/>
              </a:endParaRPr>
            </a:p>
          </p:txBody>
        </p:sp>
        <p:sp>
          <p:nvSpPr>
            <p:cNvPr id="50" name="Google Shape;1695;p92">
              <a:extLst>
                <a:ext uri="{FF2B5EF4-FFF2-40B4-BE49-F238E27FC236}">
                  <a16:creationId xmlns:a16="http://schemas.microsoft.com/office/drawing/2014/main" id="{1F82D50F-0C5B-CC51-D43A-64D75E4976AB}"/>
                </a:ext>
              </a:extLst>
            </p:cNvPr>
            <p:cNvSpPr/>
            <p:nvPr/>
          </p:nvSpPr>
          <p:spPr>
            <a:xfrm>
              <a:off x="8510939" y="4696350"/>
              <a:ext cx="332581" cy="340169"/>
            </a:xfrm>
            <a:custGeom>
              <a:avLst/>
              <a:gdLst/>
              <a:ahLst/>
              <a:cxnLst/>
              <a:rect l="l" t="t" r="r" b="b"/>
              <a:pathLst>
                <a:path w="332581" h="340169" extrusionOk="0">
                  <a:moveTo>
                    <a:pt x="29527" y="263843"/>
                  </a:moveTo>
                  <a:cubicBezTo>
                    <a:pt x="33947" y="269304"/>
                    <a:pt x="38708" y="274479"/>
                    <a:pt x="43783" y="279337"/>
                  </a:cubicBezTo>
                  <a:cubicBezTo>
                    <a:pt x="68358" y="302959"/>
                    <a:pt x="106648" y="326136"/>
                    <a:pt x="166275" y="340170"/>
                  </a:cubicBezTo>
                  <a:lnTo>
                    <a:pt x="166275" y="340170"/>
                  </a:lnTo>
                  <a:cubicBezTo>
                    <a:pt x="224504" y="326454"/>
                    <a:pt x="262382" y="304038"/>
                    <a:pt x="286925" y="280988"/>
                  </a:cubicBezTo>
                  <a:cubicBezTo>
                    <a:pt x="292776" y="275542"/>
                    <a:pt x="298228" y="269685"/>
                    <a:pt x="303244" y="263462"/>
                  </a:cubicBezTo>
                  <a:cubicBezTo>
                    <a:pt x="329914" y="230283"/>
                    <a:pt x="332423" y="200184"/>
                    <a:pt x="332581" y="197898"/>
                  </a:cubicBezTo>
                  <a:lnTo>
                    <a:pt x="332581" y="80677"/>
                  </a:lnTo>
                  <a:lnTo>
                    <a:pt x="323850" y="79756"/>
                  </a:lnTo>
                  <a:cubicBezTo>
                    <a:pt x="255207" y="72485"/>
                    <a:pt x="249238" y="11557"/>
                    <a:pt x="249015" y="8985"/>
                  </a:cubicBezTo>
                  <a:lnTo>
                    <a:pt x="248317" y="0"/>
                  </a:lnTo>
                  <a:lnTo>
                    <a:pt x="84328" y="0"/>
                  </a:lnTo>
                  <a:lnTo>
                    <a:pt x="83757" y="8953"/>
                  </a:lnTo>
                  <a:cubicBezTo>
                    <a:pt x="83534" y="11557"/>
                    <a:pt x="77661" y="72454"/>
                    <a:pt x="8763" y="79756"/>
                  </a:cubicBezTo>
                  <a:lnTo>
                    <a:pt x="0" y="80677"/>
                  </a:lnTo>
                  <a:lnTo>
                    <a:pt x="0" y="197898"/>
                  </a:lnTo>
                  <a:cubicBezTo>
                    <a:pt x="32" y="200184"/>
                    <a:pt x="2572" y="230473"/>
                    <a:pt x="29527" y="263843"/>
                  </a:cubicBezTo>
                  <a:close/>
                  <a:moveTo>
                    <a:pt x="166307" y="320104"/>
                  </a:moveTo>
                  <a:cubicBezTo>
                    <a:pt x="108744" y="305816"/>
                    <a:pt x="73724" y="282702"/>
                    <a:pt x="52387" y="260318"/>
                  </a:cubicBezTo>
                  <a:cubicBezTo>
                    <a:pt x="58255" y="252980"/>
                    <a:pt x="66099" y="247472"/>
                    <a:pt x="74994" y="244443"/>
                  </a:cubicBezTo>
                  <a:lnTo>
                    <a:pt x="131858" y="225393"/>
                  </a:lnTo>
                  <a:lnTo>
                    <a:pt x="134239" y="225393"/>
                  </a:lnTo>
                  <a:lnTo>
                    <a:pt x="138970" y="230124"/>
                  </a:lnTo>
                  <a:cubicBezTo>
                    <a:pt x="146470" y="237823"/>
                    <a:pt x="156797" y="242114"/>
                    <a:pt x="167545" y="241998"/>
                  </a:cubicBezTo>
                  <a:cubicBezTo>
                    <a:pt x="177448" y="241582"/>
                    <a:pt x="186798" y="237322"/>
                    <a:pt x="193612" y="230124"/>
                  </a:cubicBezTo>
                  <a:lnTo>
                    <a:pt x="198342" y="225393"/>
                  </a:lnTo>
                  <a:lnTo>
                    <a:pt x="257588" y="244443"/>
                  </a:lnTo>
                  <a:cubicBezTo>
                    <a:pt x="266456" y="247419"/>
                    <a:pt x="274253" y="252940"/>
                    <a:pt x="280003" y="260318"/>
                  </a:cubicBezTo>
                  <a:cubicBezTo>
                    <a:pt x="258382" y="282702"/>
                    <a:pt x="223457" y="305880"/>
                    <a:pt x="166307" y="320104"/>
                  </a:cubicBezTo>
                  <a:close/>
                  <a:moveTo>
                    <a:pt x="19399" y="97854"/>
                  </a:moveTo>
                  <a:cubicBezTo>
                    <a:pt x="80105" y="87598"/>
                    <a:pt x="97060" y="39688"/>
                    <a:pt x="101536" y="19526"/>
                  </a:cubicBezTo>
                  <a:lnTo>
                    <a:pt x="231077" y="19526"/>
                  </a:lnTo>
                  <a:cubicBezTo>
                    <a:pt x="235553" y="39688"/>
                    <a:pt x="252508" y="87535"/>
                    <a:pt x="313214" y="97981"/>
                  </a:cubicBezTo>
                  <a:lnTo>
                    <a:pt x="313214" y="196850"/>
                  </a:lnTo>
                  <a:cubicBezTo>
                    <a:pt x="312992" y="199327"/>
                    <a:pt x="310420" y="220250"/>
                    <a:pt x="292513" y="245046"/>
                  </a:cubicBezTo>
                  <a:cubicBezTo>
                    <a:pt x="285023" y="236297"/>
                    <a:pt x="275476" y="229543"/>
                    <a:pt x="264732" y="225393"/>
                  </a:cubicBezTo>
                  <a:lnTo>
                    <a:pt x="205486" y="206343"/>
                  </a:lnTo>
                  <a:cubicBezTo>
                    <a:pt x="198374" y="203962"/>
                    <a:pt x="191262" y="206343"/>
                    <a:pt x="184150" y="211106"/>
                  </a:cubicBezTo>
                  <a:lnTo>
                    <a:pt x="181800" y="215837"/>
                  </a:lnTo>
                  <a:cubicBezTo>
                    <a:pt x="178202" y="220015"/>
                    <a:pt x="173078" y="222577"/>
                    <a:pt x="167577" y="222948"/>
                  </a:cubicBezTo>
                  <a:cubicBezTo>
                    <a:pt x="161269" y="223114"/>
                    <a:pt x="155204" y="220516"/>
                    <a:pt x="150971" y="215837"/>
                  </a:cubicBezTo>
                  <a:lnTo>
                    <a:pt x="148622" y="211106"/>
                  </a:lnTo>
                  <a:cubicBezTo>
                    <a:pt x="141510" y="206343"/>
                    <a:pt x="134398" y="203962"/>
                    <a:pt x="127286" y="206343"/>
                  </a:cubicBezTo>
                  <a:cubicBezTo>
                    <a:pt x="103442" y="213519"/>
                    <a:pt x="84487" y="220631"/>
                    <a:pt x="84487" y="220631"/>
                  </a:cubicBezTo>
                  <a:lnTo>
                    <a:pt x="67882" y="225393"/>
                  </a:lnTo>
                  <a:cubicBezTo>
                    <a:pt x="56988" y="229519"/>
                    <a:pt x="47366" y="236426"/>
                    <a:pt x="39973" y="245428"/>
                  </a:cubicBezTo>
                  <a:cubicBezTo>
                    <a:pt x="22161" y="220758"/>
                    <a:pt x="19653" y="199866"/>
                    <a:pt x="19399" y="196850"/>
                  </a:cubicBez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1800" b="1">
                <a:solidFill>
                  <a:schemeClr val="dk1"/>
                </a:solidFill>
                <a:latin typeface="Arial"/>
                <a:ea typeface="Arial"/>
                <a:cs typeface="Arial"/>
                <a:sym typeface="Arial"/>
              </a:endParaRPr>
            </a:p>
          </p:txBody>
        </p:sp>
      </p:grpSp>
      <p:sp>
        <p:nvSpPr>
          <p:cNvPr id="51" name="Google Shape;1501;p91">
            <a:extLst>
              <a:ext uri="{FF2B5EF4-FFF2-40B4-BE49-F238E27FC236}">
                <a16:creationId xmlns:a16="http://schemas.microsoft.com/office/drawing/2014/main" id="{2398A36F-FA9A-0524-9E8D-120752F63E34}"/>
              </a:ext>
            </a:extLst>
          </p:cNvPr>
          <p:cNvSpPr/>
          <p:nvPr/>
        </p:nvSpPr>
        <p:spPr>
          <a:xfrm>
            <a:off x="7208697" y="5521066"/>
            <a:ext cx="457200" cy="455929"/>
          </a:xfrm>
          <a:custGeom>
            <a:avLst/>
            <a:gdLst/>
            <a:ahLst/>
            <a:cxnLst/>
            <a:rect l="l" t="t" r="r" b="b"/>
            <a:pathLst>
              <a:path w="456085" h="455929" extrusionOk="0">
                <a:moveTo>
                  <a:pt x="0" y="0"/>
                </a:moveTo>
                <a:lnTo>
                  <a:pt x="0" y="455930"/>
                </a:lnTo>
                <a:lnTo>
                  <a:pt x="456086" y="455930"/>
                </a:lnTo>
                <a:lnTo>
                  <a:pt x="456086" y="0"/>
                </a:lnTo>
                <a:close/>
                <a:moveTo>
                  <a:pt x="436639" y="19472"/>
                </a:moveTo>
                <a:lnTo>
                  <a:pt x="436639" y="214762"/>
                </a:lnTo>
                <a:cubicBezTo>
                  <a:pt x="419662" y="194277"/>
                  <a:pt x="400849" y="175400"/>
                  <a:pt x="380388" y="158372"/>
                </a:cubicBezTo>
                <a:cubicBezTo>
                  <a:pt x="329712" y="116230"/>
                  <a:pt x="277009" y="93972"/>
                  <a:pt x="228043" y="93972"/>
                </a:cubicBezTo>
                <a:cubicBezTo>
                  <a:pt x="179077" y="93972"/>
                  <a:pt x="126374" y="116135"/>
                  <a:pt x="75698" y="158372"/>
                </a:cubicBezTo>
                <a:cubicBezTo>
                  <a:pt x="55237" y="175391"/>
                  <a:pt x="36424" y="194267"/>
                  <a:pt x="19447" y="214762"/>
                </a:cubicBezTo>
                <a:lnTo>
                  <a:pt x="19447" y="19472"/>
                </a:lnTo>
                <a:close/>
                <a:moveTo>
                  <a:pt x="422291" y="227965"/>
                </a:moveTo>
                <a:cubicBezTo>
                  <a:pt x="402527" y="252028"/>
                  <a:pt x="322015" y="342517"/>
                  <a:pt x="228043" y="342517"/>
                </a:cubicBezTo>
                <a:cubicBezTo>
                  <a:pt x="134070" y="342517"/>
                  <a:pt x="53527" y="252028"/>
                  <a:pt x="33794" y="227965"/>
                </a:cubicBezTo>
                <a:cubicBezTo>
                  <a:pt x="53495" y="203902"/>
                  <a:pt x="133912" y="113413"/>
                  <a:pt x="228043" y="113413"/>
                </a:cubicBezTo>
                <a:cubicBezTo>
                  <a:pt x="322174" y="113413"/>
                  <a:pt x="402527" y="203902"/>
                  <a:pt x="422291" y="227965"/>
                </a:cubicBezTo>
                <a:close/>
                <a:moveTo>
                  <a:pt x="19447" y="436490"/>
                </a:moveTo>
                <a:lnTo>
                  <a:pt x="19447" y="241200"/>
                </a:lnTo>
                <a:cubicBezTo>
                  <a:pt x="36424" y="261694"/>
                  <a:pt x="55237" y="280571"/>
                  <a:pt x="75698" y="297589"/>
                </a:cubicBezTo>
                <a:cubicBezTo>
                  <a:pt x="126374" y="339699"/>
                  <a:pt x="179077" y="361989"/>
                  <a:pt x="228043" y="361989"/>
                </a:cubicBezTo>
                <a:cubicBezTo>
                  <a:pt x="277009" y="361989"/>
                  <a:pt x="329680" y="339826"/>
                  <a:pt x="380388" y="297589"/>
                </a:cubicBezTo>
                <a:cubicBezTo>
                  <a:pt x="400849" y="280562"/>
                  <a:pt x="419662" y="261685"/>
                  <a:pt x="436639" y="241200"/>
                </a:cubicBezTo>
                <a:lnTo>
                  <a:pt x="436639" y="436490"/>
                </a:lnTo>
                <a:close/>
                <a:moveTo>
                  <a:pt x="228043" y="126774"/>
                </a:moveTo>
                <a:cubicBezTo>
                  <a:pt x="172077" y="126774"/>
                  <a:pt x="126690" y="172136"/>
                  <a:pt x="126690" y="228092"/>
                </a:cubicBezTo>
                <a:cubicBezTo>
                  <a:pt x="126690" y="284047"/>
                  <a:pt x="172077" y="329409"/>
                  <a:pt x="228043" y="329409"/>
                </a:cubicBezTo>
                <a:cubicBezTo>
                  <a:pt x="284008" y="329409"/>
                  <a:pt x="329395" y="284047"/>
                  <a:pt x="329395" y="228092"/>
                </a:cubicBezTo>
                <a:cubicBezTo>
                  <a:pt x="329395" y="172136"/>
                  <a:pt x="284008" y="126774"/>
                  <a:pt x="228043" y="126774"/>
                </a:cubicBezTo>
                <a:close/>
                <a:moveTo>
                  <a:pt x="159947" y="170752"/>
                </a:moveTo>
                <a:cubicBezTo>
                  <a:pt x="167960" y="161229"/>
                  <a:pt x="177873" y="153504"/>
                  <a:pt x="189085" y="148082"/>
                </a:cubicBezTo>
                <a:lnTo>
                  <a:pt x="190036" y="147607"/>
                </a:lnTo>
                <a:lnTo>
                  <a:pt x="189370" y="148430"/>
                </a:lnTo>
                <a:cubicBezTo>
                  <a:pt x="184018" y="155340"/>
                  <a:pt x="179615" y="162932"/>
                  <a:pt x="176258" y="171005"/>
                </a:cubicBezTo>
                <a:lnTo>
                  <a:pt x="176258" y="171005"/>
                </a:lnTo>
                <a:lnTo>
                  <a:pt x="159661" y="171005"/>
                </a:lnTo>
                <a:close/>
                <a:moveTo>
                  <a:pt x="139328" y="221633"/>
                </a:moveTo>
                <a:cubicBezTo>
                  <a:pt x="140278" y="208240"/>
                  <a:pt x="144300" y="195246"/>
                  <a:pt x="151047" y="183638"/>
                </a:cubicBezTo>
                <a:lnTo>
                  <a:pt x="151047" y="183638"/>
                </a:lnTo>
                <a:lnTo>
                  <a:pt x="171729" y="183638"/>
                </a:lnTo>
                <a:lnTo>
                  <a:pt x="171729" y="183955"/>
                </a:lnTo>
                <a:cubicBezTo>
                  <a:pt x="168023" y="196300"/>
                  <a:pt x="165901" y="209066"/>
                  <a:pt x="165394" y="221949"/>
                </a:cubicBezTo>
                <a:lnTo>
                  <a:pt x="165394" y="222202"/>
                </a:lnTo>
                <a:lnTo>
                  <a:pt x="139138" y="222202"/>
                </a:lnTo>
                <a:close/>
                <a:moveTo>
                  <a:pt x="151110" y="272608"/>
                </a:moveTo>
                <a:lnTo>
                  <a:pt x="151110" y="272608"/>
                </a:lnTo>
                <a:cubicBezTo>
                  <a:pt x="144364" y="261001"/>
                  <a:pt x="140341" y="248007"/>
                  <a:pt x="139391" y="234614"/>
                </a:cubicBezTo>
                <a:lnTo>
                  <a:pt x="139391" y="234361"/>
                </a:lnTo>
                <a:lnTo>
                  <a:pt x="165648" y="234361"/>
                </a:lnTo>
                <a:lnTo>
                  <a:pt x="165648" y="234582"/>
                </a:lnTo>
                <a:cubicBezTo>
                  <a:pt x="166123" y="247465"/>
                  <a:pt x="168245" y="260235"/>
                  <a:pt x="171982" y="272576"/>
                </a:cubicBezTo>
                <a:lnTo>
                  <a:pt x="171982" y="272893"/>
                </a:lnTo>
                <a:close/>
                <a:moveTo>
                  <a:pt x="189117" y="307879"/>
                </a:moveTo>
                <a:cubicBezTo>
                  <a:pt x="177937" y="302437"/>
                  <a:pt x="167991" y="294702"/>
                  <a:pt x="159978" y="285178"/>
                </a:cubicBezTo>
                <a:lnTo>
                  <a:pt x="159630" y="284798"/>
                </a:lnTo>
                <a:lnTo>
                  <a:pt x="176227" y="284798"/>
                </a:lnTo>
                <a:lnTo>
                  <a:pt x="176227" y="284956"/>
                </a:lnTo>
                <a:cubicBezTo>
                  <a:pt x="179584" y="293027"/>
                  <a:pt x="183986" y="300616"/>
                  <a:pt x="189339" y="307531"/>
                </a:cubicBezTo>
                <a:lnTo>
                  <a:pt x="190004" y="308354"/>
                </a:lnTo>
                <a:close/>
                <a:moveTo>
                  <a:pt x="221962" y="316206"/>
                </a:moveTo>
                <a:lnTo>
                  <a:pt x="221677" y="316206"/>
                </a:lnTo>
                <a:cubicBezTo>
                  <a:pt x="209356" y="313325"/>
                  <a:pt x="198017" y="302307"/>
                  <a:pt x="189750" y="285209"/>
                </a:cubicBezTo>
                <a:lnTo>
                  <a:pt x="189750" y="284861"/>
                </a:lnTo>
                <a:lnTo>
                  <a:pt x="222120" y="284861"/>
                </a:lnTo>
                <a:close/>
                <a:moveTo>
                  <a:pt x="221962" y="272608"/>
                </a:moveTo>
                <a:lnTo>
                  <a:pt x="184683" y="272608"/>
                </a:lnTo>
                <a:lnTo>
                  <a:pt x="184683" y="272418"/>
                </a:lnTo>
                <a:cubicBezTo>
                  <a:pt x="180597" y="260140"/>
                  <a:pt x="178285" y="247348"/>
                  <a:pt x="177810" y="234424"/>
                </a:cubicBezTo>
                <a:lnTo>
                  <a:pt x="177810" y="234171"/>
                </a:lnTo>
                <a:lnTo>
                  <a:pt x="221993" y="234171"/>
                </a:lnTo>
                <a:close/>
                <a:moveTo>
                  <a:pt x="221962" y="221949"/>
                </a:moveTo>
                <a:lnTo>
                  <a:pt x="177747" y="221949"/>
                </a:lnTo>
                <a:lnTo>
                  <a:pt x="177747" y="221696"/>
                </a:lnTo>
                <a:cubicBezTo>
                  <a:pt x="178254" y="208772"/>
                  <a:pt x="180566" y="195980"/>
                  <a:pt x="184619" y="183702"/>
                </a:cubicBezTo>
                <a:lnTo>
                  <a:pt x="184619" y="183702"/>
                </a:lnTo>
                <a:lnTo>
                  <a:pt x="221898" y="183702"/>
                </a:lnTo>
                <a:close/>
                <a:moveTo>
                  <a:pt x="221962" y="171290"/>
                </a:moveTo>
                <a:lnTo>
                  <a:pt x="189592" y="171290"/>
                </a:lnTo>
                <a:lnTo>
                  <a:pt x="189592" y="170942"/>
                </a:lnTo>
                <a:cubicBezTo>
                  <a:pt x="197859" y="153845"/>
                  <a:pt x="209197" y="142826"/>
                  <a:pt x="221518" y="139945"/>
                </a:cubicBezTo>
                <a:lnTo>
                  <a:pt x="221803" y="139945"/>
                </a:lnTo>
                <a:close/>
                <a:moveTo>
                  <a:pt x="267032" y="148209"/>
                </a:moveTo>
                <a:cubicBezTo>
                  <a:pt x="278244" y="153631"/>
                  <a:pt x="288157" y="161356"/>
                  <a:pt x="296171" y="170879"/>
                </a:cubicBezTo>
                <a:lnTo>
                  <a:pt x="296487" y="171290"/>
                </a:lnTo>
                <a:lnTo>
                  <a:pt x="279923" y="171290"/>
                </a:lnTo>
                <a:lnTo>
                  <a:pt x="279923" y="171290"/>
                </a:lnTo>
                <a:cubicBezTo>
                  <a:pt x="276565" y="163226"/>
                  <a:pt x="272163" y="155635"/>
                  <a:pt x="266810" y="148715"/>
                </a:cubicBezTo>
                <a:lnTo>
                  <a:pt x="266145" y="147892"/>
                </a:lnTo>
                <a:close/>
                <a:moveTo>
                  <a:pt x="234155" y="139850"/>
                </a:moveTo>
                <a:lnTo>
                  <a:pt x="234473" y="139850"/>
                </a:lnTo>
                <a:cubicBezTo>
                  <a:pt x="246793" y="142731"/>
                  <a:pt x="258132" y="153750"/>
                  <a:pt x="266367" y="170847"/>
                </a:cubicBezTo>
                <a:lnTo>
                  <a:pt x="266557" y="171195"/>
                </a:lnTo>
                <a:lnTo>
                  <a:pt x="234124" y="171195"/>
                </a:lnTo>
                <a:close/>
                <a:moveTo>
                  <a:pt x="234155" y="183480"/>
                </a:moveTo>
                <a:lnTo>
                  <a:pt x="271434" y="183480"/>
                </a:lnTo>
                <a:lnTo>
                  <a:pt x="271434" y="183480"/>
                </a:lnTo>
                <a:cubicBezTo>
                  <a:pt x="275488" y="195759"/>
                  <a:pt x="277800" y="208550"/>
                  <a:pt x="278276" y="221474"/>
                </a:cubicBezTo>
                <a:lnTo>
                  <a:pt x="278276" y="221728"/>
                </a:lnTo>
                <a:lnTo>
                  <a:pt x="233934" y="221728"/>
                </a:lnTo>
                <a:close/>
                <a:moveTo>
                  <a:pt x="234155" y="234139"/>
                </a:moveTo>
                <a:lnTo>
                  <a:pt x="278497" y="234139"/>
                </a:lnTo>
                <a:lnTo>
                  <a:pt x="278497" y="234392"/>
                </a:lnTo>
                <a:cubicBezTo>
                  <a:pt x="278022" y="247317"/>
                  <a:pt x="275710" y="260108"/>
                  <a:pt x="271656" y="272386"/>
                </a:cubicBezTo>
                <a:lnTo>
                  <a:pt x="271656" y="272576"/>
                </a:lnTo>
                <a:lnTo>
                  <a:pt x="234124" y="272576"/>
                </a:lnTo>
                <a:close/>
                <a:moveTo>
                  <a:pt x="234473" y="316206"/>
                </a:moveTo>
                <a:lnTo>
                  <a:pt x="234155" y="316206"/>
                </a:lnTo>
                <a:lnTo>
                  <a:pt x="234155" y="284798"/>
                </a:lnTo>
                <a:lnTo>
                  <a:pt x="266557" y="284798"/>
                </a:lnTo>
                <a:lnTo>
                  <a:pt x="266367" y="285146"/>
                </a:lnTo>
                <a:cubicBezTo>
                  <a:pt x="258100" y="302244"/>
                  <a:pt x="246761" y="313262"/>
                  <a:pt x="234441" y="316143"/>
                </a:cubicBezTo>
                <a:close/>
                <a:moveTo>
                  <a:pt x="296171" y="285241"/>
                </a:moveTo>
                <a:cubicBezTo>
                  <a:pt x="288157" y="294765"/>
                  <a:pt x="278212" y="302500"/>
                  <a:pt x="267032" y="307943"/>
                </a:cubicBezTo>
                <a:lnTo>
                  <a:pt x="266082" y="308418"/>
                </a:lnTo>
                <a:lnTo>
                  <a:pt x="266747" y="307594"/>
                </a:lnTo>
                <a:cubicBezTo>
                  <a:pt x="272099" y="300673"/>
                  <a:pt x="276502" y="293084"/>
                  <a:pt x="279859" y="285020"/>
                </a:cubicBezTo>
                <a:lnTo>
                  <a:pt x="279859" y="284861"/>
                </a:lnTo>
                <a:lnTo>
                  <a:pt x="296424" y="284861"/>
                </a:lnTo>
                <a:close/>
                <a:moveTo>
                  <a:pt x="316790" y="234392"/>
                </a:moveTo>
                <a:cubicBezTo>
                  <a:pt x="315808" y="247785"/>
                  <a:pt x="311785" y="260782"/>
                  <a:pt x="305039" y="272386"/>
                </a:cubicBezTo>
                <a:lnTo>
                  <a:pt x="305039" y="272386"/>
                </a:lnTo>
                <a:lnTo>
                  <a:pt x="284325" y="272386"/>
                </a:lnTo>
                <a:lnTo>
                  <a:pt x="284325" y="272070"/>
                </a:lnTo>
                <a:cubicBezTo>
                  <a:pt x="288031" y="259725"/>
                  <a:pt x="290153" y="246959"/>
                  <a:pt x="290660" y="234076"/>
                </a:cubicBezTo>
                <a:lnTo>
                  <a:pt x="290660" y="233854"/>
                </a:lnTo>
                <a:lnTo>
                  <a:pt x="316916" y="233854"/>
                </a:lnTo>
                <a:close/>
                <a:moveTo>
                  <a:pt x="305039" y="183543"/>
                </a:moveTo>
                <a:cubicBezTo>
                  <a:pt x="311817" y="195144"/>
                  <a:pt x="315839" y="208141"/>
                  <a:pt x="316790" y="221538"/>
                </a:cubicBezTo>
                <a:lnTo>
                  <a:pt x="316790" y="221791"/>
                </a:lnTo>
                <a:lnTo>
                  <a:pt x="290533" y="221791"/>
                </a:lnTo>
                <a:lnTo>
                  <a:pt x="290533" y="221538"/>
                </a:lnTo>
                <a:cubicBezTo>
                  <a:pt x="290026" y="208654"/>
                  <a:pt x="287904" y="195888"/>
                  <a:pt x="284198" y="183543"/>
                </a:cubicBezTo>
                <a:lnTo>
                  <a:pt x="284198" y="183227"/>
                </a:lnTo>
                <a:lnTo>
                  <a:pt x="304912" y="183227"/>
                </a:lnTo>
                <a:close/>
              </a:path>
            </a:pathLst>
          </a:custGeom>
          <a:solidFill>
            <a:srgbClr val="000000"/>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grpSp>
        <p:nvGrpSpPr>
          <p:cNvPr id="52" name="Google Shape;1547;p92">
            <a:extLst>
              <a:ext uri="{FF2B5EF4-FFF2-40B4-BE49-F238E27FC236}">
                <a16:creationId xmlns:a16="http://schemas.microsoft.com/office/drawing/2014/main" id="{D94BAF1D-42A1-21C7-F626-8E0107576297}"/>
              </a:ext>
            </a:extLst>
          </p:cNvPr>
          <p:cNvGrpSpPr/>
          <p:nvPr/>
        </p:nvGrpSpPr>
        <p:grpSpPr>
          <a:xfrm>
            <a:off x="11077173" y="5521066"/>
            <a:ext cx="457200" cy="457200"/>
            <a:chOff x="10418558" y="3895566"/>
            <a:chExt cx="457200" cy="457200"/>
          </a:xfrm>
        </p:grpSpPr>
        <p:sp>
          <p:nvSpPr>
            <p:cNvPr id="53" name="Google Shape;1548;p92">
              <a:extLst>
                <a:ext uri="{FF2B5EF4-FFF2-40B4-BE49-F238E27FC236}">
                  <a16:creationId xmlns:a16="http://schemas.microsoft.com/office/drawing/2014/main" id="{24412FE5-C3CD-76F7-0B4A-2EB3610E5AE0}"/>
                </a:ext>
              </a:extLst>
            </p:cNvPr>
            <p:cNvSpPr/>
            <p:nvPr/>
          </p:nvSpPr>
          <p:spPr>
            <a:xfrm>
              <a:off x="10418558" y="3895566"/>
              <a:ext cx="457200" cy="457200"/>
            </a:xfrm>
            <a:custGeom>
              <a:avLst/>
              <a:gdLst/>
              <a:ahLst/>
              <a:cxnLst/>
              <a:rect l="l" t="t" r="r" b="b"/>
              <a:pathLst>
                <a:path w="457200" h="457200" extrusionOk="0">
                  <a:moveTo>
                    <a:pt x="0" y="0"/>
                  </a:moveTo>
                  <a:lnTo>
                    <a:pt x="0" y="457200"/>
                  </a:lnTo>
                  <a:lnTo>
                    <a:pt x="457200" y="457200"/>
                  </a:lnTo>
                  <a:lnTo>
                    <a:pt x="457200" y="0"/>
                  </a:lnTo>
                  <a:close/>
                  <a:moveTo>
                    <a:pt x="437674" y="437674"/>
                  </a:moveTo>
                  <a:lnTo>
                    <a:pt x="19526" y="437674"/>
                  </a:lnTo>
                  <a:lnTo>
                    <a:pt x="19526" y="19526"/>
                  </a:lnTo>
                  <a:lnTo>
                    <a:pt x="437674" y="19526"/>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54" name="Google Shape;1549;p92">
              <a:extLst>
                <a:ext uri="{FF2B5EF4-FFF2-40B4-BE49-F238E27FC236}">
                  <a16:creationId xmlns:a16="http://schemas.microsoft.com/office/drawing/2014/main" id="{2241AB89-0344-6E51-6FB0-574A73D5D9B3}"/>
                </a:ext>
              </a:extLst>
            </p:cNvPr>
            <p:cNvSpPr/>
            <p:nvPr/>
          </p:nvSpPr>
          <p:spPr>
            <a:xfrm>
              <a:off x="10476374" y="3976084"/>
              <a:ext cx="342011" cy="146208"/>
            </a:xfrm>
            <a:custGeom>
              <a:avLst/>
              <a:gdLst/>
              <a:ahLst/>
              <a:cxnLst/>
              <a:rect l="l" t="t" r="r" b="b"/>
              <a:pathLst>
                <a:path w="342011" h="146208" extrusionOk="0">
                  <a:moveTo>
                    <a:pt x="45402" y="146209"/>
                  </a:moveTo>
                  <a:lnTo>
                    <a:pt x="37433" y="137509"/>
                  </a:lnTo>
                  <a:lnTo>
                    <a:pt x="37179" y="137255"/>
                  </a:lnTo>
                  <a:lnTo>
                    <a:pt x="36894" y="136970"/>
                  </a:lnTo>
                  <a:cubicBezTo>
                    <a:pt x="26257" y="126143"/>
                    <a:pt x="21019" y="110331"/>
                    <a:pt x="21019" y="89948"/>
                  </a:cubicBezTo>
                  <a:cubicBezTo>
                    <a:pt x="20923" y="50705"/>
                    <a:pt x="49784" y="21082"/>
                    <a:pt x="88233" y="21082"/>
                  </a:cubicBezTo>
                  <a:cubicBezTo>
                    <a:pt x="117570" y="21082"/>
                    <a:pt x="142780" y="37814"/>
                    <a:pt x="150940" y="62738"/>
                  </a:cubicBezTo>
                  <a:lnTo>
                    <a:pt x="154908" y="75057"/>
                  </a:lnTo>
                  <a:lnTo>
                    <a:pt x="185198" y="75057"/>
                  </a:lnTo>
                  <a:lnTo>
                    <a:pt x="189833" y="65532"/>
                  </a:lnTo>
                  <a:cubicBezTo>
                    <a:pt x="204311" y="36068"/>
                    <a:pt x="225774" y="21082"/>
                    <a:pt x="253651" y="21082"/>
                  </a:cubicBezTo>
                  <a:cubicBezTo>
                    <a:pt x="291941" y="21082"/>
                    <a:pt x="320802" y="50641"/>
                    <a:pt x="320802" y="89884"/>
                  </a:cubicBezTo>
                  <a:cubicBezTo>
                    <a:pt x="320802" y="110268"/>
                    <a:pt x="315436" y="126079"/>
                    <a:pt x="304927" y="136906"/>
                  </a:cubicBezTo>
                  <a:lnTo>
                    <a:pt x="304641" y="137192"/>
                  </a:lnTo>
                  <a:lnTo>
                    <a:pt x="304387" y="137446"/>
                  </a:lnTo>
                  <a:lnTo>
                    <a:pt x="296450" y="146145"/>
                  </a:lnTo>
                  <a:lnTo>
                    <a:pt x="324771" y="146145"/>
                  </a:lnTo>
                  <a:cubicBezTo>
                    <a:pt x="337471" y="130080"/>
                    <a:pt x="342011" y="109982"/>
                    <a:pt x="342011" y="89884"/>
                  </a:cubicBezTo>
                  <a:cubicBezTo>
                    <a:pt x="342011" y="39338"/>
                    <a:pt x="303403" y="0"/>
                    <a:pt x="253778" y="0"/>
                  </a:cubicBezTo>
                  <a:cubicBezTo>
                    <a:pt x="215170" y="0"/>
                    <a:pt x="187611" y="22479"/>
                    <a:pt x="171228" y="56166"/>
                  </a:cubicBezTo>
                  <a:cubicBezTo>
                    <a:pt x="159766" y="22542"/>
                    <a:pt x="126683" y="63"/>
                    <a:pt x="88233" y="63"/>
                  </a:cubicBezTo>
                  <a:cubicBezTo>
                    <a:pt x="38608" y="63"/>
                    <a:pt x="0" y="39402"/>
                    <a:pt x="0" y="89948"/>
                  </a:cubicBezTo>
                  <a:cubicBezTo>
                    <a:pt x="0" y="110046"/>
                    <a:pt x="4445" y="130143"/>
                    <a:pt x="17240" y="146209"/>
                  </a:cubicBez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55" name="Google Shape;1550;p92">
              <a:extLst>
                <a:ext uri="{FF2B5EF4-FFF2-40B4-BE49-F238E27FC236}">
                  <a16:creationId xmlns:a16="http://schemas.microsoft.com/office/drawing/2014/main" id="{BDA037DD-5019-C486-399C-83EA9F08CA88}"/>
                </a:ext>
              </a:extLst>
            </p:cNvPr>
            <p:cNvSpPr/>
            <p:nvPr/>
          </p:nvSpPr>
          <p:spPr>
            <a:xfrm>
              <a:off x="10543526" y="4177379"/>
              <a:ext cx="207200" cy="113315"/>
            </a:xfrm>
            <a:custGeom>
              <a:avLst/>
              <a:gdLst/>
              <a:ahLst/>
              <a:cxnLst/>
              <a:rect l="l" t="t" r="r" b="b"/>
              <a:pathLst>
                <a:path w="207200" h="113315" extrusionOk="0">
                  <a:moveTo>
                    <a:pt x="103632" y="82106"/>
                  </a:moveTo>
                  <a:lnTo>
                    <a:pt x="28575" y="0"/>
                  </a:lnTo>
                  <a:lnTo>
                    <a:pt x="0" y="0"/>
                  </a:lnTo>
                  <a:lnTo>
                    <a:pt x="103632" y="113316"/>
                  </a:lnTo>
                  <a:lnTo>
                    <a:pt x="207201" y="0"/>
                  </a:lnTo>
                  <a:lnTo>
                    <a:pt x="178626" y="0"/>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56" name="Google Shape;1551;p92">
              <a:extLst>
                <a:ext uri="{FF2B5EF4-FFF2-40B4-BE49-F238E27FC236}">
                  <a16:creationId xmlns:a16="http://schemas.microsoft.com/office/drawing/2014/main" id="{29893079-D834-8AAA-98B1-C83D3CAC24F2}"/>
                </a:ext>
              </a:extLst>
            </p:cNvPr>
            <p:cNvSpPr/>
            <p:nvPr/>
          </p:nvSpPr>
          <p:spPr>
            <a:xfrm>
              <a:off x="10476215" y="4060570"/>
              <a:ext cx="341883" cy="125317"/>
            </a:xfrm>
            <a:custGeom>
              <a:avLst/>
              <a:gdLst/>
              <a:ahLst/>
              <a:cxnLst/>
              <a:rect l="l" t="t" r="r" b="b"/>
              <a:pathLst>
                <a:path w="341883" h="125317" extrusionOk="0">
                  <a:moveTo>
                    <a:pt x="125254" y="68675"/>
                  </a:moveTo>
                  <a:lnTo>
                    <a:pt x="166180" y="125317"/>
                  </a:lnTo>
                  <a:lnTo>
                    <a:pt x="204629" y="42259"/>
                  </a:lnTo>
                  <a:lnTo>
                    <a:pt x="236855" y="97885"/>
                  </a:lnTo>
                  <a:lnTo>
                    <a:pt x="341884" y="97885"/>
                  </a:lnTo>
                  <a:lnTo>
                    <a:pt x="341884" y="78359"/>
                  </a:lnTo>
                  <a:lnTo>
                    <a:pt x="248095" y="78359"/>
                  </a:lnTo>
                  <a:lnTo>
                    <a:pt x="202692" y="0"/>
                  </a:lnTo>
                  <a:lnTo>
                    <a:pt x="162465" y="86836"/>
                  </a:lnTo>
                  <a:lnTo>
                    <a:pt x="124809" y="34734"/>
                  </a:lnTo>
                  <a:lnTo>
                    <a:pt x="94647" y="78835"/>
                  </a:lnTo>
                  <a:lnTo>
                    <a:pt x="0" y="78835"/>
                  </a:lnTo>
                  <a:lnTo>
                    <a:pt x="0" y="98361"/>
                  </a:lnTo>
                  <a:lnTo>
                    <a:pt x="104934" y="98361"/>
                  </a:lnTo>
                  <a:lnTo>
                    <a:pt x="125254" y="68675"/>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grpSp>
      <p:sp>
        <p:nvSpPr>
          <p:cNvPr id="3" name="Rectangle 2">
            <a:extLst>
              <a:ext uri="{FF2B5EF4-FFF2-40B4-BE49-F238E27FC236}">
                <a16:creationId xmlns:a16="http://schemas.microsoft.com/office/drawing/2014/main" id="{33BB98B8-6827-4CCD-E4FE-A55C4C067AB3}"/>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5" name="Group 4">
            <a:extLst>
              <a:ext uri="{FF2B5EF4-FFF2-40B4-BE49-F238E27FC236}">
                <a16:creationId xmlns:a16="http://schemas.microsoft.com/office/drawing/2014/main" id="{E8847673-F02F-E3F9-82D9-5317BF01B3A1}"/>
              </a:ext>
            </a:extLst>
          </p:cNvPr>
          <p:cNvGrpSpPr/>
          <p:nvPr/>
        </p:nvGrpSpPr>
        <p:grpSpPr>
          <a:xfrm>
            <a:off x="9307133" y="126781"/>
            <a:ext cx="2441955" cy="217488"/>
            <a:chOff x="9307133" y="126781"/>
            <a:chExt cx="2441955" cy="217488"/>
          </a:xfrm>
        </p:grpSpPr>
        <p:sp>
          <p:nvSpPr>
            <p:cNvPr id="6" name="Rectangle 5">
              <a:extLst>
                <a:ext uri="{FF2B5EF4-FFF2-40B4-BE49-F238E27FC236}">
                  <a16:creationId xmlns:a16="http://schemas.microsoft.com/office/drawing/2014/main" id="{18FD1C43-15A6-70A2-F355-9021C8A74188}"/>
                </a:ext>
              </a:extLst>
            </p:cNvPr>
            <p:cNvSpPr/>
            <p:nvPr/>
          </p:nvSpPr>
          <p:spPr>
            <a:xfrm>
              <a:off x="9307133"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2" name="Rectangle 11">
              <a:extLst>
                <a:ext uri="{FF2B5EF4-FFF2-40B4-BE49-F238E27FC236}">
                  <a16:creationId xmlns:a16="http://schemas.microsoft.com/office/drawing/2014/main" id="{40197796-0460-2D40-FB4F-0F92429071EB}"/>
                </a:ext>
              </a:extLst>
            </p:cNvPr>
            <p:cNvSpPr/>
            <p:nvPr/>
          </p:nvSpPr>
          <p:spPr>
            <a:xfrm>
              <a:off x="9790783" y="126781"/>
              <a:ext cx="1237148"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dirty="0">
                  <a:ln>
                    <a:noFill/>
                  </a:ln>
                  <a:solidFill>
                    <a:srgbClr val="000000"/>
                  </a:solidFill>
                  <a:effectLst/>
                  <a:uLnTx/>
                  <a:uFillTx/>
                  <a:ea typeface="Georgia"/>
                  <a:cs typeface="Georgia"/>
                  <a:sym typeface="Georgia"/>
                </a:rPr>
                <a:t>Steps </a:t>
              </a:r>
              <a:r>
                <a:rPr kumimoji="0" lang="lv-LV" sz="800" b="1" i="0" u="none" strike="noStrike" kern="0" cap="none" spc="0" normalizeH="0" baseline="0" noProof="0" dirty="0" err="1">
                  <a:ln>
                    <a:noFill/>
                  </a:ln>
                  <a:solidFill>
                    <a:srgbClr val="000000"/>
                  </a:solidFill>
                  <a:effectLst/>
                  <a:uLnTx/>
                  <a:uFillTx/>
                  <a:ea typeface="Georgia"/>
                  <a:cs typeface="Georgia"/>
                  <a:sym typeface="Georgia"/>
                </a:rPr>
                <a:t>at</a:t>
              </a:r>
              <a:r>
                <a:rPr kumimoji="0" lang="lv-LV" sz="800" b="1" i="0" u="none" strike="noStrike" kern="0" cap="none" spc="0" normalizeH="0" baseline="0" noProof="0" dirty="0">
                  <a:ln>
                    <a:noFill/>
                  </a:ln>
                  <a:solidFill>
                    <a:srgbClr val="000000"/>
                  </a:solidFill>
                  <a:effectLst/>
                  <a:uLnTx/>
                  <a:uFillTx/>
                  <a:ea typeface="Georgia"/>
                  <a:cs typeface="Georgia"/>
                  <a:sym typeface="Georgia"/>
                </a:rPr>
                <a:t> </a:t>
              </a:r>
              <a:r>
                <a:rPr kumimoji="0" lang="lv-LV" sz="800" b="1" i="0" u="none" strike="noStrike" kern="0" cap="none" spc="0" normalizeH="0" baseline="0" noProof="0" dirty="0" err="1">
                  <a:ln>
                    <a:noFill/>
                  </a:ln>
                  <a:solidFill>
                    <a:srgbClr val="000000"/>
                  </a:solidFill>
                  <a:effectLst/>
                  <a:uLnTx/>
                  <a:uFillTx/>
                  <a:ea typeface="Georgia"/>
                  <a:cs typeface="Georgia"/>
                  <a:sym typeface="Georgia"/>
                </a:rPr>
                <a:t>the</a:t>
              </a:r>
              <a:r>
                <a:rPr kumimoji="0" lang="lv-LV" sz="800" b="1" i="0" u="none" strike="noStrike" kern="0" cap="none" spc="0" normalizeH="0" baseline="0" noProof="0" dirty="0">
                  <a:ln>
                    <a:noFill/>
                  </a:ln>
                  <a:solidFill>
                    <a:srgbClr val="000000"/>
                  </a:solidFill>
                  <a:effectLst/>
                  <a:uLnTx/>
                  <a:uFillTx/>
                  <a:ea typeface="Georgia"/>
                  <a:cs typeface="Georgia"/>
                  <a:sym typeface="Georgia"/>
                </a:rPr>
                <a:t> </a:t>
              </a:r>
              <a:r>
                <a:rPr kumimoji="0" lang="lv-LV" sz="800" b="1" i="0" u="none" strike="noStrike" kern="0" cap="none" spc="0" normalizeH="0" baseline="0" noProof="0" dirty="0" err="1">
                  <a:ln>
                    <a:noFill/>
                  </a:ln>
                  <a:solidFill>
                    <a:srgbClr val="000000"/>
                  </a:solidFill>
                  <a:effectLst/>
                  <a:uLnTx/>
                  <a:uFillTx/>
                  <a:ea typeface="Georgia"/>
                  <a:cs typeface="Georgia"/>
                  <a:sym typeface="Georgia"/>
                </a:rPr>
                <a:t>scene</a:t>
              </a:r>
              <a:r>
                <a:rPr kumimoji="0" lang="lv-LV" sz="800" b="1" i="0" u="none" strike="noStrike" kern="0" cap="none" spc="0" normalizeH="0" baseline="0" noProof="0" dirty="0">
                  <a:ln>
                    <a:noFill/>
                  </a:ln>
                  <a:solidFill>
                    <a:srgbClr val="000000"/>
                  </a:solidFill>
                  <a:effectLst/>
                  <a:uLnTx/>
                  <a:uFillTx/>
                  <a:ea typeface="Georgia"/>
                  <a:cs typeface="Georgia"/>
                  <a:sym typeface="Georgia"/>
                </a:rPr>
                <a:t> </a:t>
              </a:r>
              <a:br>
                <a:rPr kumimoji="0" lang="lv-LV" sz="800" b="1" i="0" u="none" strike="noStrike" kern="0" cap="none" spc="0" normalizeH="0" baseline="0" noProof="0" dirty="0">
                  <a:ln>
                    <a:noFill/>
                  </a:ln>
                  <a:solidFill>
                    <a:srgbClr val="000000"/>
                  </a:solidFill>
                  <a:effectLst/>
                  <a:uLnTx/>
                  <a:uFillTx/>
                  <a:ea typeface="Georgia"/>
                  <a:cs typeface="Georgia"/>
                  <a:sym typeface="Georgia"/>
                </a:rPr>
              </a:br>
              <a:r>
                <a:rPr kumimoji="0" lang="lv-LV" sz="800" b="1" i="0" u="none" strike="noStrike" kern="0" cap="none" spc="0" normalizeH="0" baseline="0" noProof="0" dirty="0" err="1">
                  <a:ln>
                    <a:noFill/>
                  </a:ln>
                  <a:solidFill>
                    <a:srgbClr val="000000"/>
                  </a:solidFill>
                  <a:effectLst/>
                  <a:uLnTx/>
                  <a:uFillTx/>
                  <a:ea typeface="Georgia"/>
                  <a:cs typeface="Georgia"/>
                  <a:sym typeface="Georgia"/>
                </a:rPr>
                <a:t>of</a:t>
              </a:r>
              <a:r>
                <a:rPr kumimoji="0" lang="lv-LV" sz="800" b="1" i="0" u="none" strike="noStrike" kern="0" cap="none" spc="0" normalizeH="0" baseline="0" noProof="0" dirty="0">
                  <a:ln>
                    <a:noFill/>
                  </a:ln>
                  <a:solidFill>
                    <a:srgbClr val="000000"/>
                  </a:solidFill>
                  <a:effectLst/>
                  <a:uLnTx/>
                  <a:uFillTx/>
                  <a:ea typeface="Georgia"/>
                  <a:cs typeface="Georgia"/>
                  <a:sym typeface="Georgia"/>
                </a:rPr>
                <a:t> </a:t>
              </a:r>
              <a:r>
                <a:rPr kumimoji="0" lang="lv-LV" sz="800" b="1" i="0" u="none" strike="noStrike" kern="0" cap="none" spc="0" normalizeH="0" baseline="0" noProof="0" dirty="0" err="1">
                  <a:ln>
                    <a:noFill/>
                  </a:ln>
                  <a:solidFill>
                    <a:srgbClr val="000000"/>
                  </a:solidFill>
                  <a:effectLst/>
                  <a:uLnTx/>
                  <a:uFillTx/>
                  <a:ea typeface="Georgia"/>
                  <a:cs typeface="Georgia"/>
                  <a:sym typeface="Georgia"/>
                </a:rPr>
                <a:t>the</a:t>
              </a:r>
              <a:r>
                <a:rPr kumimoji="0" lang="lv-LV" sz="800" b="1" i="0" u="none" strike="noStrike" kern="0" cap="none" spc="0" normalizeH="0" baseline="0" noProof="0" dirty="0">
                  <a:ln>
                    <a:noFill/>
                  </a:ln>
                  <a:solidFill>
                    <a:srgbClr val="000000"/>
                  </a:solidFill>
                  <a:effectLst/>
                  <a:uLnTx/>
                  <a:uFillTx/>
                  <a:ea typeface="Georgia"/>
                  <a:cs typeface="Georgia"/>
                  <a:sym typeface="Georgia"/>
                </a:rPr>
                <a:t> </a:t>
              </a:r>
              <a:r>
                <a:rPr kumimoji="0" lang="lv-LV" sz="800" b="1" i="0" u="none" strike="noStrike" kern="0" cap="none" spc="0" normalizeH="0" baseline="0" noProof="0" dirty="0" err="1">
                  <a:ln>
                    <a:noFill/>
                  </a:ln>
                  <a:solidFill>
                    <a:srgbClr val="000000"/>
                  </a:solidFill>
                  <a:effectLst/>
                  <a:uLnTx/>
                  <a:uFillTx/>
                  <a:ea typeface="Georgia"/>
                  <a:cs typeface="Georgia"/>
                  <a:sym typeface="Georgia"/>
                </a:rPr>
                <a:t>accident</a:t>
              </a:r>
              <a:endParaRPr kumimoji="0" lang="lv-LV" sz="800" b="1" i="0" u="none" strike="noStrike" kern="0" cap="none" spc="0" normalizeH="0" baseline="0" noProof="0" dirty="0">
                <a:ln>
                  <a:noFill/>
                </a:ln>
                <a:solidFill>
                  <a:srgbClr val="000000"/>
                </a:solidFill>
                <a:effectLst/>
                <a:uLnTx/>
                <a:uFillTx/>
                <a:ea typeface="Georgia"/>
                <a:cs typeface="Georgia"/>
                <a:sym typeface="Georgia"/>
              </a:endParaRPr>
            </a:p>
          </p:txBody>
        </p:sp>
        <p:sp>
          <p:nvSpPr>
            <p:cNvPr id="13" name="Rectangle 12">
              <a:extLst>
                <a:ext uri="{FF2B5EF4-FFF2-40B4-BE49-F238E27FC236}">
                  <a16:creationId xmlns:a16="http://schemas.microsoft.com/office/drawing/2014/main" id="{3FFFD6BC-CE1F-C179-1F8B-579909A90E1B}"/>
                </a:ext>
              </a:extLst>
            </p:cNvPr>
            <p:cNvSpPr/>
            <p:nvPr/>
          </p:nvSpPr>
          <p:spPr>
            <a:xfrm>
              <a:off x="955040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2</a:t>
              </a:r>
              <a:endParaRPr kumimoji="0" lang="lv-LV" sz="800" b="1" i="0" u="none" strike="noStrike" kern="0" cap="none" spc="0" normalizeH="0" baseline="0" noProof="0">
                <a:ln>
                  <a:noFill/>
                </a:ln>
                <a:effectLst/>
                <a:uLnTx/>
                <a:uFillTx/>
                <a:ea typeface="Georgia"/>
                <a:cs typeface="Georgia"/>
                <a:sym typeface="Georgia"/>
              </a:endParaRPr>
            </a:p>
          </p:txBody>
        </p:sp>
        <p:sp>
          <p:nvSpPr>
            <p:cNvPr id="14" name="Rectangle 13">
              <a:extLst>
                <a:ext uri="{FF2B5EF4-FFF2-40B4-BE49-F238E27FC236}">
                  <a16:creationId xmlns:a16="http://schemas.microsoft.com/office/drawing/2014/main" id="{F6856E64-384D-83F0-7425-131CB6D3C68E}"/>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6" name="Rectangle 15">
              <a:extLst>
                <a:ext uri="{FF2B5EF4-FFF2-40B4-BE49-F238E27FC236}">
                  <a16:creationId xmlns:a16="http://schemas.microsoft.com/office/drawing/2014/main" id="{A0335284-A03F-247C-BB14-2FFD693413A6}"/>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4</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7" name="Rectangle 16">
              <a:extLst>
                <a:ext uri="{FF2B5EF4-FFF2-40B4-BE49-F238E27FC236}">
                  <a16:creationId xmlns:a16="http://schemas.microsoft.com/office/drawing/2014/main" id="{6F68A5BB-0DDF-15EE-B5CA-2BA42A8751F9}"/>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30118756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86C0963A-C5CC-2E7D-B418-A43C2733186F}"/>
              </a:ext>
            </a:extLst>
          </p:cNvPr>
          <p:cNvGraphicFramePr>
            <a:graphicFrameLocks noChangeAspect="1"/>
          </p:cNvGraphicFramePr>
          <p:nvPr>
            <p:custDataLst>
              <p:tags r:id="rId1"/>
            </p:custDataLst>
            <p:extLst>
              <p:ext uri="{D42A27DB-BD31-4B8C-83A1-F6EECF244321}">
                <p14:modId xmlns:p14="http://schemas.microsoft.com/office/powerpoint/2010/main" val="1500878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4" name="think-cell data - do not delete" hidden="1">
                        <a:extLst>
                          <a:ext uri="{FF2B5EF4-FFF2-40B4-BE49-F238E27FC236}">
                            <a16:creationId xmlns:a16="http://schemas.microsoft.com/office/drawing/2014/main" id="{86C0963A-C5CC-2E7D-B418-A43C273318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7" name="TextBox 66">
            <a:extLst>
              <a:ext uri="{FF2B5EF4-FFF2-40B4-BE49-F238E27FC236}">
                <a16:creationId xmlns:a16="http://schemas.microsoft.com/office/drawing/2014/main" id="{A6669812-F1E7-B581-1037-FF52AE28937B}"/>
              </a:ext>
            </a:extLst>
          </p:cNvPr>
          <p:cNvSpPr txBox="1"/>
          <p:nvPr/>
        </p:nvSpPr>
        <p:spPr>
          <a:xfrm>
            <a:off x="4327525" y="2543969"/>
            <a:ext cx="7416801" cy="2175297"/>
          </a:xfrm>
          <a:prstGeom prst="rect">
            <a:avLst/>
          </a:prstGeom>
          <a:solidFill>
            <a:schemeClr val="bg1">
              <a:lumMod val="95000"/>
            </a:schemeClr>
          </a:solidFill>
        </p:spPr>
        <p:txBody>
          <a:bodyPr wrap="square" lIns="72000" tIns="72000" rIns="72000" bIns="72000" rtlCol="0">
            <a:noAutofit/>
          </a:bodyPr>
          <a:lstStyle/>
          <a:p>
            <a:pPr rtl="0"/>
            <a:endParaRPr lang="lv-LV" sz="1400">
              <a:highlight>
                <a:srgbClr val="FFFF00"/>
              </a:highlight>
            </a:endParaRPr>
          </a:p>
        </p:txBody>
      </p:sp>
      <p:sp>
        <p:nvSpPr>
          <p:cNvPr id="31" name="Content Placeholder 1">
            <a:extLst>
              <a:ext uri="{FF2B5EF4-FFF2-40B4-BE49-F238E27FC236}">
                <a16:creationId xmlns:a16="http://schemas.microsoft.com/office/drawing/2014/main" id="{E2CC0EEE-CAB2-2559-66CC-085D68FA85B6}"/>
              </a:ext>
            </a:extLst>
          </p:cNvPr>
          <p:cNvSpPr txBox="1">
            <a:spLocks/>
          </p:cNvSpPr>
          <p:nvPr/>
        </p:nvSpPr>
        <p:spPr>
          <a:xfrm>
            <a:off x="442914" y="1819275"/>
            <a:ext cx="3529012" cy="576000"/>
          </a:xfrm>
          <a:prstGeom prst="rect">
            <a:avLst/>
          </a:prstGeom>
          <a:solidFill>
            <a:schemeClr val="accent2"/>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400" dirty="0">
                <a:solidFill>
                  <a:schemeClr val="bg1"/>
                </a:solidFill>
              </a:rPr>
              <a:t>Call </a:t>
            </a:r>
            <a:r>
              <a:rPr lang="lv-LV" sz="1400" dirty="0" err="1">
                <a:solidFill>
                  <a:schemeClr val="bg1"/>
                </a:solidFill>
              </a:rPr>
              <a:t>others</a:t>
            </a:r>
            <a:r>
              <a:rPr lang="lv-LV" sz="1400" dirty="0">
                <a:solidFill>
                  <a:schemeClr val="bg1"/>
                </a:solidFill>
              </a:rPr>
              <a:t> </a:t>
            </a:r>
            <a:r>
              <a:rPr lang="en-gb" sz="1400" dirty="0">
                <a:solidFill>
                  <a:schemeClr val="bg1"/>
                </a:solidFill>
              </a:rPr>
              <a:t>for help!</a:t>
            </a:r>
          </a:p>
        </p:txBody>
      </p:sp>
      <p:sp>
        <p:nvSpPr>
          <p:cNvPr id="32" name="Content Placeholder 1">
            <a:extLst>
              <a:ext uri="{FF2B5EF4-FFF2-40B4-BE49-F238E27FC236}">
                <a16:creationId xmlns:a16="http://schemas.microsoft.com/office/drawing/2014/main" id="{6DC923B1-F81E-C41B-D732-20A592FD5A53}"/>
              </a:ext>
            </a:extLst>
          </p:cNvPr>
          <p:cNvSpPr txBox="1">
            <a:spLocks/>
          </p:cNvSpPr>
          <p:nvPr/>
        </p:nvSpPr>
        <p:spPr>
          <a:xfrm>
            <a:off x="4296603" y="1819275"/>
            <a:ext cx="7421563"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400">
                <a:solidFill>
                  <a:schemeClr val="bg1"/>
                </a:solidFill>
              </a:rPr>
              <a:t>Call an ambulance</a:t>
            </a:r>
          </a:p>
        </p:txBody>
      </p:sp>
      <p:sp>
        <p:nvSpPr>
          <p:cNvPr id="33" name="Content Placeholder 1">
            <a:extLst>
              <a:ext uri="{FF2B5EF4-FFF2-40B4-BE49-F238E27FC236}">
                <a16:creationId xmlns:a16="http://schemas.microsoft.com/office/drawing/2014/main" id="{DF43E668-9F50-57B8-04D1-B9499347A2DE}"/>
              </a:ext>
            </a:extLst>
          </p:cNvPr>
          <p:cNvSpPr txBox="1">
            <a:spLocks/>
          </p:cNvSpPr>
          <p:nvPr/>
        </p:nvSpPr>
        <p:spPr>
          <a:xfrm>
            <a:off x="11173088" y="181927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lv-LV" sz="1400">
              <a:solidFill>
                <a:schemeClr val="bg1"/>
              </a:solidFill>
            </a:endParaRPr>
          </a:p>
        </p:txBody>
      </p:sp>
      <p:sp>
        <p:nvSpPr>
          <p:cNvPr id="34" name="Content Placeholder 1">
            <a:extLst>
              <a:ext uri="{FF2B5EF4-FFF2-40B4-BE49-F238E27FC236}">
                <a16:creationId xmlns:a16="http://schemas.microsoft.com/office/drawing/2014/main" id="{66589027-9228-B89D-7E1A-9FECA5F1E1EF}"/>
              </a:ext>
            </a:extLst>
          </p:cNvPr>
          <p:cNvSpPr txBox="1">
            <a:spLocks/>
          </p:cNvSpPr>
          <p:nvPr/>
        </p:nvSpPr>
        <p:spPr>
          <a:xfrm>
            <a:off x="11105135" y="181927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lv-LV" sz="1400">
              <a:solidFill>
                <a:schemeClr val="bg1"/>
              </a:solidFill>
            </a:endParaRPr>
          </a:p>
        </p:txBody>
      </p:sp>
      <p:grpSp>
        <p:nvGrpSpPr>
          <p:cNvPr id="58" name="Group 57">
            <a:extLst>
              <a:ext uri="{FF2B5EF4-FFF2-40B4-BE49-F238E27FC236}">
                <a16:creationId xmlns:a16="http://schemas.microsoft.com/office/drawing/2014/main" id="{873550C4-4981-89FD-8CE8-B835669FAD87}"/>
              </a:ext>
            </a:extLst>
          </p:cNvPr>
          <p:cNvGrpSpPr/>
          <p:nvPr/>
        </p:nvGrpSpPr>
        <p:grpSpPr>
          <a:xfrm>
            <a:off x="3324538" y="1819275"/>
            <a:ext cx="647388" cy="576000"/>
            <a:chOff x="5269224" y="1819275"/>
            <a:chExt cx="647388" cy="576000"/>
          </a:xfrm>
        </p:grpSpPr>
        <p:sp>
          <p:nvSpPr>
            <p:cNvPr id="35" name="Content Placeholder 1">
              <a:extLst>
                <a:ext uri="{FF2B5EF4-FFF2-40B4-BE49-F238E27FC236}">
                  <a16:creationId xmlns:a16="http://schemas.microsoft.com/office/drawing/2014/main" id="{EB5B638A-E0A2-E95A-0C67-6BB415F0EFE3}"/>
                </a:ext>
              </a:extLst>
            </p:cNvPr>
            <p:cNvSpPr txBox="1">
              <a:spLocks/>
            </p:cNvSpPr>
            <p:nvPr/>
          </p:nvSpPr>
          <p:spPr>
            <a:xfrm>
              <a:off x="5340612" y="181927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lv-LV" sz="1400">
                <a:solidFill>
                  <a:schemeClr val="bg1"/>
                </a:solidFill>
              </a:endParaRPr>
            </a:p>
          </p:txBody>
        </p:sp>
        <p:sp>
          <p:nvSpPr>
            <p:cNvPr id="56" name="Content Placeholder 1">
              <a:extLst>
                <a:ext uri="{FF2B5EF4-FFF2-40B4-BE49-F238E27FC236}">
                  <a16:creationId xmlns:a16="http://schemas.microsoft.com/office/drawing/2014/main" id="{AA943CE1-3998-F2FA-5810-5F0CADCF2715}"/>
                </a:ext>
              </a:extLst>
            </p:cNvPr>
            <p:cNvSpPr txBox="1">
              <a:spLocks/>
            </p:cNvSpPr>
            <p:nvPr/>
          </p:nvSpPr>
          <p:spPr>
            <a:xfrm>
              <a:off x="5269224" y="181927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lv-LV" sz="1400">
                <a:solidFill>
                  <a:schemeClr val="bg1"/>
                </a:solidFill>
              </a:endParaRPr>
            </a:p>
          </p:txBody>
        </p:sp>
      </p:grpSp>
      <p:sp>
        <p:nvSpPr>
          <p:cNvPr id="2" name="Title 1">
            <a:extLst>
              <a:ext uri="{FF2B5EF4-FFF2-40B4-BE49-F238E27FC236}">
                <a16:creationId xmlns:a16="http://schemas.microsoft.com/office/drawing/2014/main" id="{EDFBCEAB-7D4A-91D0-E036-AAFACC3ABE8D}"/>
              </a:ext>
            </a:extLst>
          </p:cNvPr>
          <p:cNvSpPr>
            <a:spLocks noGrp="1"/>
          </p:cNvSpPr>
          <p:nvPr>
            <p:ph type="title"/>
          </p:nvPr>
        </p:nvSpPr>
        <p:spPr/>
        <p:txBody>
          <a:bodyPr vert="horz" rtlCol="0"/>
          <a:lstStyle/>
          <a:p>
            <a:pPr rtl="0"/>
            <a:r>
              <a:rPr lang="en-gb"/>
              <a:t>How to call for help?</a:t>
            </a:r>
          </a:p>
        </p:txBody>
      </p:sp>
      <p:sp>
        <p:nvSpPr>
          <p:cNvPr id="4" name="Slide Number Placeholder 3">
            <a:extLst>
              <a:ext uri="{FF2B5EF4-FFF2-40B4-BE49-F238E27FC236}">
                <a16:creationId xmlns:a16="http://schemas.microsoft.com/office/drawing/2014/main" id="{A6320228-D809-6F87-2500-99BCB217E23A}"/>
              </a:ext>
            </a:extLst>
          </p:cNvPr>
          <p:cNvSpPr>
            <a:spLocks noGrp="1"/>
          </p:cNvSpPr>
          <p:nvPr>
            <p:ph type="sldNum" sz="quarter" idx="11"/>
          </p:nvPr>
        </p:nvSpPr>
        <p:spPr/>
        <p:txBody>
          <a:bodyPr rtlCol="0"/>
          <a:lstStyle/>
          <a:p>
            <a:pPr rtl="0"/>
            <a:fld id="{7870704B-CE94-48CC-AF30-84932A1262A7}" type="slidenum">
              <a:rPr lang="lv-LV" smtClean="0"/>
              <a:pPr rtl="0"/>
              <a:t>12</a:t>
            </a:fld>
            <a:endParaRPr lang="lv-LV"/>
          </a:p>
        </p:txBody>
      </p:sp>
      <p:sp>
        <p:nvSpPr>
          <p:cNvPr id="22" name="TextBox 21">
            <a:extLst>
              <a:ext uri="{FF2B5EF4-FFF2-40B4-BE49-F238E27FC236}">
                <a16:creationId xmlns:a16="http://schemas.microsoft.com/office/drawing/2014/main" id="{FD456066-D6DB-ED05-F1F7-BFB8E89B2676}"/>
              </a:ext>
            </a:extLst>
          </p:cNvPr>
          <p:cNvSpPr txBox="1"/>
          <p:nvPr/>
        </p:nvSpPr>
        <p:spPr>
          <a:xfrm>
            <a:off x="2055951" y="5038726"/>
            <a:ext cx="9693138" cy="1134056"/>
          </a:xfrm>
          <a:prstGeom prst="rect">
            <a:avLst/>
          </a:prstGeom>
          <a:solidFill>
            <a:schemeClr val="accent6"/>
          </a:solidFill>
        </p:spPr>
        <p:txBody>
          <a:bodyPr wrap="square" lIns="72000" tIns="72000" rIns="72000" bIns="72000" rtlCol="0" anchor="ctr">
            <a:noAutofit/>
          </a:bodyPr>
          <a:lstStyle/>
          <a:p>
            <a:pPr marL="284400" lvl="0" indent="-284400" rtl="0" hangingPunct="0">
              <a:spcAft>
                <a:spcPts val="600"/>
              </a:spcAft>
              <a:buBlip>
                <a:blip r:embed="rId6"/>
              </a:buBlip>
            </a:pPr>
            <a:r>
              <a:rPr lang="en-gb" sz="1400" dirty="0">
                <a:effectLst/>
                <a:ea typeface="Calibri" panose="020F0502020204030204" pitchFamily="34" charset="0"/>
                <a:cs typeface="Times New Roman" panose="02020603050405020304" pitchFamily="18" charset="0"/>
              </a:rPr>
              <a:t>Do not terminate the call before the dispatcher has done so</a:t>
            </a:r>
          </a:p>
          <a:p>
            <a:pPr marL="284400" lvl="0" indent="-284400" rtl="0" hangingPunct="0">
              <a:spcAft>
                <a:spcPts val="600"/>
              </a:spcAft>
              <a:buBlip>
                <a:blip r:embed="rId6"/>
              </a:buBlip>
            </a:pPr>
            <a:r>
              <a:rPr lang="en-gb" sz="1400" dirty="0">
                <a:effectLst/>
                <a:ea typeface="Calibri" panose="020F0502020204030204" pitchFamily="34" charset="0"/>
                <a:cs typeface="Times New Roman" panose="02020603050405020304" pitchFamily="18" charset="0"/>
              </a:rPr>
              <a:t>Answer the dispatcher's questions, listen to advice</a:t>
            </a:r>
          </a:p>
          <a:p>
            <a:pPr marL="284400" lvl="0" indent="-284400" rtl="0" hangingPunct="0">
              <a:spcAft>
                <a:spcPts val="600"/>
              </a:spcAft>
              <a:buBlip>
                <a:blip r:embed="rId6"/>
              </a:buBlip>
            </a:pPr>
            <a:r>
              <a:rPr lang="en-gb" sz="1400" dirty="0">
                <a:effectLst/>
                <a:ea typeface="Calibri" panose="020F0502020204030204" pitchFamily="34" charset="0"/>
                <a:cs typeface="Times New Roman" panose="02020603050405020304" pitchFamily="18" charset="0"/>
              </a:rPr>
              <a:t>Provide assistance until the arrival of an ambulance</a:t>
            </a:r>
          </a:p>
        </p:txBody>
      </p:sp>
      <p:grpSp>
        <p:nvGrpSpPr>
          <p:cNvPr id="25" name="Group 24">
            <a:extLst>
              <a:ext uri="{FF2B5EF4-FFF2-40B4-BE49-F238E27FC236}">
                <a16:creationId xmlns:a16="http://schemas.microsoft.com/office/drawing/2014/main" id="{BACE7719-6924-A295-8F4C-2DE5F6D26049}"/>
              </a:ext>
            </a:extLst>
          </p:cNvPr>
          <p:cNvGrpSpPr/>
          <p:nvPr/>
        </p:nvGrpSpPr>
        <p:grpSpPr>
          <a:xfrm>
            <a:off x="7902708" y="432000"/>
            <a:ext cx="3846380" cy="360000"/>
            <a:chOff x="7902708" y="432000"/>
            <a:chExt cx="3846380" cy="360000"/>
          </a:xfrm>
        </p:grpSpPr>
        <p:sp>
          <p:nvSpPr>
            <p:cNvPr id="26" name="TextBox 25">
              <a:extLst>
                <a:ext uri="{FF2B5EF4-FFF2-40B4-BE49-F238E27FC236}">
                  <a16:creationId xmlns:a16="http://schemas.microsoft.com/office/drawing/2014/main" id="{CA90F111-E668-30BE-440B-5CC38462EB08}"/>
                </a:ext>
              </a:extLst>
            </p:cNvPr>
            <p:cNvSpPr txBox="1"/>
            <p:nvPr/>
          </p:nvSpPr>
          <p:spPr>
            <a:xfrm>
              <a:off x="7902708" y="432000"/>
              <a:ext cx="1055778" cy="360000"/>
            </a:xfrm>
            <a:prstGeom prst="rect">
              <a:avLst/>
            </a:prstGeom>
            <a:solidFill>
              <a:schemeClr val="accent6"/>
            </a:solidFill>
            <a:ln w="28575">
              <a:noFill/>
            </a:ln>
          </p:spPr>
          <p:txBody>
            <a:bodyPr wrap="square" lIns="72000" tIns="72000" rIns="72000" bIns="72000" rtlCol="0" anchor="ctr">
              <a:noAutofit/>
            </a:bodyPr>
            <a:lstStyle/>
            <a:p>
              <a:pPr algn="ctr" rtl="0">
                <a:lnSpc>
                  <a:spcPct val="100000"/>
                </a:lnSpc>
                <a:buSzPct val="100000"/>
              </a:pPr>
              <a:r>
                <a:rPr lang="en-gb" sz="1100">
                  <a:solidFill>
                    <a:schemeClr val="accent3"/>
                  </a:solidFill>
                  <a:effectLst/>
                  <a:ea typeface="Calibri" panose="020F0502020204030204" pitchFamily="34" charset="0"/>
                  <a:cs typeface="Times New Roman" panose="02020603050405020304" pitchFamily="18" charset="0"/>
                </a:rPr>
                <a:t>Immediate measures</a:t>
              </a:r>
              <a:endParaRPr lang="lv-LV" sz="1100">
                <a:solidFill>
                  <a:schemeClr val="accent3"/>
                </a:solidFill>
              </a:endParaRPr>
            </a:p>
          </p:txBody>
        </p:sp>
        <p:sp>
          <p:nvSpPr>
            <p:cNvPr id="27" name="TextBox 26">
              <a:extLst>
                <a:ext uri="{FF2B5EF4-FFF2-40B4-BE49-F238E27FC236}">
                  <a16:creationId xmlns:a16="http://schemas.microsoft.com/office/drawing/2014/main" id="{172E5147-E792-A60A-3E58-BBA21B93A3CD}"/>
                </a:ext>
              </a:extLst>
            </p:cNvPr>
            <p:cNvSpPr txBox="1"/>
            <p:nvPr/>
          </p:nvSpPr>
          <p:spPr>
            <a:xfrm>
              <a:off x="9298009" y="432000"/>
              <a:ext cx="1055778" cy="360000"/>
            </a:xfrm>
            <a:prstGeom prst="rect">
              <a:avLst/>
            </a:prstGeom>
            <a:solidFill>
              <a:schemeClr val="accent3"/>
            </a:solidFill>
            <a:ln w="28575">
              <a:noFill/>
            </a:ln>
          </p:spPr>
          <p:txBody>
            <a:bodyPr wrap="square" lIns="72000" tIns="72000" rIns="72000" bIns="72000" rtlCol="0" anchor="ctr">
              <a:noAutofit/>
            </a:bodyPr>
            <a:lstStyle/>
            <a:p>
              <a:pPr algn="ctr" rtl="0">
                <a:lnSpc>
                  <a:spcPct val="100000"/>
                </a:lnSpc>
                <a:buSzPct val="100000"/>
              </a:pPr>
              <a:r>
                <a:rPr lang="en-gb" sz="1100" b="1">
                  <a:solidFill>
                    <a:schemeClr val="bg1"/>
                  </a:solidFill>
                  <a:effectLst/>
                  <a:ea typeface="Calibri" panose="020F0502020204030204" pitchFamily="34" charset="0"/>
                  <a:cs typeface="Times New Roman" panose="02020603050405020304" pitchFamily="18" charset="0"/>
                </a:rPr>
                <a:t>Calling for help</a:t>
              </a:r>
              <a:endParaRPr lang="lv-LV" sz="1100" b="1">
                <a:solidFill>
                  <a:schemeClr val="bg1"/>
                </a:solidFill>
              </a:endParaRPr>
            </a:p>
          </p:txBody>
        </p:sp>
        <p:sp>
          <p:nvSpPr>
            <p:cNvPr id="28" name="TextBox 27">
              <a:extLst>
                <a:ext uri="{FF2B5EF4-FFF2-40B4-BE49-F238E27FC236}">
                  <a16:creationId xmlns:a16="http://schemas.microsoft.com/office/drawing/2014/main" id="{113D09D0-B233-D26A-50AA-AAC45C1DB393}"/>
                </a:ext>
              </a:extLst>
            </p:cNvPr>
            <p:cNvSpPr txBox="1"/>
            <p:nvPr/>
          </p:nvSpPr>
          <p:spPr>
            <a:xfrm>
              <a:off x="10693310" y="432000"/>
              <a:ext cx="1055778" cy="360000"/>
            </a:xfrm>
            <a:prstGeom prst="rect">
              <a:avLst/>
            </a:prstGeom>
            <a:solidFill>
              <a:schemeClr val="accent6"/>
            </a:solidFill>
            <a:ln w="28575">
              <a:noFill/>
            </a:ln>
          </p:spPr>
          <p:txBody>
            <a:bodyPr wrap="square" lIns="72000" tIns="72000" rIns="72000" bIns="72000" rtlCol="0" anchor="ctr">
              <a:noAutofit/>
            </a:bodyPr>
            <a:lstStyle/>
            <a:p>
              <a:pPr algn="ctr" rtl="0">
                <a:lnSpc>
                  <a:spcPct val="100000"/>
                </a:lnSpc>
                <a:buSzPct val="100000"/>
              </a:pPr>
              <a:r>
                <a:rPr lang="en-gb" sz="1100">
                  <a:solidFill>
                    <a:schemeClr val="accent3"/>
                  </a:solidFill>
                  <a:effectLst/>
                  <a:ea typeface="Calibri" panose="020F0502020204030204" pitchFamily="34" charset="0"/>
                  <a:cs typeface="Times New Roman" panose="02020603050405020304" pitchFamily="18" charset="0"/>
                </a:rPr>
                <a:t>Victim </a:t>
              </a:r>
            </a:p>
            <a:p>
              <a:pPr algn="ctr" rtl="0">
                <a:lnSpc>
                  <a:spcPct val="100000"/>
                </a:lnSpc>
                <a:buSzPct val="100000"/>
              </a:pPr>
              <a:r>
                <a:rPr lang="en-gb" sz="1100">
                  <a:solidFill>
                    <a:schemeClr val="accent3"/>
                  </a:solidFill>
                  <a:effectLst/>
                  <a:ea typeface="Calibri" panose="020F0502020204030204" pitchFamily="34" charset="0"/>
                  <a:cs typeface="Times New Roman" panose="02020603050405020304" pitchFamily="18" charset="0"/>
                </a:rPr>
                <a:t>Care</a:t>
              </a:r>
              <a:endParaRPr lang="lv-LV" sz="1100">
                <a:solidFill>
                  <a:schemeClr val="accent3"/>
                </a:solidFill>
              </a:endParaRPr>
            </a:p>
          </p:txBody>
        </p:sp>
        <p:sp>
          <p:nvSpPr>
            <p:cNvPr id="29" name="Arrow: Right 28">
              <a:extLst>
                <a:ext uri="{FF2B5EF4-FFF2-40B4-BE49-F238E27FC236}">
                  <a16:creationId xmlns:a16="http://schemas.microsoft.com/office/drawing/2014/main" id="{42AFA3F6-67B6-DCB6-69E0-4FEA827E9A7D}"/>
                </a:ext>
              </a:extLst>
            </p:cNvPr>
            <p:cNvSpPr/>
            <p:nvPr/>
          </p:nvSpPr>
          <p:spPr>
            <a:xfrm>
              <a:off x="9029367" y="504000"/>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30" name="Arrow: Right 29">
              <a:extLst>
                <a:ext uri="{FF2B5EF4-FFF2-40B4-BE49-F238E27FC236}">
                  <a16:creationId xmlns:a16="http://schemas.microsoft.com/office/drawing/2014/main" id="{062CCA3E-954F-6862-9874-A90D093D0984}"/>
                </a:ext>
              </a:extLst>
            </p:cNvPr>
            <p:cNvSpPr/>
            <p:nvPr/>
          </p:nvSpPr>
          <p:spPr>
            <a:xfrm>
              <a:off x="10424668" y="504000"/>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grpSp>
      <p:sp>
        <p:nvSpPr>
          <p:cNvPr id="59" name="TextBox 58">
            <a:extLst>
              <a:ext uri="{FF2B5EF4-FFF2-40B4-BE49-F238E27FC236}">
                <a16:creationId xmlns:a16="http://schemas.microsoft.com/office/drawing/2014/main" id="{34CAA65D-F32B-4FFB-DA56-9F4BF785AA35}"/>
              </a:ext>
            </a:extLst>
          </p:cNvPr>
          <p:cNvSpPr txBox="1"/>
          <p:nvPr/>
        </p:nvSpPr>
        <p:spPr>
          <a:xfrm>
            <a:off x="442912" y="2543970"/>
            <a:ext cx="3529013" cy="2175297"/>
          </a:xfrm>
          <a:prstGeom prst="rect">
            <a:avLst/>
          </a:prstGeom>
          <a:solidFill>
            <a:schemeClr val="bg1">
              <a:lumMod val="95000"/>
            </a:schemeClr>
          </a:solidFill>
        </p:spPr>
        <p:txBody>
          <a:bodyPr wrap="square" lIns="72000" tIns="72000" rIns="72000" bIns="72000" rtlCol="0">
            <a:noAutofit/>
          </a:bodyPr>
          <a:lstStyle/>
          <a:p>
            <a:pPr rtl="0"/>
            <a:r>
              <a:rPr lang="en-gb" sz="1400"/>
              <a:t>If you can help, ask someone else to call an ambulance</a:t>
            </a:r>
          </a:p>
        </p:txBody>
      </p:sp>
      <p:sp>
        <p:nvSpPr>
          <p:cNvPr id="66" name="TextBox 65">
            <a:extLst>
              <a:ext uri="{FF2B5EF4-FFF2-40B4-BE49-F238E27FC236}">
                <a16:creationId xmlns:a16="http://schemas.microsoft.com/office/drawing/2014/main" id="{CD026E74-0314-F99D-587A-EA39147E7DB9}"/>
              </a:ext>
            </a:extLst>
          </p:cNvPr>
          <p:cNvSpPr txBox="1"/>
          <p:nvPr/>
        </p:nvSpPr>
        <p:spPr>
          <a:xfrm>
            <a:off x="442912" y="5038726"/>
            <a:ext cx="1613038" cy="1134056"/>
          </a:xfrm>
          <a:prstGeom prst="rect">
            <a:avLst/>
          </a:prstGeom>
          <a:solidFill>
            <a:schemeClr val="accent3"/>
          </a:solidFill>
        </p:spPr>
        <p:txBody>
          <a:bodyPr wrap="square" lIns="72000" tIns="72000" rIns="72000" bIns="72000" rtlCol="0" anchor="ctr">
            <a:noAutofit/>
          </a:bodyPr>
          <a:lstStyle/>
          <a:p>
            <a:pPr lvl="0" algn="ctr" rtl="0" hangingPunct="0">
              <a:lnSpc>
                <a:spcPct val="115000"/>
              </a:lnSpc>
            </a:pPr>
            <a:r>
              <a:rPr lang="lv-LV" sz="1400" b="1" dirty="0" err="1">
                <a:solidFill>
                  <a:schemeClr val="bg1"/>
                </a:solidFill>
                <a:effectLst/>
                <a:ea typeface="Calibri" panose="020F0502020204030204" pitchFamily="34" charset="0"/>
                <a:cs typeface="Times New Roman" panose="02020603050405020304" pitchFamily="18" charset="0"/>
              </a:rPr>
              <a:t>Take</a:t>
            </a:r>
            <a:r>
              <a:rPr lang="lv-LV" sz="1400" b="1" dirty="0">
                <a:solidFill>
                  <a:schemeClr val="bg1"/>
                </a:solidFill>
                <a:effectLst/>
                <a:ea typeface="Calibri" panose="020F0502020204030204" pitchFamily="34" charset="0"/>
                <a:cs typeface="Times New Roman" panose="02020603050405020304" pitchFamily="18" charset="0"/>
              </a:rPr>
              <a:t> </a:t>
            </a:r>
            <a:r>
              <a:rPr lang="lv-LV" sz="1400" b="1" dirty="0" err="1">
                <a:solidFill>
                  <a:schemeClr val="bg1"/>
                </a:solidFill>
                <a:effectLst/>
                <a:ea typeface="Calibri" panose="020F0502020204030204" pitchFamily="34" charset="0"/>
                <a:cs typeface="Times New Roman" panose="02020603050405020304" pitchFamily="18" charset="0"/>
              </a:rPr>
              <a:t>notice</a:t>
            </a:r>
            <a:r>
              <a:rPr lang="en-gb" sz="1400" b="1" dirty="0">
                <a:solidFill>
                  <a:schemeClr val="bg1"/>
                </a:solidFill>
                <a:effectLst/>
                <a:ea typeface="Calibri" panose="020F0502020204030204" pitchFamily="34" charset="0"/>
                <a:cs typeface="Times New Roman" panose="02020603050405020304" pitchFamily="18" charset="0"/>
              </a:rPr>
              <a:t>!</a:t>
            </a:r>
          </a:p>
        </p:txBody>
      </p:sp>
      <p:sp>
        <p:nvSpPr>
          <p:cNvPr id="3" name="Content Placeholder 2">
            <a:extLst>
              <a:ext uri="{FF2B5EF4-FFF2-40B4-BE49-F238E27FC236}">
                <a16:creationId xmlns:a16="http://schemas.microsoft.com/office/drawing/2014/main" id="{4C152C15-BC58-532B-E67E-FFA20C37B22F}"/>
              </a:ext>
            </a:extLst>
          </p:cNvPr>
          <p:cNvSpPr txBox="1">
            <a:spLocks/>
          </p:cNvSpPr>
          <p:nvPr/>
        </p:nvSpPr>
        <p:spPr>
          <a:xfrm>
            <a:off x="4332287" y="2543970"/>
            <a:ext cx="3529013" cy="288147"/>
          </a:xfrm>
          <a:prstGeom prst="rect">
            <a:avLst/>
          </a:prstGeom>
          <a:noFill/>
        </p:spPr>
        <p:txBody>
          <a:bodyPr vert="horz" lIns="72000" tIns="72000" rIns="0" bIns="0" rtlCol="0" anchor="t">
            <a:sp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400">
                <a:solidFill>
                  <a:schemeClr val="accent2"/>
                </a:solidFill>
              </a:rPr>
              <a:t>Call using:</a:t>
            </a:r>
          </a:p>
        </p:txBody>
      </p:sp>
      <p:sp>
        <p:nvSpPr>
          <p:cNvPr id="5" name="Content Placeholder 2">
            <a:extLst>
              <a:ext uri="{FF2B5EF4-FFF2-40B4-BE49-F238E27FC236}">
                <a16:creationId xmlns:a16="http://schemas.microsoft.com/office/drawing/2014/main" id="{945044BE-2322-FDB2-86F2-2ACD1D763423}"/>
              </a:ext>
            </a:extLst>
          </p:cNvPr>
          <p:cNvSpPr txBox="1">
            <a:spLocks/>
          </p:cNvSpPr>
          <p:nvPr/>
        </p:nvSpPr>
        <p:spPr>
          <a:xfrm>
            <a:off x="8218488" y="2543970"/>
            <a:ext cx="3529448" cy="288147"/>
          </a:xfrm>
          <a:prstGeom prst="rect">
            <a:avLst/>
          </a:prstGeom>
          <a:noFill/>
        </p:spPr>
        <p:txBody>
          <a:bodyPr vert="horz" lIns="72000" tIns="72000" rIns="0" bIns="0" rtlCol="0" anchor="t">
            <a:sp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400">
                <a:solidFill>
                  <a:schemeClr val="accent2"/>
                </a:solidFill>
              </a:rPr>
              <a:t>Report:</a:t>
            </a:r>
          </a:p>
        </p:txBody>
      </p:sp>
      <p:grpSp>
        <p:nvGrpSpPr>
          <p:cNvPr id="112" name="Group 111">
            <a:extLst>
              <a:ext uri="{FF2B5EF4-FFF2-40B4-BE49-F238E27FC236}">
                <a16:creationId xmlns:a16="http://schemas.microsoft.com/office/drawing/2014/main" id="{2DF38961-65A0-3CF0-F0C0-71EBA3C91784}"/>
              </a:ext>
            </a:extLst>
          </p:cNvPr>
          <p:cNvGrpSpPr/>
          <p:nvPr/>
        </p:nvGrpSpPr>
        <p:grpSpPr>
          <a:xfrm>
            <a:off x="8394935" y="2870960"/>
            <a:ext cx="3178722" cy="1731288"/>
            <a:chOff x="4527026" y="2931248"/>
            <a:chExt cx="3178722" cy="1731288"/>
          </a:xfrm>
        </p:grpSpPr>
        <p:grpSp>
          <p:nvGrpSpPr>
            <p:cNvPr id="113" name="Group 112">
              <a:extLst>
                <a:ext uri="{FF2B5EF4-FFF2-40B4-BE49-F238E27FC236}">
                  <a16:creationId xmlns:a16="http://schemas.microsoft.com/office/drawing/2014/main" id="{6F62761F-867A-573C-2EB7-18864D381AC8}"/>
                </a:ext>
              </a:extLst>
            </p:cNvPr>
            <p:cNvGrpSpPr/>
            <p:nvPr/>
          </p:nvGrpSpPr>
          <p:grpSpPr>
            <a:xfrm>
              <a:off x="4527026" y="2958923"/>
              <a:ext cx="1359482" cy="1304130"/>
              <a:chOff x="4450283" y="2958923"/>
              <a:chExt cx="1359482" cy="1304130"/>
            </a:xfrm>
            <a:solidFill>
              <a:schemeClr val="accent3"/>
            </a:solidFill>
          </p:grpSpPr>
          <p:sp>
            <p:nvSpPr>
              <p:cNvPr id="120" name="Freeform: Shape 119">
                <a:extLst>
                  <a:ext uri="{FF2B5EF4-FFF2-40B4-BE49-F238E27FC236}">
                    <a16:creationId xmlns:a16="http://schemas.microsoft.com/office/drawing/2014/main" id="{2C4ECBDD-D380-C0CD-F655-304F17E419DE}"/>
                  </a:ext>
                </a:extLst>
              </p:cNvPr>
              <p:cNvSpPr/>
              <p:nvPr/>
            </p:nvSpPr>
            <p:spPr>
              <a:xfrm>
                <a:off x="4450283" y="2958923"/>
                <a:ext cx="1281715" cy="1304130"/>
              </a:xfrm>
              <a:custGeom>
                <a:avLst/>
                <a:gdLst>
                  <a:gd name="connsiteX0" fmla="*/ 1272439 w 1281715"/>
                  <a:gd name="connsiteY0" fmla="*/ 461235 h 1304130"/>
                  <a:gd name="connsiteX1" fmla="*/ 1281715 w 1281715"/>
                  <a:gd name="connsiteY1" fmla="*/ 491120 h 1304130"/>
                  <a:gd name="connsiteX2" fmla="*/ 1200156 w 1281715"/>
                  <a:gd name="connsiteY2" fmla="*/ 539344 h 1304130"/>
                  <a:gd name="connsiteX3" fmla="*/ 1200153 w 1281715"/>
                  <a:gd name="connsiteY3" fmla="*/ 539316 h 1304130"/>
                  <a:gd name="connsiteX4" fmla="*/ 1193052 w 1281715"/>
                  <a:gd name="connsiteY4" fmla="*/ 516438 h 1304130"/>
                  <a:gd name="connsiteX5" fmla="*/ 1235963 w 1281715"/>
                  <a:gd name="connsiteY5" fmla="*/ 481033 h 1304130"/>
                  <a:gd name="connsiteX6" fmla="*/ 652065 w 1281715"/>
                  <a:gd name="connsiteY6" fmla="*/ 0 h 1304130"/>
                  <a:gd name="connsiteX7" fmla="*/ 1252888 w 1281715"/>
                  <a:gd name="connsiteY7" fmla="*/ 398252 h 1304130"/>
                  <a:gd name="connsiteX8" fmla="*/ 1272439 w 1281715"/>
                  <a:gd name="connsiteY8" fmla="*/ 461234 h 1304130"/>
                  <a:gd name="connsiteX9" fmla="*/ 1235963 w 1281715"/>
                  <a:gd name="connsiteY9" fmla="*/ 481032 h 1304130"/>
                  <a:gd name="connsiteX10" fmla="*/ 1193052 w 1281715"/>
                  <a:gd name="connsiteY10" fmla="*/ 516437 h 1304130"/>
                  <a:gd name="connsiteX11" fmla="*/ 1167554 w 1281715"/>
                  <a:gd name="connsiteY11" fmla="*/ 434300 h 1304130"/>
                  <a:gd name="connsiteX12" fmla="*/ 652065 w 1281715"/>
                  <a:gd name="connsiteY12" fmla="*/ 92611 h 1304130"/>
                  <a:gd name="connsiteX13" fmla="*/ 92611 w 1281715"/>
                  <a:gd name="connsiteY13" fmla="*/ 652065 h 1304130"/>
                  <a:gd name="connsiteX14" fmla="*/ 652065 w 1281715"/>
                  <a:gd name="connsiteY14" fmla="*/ 1211519 h 1304130"/>
                  <a:gd name="connsiteX15" fmla="*/ 869830 w 1281715"/>
                  <a:gd name="connsiteY15" fmla="*/ 1167554 h 1304130"/>
                  <a:gd name="connsiteX16" fmla="*/ 940452 w 1281715"/>
                  <a:gd name="connsiteY16" fmla="*/ 1129222 h 1304130"/>
                  <a:gd name="connsiteX17" fmla="*/ 946600 w 1281715"/>
                  <a:gd name="connsiteY17" fmla="*/ 1190207 h 1304130"/>
                  <a:gd name="connsiteX18" fmla="*/ 957380 w 1281715"/>
                  <a:gd name="connsiteY18" fmla="*/ 1224933 h 1304130"/>
                  <a:gd name="connsiteX19" fmla="*/ 905878 w 1281715"/>
                  <a:gd name="connsiteY19" fmla="*/ 1252887 h 1304130"/>
                  <a:gd name="connsiteX20" fmla="*/ 652065 w 1281715"/>
                  <a:gd name="connsiteY20" fmla="*/ 1304130 h 1304130"/>
                  <a:gd name="connsiteX21" fmla="*/ 0 w 1281715"/>
                  <a:gd name="connsiteY21" fmla="*/ 652065 h 1304130"/>
                  <a:gd name="connsiteX22" fmla="*/ 652065 w 1281715"/>
                  <a:gd name="connsiteY22" fmla="*/ 0 h 1304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1715" h="1304130">
                    <a:moveTo>
                      <a:pt x="1272439" y="461235"/>
                    </a:moveTo>
                    <a:lnTo>
                      <a:pt x="1281715" y="491120"/>
                    </a:lnTo>
                    <a:lnTo>
                      <a:pt x="1200156" y="539344"/>
                    </a:lnTo>
                    <a:lnTo>
                      <a:pt x="1200153" y="539316"/>
                    </a:lnTo>
                    <a:lnTo>
                      <a:pt x="1193052" y="516438"/>
                    </a:lnTo>
                    <a:lnTo>
                      <a:pt x="1235963" y="481033"/>
                    </a:lnTo>
                    <a:close/>
                    <a:moveTo>
                      <a:pt x="652065" y="0"/>
                    </a:moveTo>
                    <a:cubicBezTo>
                      <a:pt x="922159" y="0"/>
                      <a:pt x="1153899" y="164216"/>
                      <a:pt x="1252888" y="398252"/>
                    </a:cubicBezTo>
                    <a:lnTo>
                      <a:pt x="1272439" y="461234"/>
                    </a:lnTo>
                    <a:lnTo>
                      <a:pt x="1235963" y="481032"/>
                    </a:lnTo>
                    <a:lnTo>
                      <a:pt x="1193052" y="516437"/>
                    </a:lnTo>
                    <a:lnTo>
                      <a:pt x="1167554" y="434300"/>
                    </a:lnTo>
                    <a:cubicBezTo>
                      <a:pt x="1082625" y="233504"/>
                      <a:pt x="883798" y="92611"/>
                      <a:pt x="652065" y="92611"/>
                    </a:cubicBezTo>
                    <a:cubicBezTo>
                      <a:pt x="343087" y="92611"/>
                      <a:pt x="92611" y="343087"/>
                      <a:pt x="92611" y="652065"/>
                    </a:cubicBezTo>
                    <a:cubicBezTo>
                      <a:pt x="92611" y="961043"/>
                      <a:pt x="343087" y="1211519"/>
                      <a:pt x="652065" y="1211519"/>
                    </a:cubicBezTo>
                    <a:cubicBezTo>
                      <a:pt x="729309" y="1211519"/>
                      <a:pt x="802897" y="1195864"/>
                      <a:pt x="869830" y="1167554"/>
                    </a:cubicBezTo>
                    <a:lnTo>
                      <a:pt x="940452" y="1129222"/>
                    </a:lnTo>
                    <a:lnTo>
                      <a:pt x="946600" y="1190207"/>
                    </a:lnTo>
                    <a:lnTo>
                      <a:pt x="957380" y="1224933"/>
                    </a:lnTo>
                    <a:lnTo>
                      <a:pt x="905878" y="1252887"/>
                    </a:lnTo>
                    <a:cubicBezTo>
                      <a:pt x="827866" y="1285884"/>
                      <a:pt x="742096" y="1304130"/>
                      <a:pt x="652065" y="1304130"/>
                    </a:cubicBezTo>
                    <a:cubicBezTo>
                      <a:pt x="291940" y="1304130"/>
                      <a:pt x="0" y="1012190"/>
                      <a:pt x="0" y="652065"/>
                    </a:cubicBezTo>
                    <a:cubicBezTo>
                      <a:pt x="0" y="291940"/>
                      <a:pt x="291940" y="0"/>
                      <a:pt x="652065" y="0"/>
                    </a:cubicBezTo>
                    <a:close/>
                  </a:path>
                </a:pathLst>
              </a:custGeom>
              <a:grp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rtl="0">
                  <a:lnSpc>
                    <a:spcPct val="100000"/>
                  </a:lnSpc>
                </a:pPr>
                <a:endParaRPr lang="lv-LV" sz="1600"/>
              </a:p>
            </p:txBody>
          </p:sp>
          <p:sp>
            <p:nvSpPr>
              <p:cNvPr id="121" name="Isosceles Triangle 120">
                <a:extLst>
                  <a:ext uri="{FF2B5EF4-FFF2-40B4-BE49-F238E27FC236}">
                    <a16:creationId xmlns:a16="http://schemas.microsoft.com/office/drawing/2014/main" id="{A4B6CF2E-FE3D-0F3A-53AB-081EC1E80CDB}"/>
                  </a:ext>
                </a:extLst>
              </p:cNvPr>
              <p:cNvSpPr/>
              <p:nvPr/>
            </p:nvSpPr>
            <p:spPr>
              <a:xfrm rot="9056281">
                <a:off x="5618090" y="3466237"/>
                <a:ext cx="191675" cy="104106"/>
              </a:xfrm>
              <a:prstGeom prst="triangle">
                <a:avLst/>
              </a:prstGeom>
              <a:grp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grpSp>
        <p:grpSp>
          <p:nvGrpSpPr>
            <p:cNvPr id="114" name="Group 113">
              <a:extLst>
                <a:ext uri="{FF2B5EF4-FFF2-40B4-BE49-F238E27FC236}">
                  <a16:creationId xmlns:a16="http://schemas.microsoft.com/office/drawing/2014/main" id="{01725567-AA3F-4814-C353-07E52F0A22D0}"/>
                </a:ext>
              </a:extLst>
            </p:cNvPr>
            <p:cNvGrpSpPr/>
            <p:nvPr/>
          </p:nvGrpSpPr>
          <p:grpSpPr>
            <a:xfrm rot="5400000" flipH="1">
              <a:off x="5391181" y="3330730"/>
              <a:ext cx="1359482" cy="1304130"/>
              <a:chOff x="4450283" y="2958923"/>
              <a:chExt cx="1359482" cy="1304130"/>
            </a:xfrm>
            <a:solidFill>
              <a:schemeClr val="accent3"/>
            </a:solidFill>
          </p:grpSpPr>
          <p:sp>
            <p:nvSpPr>
              <p:cNvPr id="118" name="Freeform: Shape 117">
                <a:extLst>
                  <a:ext uri="{FF2B5EF4-FFF2-40B4-BE49-F238E27FC236}">
                    <a16:creationId xmlns:a16="http://schemas.microsoft.com/office/drawing/2014/main" id="{F150E54A-CAF6-6CD8-09D4-0805B27146CE}"/>
                  </a:ext>
                </a:extLst>
              </p:cNvPr>
              <p:cNvSpPr/>
              <p:nvPr/>
            </p:nvSpPr>
            <p:spPr>
              <a:xfrm>
                <a:off x="4450283" y="2958923"/>
                <a:ext cx="1281715" cy="1304130"/>
              </a:xfrm>
              <a:custGeom>
                <a:avLst/>
                <a:gdLst>
                  <a:gd name="connsiteX0" fmla="*/ 1272439 w 1281715"/>
                  <a:gd name="connsiteY0" fmla="*/ 461235 h 1304130"/>
                  <a:gd name="connsiteX1" fmla="*/ 1281715 w 1281715"/>
                  <a:gd name="connsiteY1" fmla="*/ 491120 h 1304130"/>
                  <a:gd name="connsiteX2" fmla="*/ 1200156 w 1281715"/>
                  <a:gd name="connsiteY2" fmla="*/ 539344 h 1304130"/>
                  <a:gd name="connsiteX3" fmla="*/ 1200153 w 1281715"/>
                  <a:gd name="connsiteY3" fmla="*/ 539316 h 1304130"/>
                  <a:gd name="connsiteX4" fmla="*/ 1193052 w 1281715"/>
                  <a:gd name="connsiteY4" fmla="*/ 516438 h 1304130"/>
                  <a:gd name="connsiteX5" fmla="*/ 1235963 w 1281715"/>
                  <a:gd name="connsiteY5" fmla="*/ 481033 h 1304130"/>
                  <a:gd name="connsiteX6" fmla="*/ 652065 w 1281715"/>
                  <a:gd name="connsiteY6" fmla="*/ 0 h 1304130"/>
                  <a:gd name="connsiteX7" fmla="*/ 1252888 w 1281715"/>
                  <a:gd name="connsiteY7" fmla="*/ 398252 h 1304130"/>
                  <a:gd name="connsiteX8" fmla="*/ 1272439 w 1281715"/>
                  <a:gd name="connsiteY8" fmla="*/ 461234 h 1304130"/>
                  <a:gd name="connsiteX9" fmla="*/ 1235963 w 1281715"/>
                  <a:gd name="connsiteY9" fmla="*/ 481032 h 1304130"/>
                  <a:gd name="connsiteX10" fmla="*/ 1193052 w 1281715"/>
                  <a:gd name="connsiteY10" fmla="*/ 516437 h 1304130"/>
                  <a:gd name="connsiteX11" fmla="*/ 1167554 w 1281715"/>
                  <a:gd name="connsiteY11" fmla="*/ 434300 h 1304130"/>
                  <a:gd name="connsiteX12" fmla="*/ 652065 w 1281715"/>
                  <a:gd name="connsiteY12" fmla="*/ 92611 h 1304130"/>
                  <a:gd name="connsiteX13" fmla="*/ 92611 w 1281715"/>
                  <a:gd name="connsiteY13" fmla="*/ 652065 h 1304130"/>
                  <a:gd name="connsiteX14" fmla="*/ 652065 w 1281715"/>
                  <a:gd name="connsiteY14" fmla="*/ 1211519 h 1304130"/>
                  <a:gd name="connsiteX15" fmla="*/ 869830 w 1281715"/>
                  <a:gd name="connsiteY15" fmla="*/ 1167554 h 1304130"/>
                  <a:gd name="connsiteX16" fmla="*/ 940452 w 1281715"/>
                  <a:gd name="connsiteY16" fmla="*/ 1129222 h 1304130"/>
                  <a:gd name="connsiteX17" fmla="*/ 946600 w 1281715"/>
                  <a:gd name="connsiteY17" fmla="*/ 1190207 h 1304130"/>
                  <a:gd name="connsiteX18" fmla="*/ 957380 w 1281715"/>
                  <a:gd name="connsiteY18" fmla="*/ 1224933 h 1304130"/>
                  <a:gd name="connsiteX19" fmla="*/ 905878 w 1281715"/>
                  <a:gd name="connsiteY19" fmla="*/ 1252887 h 1304130"/>
                  <a:gd name="connsiteX20" fmla="*/ 652065 w 1281715"/>
                  <a:gd name="connsiteY20" fmla="*/ 1304130 h 1304130"/>
                  <a:gd name="connsiteX21" fmla="*/ 0 w 1281715"/>
                  <a:gd name="connsiteY21" fmla="*/ 652065 h 1304130"/>
                  <a:gd name="connsiteX22" fmla="*/ 652065 w 1281715"/>
                  <a:gd name="connsiteY22" fmla="*/ 0 h 1304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1715" h="1304130">
                    <a:moveTo>
                      <a:pt x="1272439" y="461235"/>
                    </a:moveTo>
                    <a:lnTo>
                      <a:pt x="1281715" y="491120"/>
                    </a:lnTo>
                    <a:lnTo>
                      <a:pt x="1200156" y="539344"/>
                    </a:lnTo>
                    <a:lnTo>
                      <a:pt x="1200153" y="539316"/>
                    </a:lnTo>
                    <a:lnTo>
                      <a:pt x="1193052" y="516438"/>
                    </a:lnTo>
                    <a:lnTo>
                      <a:pt x="1235963" y="481033"/>
                    </a:lnTo>
                    <a:close/>
                    <a:moveTo>
                      <a:pt x="652065" y="0"/>
                    </a:moveTo>
                    <a:cubicBezTo>
                      <a:pt x="922159" y="0"/>
                      <a:pt x="1153899" y="164216"/>
                      <a:pt x="1252888" y="398252"/>
                    </a:cubicBezTo>
                    <a:lnTo>
                      <a:pt x="1272439" y="461234"/>
                    </a:lnTo>
                    <a:lnTo>
                      <a:pt x="1235963" y="481032"/>
                    </a:lnTo>
                    <a:lnTo>
                      <a:pt x="1193052" y="516437"/>
                    </a:lnTo>
                    <a:lnTo>
                      <a:pt x="1167554" y="434300"/>
                    </a:lnTo>
                    <a:cubicBezTo>
                      <a:pt x="1082625" y="233504"/>
                      <a:pt x="883798" y="92611"/>
                      <a:pt x="652065" y="92611"/>
                    </a:cubicBezTo>
                    <a:cubicBezTo>
                      <a:pt x="343087" y="92611"/>
                      <a:pt x="92611" y="343087"/>
                      <a:pt x="92611" y="652065"/>
                    </a:cubicBezTo>
                    <a:cubicBezTo>
                      <a:pt x="92611" y="961043"/>
                      <a:pt x="343087" y="1211519"/>
                      <a:pt x="652065" y="1211519"/>
                    </a:cubicBezTo>
                    <a:cubicBezTo>
                      <a:pt x="729309" y="1211519"/>
                      <a:pt x="802897" y="1195864"/>
                      <a:pt x="869830" y="1167554"/>
                    </a:cubicBezTo>
                    <a:lnTo>
                      <a:pt x="940452" y="1129222"/>
                    </a:lnTo>
                    <a:lnTo>
                      <a:pt x="946600" y="1190207"/>
                    </a:lnTo>
                    <a:lnTo>
                      <a:pt x="957380" y="1224933"/>
                    </a:lnTo>
                    <a:lnTo>
                      <a:pt x="905878" y="1252887"/>
                    </a:lnTo>
                    <a:cubicBezTo>
                      <a:pt x="827866" y="1285884"/>
                      <a:pt x="742096" y="1304130"/>
                      <a:pt x="652065" y="1304130"/>
                    </a:cubicBezTo>
                    <a:cubicBezTo>
                      <a:pt x="291940" y="1304130"/>
                      <a:pt x="0" y="1012190"/>
                      <a:pt x="0" y="652065"/>
                    </a:cubicBezTo>
                    <a:cubicBezTo>
                      <a:pt x="0" y="291940"/>
                      <a:pt x="291940" y="0"/>
                      <a:pt x="652065" y="0"/>
                    </a:cubicBezTo>
                    <a:close/>
                  </a:path>
                </a:pathLst>
              </a:custGeom>
              <a:grp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rtl="0">
                  <a:lnSpc>
                    <a:spcPct val="100000"/>
                  </a:lnSpc>
                </a:pPr>
                <a:endParaRPr lang="lv-LV" sz="1600"/>
              </a:p>
            </p:txBody>
          </p:sp>
          <p:sp>
            <p:nvSpPr>
              <p:cNvPr id="119" name="Isosceles Triangle 118">
                <a:extLst>
                  <a:ext uri="{FF2B5EF4-FFF2-40B4-BE49-F238E27FC236}">
                    <a16:creationId xmlns:a16="http://schemas.microsoft.com/office/drawing/2014/main" id="{5D623F10-DC12-7A6D-BEA5-43C169E2FE3B}"/>
                  </a:ext>
                </a:extLst>
              </p:cNvPr>
              <p:cNvSpPr/>
              <p:nvPr/>
            </p:nvSpPr>
            <p:spPr>
              <a:xfrm rot="9056281">
                <a:off x="5618090" y="3466237"/>
                <a:ext cx="191675" cy="104106"/>
              </a:xfrm>
              <a:prstGeom prst="triangle">
                <a:avLst/>
              </a:prstGeom>
              <a:grp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grpSp>
        <p:grpSp>
          <p:nvGrpSpPr>
            <p:cNvPr id="115" name="Group 114">
              <a:extLst>
                <a:ext uri="{FF2B5EF4-FFF2-40B4-BE49-F238E27FC236}">
                  <a16:creationId xmlns:a16="http://schemas.microsoft.com/office/drawing/2014/main" id="{A65B5391-727D-8218-72D3-212247B17253}"/>
                </a:ext>
              </a:extLst>
            </p:cNvPr>
            <p:cNvGrpSpPr/>
            <p:nvPr/>
          </p:nvGrpSpPr>
          <p:grpSpPr>
            <a:xfrm rot="7200000">
              <a:off x="6373942" y="2958924"/>
              <a:ext cx="1359482" cy="1304130"/>
              <a:chOff x="4450283" y="2958923"/>
              <a:chExt cx="1359482" cy="1304130"/>
            </a:xfrm>
            <a:solidFill>
              <a:schemeClr val="accent3"/>
            </a:solidFill>
          </p:grpSpPr>
          <p:sp>
            <p:nvSpPr>
              <p:cNvPr id="116" name="Freeform: Shape 115">
                <a:extLst>
                  <a:ext uri="{FF2B5EF4-FFF2-40B4-BE49-F238E27FC236}">
                    <a16:creationId xmlns:a16="http://schemas.microsoft.com/office/drawing/2014/main" id="{0911658D-4F8D-7751-7C9D-2BB60E57CA06}"/>
                  </a:ext>
                </a:extLst>
              </p:cNvPr>
              <p:cNvSpPr/>
              <p:nvPr/>
            </p:nvSpPr>
            <p:spPr>
              <a:xfrm>
                <a:off x="4450283" y="2958923"/>
                <a:ext cx="1281715" cy="1304130"/>
              </a:xfrm>
              <a:custGeom>
                <a:avLst/>
                <a:gdLst>
                  <a:gd name="connsiteX0" fmla="*/ 1272439 w 1281715"/>
                  <a:gd name="connsiteY0" fmla="*/ 461235 h 1304130"/>
                  <a:gd name="connsiteX1" fmla="*/ 1281715 w 1281715"/>
                  <a:gd name="connsiteY1" fmla="*/ 491120 h 1304130"/>
                  <a:gd name="connsiteX2" fmla="*/ 1200156 w 1281715"/>
                  <a:gd name="connsiteY2" fmla="*/ 539344 h 1304130"/>
                  <a:gd name="connsiteX3" fmla="*/ 1200153 w 1281715"/>
                  <a:gd name="connsiteY3" fmla="*/ 539316 h 1304130"/>
                  <a:gd name="connsiteX4" fmla="*/ 1193052 w 1281715"/>
                  <a:gd name="connsiteY4" fmla="*/ 516438 h 1304130"/>
                  <a:gd name="connsiteX5" fmla="*/ 1235963 w 1281715"/>
                  <a:gd name="connsiteY5" fmla="*/ 481033 h 1304130"/>
                  <a:gd name="connsiteX6" fmla="*/ 652065 w 1281715"/>
                  <a:gd name="connsiteY6" fmla="*/ 0 h 1304130"/>
                  <a:gd name="connsiteX7" fmla="*/ 1252888 w 1281715"/>
                  <a:gd name="connsiteY7" fmla="*/ 398252 h 1304130"/>
                  <a:gd name="connsiteX8" fmla="*/ 1272439 w 1281715"/>
                  <a:gd name="connsiteY8" fmla="*/ 461234 h 1304130"/>
                  <a:gd name="connsiteX9" fmla="*/ 1235963 w 1281715"/>
                  <a:gd name="connsiteY9" fmla="*/ 481032 h 1304130"/>
                  <a:gd name="connsiteX10" fmla="*/ 1193052 w 1281715"/>
                  <a:gd name="connsiteY10" fmla="*/ 516437 h 1304130"/>
                  <a:gd name="connsiteX11" fmla="*/ 1167554 w 1281715"/>
                  <a:gd name="connsiteY11" fmla="*/ 434300 h 1304130"/>
                  <a:gd name="connsiteX12" fmla="*/ 652065 w 1281715"/>
                  <a:gd name="connsiteY12" fmla="*/ 92611 h 1304130"/>
                  <a:gd name="connsiteX13" fmla="*/ 92611 w 1281715"/>
                  <a:gd name="connsiteY13" fmla="*/ 652065 h 1304130"/>
                  <a:gd name="connsiteX14" fmla="*/ 652065 w 1281715"/>
                  <a:gd name="connsiteY14" fmla="*/ 1211519 h 1304130"/>
                  <a:gd name="connsiteX15" fmla="*/ 869830 w 1281715"/>
                  <a:gd name="connsiteY15" fmla="*/ 1167554 h 1304130"/>
                  <a:gd name="connsiteX16" fmla="*/ 940452 w 1281715"/>
                  <a:gd name="connsiteY16" fmla="*/ 1129222 h 1304130"/>
                  <a:gd name="connsiteX17" fmla="*/ 946600 w 1281715"/>
                  <a:gd name="connsiteY17" fmla="*/ 1190207 h 1304130"/>
                  <a:gd name="connsiteX18" fmla="*/ 957380 w 1281715"/>
                  <a:gd name="connsiteY18" fmla="*/ 1224933 h 1304130"/>
                  <a:gd name="connsiteX19" fmla="*/ 905878 w 1281715"/>
                  <a:gd name="connsiteY19" fmla="*/ 1252887 h 1304130"/>
                  <a:gd name="connsiteX20" fmla="*/ 652065 w 1281715"/>
                  <a:gd name="connsiteY20" fmla="*/ 1304130 h 1304130"/>
                  <a:gd name="connsiteX21" fmla="*/ 0 w 1281715"/>
                  <a:gd name="connsiteY21" fmla="*/ 652065 h 1304130"/>
                  <a:gd name="connsiteX22" fmla="*/ 652065 w 1281715"/>
                  <a:gd name="connsiteY22" fmla="*/ 0 h 1304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1715" h="1304130">
                    <a:moveTo>
                      <a:pt x="1272439" y="461235"/>
                    </a:moveTo>
                    <a:lnTo>
                      <a:pt x="1281715" y="491120"/>
                    </a:lnTo>
                    <a:lnTo>
                      <a:pt x="1200156" y="539344"/>
                    </a:lnTo>
                    <a:lnTo>
                      <a:pt x="1200153" y="539316"/>
                    </a:lnTo>
                    <a:lnTo>
                      <a:pt x="1193052" y="516438"/>
                    </a:lnTo>
                    <a:lnTo>
                      <a:pt x="1235963" y="481033"/>
                    </a:lnTo>
                    <a:close/>
                    <a:moveTo>
                      <a:pt x="652065" y="0"/>
                    </a:moveTo>
                    <a:cubicBezTo>
                      <a:pt x="922159" y="0"/>
                      <a:pt x="1153899" y="164216"/>
                      <a:pt x="1252888" y="398252"/>
                    </a:cubicBezTo>
                    <a:lnTo>
                      <a:pt x="1272439" y="461234"/>
                    </a:lnTo>
                    <a:lnTo>
                      <a:pt x="1235963" y="481032"/>
                    </a:lnTo>
                    <a:lnTo>
                      <a:pt x="1193052" y="516437"/>
                    </a:lnTo>
                    <a:lnTo>
                      <a:pt x="1167554" y="434300"/>
                    </a:lnTo>
                    <a:cubicBezTo>
                      <a:pt x="1082625" y="233504"/>
                      <a:pt x="883798" y="92611"/>
                      <a:pt x="652065" y="92611"/>
                    </a:cubicBezTo>
                    <a:cubicBezTo>
                      <a:pt x="343087" y="92611"/>
                      <a:pt x="92611" y="343087"/>
                      <a:pt x="92611" y="652065"/>
                    </a:cubicBezTo>
                    <a:cubicBezTo>
                      <a:pt x="92611" y="961043"/>
                      <a:pt x="343087" y="1211519"/>
                      <a:pt x="652065" y="1211519"/>
                    </a:cubicBezTo>
                    <a:cubicBezTo>
                      <a:pt x="729309" y="1211519"/>
                      <a:pt x="802897" y="1195864"/>
                      <a:pt x="869830" y="1167554"/>
                    </a:cubicBezTo>
                    <a:lnTo>
                      <a:pt x="940452" y="1129222"/>
                    </a:lnTo>
                    <a:lnTo>
                      <a:pt x="946600" y="1190207"/>
                    </a:lnTo>
                    <a:lnTo>
                      <a:pt x="957380" y="1224933"/>
                    </a:lnTo>
                    <a:lnTo>
                      <a:pt x="905878" y="1252887"/>
                    </a:lnTo>
                    <a:cubicBezTo>
                      <a:pt x="827866" y="1285884"/>
                      <a:pt x="742096" y="1304130"/>
                      <a:pt x="652065" y="1304130"/>
                    </a:cubicBezTo>
                    <a:cubicBezTo>
                      <a:pt x="291940" y="1304130"/>
                      <a:pt x="0" y="1012190"/>
                      <a:pt x="0" y="652065"/>
                    </a:cubicBezTo>
                    <a:cubicBezTo>
                      <a:pt x="0" y="291940"/>
                      <a:pt x="291940" y="0"/>
                      <a:pt x="652065" y="0"/>
                    </a:cubicBezTo>
                    <a:close/>
                  </a:path>
                </a:pathLst>
              </a:custGeom>
              <a:grp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rtl="0">
                  <a:lnSpc>
                    <a:spcPct val="100000"/>
                  </a:lnSpc>
                </a:pPr>
                <a:endParaRPr lang="lv-LV" sz="1600"/>
              </a:p>
            </p:txBody>
          </p:sp>
          <p:sp>
            <p:nvSpPr>
              <p:cNvPr id="117" name="Isosceles Triangle 116">
                <a:extLst>
                  <a:ext uri="{FF2B5EF4-FFF2-40B4-BE49-F238E27FC236}">
                    <a16:creationId xmlns:a16="http://schemas.microsoft.com/office/drawing/2014/main" id="{720C14AF-2E3B-5595-0CE1-AA89F0821800}"/>
                  </a:ext>
                </a:extLst>
              </p:cNvPr>
              <p:cNvSpPr/>
              <p:nvPr/>
            </p:nvSpPr>
            <p:spPr>
              <a:xfrm rot="9056281">
                <a:off x="5618090" y="3466237"/>
                <a:ext cx="191675" cy="104106"/>
              </a:xfrm>
              <a:prstGeom prst="triangle">
                <a:avLst/>
              </a:prstGeom>
              <a:grp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grpSp>
      </p:grpSp>
      <p:sp>
        <p:nvSpPr>
          <p:cNvPr id="122" name="Content Placeholder 2">
            <a:extLst>
              <a:ext uri="{FF2B5EF4-FFF2-40B4-BE49-F238E27FC236}">
                <a16:creationId xmlns:a16="http://schemas.microsoft.com/office/drawing/2014/main" id="{6EC1D153-5C15-3EAE-F858-8A50316E93DD}"/>
              </a:ext>
            </a:extLst>
          </p:cNvPr>
          <p:cNvSpPr txBox="1">
            <a:spLocks/>
          </p:cNvSpPr>
          <p:nvPr/>
        </p:nvSpPr>
        <p:spPr>
          <a:xfrm>
            <a:off x="8513646" y="3308703"/>
            <a:ext cx="871539" cy="227694"/>
          </a:xfrm>
          <a:prstGeom prst="rect">
            <a:avLst/>
          </a:prstGeom>
          <a:noFill/>
        </p:spPr>
        <p:txBody>
          <a:bodyPr vert="horz" lIns="0" tIns="0" rIns="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spcAft>
                <a:spcPts val="0"/>
              </a:spcAft>
            </a:pPr>
            <a:r>
              <a:rPr lang="en-gb" sz="1300" b="0" dirty="0">
                <a:solidFill>
                  <a:schemeClr val="tx1"/>
                </a:solidFill>
              </a:rPr>
              <a:t>Where </a:t>
            </a:r>
          </a:p>
          <a:p>
            <a:pPr algn="ctr" rtl="0">
              <a:spcAft>
                <a:spcPts val="0"/>
              </a:spcAft>
            </a:pPr>
            <a:r>
              <a:rPr lang="en-gb" sz="1300" b="0" dirty="0">
                <a:solidFill>
                  <a:schemeClr val="tx1"/>
                </a:solidFill>
              </a:rPr>
              <a:t>accident happened</a:t>
            </a:r>
          </a:p>
        </p:txBody>
      </p:sp>
      <p:sp>
        <p:nvSpPr>
          <p:cNvPr id="123" name="Content Placeholder 2">
            <a:extLst>
              <a:ext uri="{FF2B5EF4-FFF2-40B4-BE49-F238E27FC236}">
                <a16:creationId xmlns:a16="http://schemas.microsoft.com/office/drawing/2014/main" id="{53FE2AD4-6665-1E07-01D8-F6C62B580128}"/>
              </a:ext>
            </a:extLst>
          </p:cNvPr>
          <p:cNvSpPr txBox="1">
            <a:spLocks/>
          </p:cNvSpPr>
          <p:nvPr/>
        </p:nvSpPr>
        <p:spPr>
          <a:xfrm>
            <a:off x="9525059" y="3791223"/>
            <a:ext cx="829973" cy="340336"/>
          </a:xfrm>
          <a:prstGeom prst="rect">
            <a:avLst/>
          </a:prstGeom>
          <a:noFill/>
        </p:spPr>
        <p:txBody>
          <a:bodyPr vert="horz" lIns="0" tIns="0" rIns="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spcAft>
                <a:spcPts val="0"/>
              </a:spcAft>
            </a:pPr>
            <a:r>
              <a:rPr lang="en-gb" sz="1400" b="0" dirty="0">
                <a:solidFill>
                  <a:schemeClr val="tx1"/>
                </a:solidFill>
              </a:rPr>
              <a:t>What happened</a:t>
            </a:r>
          </a:p>
        </p:txBody>
      </p:sp>
      <p:sp>
        <p:nvSpPr>
          <p:cNvPr id="124" name="Content Placeholder 2">
            <a:extLst>
              <a:ext uri="{FF2B5EF4-FFF2-40B4-BE49-F238E27FC236}">
                <a16:creationId xmlns:a16="http://schemas.microsoft.com/office/drawing/2014/main" id="{11BDF5B2-2755-2424-E4C1-A590DA713569}"/>
              </a:ext>
            </a:extLst>
          </p:cNvPr>
          <p:cNvSpPr txBox="1">
            <a:spLocks/>
          </p:cNvSpPr>
          <p:nvPr/>
        </p:nvSpPr>
        <p:spPr>
          <a:xfrm>
            <a:off x="10426502" y="3284432"/>
            <a:ext cx="1068278" cy="340336"/>
          </a:xfrm>
          <a:prstGeom prst="rect">
            <a:avLst/>
          </a:prstGeom>
          <a:noFill/>
        </p:spPr>
        <p:txBody>
          <a:bodyPr vert="horz" lIns="0" tIns="0" rIns="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spcAft>
                <a:spcPts val="0"/>
              </a:spcAft>
            </a:pPr>
            <a:r>
              <a:rPr lang="en-gb" sz="1400" b="0" dirty="0">
                <a:solidFill>
                  <a:schemeClr val="tx1"/>
                </a:solidFill>
              </a:rPr>
              <a:t>How many </a:t>
            </a:r>
          </a:p>
          <a:p>
            <a:pPr algn="ctr" rtl="0">
              <a:spcAft>
                <a:spcPts val="0"/>
              </a:spcAft>
            </a:pPr>
            <a:r>
              <a:rPr lang="en-gb" sz="1400" b="0" dirty="0">
                <a:solidFill>
                  <a:schemeClr val="tx1"/>
                </a:solidFill>
              </a:rPr>
              <a:t>injured or ill</a:t>
            </a:r>
          </a:p>
        </p:txBody>
      </p:sp>
      <p:sp>
        <p:nvSpPr>
          <p:cNvPr id="125" name="Content Placeholder 2">
            <a:extLst>
              <a:ext uri="{FF2B5EF4-FFF2-40B4-BE49-F238E27FC236}">
                <a16:creationId xmlns:a16="http://schemas.microsoft.com/office/drawing/2014/main" id="{1734212E-2EA2-B135-55B3-866F1CF570E1}"/>
              </a:ext>
            </a:extLst>
          </p:cNvPr>
          <p:cNvSpPr txBox="1">
            <a:spLocks/>
          </p:cNvSpPr>
          <p:nvPr/>
        </p:nvSpPr>
        <p:spPr>
          <a:xfrm>
            <a:off x="4413051" y="3057578"/>
            <a:ext cx="3448249" cy="1151556"/>
          </a:xfrm>
          <a:prstGeom prst="rect">
            <a:avLst/>
          </a:prstGeom>
          <a:noFill/>
        </p:spPr>
        <p:txBody>
          <a:bodyPr vert="horz" lIns="0" tIns="0" rIns="0" bIns="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285750" indent="-285750" rtl="0">
              <a:spcAft>
                <a:spcPts val="600"/>
              </a:spcAft>
              <a:buBlip>
                <a:blip r:embed="rId6"/>
              </a:buBlip>
            </a:pPr>
            <a:r>
              <a:rPr lang="en-gb" sz="1400" b="0" dirty="0">
                <a:solidFill>
                  <a:schemeClr val="tx1"/>
                </a:solidFill>
              </a:rPr>
              <a:t>113</a:t>
            </a:r>
          </a:p>
          <a:p>
            <a:pPr marL="285750" indent="-285750" rtl="0">
              <a:spcAft>
                <a:spcPts val="600"/>
              </a:spcAft>
              <a:buBlip>
                <a:blip r:embed="rId6"/>
              </a:buBlip>
            </a:pPr>
            <a:r>
              <a:rPr lang="en-gb" sz="1400" b="0" dirty="0">
                <a:solidFill>
                  <a:schemeClr val="tx1"/>
                </a:solidFill>
              </a:rPr>
              <a:t>112</a:t>
            </a:r>
          </a:p>
          <a:p>
            <a:pPr marL="285750" indent="-285750" rtl="0">
              <a:spcAft>
                <a:spcPts val="600"/>
              </a:spcAft>
              <a:buBlip>
                <a:blip r:embed="rId6"/>
              </a:buBlip>
            </a:pPr>
            <a:r>
              <a:rPr lang="en-gb" sz="1400" b="0" dirty="0">
                <a:solidFill>
                  <a:schemeClr val="tx1"/>
                </a:solidFill>
              </a:rPr>
              <a:t>Mobile apps such as </a:t>
            </a:r>
            <a:r>
              <a:rPr lang="en-gb" sz="1400" b="0" dirty="0" err="1">
                <a:solidFill>
                  <a:schemeClr val="tx1"/>
                </a:solidFill>
              </a:rPr>
              <a:t>eVeselībasPunkts</a:t>
            </a:r>
            <a:r>
              <a:rPr lang="en-gb" sz="1400" b="0" dirty="0">
                <a:solidFill>
                  <a:schemeClr val="tx1"/>
                </a:solidFill>
              </a:rPr>
              <a:t>, Mana </a:t>
            </a:r>
            <a:r>
              <a:rPr lang="en-gb" sz="1400" b="0" dirty="0" err="1">
                <a:solidFill>
                  <a:schemeClr val="tx1"/>
                </a:solidFill>
              </a:rPr>
              <a:t>Drošība</a:t>
            </a:r>
            <a:r>
              <a:rPr lang="lv-LV" sz="1400" b="0" dirty="0">
                <a:solidFill>
                  <a:schemeClr val="tx1"/>
                </a:solidFill>
              </a:rPr>
              <a:t>, </a:t>
            </a:r>
            <a:r>
              <a:rPr lang="en-gb" sz="1400" b="0" dirty="0">
                <a:solidFill>
                  <a:schemeClr val="tx1"/>
                </a:solidFill>
              </a:rPr>
              <a:t>112 Latvia  </a:t>
            </a:r>
          </a:p>
        </p:txBody>
      </p:sp>
      <p:sp>
        <p:nvSpPr>
          <p:cNvPr id="126" name="Google Shape;771;p79">
            <a:extLst>
              <a:ext uri="{FF2B5EF4-FFF2-40B4-BE49-F238E27FC236}">
                <a16:creationId xmlns:a16="http://schemas.microsoft.com/office/drawing/2014/main" id="{A786E605-28E8-780E-8339-3A6A775DA0C0}"/>
              </a:ext>
            </a:extLst>
          </p:cNvPr>
          <p:cNvSpPr/>
          <p:nvPr/>
        </p:nvSpPr>
        <p:spPr>
          <a:xfrm>
            <a:off x="3501903" y="1927275"/>
            <a:ext cx="360000" cy="360000"/>
          </a:xfrm>
          <a:custGeom>
            <a:avLst/>
            <a:gdLst/>
            <a:ahLst/>
            <a:cxnLst/>
            <a:rect l="l" t="t" r="r" b="b"/>
            <a:pathLst>
              <a:path w="576" h="576" extrusionOk="0">
                <a:moveTo>
                  <a:pt x="553" y="552"/>
                </a:moveTo>
                <a:cubicBezTo>
                  <a:pt x="477" y="552"/>
                  <a:pt x="477" y="552"/>
                  <a:pt x="477" y="552"/>
                </a:cubicBezTo>
                <a:cubicBezTo>
                  <a:pt x="464" y="458"/>
                  <a:pt x="464" y="458"/>
                  <a:pt x="464" y="458"/>
                </a:cubicBezTo>
                <a:cubicBezTo>
                  <a:pt x="456" y="433"/>
                  <a:pt x="437" y="412"/>
                  <a:pt x="412" y="404"/>
                </a:cubicBezTo>
                <a:cubicBezTo>
                  <a:pt x="338" y="379"/>
                  <a:pt x="338" y="379"/>
                  <a:pt x="338" y="379"/>
                </a:cubicBezTo>
                <a:cubicBezTo>
                  <a:pt x="329" y="376"/>
                  <a:pt x="319" y="378"/>
                  <a:pt x="312" y="385"/>
                </a:cubicBezTo>
                <a:cubicBezTo>
                  <a:pt x="307" y="391"/>
                  <a:pt x="307" y="391"/>
                  <a:pt x="307" y="391"/>
                </a:cubicBezTo>
                <a:cubicBezTo>
                  <a:pt x="302" y="396"/>
                  <a:pt x="295" y="399"/>
                  <a:pt x="288" y="399"/>
                </a:cubicBezTo>
                <a:cubicBezTo>
                  <a:pt x="282" y="399"/>
                  <a:pt x="276" y="396"/>
                  <a:pt x="270" y="391"/>
                </a:cubicBezTo>
                <a:cubicBezTo>
                  <a:pt x="265" y="385"/>
                  <a:pt x="265" y="385"/>
                  <a:pt x="265" y="385"/>
                </a:cubicBezTo>
                <a:cubicBezTo>
                  <a:pt x="258" y="378"/>
                  <a:pt x="248" y="376"/>
                  <a:pt x="238" y="379"/>
                </a:cubicBezTo>
                <a:cubicBezTo>
                  <a:pt x="209" y="389"/>
                  <a:pt x="209" y="389"/>
                  <a:pt x="209" y="389"/>
                </a:cubicBezTo>
                <a:cubicBezTo>
                  <a:pt x="204" y="342"/>
                  <a:pt x="204" y="342"/>
                  <a:pt x="204" y="342"/>
                </a:cubicBezTo>
                <a:cubicBezTo>
                  <a:pt x="203" y="341"/>
                  <a:pt x="203" y="341"/>
                  <a:pt x="203" y="341"/>
                </a:cubicBezTo>
                <a:cubicBezTo>
                  <a:pt x="198" y="324"/>
                  <a:pt x="185" y="310"/>
                  <a:pt x="168" y="304"/>
                </a:cubicBezTo>
                <a:cubicBezTo>
                  <a:pt x="123" y="289"/>
                  <a:pt x="123" y="289"/>
                  <a:pt x="123" y="289"/>
                </a:cubicBezTo>
                <a:cubicBezTo>
                  <a:pt x="116" y="287"/>
                  <a:pt x="108" y="289"/>
                  <a:pt x="103" y="294"/>
                </a:cubicBezTo>
                <a:cubicBezTo>
                  <a:pt x="99" y="297"/>
                  <a:pt x="99" y="297"/>
                  <a:pt x="99" y="297"/>
                </a:cubicBezTo>
                <a:cubicBezTo>
                  <a:pt x="97" y="300"/>
                  <a:pt x="94" y="301"/>
                  <a:pt x="91" y="301"/>
                </a:cubicBezTo>
                <a:cubicBezTo>
                  <a:pt x="88" y="301"/>
                  <a:pt x="85" y="300"/>
                  <a:pt x="83" y="297"/>
                </a:cubicBezTo>
                <a:cubicBezTo>
                  <a:pt x="79" y="294"/>
                  <a:pt x="79" y="294"/>
                  <a:pt x="79" y="294"/>
                </a:cubicBezTo>
                <a:cubicBezTo>
                  <a:pt x="74" y="289"/>
                  <a:pt x="66" y="287"/>
                  <a:pt x="59" y="289"/>
                </a:cubicBezTo>
                <a:cubicBezTo>
                  <a:pt x="24" y="301"/>
                  <a:pt x="24" y="301"/>
                  <a:pt x="24" y="301"/>
                </a:cubicBezTo>
                <a:cubicBezTo>
                  <a:pt x="24" y="23"/>
                  <a:pt x="24" y="23"/>
                  <a:pt x="24" y="23"/>
                </a:cubicBezTo>
                <a:cubicBezTo>
                  <a:pt x="244" y="23"/>
                  <a:pt x="244" y="23"/>
                  <a:pt x="244" y="23"/>
                </a:cubicBezTo>
                <a:cubicBezTo>
                  <a:pt x="244" y="0"/>
                  <a:pt x="244" y="0"/>
                  <a:pt x="244" y="0"/>
                </a:cubicBezTo>
                <a:cubicBezTo>
                  <a:pt x="0" y="0"/>
                  <a:pt x="0" y="0"/>
                  <a:pt x="0" y="0"/>
                </a:cubicBezTo>
                <a:cubicBezTo>
                  <a:pt x="0" y="576"/>
                  <a:pt x="0" y="576"/>
                  <a:pt x="0" y="576"/>
                </a:cubicBezTo>
                <a:cubicBezTo>
                  <a:pt x="121" y="576"/>
                  <a:pt x="121" y="576"/>
                  <a:pt x="121" y="576"/>
                </a:cubicBezTo>
                <a:cubicBezTo>
                  <a:pt x="135" y="465"/>
                  <a:pt x="135" y="465"/>
                  <a:pt x="135" y="465"/>
                </a:cubicBezTo>
                <a:cubicBezTo>
                  <a:pt x="140" y="447"/>
                  <a:pt x="155" y="432"/>
                  <a:pt x="173" y="426"/>
                </a:cubicBezTo>
                <a:cubicBezTo>
                  <a:pt x="246" y="401"/>
                  <a:pt x="246" y="401"/>
                  <a:pt x="246" y="401"/>
                </a:cubicBezTo>
                <a:cubicBezTo>
                  <a:pt x="247" y="401"/>
                  <a:pt x="247" y="401"/>
                  <a:pt x="247" y="401"/>
                </a:cubicBezTo>
                <a:cubicBezTo>
                  <a:pt x="247" y="401"/>
                  <a:pt x="247" y="401"/>
                  <a:pt x="247" y="401"/>
                </a:cubicBezTo>
                <a:cubicBezTo>
                  <a:pt x="253" y="408"/>
                  <a:pt x="253" y="408"/>
                  <a:pt x="253" y="408"/>
                </a:cubicBezTo>
                <a:cubicBezTo>
                  <a:pt x="263" y="417"/>
                  <a:pt x="276" y="423"/>
                  <a:pt x="288" y="423"/>
                </a:cubicBezTo>
                <a:cubicBezTo>
                  <a:pt x="301" y="423"/>
                  <a:pt x="314" y="417"/>
                  <a:pt x="324" y="408"/>
                </a:cubicBezTo>
                <a:cubicBezTo>
                  <a:pt x="329" y="402"/>
                  <a:pt x="329" y="402"/>
                  <a:pt x="329" y="402"/>
                </a:cubicBezTo>
                <a:cubicBezTo>
                  <a:pt x="329" y="401"/>
                  <a:pt x="329" y="401"/>
                  <a:pt x="330" y="401"/>
                </a:cubicBezTo>
                <a:cubicBezTo>
                  <a:pt x="330" y="401"/>
                  <a:pt x="330" y="401"/>
                  <a:pt x="330" y="401"/>
                </a:cubicBezTo>
                <a:cubicBezTo>
                  <a:pt x="404" y="426"/>
                  <a:pt x="404" y="426"/>
                  <a:pt x="404" y="426"/>
                </a:cubicBezTo>
                <a:cubicBezTo>
                  <a:pt x="422" y="432"/>
                  <a:pt x="436" y="447"/>
                  <a:pt x="441" y="463"/>
                </a:cubicBezTo>
                <a:cubicBezTo>
                  <a:pt x="456" y="576"/>
                  <a:pt x="456" y="576"/>
                  <a:pt x="456" y="576"/>
                </a:cubicBezTo>
                <a:cubicBezTo>
                  <a:pt x="576" y="576"/>
                  <a:pt x="576" y="576"/>
                  <a:pt x="576" y="576"/>
                </a:cubicBezTo>
                <a:cubicBezTo>
                  <a:pt x="576" y="266"/>
                  <a:pt x="576" y="266"/>
                  <a:pt x="576" y="266"/>
                </a:cubicBezTo>
                <a:cubicBezTo>
                  <a:pt x="553" y="266"/>
                  <a:pt x="553" y="266"/>
                  <a:pt x="553" y="266"/>
                </a:cubicBezTo>
                <a:lnTo>
                  <a:pt x="553" y="552"/>
                </a:lnTo>
                <a:close/>
                <a:moveTo>
                  <a:pt x="100" y="552"/>
                </a:moveTo>
                <a:cubicBezTo>
                  <a:pt x="24" y="552"/>
                  <a:pt x="24" y="552"/>
                  <a:pt x="24" y="552"/>
                </a:cubicBezTo>
                <a:cubicBezTo>
                  <a:pt x="24" y="326"/>
                  <a:pt x="24" y="326"/>
                  <a:pt x="24" y="326"/>
                </a:cubicBezTo>
                <a:cubicBezTo>
                  <a:pt x="64" y="313"/>
                  <a:pt x="64" y="313"/>
                  <a:pt x="64" y="313"/>
                </a:cubicBezTo>
                <a:cubicBezTo>
                  <a:pt x="66" y="314"/>
                  <a:pt x="66" y="314"/>
                  <a:pt x="66" y="314"/>
                </a:cubicBezTo>
                <a:cubicBezTo>
                  <a:pt x="72" y="321"/>
                  <a:pt x="82" y="324"/>
                  <a:pt x="91" y="324"/>
                </a:cubicBezTo>
                <a:cubicBezTo>
                  <a:pt x="101" y="324"/>
                  <a:pt x="109" y="321"/>
                  <a:pt x="116" y="314"/>
                </a:cubicBezTo>
                <a:cubicBezTo>
                  <a:pt x="118" y="313"/>
                  <a:pt x="118" y="313"/>
                  <a:pt x="118" y="313"/>
                </a:cubicBezTo>
                <a:cubicBezTo>
                  <a:pt x="160" y="326"/>
                  <a:pt x="160" y="326"/>
                  <a:pt x="160" y="326"/>
                </a:cubicBezTo>
                <a:cubicBezTo>
                  <a:pt x="169" y="330"/>
                  <a:pt x="177" y="338"/>
                  <a:pt x="180" y="347"/>
                </a:cubicBezTo>
                <a:cubicBezTo>
                  <a:pt x="186" y="396"/>
                  <a:pt x="186" y="396"/>
                  <a:pt x="186" y="396"/>
                </a:cubicBezTo>
                <a:cubicBezTo>
                  <a:pt x="165" y="404"/>
                  <a:pt x="165" y="404"/>
                  <a:pt x="165" y="404"/>
                </a:cubicBezTo>
                <a:cubicBezTo>
                  <a:pt x="139" y="413"/>
                  <a:pt x="120" y="433"/>
                  <a:pt x="112" y="460"/>
                </a:cubicBezTo>
                <a:lnTo>
                  <a:pt x="100" y="552"/>
                </a:lnTo>
                <a:close/>
                <a:moveTo>
                  <a:pt x="289" y="186"/>
                </a:moveTo>
                <a:cubicBezTo>
                  <a:pt x="252" y="186"/>
                  <a:pt x="222" y="219"/>
                  <a:pt x="222" y="260"/>
                </a:cubicBezTo>
                <a:cubicBezTo>
                  <a:pt x="222" y="301"/>
                  <a:pt x="229" y="329"/>
                  <a:pt x="244" y="345"/>
                </a:cubicBezTo>
                <a:cubicBezTo>
                  <a:pt x="257" y="360"/>
                  <a:pt x="268" y="371"/>
                  <a:pt x="289" y="371"/>
                </a:cubicBezTo>
                <a:cubicBezTo>
                  <a:pt x="311" y="371"/>
                  <a:pt x="323" y="358"/>
                  <a:pt x="334" y="345"/>
                </a:cubicBezTo>
                <a:cubicBezTo>
                  <a:pt x="349" y="329"/>
                  <a:pt x="357" y="300"/>
                  <a:pt x="357" y="260"/>
                </a:cubicBezTo>
                <a:cubicBezTo>
                  <a:pt x="357" y="219"/>
                  <a:pt x="326" y="186"/>
                  <a:pt x="289" y="186"/>
                </a:cubicBezTo>
                <a:close/>
                <a:moveTo>
                  <a:pt x="289" y="347"/>
                </a:moveTo>
                <a:cubicBezTo>
                  <a:pt x="280" y="347"/>
                  <a:pt x="274" y="343"/>
                  <a:pt x="262" y="330"/>
                </a:cubicBezTo>
                <a:cubicBezTo>
                  <a:pt x="251" y="318"/>
                  <a:pt x="246" y="294"/>
                  <a:pt x="246" y="260"/>
                </a:cubicBezTo>
                <a:cubicBezTo>
                  <a:pt x="246" y="232"/>
                  <a:pt x="265" y="210"/>
                  <a:pt x="289" y="210"/>
                </a:cubicBezTo>
                <a:cubicBezTo>
                  <a:pt x="313" y="210"/>
                  <a:pt x="333" y="232"/>
                  <a:pt x="333" y="260"/>
                </a:cubicBezTo>
                <a:cubicBezTo>
                  <a:pt x="333" y="292"/>
                  <a:pt x="327" y="317"/>
                  <a:pt x="317" y="330"/>
                </a:cubicBezTo>
                <a:cubicBezTo>
                  <a:pt x="304" y="343"/>
                  <a:pt x="299" y="347"/>
                  <a:pt x="289" y="347"/>
                </a:cubicBezTo>
                <a:close/>
                <a:moveTo>
                  <a:pt x="46" y="206"/>
                </a:moveTo>
                <a:cubicBezTo>
                  <a:pt x="46" y="232"/>
                  <a:pt x="51" y="251"/>
                  <a:pt x="61" y="261"/>
                </a:cubicBezTo>
                <a:cubicBezTo>
                  <a:pt x="69" y="271"/>
                  <a:pt x="77" y="279"/>
                  <a:pt x="92" y="279"/>
                </a:cubicBezTo>
                <a:cubicBezTo>
                  <a:pt x="107" y="279"/>
                  <a:pt x="116" y="270"/>
                  <a:pt x="123" y="261"/>
                </a:cubicBezTo>
                <a:cubicBezTo>
                  <a:pt x="133" y="251"/>
                  <a:pt x="138" y="232"/>
                  <a:pt x="138" y="206"/>
                </a:cubicBezTo>
                <a:cubicBezTo>
                  <a:pt x="138" y="178"/>
                  <a:pt x="118" y="156"/>
                  <a:pt x="92" y="156"/>
                </a:cubicBezTo>
                <a:cubicBezTo>
                  <a:pt x="66" y="156"/>
                  <a:pt x="46" y="178"/>
                  <a:pt x="46" y="206"/>
                </a:cubicBezTo>
                <a:close/>
                <a:moveTo>
                  <a:pt x="92" y="255"/>
                </a:moveTo>
                <a:cubicBezTo>
                  <a:pt x="88" y="255"/>
                  <a:pt x="86" y="254"/>
                  <a:pt x="79" y="246"/>
                </a:cubicBezTo>
                <a:cubicBezTo>
                  <a:pt x="73" y="239"/>
                  <a:pt x="70" y="226"/>
                  <a:pt x="70" y="206"/>
                </a:cubicBezTo>
                <a:cubicBezTo>
                  <a:pt x="70" y="191"/>
                  <a:pt x="79" y="180"/>
                  <a:pt x="92" y="180"/>
                </a:cubicBezTo>
                <a:cubicBezTo>
                  <a:pt x="104" y="180"/>
                  <a:pt x="114" y="192"/>
                  <a:pt x="114" y="206"/>
                </a:cubicBezTo>
                <a:cubicBezTo>
                  <a:pt x="114" y="224"/>
                  <a:pt x="111" y="239"/>
                  <a:pt x="106" y="246"/>
                </a:cubicBezTo>
                <a:cubicBezTo>
                  <a:pt x="98" y="254"/>
                  <a:pt x="95" y="255"/>
                  <a:pt x="92" y="255"/>
                </a:cubicBezTo>
                <a:close/>
                <a:moveTo>
                  <a:pt x="576" y="0"/>
                </a:moveTo>
                <a:cubicBezTo>
                  <a:pt x="576" y="237"/>
                  <a:pt x="576" y="237"/>
                  <a:pt x="576" y="237"/>
                </a:cubicBezTo>
                <a:cubicBezTo>
                  <a:pt x="522" y="237"/>
                  <a:pt x="522" y="237"/>
                  <a:pt x="522" y="237"/>
                </a:cubicBezTo>
                <a:cubicBezTo>
                  <a:pt x="423" y="334"/>
                  <a:pt x="423" y="334"/>
                  <a:pt x="423" y="334"/>
                </a:cubicBezTo>
                <a:cubicBezTo>
                  <a:pt x="423" y="237"/>
                  <a:pt x="423" y="237"/>
                  <a:pt x="423" y="237"/>
                </a:cubicBezTo>
                <a:cubicBezTo>
                  <a:pt x="381" y="237"/>
                  <a:pt x="381" y="237"/>
                  <a:pt x="381" y="237"/>
                </a:cubicBezTo>
                <a:cubicBezTo>
                  <a:pt x="381" y="214"/>
                  <a:pt x="381" y="214"/>
                  <a:pt x="381" y="214"/>
                </a:cubicBezTo>
                <a:cubicBezTo>
                  <a:pt x="446" y="214"/>
                  <a:pt x="446" y="214"/>
                  <a:pt x="446" y="214"/>
                </a:cubicBezTo>
                <a:cubicBezTo>
                  <a:pt x="446" y="282"/>
                  <a:pt x="446" y="282"/>
                  <a:pt x="446" y="282"/>
                </a:cubicBezTo>
                <a:cubicBezTo>
                  <a:pt x="513" y="214"/>
                  <a:pt x="513" y="214"/>
                  <a:pt x="513" y="214"/>
                </a:cubicBezTo>
                <a:cubicBezTo>
                  <a:pt x="554" y="214"/>
                  <a:pt x="554" y="214"/>
                  <a:pt x="554" y="214"/>
                </a:cubicBezTo>
                <a:cubicBezTo>
                  <a:pt x="554" y="22"/>
                  <a:pt x="554" y="22"/>
                  <a:pt x="554" y="22"/>
                </a:cubicBezTo>
                <a:cubicBezTo>
                  <a:pt x="300" y="22"/>
                  <a:pt x="300" y="22"/>
                  <a:pt x="300" y="22"/>
                </a:cubicBezTo>
                <a:cubicBezTo>
                  <a:pt x="300" y="161"/>
                  <a:pt x="300" y="161"/>
                  <a:pt x="300" y="161"/>
                </a:cubicBezTo>
                <a:cubicBezTo>
                  <a:pt x="279" y="161"/>
                  <a:pt x="279" y="161"/>
                  <a:pt x="279" y="161"/>
                </a:cubicBezTo>
                <a:cubicBezTo>
                  <a:pt x="279" y="0"/>
                  <a:pt x="279" y="0"/>
                  <a:pt x="279" y="0"/>
                </a:cubicBezTo>
                <a:lnTo>
                  <a:pt x="576" y="0"/>
                </a:lnTo>
                <a:close/>
                <a:moveTo>
                  <a:pt x="498" y="104"/>
                </a:moveTo>
                <a:cubicBezTo>
                  <a:pt x="356" y="104"/>
                  <a:pt x="356" y="104"/>
                  <a:pt x="356" y="104"/>
                </a:cubicBezTo>
                <a:cubicBezTo>
                  <a:pt x="356" y="82"/>
                  <a:pt x="356" y="82"/>
                  <a:pt x="356" y="82"/>
                </a:cubicBezTo>
                <a:cubicBezTo>
                  <a:pt x="498" y="82"/>
                  <a:pt x="498" y="82"/>
                  <a:pt x="498" y="82"/>
                </a:cubicBezTo>
                <a:lnTo>
                  <a:pt x="498" y="104"/>
                </a:lnTo>
                <a:close/>
                <a:moveTo>
                  <a:pt x="356" y="132"/>
                </a:moveTo>
                <a:cubicBezTo>
                  <a:pt x="498" y="132"/>
                  <a:pt x="498" y="132"/>
                  <a:pt x="498" y="132"/>
                </a:cubicBezTo>
                <a:cubicBezTo>
                  <a:pt x="498" y="153"/>
                  <a:pt x="498" y="153"/>
                  <a:pt x="498" y="153"/>
                </a:cubicBezTo>
                <a:cubicBezTo>
                  <a:pt x="356" y="153"/>
                  <a:pt x="356" y="153"/>
                  <a:pt x="356" y="153"/>
                </a:cubicBezTo>
                <a:lnTo>
                  <a:pt x="356" y="132"/>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1800">
              <a:solidFill>
                <a:schemeClr val="accent1"/>
              </a:solidFill>
              <a:latin typeface="Arial"/>
              <a:ea typeface="Arial"/>
              <a:cs typeface="Arial"/>
              <a:sym typeface="Arial"/>
            </a:endParaRPr>
          </a:p>
        </p:txBody>
      </p:sp>
      <p:sp>
        <p:nvSpPr>
          <p:cNvPr id="127" name="Google Shape;905;p83">
            <a:extLst>
              <a:ext uri="{FF2B5EF4-FFF2-40B4-BE49-F238E27FC236}">
                <a16:creationId xmlns:a16="http://schemas.microsoft.com/office/drawing/2014/main" id="{1C1E571C-E6C1-D7AD-AF5E-49EF85BA448A}"/>
              </a:ext>
            </a:extLst>
          </p:cNvPr>
          <p:cNvSpPr/>
          <p:nvPr/>
        </p:nvSpPr>
        <p:spPr>
          <a:xfrm>
            <a:off x="11296133" y="1927275"/>
            <a:ext cx="360000" cy="360000"/>
          </a:xfrm>
          <a:custGeom>
            <a:avLst/>
            <a:gdLst/>
            <a:ahLst/>
            <a:cxnLst/>
            <a:rect l="l" t="t" r="r" b="b"/>
            <a:pathLst>
              <a:path w="576" h="576" extrusionOk="0">
                <a:moveTo>
                  <a:pt x="287" y="524"/>
                </a:moveTo>
                <a:cubicBezTo>
                  <a:pt x="359" y="524"/>
                  <a:pt x="418" y="465"/>
                  <a:pt x="418" y="393"/>
                </a:cubicBezTo>
                <a:cubicBezTo>
                  <a:pt x="418" y="320"/>
                  <a:pt x="359" y="262"/>
                  <a:pt x="287" y="262"/>
                </a:cubicBezTo>
                <a:cubicBezTo>
                  <a:pt x="215" y="262"/>
                  <a:pt x="156" y="320"/>
                  <a:pt x="156" y="393"/>
                </a:cubicBezTo>
                <a:cubicBezTo>
                  <a:pt x="156" y="465"/>
                  <a:pt x="215" y="524"/>
                  <a:pt x="287" y="524"/>
                </a:cubicBezTo>
                <a:close/>
                <a:moveTo>
                  <a:pt x="287" y="286"/>
                </a:moveTo>
                <a:cubicBezTo>
                  <a:pt x="346" y="286"/>
                  <a:pt x="394" y="334"/>
                  <a:pt x="394" y="393"/>
                </a:cubicBezTo>
                <a:cubicBezTo>
                  <a:pt x="394" y="451"/>
                  <a:pt x="346" y="499"/>
                  <a:pt x="287" y="499"/>
                </a:cubicBezTo>
                <a:cubicBezTo>
                  <a:pt x="228" y="499"/>
                  <a:pt x="181" y="451"/>
                  <a:pt x="181" y="393"/>
                </a:cubicBezTo>
                <a:cubicBezTo>
                  <a:pt x="181" y="334"/>
                  <a:pt x="228" y="286"/>
                  <a:pt x="287" y="286"/>
                </a:cubicBezTo>
                <a:close/>
                <a:moveTo>
                  <a:pt x="576" y="576"/>
                </a:moveTo>
                <a:cubicBezTo>
                  <a:pt x="575" y="335"/>
                  <a:pt x="575" y="335"/>
                  <a:pt x="575" y="335"/>
                </a:cubicBezTo>
                <a:cubicBezTo>
                  <a:pt x="404" y="232"/>
                  <a:pt x="404" y="232"/>
                  <a:pt x="404" y="232"/>
                </a:cubicBezTo>
                <a:cubicBezTo>
                  <a:pt x="389" y="163"/>
                  <a:pt x="389" y="163"/>
                  <a:pt x="389" y="163"/>
                </a:cubicBezTo>
                <a:cubicBezTo>
                  <a:pt x="186" y="163"/>
                  <a:pt x="186" y="163"/>
                  <a:pt x="186" y="163"/>
                </a:cubicBezTo>
                <a:cubicBezTo>
                  <a:pt x="171" y="232"/>
                  <a:pt x="171" y="232"/>
                  <a:pt x="171" y="232"/>
                </a:cubicBezTo>
                <a:cubicBezTo>
                  <a:pt x="0" y="337"/>
                  <a:pt x="0" y="337"/>
                  <a:pt x="0" y="337"/>
                </a:cubicBezTo>
                <a:cubicBezTo>
                  <a:pt x="0" y="576"/>
                  <a:pt x="0" y="576"/>
                  <a:pt x="0" y="576"/>
                </a:cubicBezTo>
                <a:lnTo>
                  <a:pt x="576" y="576"/>
                </a:lnTo>
                <a:close/>
                <a:moveTo>
                  <a:pt x="192" y="247"/>
                </a:moveTo>
                <a:cubicBezTo>
                  <a:pt x="206" y="188"/>
                  <a:pt x="206" y="188"/>
                  <a:pt x="206" y="188"/>
                </a:cubicBezTo>
                <a:cubicBezTo>
                  <a:pt x="369" y="188"/>
                  <a:pt x="369" y="188"/>
                  <a:pt x="369" y="188"/>
                </a:cubicBezTo>
                <a:cubicBezTo>
                  <a:pt x="383" y="248"/>
                  <a:pt x="383" y="248"/>
                  <a:pt x="383" y="248"/>
                </a:cubicBezTo>
                <a:cubicBezTo>
                  <a:pt x="551" y="349"/>
                  <a:pt x="551" y="349"/>
                  <a:pt x="551" y="349"/>
                </a:cubicBezTo>
                <a:cubicBezTo>
                  <a:pt x="551" y="551"/>
                  <a:pt x="551" y="551"/>
                  <a:pt x="551" y="551"/>
                </a:cubicBezTo>
                <a:cubicBezTo>
                  <a:pt x="24" y="551"/>
                  <a:pt x="24" y="551"/>
                  <a:pt x="24" y="551"/>
                </a:cubicBezTo>
                <a:cubicBezTo>
                  <a:pt x="24" y="511"/>
                  <a:pt x="24" y="382"/>
                  <a:pt x="24" y="351"/>
                </a:cubicBezTo>
                <a:lnTo>
                  <a:pt x="192" y="247"/>
                </a:lnTo>
                <a:close/>
                <a:moveTo>
                  <a:pt x="8" y="232"/>
                </a:moveTo>
                <a:cubicBezTo>
                  <a:pt x="11" y="235"/>
                  <a:pt x="15" y="236"/>
                  <a:pt x="19" y="236"/>
                </a:cubicBezTo>
                <a:cubicBezTo>
                  <a:pt x="21" y="236"/>
                  <a:pt x="23" y="235"/>
                  <a:pt x="26" y="235"/>
                </a:cubicBezTo>
                <a:cubicBezTo>
                  <a:pt x="142" y="205"/>
                  <a:pt x="142" y="205"/>
                  <a:pt x="142" y="205"/>
                </a:cubicBezTo>
                <a:cubicBezTo>
                  <a:pt x="143" y="204"/>
                  <a:pt x="143" y="204"/>
                  <a:pt x="143" y="204"/>
                </a:cubicBezTo>
                <a:cubicBezTo>
                  <a:pt x="154" y="201"/>
                  <a:pt x="162" y="190"/>
                  <a:pt x="162" y="178"/>
                </a:cubicBezTo>
                <a:cubicBezTo>
                  <a:pt x="162" y="135"/>
                  <a:pt x="162" y="135"/>
                  <a:pt x="162" y="135"/>
                </a:cubicBezTo>
                <a:cubicBezTo>
                  <a:pt x="162" y="132"/>
                  <a:pt x="164" y="127"/>
                  <a:pt x="166" y="125"/>
                </a:cubicBezTo>
                <a:cubicBezTo>
                  <a:pt x="166" y="125"/>
                  <a:pt x="193" y="100"/>
                  <a:pt x="287" y="100"/>
                </a:cubicBezTo>
                <a:cubicBezTo>
                  <a:pt x="382" y="100"/>
                  <a:pt x="409" y="125"/>
                  <a:pt x="409" y="125"/>
                </a:cubicBezTo>
                <a:cubicBezTo>
                  <a:pt x="411" y="127"/>
                  <a:pt x="413" y="132"/>
                  <a:pt x="413" y="135"/>
                </a:cubicBezTo>
                <a:cubicBezTo>
                  <a:pt x="413" y="172"/>
                  <a:pt x="413" y="172"/>
                  <a:pt x="413" y="172"/>
                </a:cubicBezTo>
                <a:cubicBezTo>
                  <a:pt x="413" y="183"/>
                  <a:pt x="421" y="194"/>
                  <a:pt x="432" y="198"/>
                </a:cubicBezTo>
                <a:cubicBezTo>
                  <a:pt x="549" y="234"/>
                  <a:pt x="549" y="234"/>
                  <a:pt x="549" y="234"/>
                </a:cubicBezTo>
                <a:cubicBezTo>
                  <a:pt x="555" y="236"/>
                  <a:pt x="562" y="236"/>
                  <a:pt x="567" y="232"/>
                </a:cubicBezTo>
                <a:cubicBezTo>
                  <a:pt x="572" y="228"/>
                  <a:pt x="575" y="222"/>
                  <a:pt x="575" y="215"/>
                </a:cubicBezTo>
                <a:cubicBezTo>
                  <a:pt x="575" y="115"/>
                  <a:pt x="575" y="115"/>
                  <a:pt x="575" y="115"/>
                </a:cubicBezTo>
                <a:cubicBezTo>
                  <a:pt x="575" y="106"/>
                  <a:pt x="572" y="95"/>
                  <a:pt x="566" y="88"/>
                </a:cubicBezTo>
                <a:cubicBezTo>
                  <a:pt x="564" y="84"/>
                  <a:pt x="497" y="0"/>
                  <a:pt x="287" y="0"/>
                </a:cubicBezTo>
                <a:cubicBezTo>
                  <a:pt x="78" y="0"/>
                  <a:pt x="11" y="84"/>
                  <a:pt x="9" y="88"/>
                </a:cubicBezTo>
                <a:cubicBezTo>
                  <a:pt x="3" y="95"/>
                  <a:pt x="0" y="106"/>
                  <a:pt x="0" y="115"/>
                </a:cubicBezTo>
                <a:cubicBezTo>
                  <a:pt x="0" y="215"/>
                  <a:pt x="0" y="215"/>
                  <a:pt x="0" y="215"/>
                </a:cubicBezTo>
                <a:cubicBezTo>
                  <a:pt x="0" y="222"/>
                  <a:pt x="2" y="228"/>
                  <a:pt x="8" y="232"/>
                </a:cubicBezTo>
                <a:close/>
                <a:moveTo>
                  <a:pt x="24" y="115"/>
                </a:moveTo>
                <a:cubicBezTo>
                  <a:pt x="24" y="112"/>
                  <a:pt x="26" y="105"/>
                  <a:pt x="28" y="103"/>
                </a:cubicBezTo>
                <a:cubicBezTo>
                  <a:pt x="29" y="102"/>
                  <a:pt x="90" y="24"/>
                  <a:pt x="287" y="24"/>
                </a:cubicBezTo>
                <a:cubicBezTo>
                  <a:pt x="483" y="24"/>
                  <a:pt x="546" y="102"/>
                  <a:pt x="547" y="103"/>
                </a:cubicBezTo>
                <a:cubicBezTo>
                  <a:pt x="549" y="105"/>
                  <a:pt x="551" y="112"/>
                  <a:pt x="551" y="115"/>
                </a:cubicBezTo>
                <a:cubicBezTo>
                  <a:pt x="551" y="209"/>
                  <a:pt x="551" y="209"/>
                  <a:pt x="551" y="209"/>
                </a:cubicBezTo>
                <a:cubicBezTo>
                  <a:pt x="440" y="175"/>
                  <a:pt x="440" y="175"/>
                  <a:pt x="440" y="175"/>
                </a:cubicBezTo>
                <a:cubicBezTo>
                  <a:pt x="439" y="175"/>
                  <a:pt x="438" y="173"/>
                  <a:pt x="438" y="172"/>
                </a:cubicBezTo>
                <a:cubicBezTo>
                  <a:pt x="438" y="135"/>
                  <a:pt x="438" y="135"/>
                  <a:pt x="438" y="135"/>
                </a:cubicBezTo>
                <a:cubicBezTo>
                  <a:pt x="438" y="126"/>
                  <a:pt x="433" y="114"/>
                  <a:pt x="427" y="108"/>
                </a:cubicBezTo>
                <a:cubicBezTo>
                  <a:pt x="423" y="104"/>
                  <a:pt x="392" y="76"/>
                  <a:pt x="287" y="76"/>
                </a:cubicBezTo>
                <a:cubicBezTo>
                  <a:pt x="183" y="76"/>
                  <a:pt x="152" y="104"/>
                  <a:pt x="149" y="108"/>
                </a:cubicBezTo>
                <a:cubicBezTo>
                  <a:pt x="142" y="114"/>
                  <a:pt x="137" y="126"/>
                  <a:pt x="137" y="135"/>
                </a:cubicBezTo>
                <a:cubicBezTo>
                  <a:pt x="137" y="178"/>
                  <a:pt x="137" y="178"/>
                  <a:pt x="137" y="178"/>
                </a:cubicBezTo>
                <a:cubicBezTo>
                  <a:pt x="137" y="179"/>
                  <a:pt x="136" y="181"/>
                  <a:pt x="135" y="181"/>
                </a:cubicBezTo>
                <a:cubicBezTo>
                  <a:pt x="24" y="210"/>
                  <a:pt x="24" y="210"/>
                  <a:pt x="24" y="210"/>
                </a:cubicBezTo>
                <a:lnTo>
                  <a:pt x="24" y="115"/>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1800">
              <a:solidFill>
                <a:schemeClr val="accent1"/>
              </a:solidFill>
              <a:latin typeface="Arial"/>
              <a:ea typeface="Arial"/>
              <a:cs typeface="Arial"/>
              <a:sym typeface="Arial"/>
            </a:endParaRPr>
          </a:p>
        </p:txBody>
      </p:sp>
      <p:sp>
        <p:nvSpPr>
          <p:cNvPr id="6" name="Rectangle 5">
            <a:extLst>
              <a:ext uri="{FF2B5EF4-FFF2-40B4-BE49-F238E27FC236}">
                <a16:creationId xmlns:a16="http://schemas.microsoft.com/office/drawing/2014/main" id="{236C7614-93A6-8AC7-7258-BAE206E1F0BE}"/>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15" name="Group 14">
            <a:extLst>
              <a:ext uri="{FF2B5EF4-FFF2-40B4-BE49-F238E27FC236}">
                <a16:creationId xmlns:a16="http://schemas.microsoft.com/office/drawing/2014/main" id="{68806543-7C71-3D73-ACF4-35CA0964D513}"/>
              </a:ext>
            </a:extLst>
          </p:cNvPr>
          <p:cNvGrpSpPr/>
          <p:nvPr/>
        </p:nvGrpSpPr>
        <p:grpSpPr>
          <a:xfrm>
            <a:off x="9307133" y="126781"/>
            <a:ext cx="2441955" cy="217488"/>
            <a:chOff x="9307133" y="126781"/>
            <a:chExt cx="2441955" cy="217488"/>
          </a:xfrm>
        </p:grpSpPr>
        <p:sp>
          <p:nvSpPr>
            <p:cNvPr id="16" name="Rectangle 15">
              <a:extLst>
                <a:ext uri="{FF2B5EF4-FFF2-40B4-BE49-F238E27FC236}">
                  <a16:creationId xmlns:a16="http://schemas.microsoft.com/office/drawing/2014/main" id="{4AB46740-C6B3-420F-46FC-0FB8AF306B6C}"/>
                </a:ext>
              </a:extLst>
            </p:cNvPr>
            <p:cNvSpPr/>
            <p:nvPr/>
          </p:nvSpPr>
          <p:spPr>
            <a:xfrm>
              <a:off x="9307133"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7" name="Rectangle 16">
              <a:extLst>
                <a:ext uri="{FF2B5EF4-FFF2-40B4-BE49-F238E27FC236}">
                  <a16:creationId xmlns:a16="http://schemas.microsoft.com/office/drawing/2014/main" id="{482179B1-87D8-70F8-E724-059A4CAFA2FD}"/>
                </a:ext>
              </a:extLst>
            </p:cNvPr>
            <p:cNvSpPr/>
            <p:nvPr/>
          </p:nvSpPr>
          <p:spPr>
            <a:xfrm>
              <a:off x="9790783" y="126781"/>
              <a:ext cx="1237148"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dirty="0">
                  <a:ln>
                    <a:noFill/>
                  </a:ln>
                  <a:solidFill>
                    <a:srgbClr val="000000"/>
                  </a:solidFill>
                  <a:effectLst/>
                  <a:uLnTx/>
                  <a:uFillTx/>
                  <a:ea typeface="Georgia"/>
                  <a:cs typeface="Georgia"/>
                  <a:sym typeface="Georgia"/>
                </a:rPr>
                <a:t>Steps </a:t>
              </a:r>
              <a:r>
                <a:rPr kumimoji="0" lang="lv-LV" sz="800" b="1" i="0" u="none" strike="noStrike" kern="0" cap="none" spc="0" normalizeH="0" baseline="0" noProof="0" dirty="0" err="1">
                  <a:ln>
                    <a:noFill/>
                  </a:ln>
                  <a:solidFill>
                    <a:srgbClr val="000000"/>
                  </a:solidFill>
                  <a:effectLst/>
                  <a:uLnTx/>
                  <a:uFillTx/>
                  <a:ea typeface="Georgia"/>
                  <a:cs typeface="Georgia"/>
                  <a:sym typeface="Georgia"/>
                </a:rPr>
                <a:t>at</a:t>
              </a:r>
              <a:r>
                <a:rPr kumimoji="0" lang="lv-LV" sz="800" b="1" i="0" u="none" strike="noStrike" kern="0" cap="none" spc="0" normalizeH="0" baseline="0" noProof="0" dirty="0">
                  <a:ln>
                    <a:noFill/>
                  </a:ln>
                  <a:solidFill>
                    <a:srgbClr val="000000"/>
                  </a:solidFill>
                  <a:effectLst/>
                  <a:uLnTx/>
                  <a:uFillTx/>
                  <a:ea typeface="Georgia"/>
                  <a:cs typeface="Georgia"/>
                  <a:sym typeface="Georgia"/>
                </a:rPr>
                <a:t> </a:t>
              </a:r>
              <a:r>
                <a:rPr kumimoji="0" lang="lv-LV" sz="800" b="1" i="0" u="none" strike="noStrike" kern="0" cap="none" spc="0" normalizeH="0" baseline="0" noProof="0" dirty="0" err="1">
                  <a:ln>
                    <a:noFill/>
                  </a:ln>
                  <a:solidFill>
                    <a:srgbClr val="000000"/>
                  </a:solidFill>
                  <a:effectLst/>
                  <a:uLnTx/>
                  <a:uFillTx/>
                  <a:ea typeface="Georgia"/>
                  <a:cs typeface="Georgia"/>
                  <a:sym typeface="Georgia"/>
                </a:rPr>
                <a:t>the</a:t>
              </a:r>
              <a:r>
                <a:rPr kumimoji="0" lang="lv-LV" sz="800" b="1" i="0" u="none" strike="noStrike" kern="0" cap="none" spc="0" normalizeH="0" baseline="0" noProof="0" dirty="0">
                  <a:ln>
                    <a:noFill/>
                  </a:ln>
                  <a:solidFill>
                    <a:srgbClr val="000000"/>
                  </a:solidFill>
                  <a:effectLst/>
                  <a:uLnTx/>
                  <a:uFillTx/>
                  <a:ea typeface="Georgia"/>
                  <a:cs typeface="Georgia"/>
                  <a:sym typeface="Georgia"/>
                </a:rPr>
                <a:t> </a:t>
              </a:r>
              <a:r>
                <a:rPr kumimoji="0" lang="lv-LV" sz="800" b="1" i="0" u="none" strike="noStrike" kern="0" cap="none" spc="0" normalizeH="0" baseline="0" noProof="0" dirty="0" err="1">
                  <a:ln>
                    <a:noFill/>
                  </a:ln>
                  <a:solidFill>
                    <a:srgbClr val="000000"/>
                  </a:solidFill>
                  <a:effectLst/>
                  <a:uLnTx/>
                  <a:uFillTx/>
                  <a:ea typeface="Georgia"/>
                  <a:cs typeface="Georgia"/>
                  <a:sym typeface="Georgia"/>
                </a:rPr>
                <a:t>scene</a:t>
              </a:r>
              <a:r>
                <a:rPr kumimoji="0" lang="lv-LV" sz="800" b="1" i="0" u="none" strike="noStrike" kern="0" cap="none" spc="0" normalizeH="0" baseline="0" noProof="0" dirty="0">
                  <a:ln>
                    <a:noFill/>
                  </a:ln>
                  <a:solidFill>
                    <a:srgbClr val="000000"/>
                  </a:solidFill>
                  <a:effectLst/>
                  <a:uLnTx/>
                  <a:uFillTx/>
                  <a:ea typeface="Georgia"/>
                  <a:cs typeface="Georgia"/>
                  <a:sym typeface="Georgia"/>
                </a:rPr>
                <a:t> </a:t>
              </a:r>
              <a:br>
                <a:rPr kumimoji="0" lang="lv-LV" sz="800" b="1" i="0" u="none" strike="noStrike" kern="0" cap="none" spc="0" normalizeH="0" baseline="0" noProof="0" dirty="0">
                  <a:ln>
                    <a:noFill/>
                  </a:ln>
                  <a:solidFill>
                    <a:srgbClr val="000000"/>
                  </a:solidFill>
                  <a:effectLst/>
                  <a:uLnTx/>
                  <a:uFillTx/>
                  <a:ea typeface="Georgia"/>
                  <a:cs typeface="Georgia"/>
                  <a:sym typeface="Georgia"/>
                </a:rPr>
              </a:br>
              <a:r>
                <a:rPr kumimoji="0" lang="lv-LV" sz="800" b="1" i="0" u="none" strike="noStrike" kern="0" cap="none" spc="0" normalizeH="0" baseline="0" noProof="0" dirty="0" err="1">
                  <a:ln>
                    <a:noFill/>
                  </a:ln>
                  <a:solidFill>
                    <a:srgbClr val="000000"/>
                  </a:solidFill>
                  <a:effectLst/>
                  <a:uLnTx/>
                  <a:uFillTx/>
                  <a:ea typeface="Georgia"/>
                  <a:cs typeface="Georgia"/>
                  <a:sym typeface="Georgia"/>
                </a:rPr>
                <a:t>of</a:t>
              </a:r>
              <a:r>
                <a:rPr kumimoji="0" lang="lv-LV" sz="800" b="1" i="0" u="none" strike="noStrike" kern="0" cap="none" spc="0" normalizeH="0" baseline="0" noProof="0" dirty="0">
                  <a:ln>
                    <a:noFill/>
                  </a:ln>
                  <a:solidFill>
                    <a:srgbClr val="000000"/>
                  </a:solidFill>
                  <a:effectLst/>
                  <a:uLnTx/>
                  <a:uFillTx/>
                  <a:ea typeface="Georgia"/>
                  <a:cs typeface="Georgia"/>
                  <a:sym typeface="Georgia"/>
                </a:rPr>
                <a:t> </a:t>
              </a:r>
              <a:r>
                <a:rPr kumimoji="0" lang="lv-LV" sz="800" b="1" i="0" u="none" strike="noStrike" kern="0" cap="none" spc="0" normalizeH="0" baseline="0" noProof="0" dirty="0" err="1">
                  <a:ln>
                    <a:noFill/>
                  </a:ln>
                  <a:solidFill>
                    <a:srgbClr val="000000"/>
                  </a:solidFill>
                  <a:effectLst/>
                  <a:uLnTx/>
                  <a:uFillTx/>
                  <a:ea typeface="Georgia"/>
                  <a:cs typeface="Georgia"/>
                  <a:sym typeface="Georgia"/>
                </a:rPr>
                <a:t>the</a:t>
              </a:r>
              <a:r>
                <a:rPr kumimoji="0" lang="lv-LV" sz="800" b="1" i="0" u="none" strike="noStrike" kern="0" cap="none" spc="0" normalizeH="0" baseline="0" noProof="0" dirty="0">
                  <a:ln>
                    <a:noFill/>
                  </a:ln>
                  <a:solidFill>
                    <a:srgbClr val="000000"/>
                  </a:solidFill>
                  <a:effectLst/>
                  <a:uLnTx/>
                  <a:uFillTx/>
                  <a:ea typeface="Georgia"/>
                  <a:cs typeface="Georgia"/>
                  <a:sym typeface="Georgia"/>
                </a:rPr>
                <a:t> </a:t>
              </a:r>
              <a:r>
                <a:rPr kumimoji="0" lang="lv-LV" sz="800" b="1" i="0" u="none" strike="noStrike" kern="0" cap="none" spc="0" normalizeH="0" baseline="0" noProof="0" dirty="0" err="1">
                  <a:ln>
                    <a:noFill/>
                  </a:ln>
                  <a:solidFill>
                    <a:srgbClr val="000000"/>
                  </a:solidFill>
                  <a:effectLst/>
                  <a:uLnTx/>
                  <a:uFillTx/>
                  <a:ea typeface="Georgia"/>
                  <a:cs typeface="Georgia"/>
                  <a:sym typeface="Georgia"/>
                </a:rPr>
                <a:t>accident</a:t>
              </a:r>
              <a:endParaRPr kumimoji="0" lang="lv-LV" sz="800" b="1" i="0" u="none" strike="noStrike" kern="0" cap="none" spc="0" normalizeH="0" baseline="0" noProof="0" dirty="0">
                <a:ln>
                  <a:noFill/>
                </a:ln>
                <a:solidFill>
                  <a:srgbClr val="000000"/>
                </a:solidFill>
                <a:effectLst/>
                <a:uLnTx/>
                <a:uFillTx/>
                <a:ea typeface="Georgia"/>
                <a:cs typeface="Georgia"/>
                <a:sym typeface="Georgia"/>
              </a:endParaRPr>
            </a:p>
          </p:txBody>
        </p:sp>
        <p:sp>
          <p:nvSpPr>
            <p:cNvPr id="18" name="Rectangle 17">
              <a:extLst>
                <a:ext uri="{FF2B5EF4-FFF2-40B4-BE49-F238E27FC236}">
                  <a16:creationId xmlns:a16="http://schemas.microsoft.com/office/drawing/2014/main" id="{05E42DE2-C19F-FB4C-C3F7-D74D579B854E}"/>
                </a:ext>
              </a:extLst>
            </p:cNvPr>
            <p:cNvSpPr/>
            <p:nvPr/>
          </p:nvSpPr>
          <p:spPr>
            <a:xfrm>
              <a:off x="955040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2</a:t>
              </a:r>
              <a:endParaRPr kumimoji="0" lang="lv-LV" sz="800" b="1" i="0" u="none" strike="noStrike" kern="0" cap="none" spc="0" normalizeH="0" baseline="0" noProof="0">
                <a:ln>
                  <a:noFill/>
                </a:ln>
                <a:effectLst/>
                <a:uLnTx/>
                <a:uFillTx/>
                <a:ea typeface="Georgia"/>
                <a:cs typeface="Georgia"/>
                <a:sym typeface="Georgia"/>
              </a:endParaRPr>
            </a:p>
          </p:txBody>
        </p:sp>
        <p:sp>
          <p:nvSpPr>
            <p:cNvPr id="19" name="Rectangle 18">
              <a:extLst>
                <a:ext uri="{FF2B5EF4-FFF2-40B4-BE49-F238E27FC236}">
                  <a16:creationId xmlns:a16="http://schemas.microsoft.com/office/drawing/2014/main" id="{5C9936EB-320C-75A0-802A-30FB201734E0}"/>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AAA7E66C-D0B6-3CB8-0A70-6D189974520A}"/>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4</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4D060F39-6AFD-9B7D-CD18-0DFD782DAA09}"/>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7956852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DE7E1260-77C1-6B8B-40A7-CB041F0971E9}"/>
              </a:ext>
            </a:extLst>
          </p:cNvPr>
          <p:cNvGraphicFramePr>
            <a:graphicFrameLocks noChangeAspect="1"/>
          </p:cNvGraphicFramePr>
          <p:nvPr>
            <p:custDataLst>
              <p:tags r:id="rId1"/>
            </p:custDataLst>
            <p:extLst>
              <p:ext uri="{D42A27DB-BD31-4B8C-83A1-F6EECF244321}">
                <p14:modId xmlns:p14="http://schemas.microsoft.com/office/powerpoint/2010/main" val="2474050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2" name="think-cell data - do not delete" hidden="1">
                        <a:extLst>
                          <a:ext uri="{FF2B5EF4-FFF2-40B4-BE49-F238E27FC236}">
                            <a16:creationId xmlns:a16="http://schemas.microsoft.com/office/drawing/2014/main" id="{DE7E1260-77C1-6B8B-40A7-CB041F0971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1" name="Picture 50">
            <a:extLst>
              <a:ext uri="{FF2B5EF4-FFF2-40B4-BE49-F238E27FC236}">
                <a16:creationId xmlns:a16="http://schemas.microsoft.com/office/drawing/2014/main" id="{922F9593-A62D-AA28-4006-3500D3BEF8CC}"/>
              </a:ext>
            </a:extLst>
          </p:cNvPr>
          <p:cNvPicPr>
            <a:picLocks noChangeAspect="1"/>
          </p:cNvPicPr>
          <p:nvPr/>
        </p:nvPicPr>
        <p:blipFill rotWithShape="1">
          <a:blip r:embed="rId6"/>
          <a:srcRect t="10447" b="34449"/>
          <a:stretch/>
        </p:blipFill>
        <p:spPr>
          <a:xfrm>
            <a:off x="-1" y="1819275"/>
            <a:ext cx="12191999" cy="5038726"/>
          </a:xfrm>
          <a:prstGeom prst="rect">
            <a:avLst/>
          </a:prstGeom>
        </p:spPr>
      </p:pic>
      <p:sp>
        <p:nvSpPr>
          <p:cNvPr id="49" name="Rectangle 48">
            <a:extLst>
              <a:ext uri="{FF2B5EF4-FFF2-40B4-BE49-F238E27FC236}">
                <a16:creationId xmlns:a16="http://schemas.microsoft.com/office/drawing/2014/main" id="{2C40FD44-D961-01E3-E566-FEE845800AF9}"/>
              </a:ext>
            </a:extLst>
          </p:cNvPr>
          <p:cNvSpPr/>
          <p:nvPr/>
        </p:nvSpPr>
        <p:spPr>
          <a:xfrm>
            <a:off x="0" y="1819275"/>
            <a:ext cx="12192000" cy="5038725"/>
          </a:xfrm>
          <a:prstGeom prst="rect">
            <a:avLst/>
          </a:prstGeom>
          <a:solidFill>
            <a:schemeClr val="accent3">
              <a:alpha val="7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 name="Title 1">
            <a:extLst>
              <a:ext uri="{FF2B5EF4-FFF2-40B4-BE49-F238E27FC236}">
                <a16:creationId xmlns:a16="http://schemas.microsoft.com/office/drawing/2014/main" id="{EDFBCEAB-7D4A-91D0-E036-AAFACC3ABE8D}"/>
              </a:ext>
            </a:extLst>
          </p:cNvPr>
          <p:cNvSpPr>
            <a:spLocks noGrp="1"/>
          </p:cNvSpPr>
          <p:nvPr>
            <p:ph type="title"/>
          </p:nvPr>
        </p:nvSpPr>
        <p:spPr/>
        <p:txBody>
          <a:bodyPr vert="horz" rtlCol="0"/>
          <a:lstStyle/>
          <a:p>
            <a:pPr rtl="0"/>
            <a:r>
              <a:rPr lang="en-gb"/>
              <a:t>What immediate action should be taken? </a:t>
            </a:r>
          </a:p>
        </p:txBody>
      </p:sp>
      <p:sp>
        <p:nvSpPr>
          <p:cNvPr id="4" name="Slide Number Placeholder 3">
            <a:extLst>
              <a:ext uri="{FF2B5EF4-FFF2-40B4-BE49-F238E27FC236}">
                <a16:creationId xmlns:a16="http://schemas.microsoft.com/office/drawing/2014/main" id="{A6320228-D809-6F87-2500-99BCB217E23A}"/>
              </a:ext>
            </a:extLst>
          </p:cNvPr>
          <p:cNvSpPr>
            <a:spLocks noGrp="1"/>
          </p:cNvSpPr>
          <p:nvPr>
            <p:ph type="sldNum" sz="quarter" idx="11"/>
          </p:nvPr>
        </p:nvSpPr>
        <p:spPr/>
        <p:txBody>
          <a:bodyPr rtlCol="0"/>
          <a:lstStyle/>
          <a:p>
            <a:pPr rtl="0"/>
            <a:fld id="{7870704B-CE94-48CC-AF30-84932A1262A7}" type="slidenum">
              <a:rPr lang="lv-LV" smtClean="0">
                <a:solidFill>
                  <a:schemeClr val="bg1"/>
                </a:solidFill>
              </a:rPr>
              <a:pPr rtl="0"/>
              <a:t>13</a:t>
            </a:fld>
            <a:endParaRPr lang="lv-LV">
              <a:solidFill>
                <a:schemeClr val="bg1"/>
              </a:solidFill>
            </a:endParaRPr>
          </a:p>
        </p:txBody>
      </p:sp>
      <p:grpSp>
        <p:nvGrpSpPr>
          <p:cNvPr id="20" name="Group 19">
            <a:extLst>
              <a:ext uri="{FF2B5EF4-FFF2-40B4-BE49-F238E27FC236}">
                <a16:creationId xmlns:a16="http://schemas.microsoft.com/office/drawing/2014/main" id="{32285829-6F0F-7CB7-1EB3-7D2BE58D87E4}"/>
              </a:ext>
            </a:extLst>
          </p:cNvPr>
          <p:cNvGrpSpPr/>
          <p:nvPr/>
        </p:nvGrpSpPr>
        <p:grpSpPr>
          <a:xfrm>
            <a:off x="7902708" y="432000"/>
            <a:ext cx="3846380" cy="360000"/>
            <a:chOff x="7902708" y="432000"/>
            <a:chExt cx="3846380" cy="360000"/>
          </a:xfrm>
        </p:grpSpPr>
        <p:sp>
          <p:nvSpPr>
            <p:cNvPr id="21" name="TextBox 20">
              <a:extLst>
                <a:ext uri="{FF2B5EF4-FFF2-40B4-BE49-F238E27FC236}">
                  <a16:creationId xmlns:a16="http://schemas.microsoft.com/office/drawing/2014/main" id="{38BB8091-1076-C602-6CED-C2AE6678F5A9}"/>
                </a:ext>
              </a:extLst>
            </p:cNvPr>
            <p:cNvSpPr txBox="1"/>
            <p:nvPr/>
          </p:nvSpPr>
          <p:spPr>
            <a:xfrm>
              <a:off x="7902708" y="432000"/>
              <a:ext cx="1055778" cy="360000"/>
            </a:xfrm>
            <a:prstGeom prst="rect">
              <a:avLst/>
            </a:prstGeom>
            <a:solidFill>
              <a:schemeClr val="accent6"/>
            </a:solidFill>
            <a:ln w="28575">
              <a:noFill/>
            </a:ln>
          </p:spPr>
          <p:txBody>
            <a:bodyPr wrap="square" lIns="72000" tIns="72000" rIns="72000" bIns="72000" rtlCol="0" anchor="ctr">
              <a:noAutofit/>
            </a:bodyPr>
            <a:lstStyle/>
            <a:p>
              <a:pPr algn="ctr" rtl="0">
                <a:lnSpc>
                  <a:spcPct val="100000"/>
                </a:lnSpc>
                <a:buSzPct val="100000"/>
              </a:pPr>
              <a:r>
                <a:rPr lang="en-gb" sz="1100">
                  <a:solidFill>
                    <a:schemeClr val="accent3"/>
                  </a:solidFill>
                  <a:effectLst/>
                  <a:ea typeface="Calibri" panose="020F0502020204030204" pitchFamily="34" charset="0"/>
                  <a:cs typeface="Times New Roman" panose="02020603050405020304" pitchFamily="18" charset="0"/>
                </a:rPr>
                <a:t>Immediate measures</a:t>
              </a:r>
              <a:endParaRPr lang="lv-LV" sz="1100">
                <a:solidFill>
                  <a:schemeClr val="accent3"/>
                </a:solidFill>
              </a:endParaRPr>
            </a:p>
          </p:txBody>
        </p:sp>
        <p:sp>
          <p:nvSpPr>
            <p:cNvPr id="22" name="TextBox 21">
              <a:extLst>
                <a:ext uri="{FF2B5EF4-FFF2-40B4-BE49-F238E27FC236}">
                  <a16:creationId xmlns:a16="http://schemas.microsoft.com/office/drawing/2014/main" id="{14F35E1A-2C93-B6CB-918D-868C9B06B0A7}"/>
                </a:ext>
              </a:extLst>
            </p:cNvPr>
            <p:cNvSpPr txBox="1"/>
            <p:nvPr/>
          </p:nvSpPr>
          <p:spPr>
            <a:xfrm>
              <a:off x="9298009" y="432000"/>
              <a:ext cx="1055778" cy="360000"/>
            </a:xfrm>
            <a:prstGeom prst="rect">
              <a:avLst/>
            </a:prstGeom>
            <a:solidFill>
              <a:schemeClr val="accent6"/>
            </a:solidFill>
            <a:ln w="28575">
              <a:noFill/>
            </a:ln>
          </p:spPr>
          <p:txBody>
            <a:bodyPr wrap="square" lIns="72000" tIns="72000" rIns="72000" bIns="72000" rtlCol="0" anchor="ctr">
              <a:noAutofit/>
            </a:bodyPr>
            <a:lstStyle/>
            <a:p>
              <a:pPr algn="ctr" rtl="0">
                <a:lnSpc>
                  <a:spcPct val="100000"/>
                </a:lnSpc>
                <a:buSzPct val="100000"/>
              </a:pPr>
              <a:r>
                <a:rPr lang="en-gb" sz="1100">
                  <a:solidFill>
                    <a:schemeClr val="accent3"/>
                  </a:solidFill>
                  <a:effectLst/>
                  <a:ea typeface="Calibri" panose="020F0502020204030204" pitchFamily="34" charset="0"/>
                  <a:cs typeface="Times New Roman" panose="02020603050405020304" pitchFamily="18" charset="0"/>
                </a:rPr>
                <a:t>Calling for help</a:t>
              </a:r>
              <a:endParaRPr lang="lv-LV" sz="1100">
                <a:solidFill>
                  <a:schemeClr val="accent3"/>
                </a:solidFill>
              </a:endParaRPr>
            </a:p>
          </p:txBody>
        </p:sp>
        <p:sp>
          <p:nvSpPr>
            <p:cNvPr id="23" name="TextBox 22">
              <a:extLst>
                <a:ext uri="{FF2B5EF4-FFF2-40B4-BE49-F238E27FC236}">
                  <a16:creationId xmlns:a16="http://schemas.microsoft.com/office/drawing/2014/main" id="{F97CB2C5-7142-8223-7214-B1FDFDA9926A}"/>
                </a:ext>
              </a:extLst>
            </p:cNvPr>
            <p:cNvSpPr txBox="1"/>
            <p:nvPr/>
          </p:nvSpPr>
          <p:spPr>
            <a:xfrm>
              <a:off x="10693310" y="432000"/>
              <a:ext cx="1055778" cy="360000"/>
            </a:xfrm>
            <a:prstGeom prst="rect">
              <a:avLst/>
            </a:prstGeom>
            <a:solidFill>
              <a:schemeClr val="accent3"/>
            </a:solidFill>
            <a:ln w="28575">
              <a:noFill/>
            </a:ln>
          </p:spPr>
          <p:txBody>
            <a:bodyPr wrap="square" lIns="72000" tIns="72000" rIns="72000" bIns="72000" rtlCol="0" anchor="ctr">
              <a:noAutofit/>
            </a:bodyPr>
            <a:lstStyle/>
            <a:p>
              <a:pPr algn="ctr" rtl="0">
                <a:lnSpc>
                  <a:spcPct val="100000"/>
                </a:lnSpc>
                <a:buSzPct val="100000"/>
              </a:pPr>
              <a:r>
                <a:rPr lang="en-gb" sz="1100" b="1">
                  <a:solidFill>
                    <a:schemeClr val="bg1"/>
                  </a:solidFill>
                  <a:effectLst/>
                  <a:ea typeface="Calibri" panose="020F0502020204030204" pitchFamily="34" charset="0"/>
                  <a:cs typeface="Times New Roman" panose="02020603050405020304" pitchFamily="18" charset="0"/>
                </a:rPr>
                <a:t>Victim </a:t>
              </a:r>
            </a:p>
            <a:p>
              <a:pPr algn="ctr" rtl="0">
                <a:lnSpc>
                  <a:spcPct val="100000"/>
                </a:lnSpc>
                <a:buSzPct val="100000"/>
              </a:pPr>
              <a:r>
                <a:rPr lang="en-gb" sz="1100" b="1">
                  <a:solidFill>
                    <a:schemeClr val="bg1"/>
                  </a:solidFill>
                  <a:effectLst/>
                  <a:ea typeface="Calibri" panose="020F0502020204030204" pitchFamily="34" charset="0"/>
                  <a:cs typeface="Times New Roman" panose="02020603050405020304" pitchFamily="18" charset="0"/>
                </a:rPr>
                <a:t>Care</a:t>
              </a:r>
              <a:endParaRPr lang="lv-LV" sz="1100" b="1">
                <a:solidFill>
                  <a:schemeClr val="bg1"/>
                </a:solidFill>
              </a:endParaRPr>
            </a:p>
          </p:txBody>
        </p:sp>
        <p:sp>
          <p:nvSpPr>
            <p:cNvPr id="24" name="Arrow: Right 23">
              <a:extLst>
                <a:ext uri="{FF2B5EF4-FFF2-40B4-BE49-F238E27FC236}">
                  <a16:creationId xmlns:a16="http://schemas.microsoft.com/office/drawing/2014/main" id="{F0AA07AA-4D21-8CE3-744C-AD9A127C8D02}"/>
                </a:ext>
              </a:extLst>
            </p:cNvPr>
            <p:cNvSpPr/>
            <p:nvPr/>
          </p:nvSpPr>
          <p:spPr>
            <a:xfrm>
              <a:off x="9029367" y="504000"/>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5" name="Arrow: Right 24">
              <a:extLst>
                <a:ext uri="{FF2B5EF4-FFF2-40B4-BE49-F238E27FC236}">
                  <a16:creationId xmlns:a16="http://schemas.microsoft.com/office/drawing/2014/main" id="{1CA1B5B0-7F3C-4506-0CFC-FC71900DAEB0}"/>
                </a:ext>
              </a:extLst>
            </p:cNvPr>
            <p:cNvSpPr/>
            <p:nvPr/>
          </p:nvSpPr>
          <p:spPr>
            <a:xfrm>
              <a:off x="10424668" y="504000"/>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grpSp>
      <p:sp>
        <p:nvSpPr>
          <p:cNvPr id="26" name="TextBox 25">
            <a:extLst>
              <a:ext uri="{FF2B5EF4-FFF2-40B4-BE49-F238E27FC236}">
                <a16:creationId xmlns:a16="http://schemas.microsoft.com/office/drawing/2014/main" id="{CAFFDCE5-3051-49DF-AF83-5287E01B7716}"/>
              </a:ext>
            </a:extLst>
          </p:cNvPr>
          <p:cNvSpPr txBox="1"/>
          <p:nvPr/>
        </p:nvSpPr>
        <p:spPr>
          <a:xfrm>
            <a:off x="442912" y="3180080"/>
            <a:ext cx="2591437" cy="3173920"/>
          </a:xfrm>
          <a:prstGeom prst="rect">
            <a:avLst/>
          </a:prstGeom>
          <a:solidFill>
            <a:schemeClr val="bg1">
              <a:alpha val="85000"/>
            </a:schemeClr>
          </a:solidFill>
        </p:spPr>
        <p:txBody>
          <a:bodyPr wrap="square" lIns="72000" tIns="72000" rIns="72000" bIns="72000" rtlCol="0">
            <a:noAutofit/>
          </a:bodyPr>
          <a:lstStyle/>
          <a:p>
            <a:pPr marL="285750" indent="-285750" rtl="0">
              <a:spcAft>
                <a:spcPts val="600"/>
              </a:spcAft>
              <a:buSzPct val="120000"/>
              <a:buBlip>
                <a:blip r:embed="rId7"/>
              </a:buBlip>
            </a:pPr>
            <a:r>
              <a:rPr lang="en-gb" sz="1400" dirty="0"/>
              <a:t>Do not change the victim's posture unnecessarily</a:t>
            </a:r>
          </a:p>
          <a:p>
            <a:pPr marL="285750" indent="-285750" rtl="0">
              <a:spcAft>
                <a:spcPts val="600"/>
              </a:spcAft>
              <a:buSzPct val="120000"/>
              <a:buBlip>
                <a:blip r:embed="rId7"/>
              </a:buBlip>
            </a:pPr>
            <a:r>
              <a:rPr lang="en-gb" sz="1400" dirty="0"/>
              <a:t>Help the victim into the most comfortable position or lay him down</a:t>
            </a:r>
          </a:p>
          <a:p>
            <a:pPr marL="285750" indent="-285750" rtl="0">
              <a:spcAft>
                <a:spcPts val="600"/>
              </a:spcAft>
              <a:buSzPct val="120000"/>
              <a:buBlip>
                <a:blip r:embed="rId7"/>
              </a:buBlip>
            </a:pPr>
            <a:r>
              <a:rPr lang="en-gb" sz="1400" dirty="0"/>
              <a:t>Watch out for deterioration in the victim's condition</a:t>
            </a:r>
          </a:p>
          <a:p>
            <a:pPr marL="285750" indent="-285750" rtl="0">
              <a:spcAft>
                <a:spcPts val="600"/>
              </a:spcAft>
              <a:buSzPct val="120000"/>
              <a:buBlip>
                <a:blip r:embed="rId7"/>
              </a:buBlip>
            </a:pPr>
            <a:r>
              <a:rPr lang="en-gb" sz="1400" dirty="0"/>
              <a:t>Ensure the comfort of the victim</a:t>
            </a:r>
          </a:p>
        </p:txBody>
      </p:sp>
      <p:sp>
        <p:nvSpPr>
          <p:cNvPr id="27" name="Content Placeholder 1">
            <a:extLst>
              <a:ext uri="{FF2B5EF4-FFF2-40B4-BE49-F238E27FC236}">
                <a16:creationId xmlns:a16="http://schemas.microsoft.com/office/drawing/2014/main" id="{D6EA5D0F-11EF-2398-660B-39FF89189180}"/>
              </a:ext>
            </a:extLst>
          </p:cNvPr>
          <p:cNvSpPr txBox="1">
            <a:spLocks/>
          </p:cNvSpPr>
          <p:nvPr/>
        </p:nvSpPr>
        <p:spPr>
          <a:xfrm>
            <a:off x="442914" y="2175439"/>
            <a:ext cx="2591436" cy="864000"/>
          </a:xfrm>
          <a:prstGeom prst="rect">
            <a:avLst/>
          </a:prstGeom>
          <a:solidFill>
            <a:schemeClr val="accent2"/>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400">
                <a:solidFill>
                  <a:schemeClr val="bg1"/>
                </a:solidFill>
              </a:rPr>
              <a:t>Continue to provide assistance until the arrival of an ambulance:</a:t>
            </a:r>
          </a:p>
        </p:txBody>
      </p:sp>
      <p:sp>
        <p:nvSpPr>
          <p:cNvPr id="28" name="TextBox 27">
            <a:extLst>
              <a:ext uri="{FF2B5EF4-FFF2-40B4-BE49-F238E27FC236}">
                <a16:creationId xmlns:a16="http://schemas.microsoft.com/office/drawing/2014/main" id="{29F2449E-4ED8-5ADE-AE30-9E9AB83EF649}"/>
              </a:ext>
            </a:extLst>
          </p:cNvPr>
          <p:cNvSpPr txBox="1"/>
          <p:nvPr/>
        </p:nvSpPr>
        <p:spPr>
          <a:xfrm>
            <a:off x="3389949" y="3180080"/>
            <a:ext cx="2591437" cy="3173920"/>
          </a:xfrm>
          <a:prstGeom prst="rect">
            <a:avLst/>
          </a:prstGeom>
          <a:solidFill>
            <a:schemeClr val="bg1">
              <a:alpha val="85000"/>
            </a:schemeClr>
          </a:solidFill>
        </p:spPr>
        <p:txBody>
          <a:bodyPr wrap="square" lIns="72000" tIns="72000" rIns="72000" bIns="72000" rtlCol="0">
            <a:noAutofit/>
          </a:bodyPr>
          <a:lstStyle/>
          <a:p>
            <a:pPr marL="285750" indent="-285750" rtl="0">
              <a:spcAft>
                <a:spcPts val="600"/>
              </a:spcAft>
              <a:buSzPct val="120000"/>
              <a:buBlip>
                <a:blip r:embed="rId7"/>
              </a:buBlip>
            </a:pPr>
            <a:r>
              <a:rPr lang="en-gb" sz="1400" dirty="0"/>
              <a:t>Keep the victim cool (e.g. wrap in a foil blanket)</a:t>
            </a:r>
          </a:p>
          <a:p>
            <a:pPr marL="285750" indent="-285750" rtl="0">
              <a:spcAft>
                <a:spcPts val="600"/>
              </a:spcAft>
              <a:buSzPct val="120000"/>
              <a:buBlip>
                <a:blip r:embed="rId7"/>
              </a:buBlip>
            </a:pPr>
            <a:r>
              <a:rPr lang="en-gb" sz="1400" dirty="0"/>
              <a:t>Protect against overheating (e.g. move to a cooler place)</a:t>
            </a:r>
          </a:p>
        </p:txBody>
      </p:sp>
      <p:sp>
        <p:nvSpPr>
          <p:cNvPr id="29" name="Content Placeholder 1">
            <a:extLst>
              <a:ext uri="{FF2B5EF4-FFF2-40B4-BE49-F238E27FC236}">
                <a16:creationId xmlns:a16="http://schemas.microsoft.com/office/drawing/2014/main" id="{00134262-F6E7-5D0D-46C6-48E2647244CF}"/>
              </a:ext>
            </a:extLst>
          </p:cNvPr>
          <p:cNvSpPr txBox="1">
            <a:spLocks/>
          </p:cNvSpPr>
          <p:nvPr/>
        </p:nvSpPr>
        <p:spPr>
          <a:xfrm>
            <a:off x="3389951" y="2175439"/>
            <a:ext cx="2591436" cy="864000"/>
          </a:xfrm>
          <a:prstGeom prst="rect">
            <a:avLst/>
          </a:prstGeom>
          <a:solidFill>
            <a:schemeClr val="accent2"/>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400">
                <a:solidFill>
                  <a:schemeClr val="bg1"/>
                </a:solidFill>
              </a:rPr>
              <a:t>Protect the victim from exposure to the environment:</a:t>
            </a:r>
          </a:p>
        </p:txBody>
      </p:sp>
      <p:sp>
        <p:nvSpPr>
          <p:cNvPr id="30" name="TextBox 29">
            <a:extLst>
              <a:ext uri="{FF2B5EF4-FFF2-40B4-BE49-F238E27FC236}">
                <a16:creationId xmlns:a16="http://schemas.microsoft.com/office/drawing/2014/main" id="{9EFCB31E-34D9-1914-7367-57FB33E6D927}"/>
              </a:ext>
            </a:extLst>
          </p:cNvPr>
          <p:cNvSpPr txBox="1"/>
          <p:nvPr/>
        </p:nvSpPr>
        <p:spPr>
          <a:xfrm>
            <a:off x="6336986" y="3180080"/>
            <a:ext cx="5412104" cy="3173920"/>
          </a:xfrm>
          <a:prstGeom prst="rect">
            <a:avLst/>
          </a:prstGeom>
          <a:solidFill>
            <a:schemeClr val="bg1">
              <a:alpha val="85000"/>
            </a:schemeClr>
          </a:solidFill>
        </p:spPr>
        <p:txBody>
          <a:bodyPr wrap="square" lIns="72000" tIns="72000" rIns="72000" bIns="72000" rtlCol="0">
            <a:noAutofit/>
          </a:bodyPr>
          <a:lstStyle/>
          <a:p>
            <a:pPr marL="285750" indent="-285750" rtl="0">
              <a:spcAft>
                <a:spcPts val="600"/>
              </a:spcAft>
              <a:buSzPct val="120000"/>
              <a:buBlip>
                <a:blip r:embed="rId7"/>
              </a:buBlip>
            </a:pPr>
            <a:r>
              <a:rPr lang="en-gb" sz="1400" dirty="0"/>
              <a:t>Speak calmly, reassuringly but confidently</a:t>
            </a:r>
          </a:p>
          <a:p>
            <a:pPr marL="285750" indent="-285750" rtl="0">
              <a:spcAft>
                <a:spcPts val="600"/>
              </a:spcAft>
              <a:buSzPct val="120000"/>
              <a:buBlip>
                <a:blip r:embed="rId7"/>
              </a:buBlip>
            </a:pPr>
            <a:r>
              <a:rPr lang="en-gb" sz="1400" dirty="0"/>
              <a:t>Introduce yourself</a:t>
            </a:r>
          </a:p>
          <a:p>
            <a:pPr marL="285750" indent="-285750" rtl="0">
              <a:spcAft>
                <a:spcPts val="600"/>
              </a:spcAft>
              <a:buSzPct val="120000"/>
              <a:buBlip>
                <a:blip r:embed="rId7"/>
              </a:buBlip>
            </a:pPr>
            <a:r>
              <a:rPr lang="en-gb" sz="1400" dirty="0"/>
              <a:t>Listen to the victim</a:t>
            </a:r>
          </a:p>
          <a:p>
            <a:pPr marL="285750" indent="-285750" rtl="0">
              <a:spcAft>
                <a:spcPts val="600"/>
              </a:spcAft>
              <a:buSzPct val="120000"/>
              <a:buBlip>
                <a:blip r:embed="rId7"/>
              </a:buBlip>
            </a:pPr>
            <a:r>
              <a:rPr lang="en-gb" sz="1400" dirty="0"/>
              <a:t>Do not leave the victim alone</a:t>
            </a:r>
          </a:p>
          <a:p>
            <a:pPr marL="285750" indent="-285750" rtl="0">
              <a:spcAft>
                <a:spcPts val="600"/>
              </a:spcAft>
              <a:buSzPct val="120000"/>
              <a:buBlip>
                <a:blip r:embed="rId7"/>
              </a:buBlip>
            </a:pPr>
            <a:r>
              <a:rPr lang="en-gb" sz="1400" dirty="0"/>
              <a:t>Inform the victim of your (the rescuer's) actions</a:t>
            </a:r>
          </a:p>
          <a:p>
            <a:pPr marL="285750" indent="-285750" rtl="0">
              <a:spcAft>
                <a:spcPts val="600"/>
              </a:spcAft>
              <a:buSzPct val="120000"/>
              <a:buBlip>
                <a:blip r:embed="rId7"/>
              </a:buBlip>
            </a:pPr>
            <a:r>
              <a:rPr lang="en-gb" sz="1400" dirty="0"/>
              <a:t>Keep the victim informed about what is happening (real positive information)</a:t>
            </a:r>
          </a:p>
          <a:p>
            <a:pPr marL="285750" indent="-285750" rtl="0">
              <a:spcAft>
                <a:spcPts val="600"/>
              </a:spcAft>
              <a:buSzPct val="120000"/>
              <a:buBlip>
                <a:blip r:embed="rId7"/>
              </a:buBlip>
            </a:pPr>
            <a:r>
              <a:rPr lang="en-gb" sz="1400" dirty="0"/>
              <a:t>Maintain light contact with the victim's body</a:t>
            </a:r>
          </a:p>
          <a:p>
            <a:pPr marL="285750" indent="-285750" rtl="0">
              <a:spcAft>
                <a:spcPts val="600"/>
              </a:spcAft>
              <a:buSzPct val="120000"/>
              <a:buBlip>
                <a:blip r:embed="rId7"/>
              </a:buBlip>
            </a:pPr>
            <a:r>
              <a:rPr lang="en-gb" sz="1400" dirty="0"/>
              <a:t>Don't throw anything away</a:t>
            </a:r>
          </a:p>
          <a:p>
            <a:pPr marL="285750" indent="-285750" rtl="0">
              <a:spcAft>
                <a:spcPts val="600"/>
              </a:spcAft>
              <a:buSzPct val="120000"/>
              <a:buBlip>
                <a:blip r:embed="rId7"/>
              </a:buBlip>
            </a:pPr>
            <a:r>
              <a:rPr lang="en-gb" sz="1400" dirty="0"/>
              <a:t>Protect the victim from the curious</a:t>
            </a:r>
          </a:p>
          <a:p>
            <a:pPr marL="285750" indent="-285750" rtl="0">
              <a:spcAft>
                <a:spcPts val="600"/>
              </a:spcAft>
              <a:buSzPct val="120000"/>
              <a:buBlip>
                <a:blip r:embed="rId7"/>
              </a:buBlip>
            </a:pPr>
            <a:r>
              <a:rPr lang="en-gb" sz="1400" dirty="0"/>
              <a:t>Ask if you need to tell someone</a:t>
            </a:r>
          </a:p>
        </p:txBody>
      </p:sp>
      <p:sp>
        <p:nvSpPr>
          <p:cNvPr id="31" name="Content Placeholder 1">
            <a:extLst>
              <a:ext uri="{FF2B5EF4-FFF2-40B4-BE49-F238E27FC236}">
                <a16:creationId xmlns:a16="http://schemas.microsoft.com/office/drawing/2014/main" id="{B24CF0FE-B844-4682-3534-6E167E9F0FFA}"/>
              </a:ext>
            </a:extLst>
          </p:cNvPr>
          <p:cNvSpPr txBox="1">
            <a:spLocks/>
          </p:cNvSpPr>
          <p:nvPr/>
        </p:nvSpPr>
        <p:spPr>
          <a:xfrm>
            <a:off x="6336988" y="2175439"/>
            <a:ext cx="5412102" cy="864000"/>
          </a:xfrm>
          <a:prstGeom prst="rect">
            <a:avLst/>
          </a:prstGeom>
          <a:solidFill>
            <a:schemeClr val="accent2"/>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400">
                <a:solidFill>
                  <a:schemeClr val="bg1"/>
                </a:solidFill>
              </a:rPr>
              <a:t>Provide psychological support:</a:t>
            </a:r>
          </a:p>
        </p:txBody>
      </p:sp>
      <p:sp>
        <p:nvSpPr>
          <p:cNvPr id="32" name="Content Placeholder 1">
            <a:extLst>
              <a:ext uri="{FF2B5EF4-FFF2-40B4-BE49-F238E27FC236}">
                <a16:creationId xmlns:a16="http://schemas.microsoft.com/office/drawing/2014/main" id="{34992742-13EE-A536-FAEC-18532BDD82A6}"/>
              </a:ext>
            </a:extLst>
          </p:cNvPr>
          <p:cNvSpPr txBox="1">
            <a:spLocks/>
          </p:cNvSpPr>
          <p:nvPr/>
        </p:nvSpPr>
        <p:spPr>
          <a:xfrm>
            <a:off x="442914" y="2103438"/>
            <a:ext cx="2591436" cy="72000"/>
          </a:xfrm>
          <a:prstGeom prst="rect">
            <a:avLst/>
          </a:prstGeom>
          <a:solidFill>
            <a:schemeClr val="accent6"/>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lv-LV" sz="1400">
              <a:solidFill>
                <a:schemeClr val="bg1"/>
              </a:solidFill>
            </a:endParaRPr>
          </a:p>
        </p:txBody>
      </p:sp>
      <p:sp>
        <p:nvSpPr>
          <p:cNvPr id="33" name="Content Placeholder 1">
            <a:extLst>
              <a:ext uri="{FF2B5EF4-FFF2-40B4-BE49-F238E27FC236}">
                <a16:creationId xmlns:a16="http://schemas.microsoft.com/office/drawing/2014/main" id="{6614B880-DCB4-A5EA-0F50-19A1C810C41E}"/>
              </a:ext>
            </a:extLst>
          </p:cNvPr>
          <p:cNvSpPr txBox="1">
            <a:spLocks/>
          </p:cNvSpPr>
          <p:nvPr/>
        </p:nvSpPr>
        <p:spPr>
          <a:xfrm>
            <a:off x="3389951" y="2103438"/>
            <a:ext cx="2591436" cy="72000"/>
          </a:xfrm>
          <a:prstGeom prst="rect">
            <a:avLst/>
          </a:prstGeom>
          <a:solidFill>
            <a:schemeClr val="accent6"/>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lv-LV" sz="1400">
              <a:solidFill>
                <a:schemeClr val="bg1"/>
              </a:solidFill>
            </a:endParaRPr>
          </a:p>
        </p:txBody>
      </p:sp>
      <p:sp>
        <p:nvSpPr>
          <p:cNvPr id="34" name="Content Placeholder 1">
            <a:extLst>
              <a:ext uri="{FF2B5EF4-FFF2-40B4-BE49-F238E27FC236}">
                <a16:creationId xmlns:a16="http://schemas.microsoft.com/office/drawing/2014/main" id="{92BD7321-AEC3-477C-EB5F-005F7DC540AF}"/>
              </a:ext>
            </a:extLst>
          </p:cNvPr>
          <p:cNvSpPr txBox="1">
            <a:spLocks/>
          </p:cNvSpPr>
          <p:nvPr/>
        </p:nvSpPr>
        <p:spPr>
          <a:xfrm>
            <a:off x="6336988" y="2103438"/>
            <a:ext cx="5412102" cy="72000"/>
          </a:xfrm>
          <a:prstGeom prst="rect">
            <a:avLst/>
          </a:prstGeom>
          <a:solidFill>
            <a:schemeClr val="accent6"/>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lv-LV" sz="1400">
              <a:solidFill>
                <a:schemeClr val="bg1"/>
              </a:solidFill>
            </a:endParaRPr>
          </a:p>
        </p:txBody>
      </p:sp>
      <p:sp>
        <p:nvSpPr>
          <p:cNvPr id="3" name="Rectangle 2">
            <a:extLst>
              <a:ext uri="{FF2B5EF4-FFF2-40B4-BE49-F238E27FC236}">
                <a16:creationId xmlns:a16="http://schemas.microsoft.com/office/drawing/2014/main" id="{70832196-8F04-2AE8-0728-1989AF43F84D}"/>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13" name="Group 12">
            <a:extLst>
              <a:ext uri="{FF2B5EF4-FFF2-40B4-BE49-F238E27FC236}">
                <a16:creationId xmlns:a16="http://schemas.microsoft.com/office/drawing/2014/main" id="{CFAB965B-95EA-3C0C-E94B-5EB54E540896}"/>
              </a:ext>
            </a:extLst>
          </p:cNvPr>
          <p:cNvGrpSpPr/>
          <p:nvPr/>
        </p:nvGrpSpPr>
        <p:grpSpPr>
          <a:xfrm>
            <a:off x="9307133" y="126781"/>
            <a:ext cx="2441955" cy="217488"/>
            <a:chOff x="9307133" y="126781"/>
            <a:chExt cx="2441955" cy="217488"/>
          </a:xfrm>
        </p:grpSpPr>
        <p:sp>
          <p:nvSpPr>
            <p:cNvPr id="14" name="Rectangle 13">
              <a:extLst>
                <a:ext uri="{FF2B5EF4-FFF2-40B4-BE49-F238E27FC236}">
                  <a16:creationId xmlns:a16="http://schemas.microsoft.com/office/drawing/2014/main" id="{155A60C7-DC3D-8298-284A-86E8796C415D}"/>
                </a:ext>
              </a:extLst>
            </p:cNvPr>
            <p:cNvSpPr/>
            <p:nvPr/>
          </p:nvSpPr>
          <p:spPr>
            <a:xfrm>
              <a:off x="9307133"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E3E489A1-0EC0-6155-59AA-1814E09D769E}"/>
                </a:ext>
              </a:extLst>
            </p:cNvPr>
            <p:cNvSpPr/>
            <p:nvPr/>
          </p:nvSpPr>
          <p:spPr>
            <a:xfrm>
              <a:off x="9790783" y="126781"/>
              <a:ext cx="1237148"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dirty="0">
                  <a:ln>
                    <a:noFill/>
                  </a:ln>
                  <a:solidFill>
                    <a:srgbClr val="000000"/>
                  </a:solidFill>
                  <a:effectLst/>
                  <a:uLnTx/>
                  <a:uFillTx/>
                  <a:ea typeface="Georgia"/>
                  <a:cs typeface="Georgia"/>
                  <a:sym typeface="Georgia"/>
                </a:rPr>
                <a:t>Steps </a:t>
              </a:r>
              <a:r>
                <a:rPr kumimoji="0" lang="lv-LV" sz="800" b="1" i="0" u="none" strike="noStrike" kern="0" cap="none" spc="0" normalizeH="0" baseline="0" noProof="0" dirty="0" err="1">
                  <a:ln>
                    <a:noFill/>
                  </a:ln>
                  <a:solidFill>
                    <a:srgbClr val="000000"/>
                  </a:solidFill>
                  <a:effectLst/>
                  <a:uLnTx/>
                  <a:uFillTx/>
                  <a:ea typeface="Georgia"/>
                  <a:cs typeface="Georgia"/>
                  <a:sym typeface="Georgia"/>
                </a:rPr>
                <a:t>at</a:t>
              </a:r>
              <a:r>
                <a:rPr kumimoji="0" lang="lv-LV" sz="800" b="1" i="0" u="none" strike="noStrike" kern="0" cap="none" spc="0" normalizeH="0" baseline="0" noProof="0" dirty="0">
                  <a:ln>
                    <a:noFill/>
                  </a:ln>
                  <a:solidFill>
                    <a:srgbClr val="000000"/>
                  </a:solidFill>
                  <a:effectLst/>
                  <a:uLnTx/>
                  <a:uFillTx/>
                  <a:ea typeface="Georgia"/>
                  <a:cs typeface="Georgia"/>
                  <a:sym typeface="Georgia"/>
                </a:rPr>
                <a:t> </a:t>
              </a:r>
              <a:r>
                <a:rPr kumimoji="0" lang="lv-LV" sz="800" b="1" i="0" u="none" strike="noStrike" kern="0" cap="none" spc="0" normalizeH="0" baseline="0" noProof="0" dirty="0" err="1">
                  <a:ln>
                    <a:noFill/>
                  </a:ln>
                  <a:solidFill>
                    <a:srgbClr val="000000"/>
                  </a:solidFill>
                  <a:effectLst/>
                  <a:uLnTx/>
                  <a:uFillTx/>
                  <a:ea typeface="Georgia"/>
                  <a:cs typeface="Georgia"/>
                  <a:sym typeface="Georgia"/>
                </a:rPr>
                <a:t>the</a:t>
              </a:r>
              <a:r>
                <a:rPr kumimoji="0" lang="lv-LV" sz="800" b="1" i="0" u="none" strike="noStrike" kern="0" cap="none" spc="0" normalizeH="0" baseline="0" noProof="0" dirty="0">
                  <a:ln>
                    <a:noFill/>
                  </a:ln>
                  <a:solidFill>
                    <a:srgbClr val="000000"/>
                  </a:solidFill>
                  <a:effectLst/>
                  <a:uLnTx/>
                  <a:uFillTx/>
                  <a:ea typeface="Georgia"/>
                  <a:cs typeface="Georgia"/>
                  <a:sym typeface="Georgia"/>
                </a:rPr>
                <a:t> </a:t>
              </a:r>
              <a:r>
                <a:rPr kumimoji="0" lang="lv-LV" sz="800" b="1" i="0" u="none" strike="noStrike" kern="0" cap="none" spc="0" normalizeH="0" baseline="0" noProof="0" dirty="0" err="1">
                  <a:ln>
                    <a:noFill/>
                  </a:ln>
                  <a:solidFill>
                    <a:srgbClr val="000000"/>
                  </a:solidFill>
                  <a:effectLst/>
                  <a:uLnTx/>
                  <a:uFillTx/>
                  <a:ea typeface="Georgia"/>
                  <a:cs typeface="Georgia"/>
                  <a:sym typeface="Georgia"/>
                </a:rPr>
                <a:t>scene</a:t>
              </a:r>
              <a:r>
                <a:rPr kumimoji="0" lang="lv-LV" sz="800" b="1" i="0" u="none" strike="noStrike" kern="0" cap="none" spc="0" normalizeH="0" baseline="0" noProof="0" dirty="0">
                  <a:ln>
                    <a:noFill/>
                  </a:ln>
                  <a:solidFill>
                    <a:srgbClr val="000000"/>
                  </a:solidFill>
                  <a:effectLst/>
                  <a:uLnTx/>
                  <a:uFillTx/>
                  <a:ea typeface="Georgia"/>
                  <a:cs typeface="Georgia"/>
                  <a:sym typeface="Georgia"/>
                </a:rPr>
                <a:t> </a:t>
              </a:r>
              <a:br>
                <a:rPr kumimoji="0" lang="lv-LV" sz="800" b="1" i="0" u="none" strike="noStrike" kern="0" cap="none" spc="0" normalizeH="0" baseline="0" noProof="0" dirty="0">
                  <a:ln>
                    <a:noFill/>
                  </a:ln>
                  <a:solidFill>
                    <a:srgbClr val="000000"/>
                  </a:solidFill>
                  <a:effectLst/>
                  <a:uLnTx/>
                  <a:uFillTx/>
                  <a:ea typeface="Georgia"/>
                  <a:cs typeface="Georgia"/>
                  <a:sym typeface="Georgia"/>
                </a:rPr>
              </a:br>
              <a:r>
                <a:rPr kumimoji="0" lang="lv-LV" sz="800" b="1" i="0" u="none" strike="noStrike" kern="0" cap="none" spc="0" normalizeH="0" baseline="0" noProof="0" dirty="0" err="1">
                  <a:ln>
                    <a:noFill/>
                  </a:ln>
                  <a:solidFill>
                    <a:srgbClr val="000000"/>
                  </a:solidFill>
                  <a:effectLst/>
                  <a:uLnTx/>
                  <a:uFillTx/>
                  <a:ea typeface="Georgia"/>
                  <a:cs typeface="Georgia"/>
                  <a:sym typeface="Georgia"/>
                </a:rPr>
                <a:t>of</a:t>
              </a:r>
              <a:r>
                <a:rPr kumimoji="0" lang="lv-LV" sz="800" b="1" i="0" u="none" strike="noStrike" kern="0" cap="none" spc="0" normalizeH="0" baseline="0" noProof="0" dirty="0">
                  <a:ln>
                    <a:noFill/>
                  </a:ln>
                  <a:solidFill>
                    <a:srgbClr val="000000"/>
                  </a:solidFill>
                  <a:effectLst/>
                  <a:uLnTx/>
                  <a:uFillTx/>
                  <a:ea typeface="Georgia"/>
                  <a:cs typeface="Georgia"/>
                  <a:sym typeface="Georgia"/>
                </a:rPr>
                <a:t> </a:t>
              </a:r>
              <a:r>
                <a:rPr kumimoji="0" lang="lv-LV" sz="800" b="1" i="0" u="none" strike="noStrike" kern="0" cap="none" spc="0" normalizeH="0" baseline="0" noProof="0" dirty="0" err="1">
                  <a:ln>
                    <a:noFill/>
                  </a:ln>
                  <a:solidFill>
                    <a:srgbClr val="000000"/>
                  </a:solidFill>
                  <a:effectLst/>
                  <a:uLnTx/>
                  <a:uFillTx/>
                  <a:ea typeface="Georgia"/>
                  <a:cs typeface="Georgia"/>
                  <a:sym typeface="Georgia"/>
                </a:rPr>
                <a:t>the</a:t>
              </a:r>
              <a:r>
                <a:rPr kumimoji="0" lang="lv-LV" sz="800" b="1" i="0" u="none" strike="noStrike" kern="0" cap="none" spc="0" normalizeH="0" baseline="0" noProof="0" dirty="0">
                  <a:ln>
                    <a:noFill/>
                  </a:ln>
                  <a:solidFill>
                    <a:srgbClr val="000000"/>
                  </a:solidFill>
                  <a:effectLst/>
                  <a:uLnTx/>
                  <a:uFillTx/>
                  <a:ea typeface="Georgia"/>
                  <a:cs typeface="Georgia"/>
                  <a:sym typeface="Georgia"/>
                </a:rPr>
                <a:t> </a:t>
              </a:r>
              <a:r>
                <a:rPr kumimoji="0" lang="lv-LV" sz="800" b="1" i="0" u="none" strike="noStrike" kern="0" cap="none" spc="0" normalizeH="0" baseline="0" noProof="0" dirty="0" err="1">
                  <a:ln>
                    <a:noFill/>
                  </a:ln>
                  <a:solidFill>
                    <a:srgbClr val="000000"/>
                  </a:solidFill>
                  <a:effectLst/>
                  <a:uLnTx/>
                  <a:uFillTx/>
                  <a:ea typeface="Georgia"/>
                  <a:cs typeface="Georgia"/>
                  <a:sym typeface="Georgia"/>
                </a:rPr>
                <a:t>accident</a:t>
              </a:r>
              <a:endParaRPr kumimoji="0" lang="lv-LV" sz="800" b="1" i="0" u="none" strike="noStrike" kern="0" cap="none" spc="0" normalizeH="0" baseline="0" noProof="0" dirty="0">
                <a:ln>
                  <a:noFill/>
                </a:ln>
                <a:solidFill>
                  <a:srgbClr val="000000"/>
                </a:solidFill>
                <a:effectLst/>
                <a:uLnTx/>
                <a:uFillTx/>
                <a:ea typeface="Georgia"/>
                <a:cs typeface="Georgia"/>
                <a:sym typeface="Georgia"/>
              </a:endParaRPr>
            </a:p>
          </p:txBody>
        </p:sp>
        <p:sp>
          <p:nvSpPr>
            <p:cNvPr id="16" name="Rectangle 15">
              <a:extLst>
                <a:ext uri="{FF2B5EF4-FFF2-40B4-BE49-F238E27FC236}">
                  <a16:creationId xmlns:a16="http://schemas.microsoft.com/office/drawing/2014/main" id="{435FB3F2-F062-D3BF-467E-2BA0847C4CD1}"/>
                </a:ext>
              </a:extLst>
            </p:cNvPr>
            <p:cNvSpPr/>
            <p:nvPr/>
          </p:nvSpPr>
          <p:spPr>
            <a:xfrm>
              <a:off x="955040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2</a:t>
              </a:r>
              <a:endParaRPr kumimoji="0" lang="lv-LV" sz="800" b="1" i="0" u="none" strike="noStrike" kern="0" cap="none" spc="0" normalizeH="0" baseline="0" noProof="0">
                <a:ln>
                  <a:noFill/>
                </a:ln>
                <a:effectLst/>
                <a:uLnTx/>
                <a:uFillTx/>
                <a:ea typeface="Georgia"/>
                <a:cs typeface="Georgia"/>
                <a:sym typeface="Georgia"/>
              </a:endParaRPr>
            </a:p>
          </p:txBody>
        </p:sp>
        <p:sp>
          <p:nvSpPr>
            <p:cNvPr id="17" name="Rectangle 16">
              <a:extLst>
                <a:ext uri="{FF2B5EF4-FFF2-40B4-BE49-F238E27FC236}">
                  <a16:creationId xmlns:a16="http://schemas.microsoft.com/office/drawing/2014/main" id="{FFCE4FDE-226B-D948-809E-F95BEAB14EEF}"/>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8" name="Rectangle 17">
              <a:extLst>
                <a:ext uri="{FF2B5EF4-FFF2-40B4-BE49-F238E27FC236}">
                  <a16:creationId xmlns:a16="http://schemas.microsoft.com/office/drawing/2014/main" id="{4C74E6A1-69D4-60F9-9F47-9DE9E3E7E222}"/>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4</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C0F255C5-DDFD-0BA7-A959-A2C9C7E4EF7A}"/>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5073330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B5F8EBF-52CC-2EDB-41E8-3667D4E9C17E}"/>
              </a:ext>
            </a:extLst>
          </p:cNvPr>
          <p:cNvGraphicFramePr>
            <a:graphicFrameLocks noChangeAspect="1"/>
          </p:cNvGraphicFramePr>
          <p:nvPr>
            <p:custDataLst>
              <p:tags r:id="rId1"/>
            </p:custDataLst>
            <p:extLst>
              <p:ext uri="{D42A27DB-BD31-4B8C-83A1-F6EECF244321}">
                <p14:modId xmlns:p14="http://schemas.microsoft.com/office/powerpoint/2010/main" val="3556299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6" name="think-cell data - do not delete" hidden="1">
                        <a:extLst>
                          <a:ext uri="{FF2B5EF4-FFF2-40B4-BE49-F238E27FC236}">
                            <a16:creationId xmlns:a16="http://schemas.microsoft.com/office/drawing/2014/main" id="{8B5F8EBF-52CC-2EDB-41E8-3667D4E9C1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a:extLst>
              <a:ext uri="{FF2B5EF4-FFF2-40B4-BE49-F238E27FC236}">
                <a16:creationId xmlns:a16="http://schemas.microsoft.com/office/drawing/2014/main" id="{C12A4605-BDCD-3C9E-973D-5EC378636C7E}"/>
              </a:ext>
            </a:extLst>
          </p:cNvPr>
          <p:cNvPicPr>
            <a:picLocks noGrp="1" noChangeAspect="1"/>
          </p:cNvPicPr>
          <p:nvPr>
            <p:ph type="pic" sz="quarter" idx="10"/>
          </p:nvPr>
        </p:nvPicPr>
        <p:blipFill>
          <a:blip r:embed="rId6"/>
          <a:srcRect t="21034" b="21034"/>
          <a:stretch>
            <a:fillRect/>
          </a:stretch>
        </p:blipFill>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sp>
        <p:nvSpPr>
          <p:cNvPr id="2" name="Title 1"/>
          <p:cNvSpPr>
            <a:spLocks noGrp="1"/>
          </p:cNvSpPr>
          <p:nvPr>
            <p:ph type="ctrTitle"/>
          </p:nvPr>
        </p:nvSpPr>
        <p:spPr>
          <a:xfrm>
            <a:off x="442913" y="1064850"/>
            <a:ext cx="7418387" cy="2428875"/>
          </a:xfrm>
        </p:spPr>
        <p:txBody>
          <a:bodyPr vert="horz" rtlCol="0">
            <a:normAutofit/>
          </a:bodyPr>
          <a:lstStyle/>
          <a:p>
            <a:pPr rtl="0"/>
            <a:r>
              <a:rPr lang="en-gb" dirty="0"/>
              <a:t>7.3. </a:t>
            </a:r>
            <a:r>
              <a:rPr lang="lv-LV" dirty="0" err="1"/>
              <a:t>Resuscitation</a:t>
            </a:r>
            <a:r>
              <a:rPr lang="lv-LV" dirty="0"/>
              <a:t> </a:t>
            </a:r>
            <a:r>
              <a:rPr lang="en-gb" dirty="0"/>
              <a:t> measures</a:t>
            </a:r>
            <a:endParaRPr lang="en-GB" dirty="0"/>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Tree>
    <p:extLst>
      <p:ext uri="{BB962C8B-B14F-4D97-AF65-F5344CB8AC3E}">
        <p14:creationId xmlns:p14="http://schemas.microsoft.com/office/powerpoint/2010/main" val="767174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2FC370B2-2DA5-53E8-AA4E-CE67427065F6}"/>
              </a:ext>
            </a:extLst>
          </p:cNvPr>
          <p:cNvGraphicFramePr>
            <a:graphicFrameLocks noChangeAspect="1"/>
          </p:cNvGraphicFramePr>
          <p:nvPr>
            <p:custDataLst>
              <p:tags r:id="rId1"/>
            </p:custDataLst>
            <p:extLst>
              <p:ext uri="{D42A27DB-BD31-4B8C-83A1-F6EECF244321}">
                <p14:modId xmlns:p14="http://schemas.microsoft.com/office/powerpoint/2010/main" val="3794083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7" name="think-cell data - do not delete" hidden="1">
                        <a:extLst>
                          <a:ext uri="{FF2B5EF4-FFF2-40B4-BE49-F238E27FC236}">
                            <a16:creationId xmlns:a16="http://schemas.microsoft.com/office/drawing/2014/main" id="{2FC370B2-2DA5-53E8-AA4E-CE67427065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5" name="Picture 84">
            <a:extLst>
              <a:ext uri="{FF2B5EF4-FFF2-40B4-BE49-F238E27FC236}">
                <a16:creationId xmlns:a16="http://schemas.microsoft.com/office/drawing/2014/main" id="{1A4AA579-AB1A-3855-190A-DAD2FE00F873}"/>
              </a:ext>
            </a:extLst>
          </p:cNvPr>
          <p:cNvPicPr>
            <a:picLocks noChangeAspect="1"/>
          </p:cNvPicPr>
          <p:nvPr/>
        </p:nvPicPr>
        <p:blipFill rotWithShape="1">
          <a:blip r:embed="rId6"/>
          <a:srcRect l="26822" t="-1" r="30239" b="-49"/>
          <a:stretch/>
        </p:blipFill>
        <p:spPr>
          <a:xfrm>
            <a:off x="8218488" y="0"/>
            <a:ext cx="3973512" cy="6172200"/>
          </a:xfrm>
          <a:prstGeom prst="rect">
            <a:avLst/>
          </a:prstGeom>
        </p:spPr>
      </p:pic>
      <p:sp>
        <p:nvSpPr>
          <p:cNvPr id="3" name="Title 2">
            <a:extLst>
              <a:ext uri="{FF2B5EF4-FFF2-40B4-BE49-F238E27FC236}">
                <a16:creationId xmlns:a16="http://schemas.microsoft.com/office/drawing/2014/main" id="{18D846C5-0FE1-0722-5504-7D4D452EA64C}"/>
              </a:ext>
            </a:extLst>
          </p:cNvPr>
          <p:cNvSpPr>
            <a:spLocks noGrp="1"/>
          </p:cNvSpPr>
          <p:nvPr>
            <p:ph type="title"/>
          </p:nvPr>
        </p:nvSpPr>
        <p:spPr>
          <a:xfrm>
            <a:off x="442913" y="432000"/>
            <a:ext cx="11306175" cy="1387275"/>
          </a:xfrm>
        </p:spPr>
        <p:txBody>
          <a:bodyPr vert="horz" rtlCol="0"/>
          <a:lstStyle/>
          <a:p>
            <a:pPr rtl="0"/>
            <a:r>
              <a:rPr lang="en-gb" dirty="0"/>
              <a:t>Adult resuscitation algorithm</a:t>
            </a:r>
          </a:p>
        </p:txBody>
      </p:sp>
      <p:sp>
        <p:nvSpPr>
          <p:cNvPr id="4" name="Slide Number Placeholder 3">
            <a:extLst>
              <a:ext uri="{FF2B5EF4-FFF2-40B4-BE49-F238E27FC236}">
                <a16:creationId xmlns:a16="http://schemas.microsoft.com/office/drawing/2014/main" id="{1D0816AF-800B-D4B3-9F92-EA9CA8F47531}"/>
              </a:ext>
            </a:extLst>
          </p:cNvPr>
          <p:cNvSpPr>
            <a:spLocks noGrp="1"/>
          </p:cNvSpPr>
          <p:nvPr>
            <p:ph type="sldNum" sz="quarter" idx="11"/>
          </p:nvPr>
        </p:nvSpPr>
        <p:spPr/>
        <p:txBody>
          <a:bodyPr rtlCol="0"/>
          <a:lstStyle/>
          <a:p>
            <a:pPr rtl="0"/>
            <a:fld id="{7870704B-CE94-48CC-AF30-84932A1262A7}" type="slidenum">
              <a:rPr lang="lv-LV" smtClean="0"/>
              <a:pPr rtl="0"/>
              <a:t>15</a:t>
            </a:fld>
            <a:endParaRPr lang="lv-LV"/>
          </a:p>
        </p:txBody>
      </p:sp>
      <p:sp>
        <p:nvSpPr>
          <p:cNvPr id="10" name="Rounded Rectangle 5">
            <a:extLst>
              <a:ext uri="{FF2B5EF4-FFF2-40B4-BE49-F238E27FC236}">
                <a16:creationId xmlns:a16="http://schemas.microsoft.com/office/drawing/2014/main" id="{C3DFDFF4-18D2-A047-B0B2-4C063F2C571A}"/>
              </a:ext>
            </a:extLst>
          </p:cNvPr>
          <p:cNvSpPr/>
          <p:nvPr/>
        </p:nvSpPr>
        <p:spPr>
          <a:xfrm>
            <a:off x="442912" y="1819274"/>
            <a:ext cx="3529013" cy="288000"/>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0"/>
            <a:r>
              <a:rPr lang="lv-LV" sz="1400" kern="1200" dirty="0" err="1">
                <a:solidFill>
                  <a:schemeClr val="bg1"/>
                </a:solidFill>
                <a:effectLst/>
                <a:ea typeface="Times New Roman" panose="02020603050405020304" pitchFamily="18" charset="0"/>
              </a:rPr>
              <a:t>Unresponsive</a:t>
            </a:r>
            <a:r>
              <a:rPr lang="en-gb" sz="1400" kern="1200" dirty="0">
                <a:solidFill>
                  <a:schemeClr val="bg1"/>
                </a:solidFill>
                <a:effectLst/>
                <a:ea typeface="Times New Roman" panose="02020603050405020304" pitchFamily="18" charset="0"/>
              </a:rPr>
              <a:t>?</a:t>
            </a:r>
            <a:endParaRPr lang="lv-LV" sz="1400" dirty="0">
              <a:solidFill>
                <a:schemeClr val="bg1"/>
              </a:solidFill>
              <a:effectLst/>
              <a:ea typeface="Times New Roman" panose="02020603050405020304" pitchFamily="18" charset="0"/>
            </a:endParaRPr>
          </a:p>
        </p:txBody>
      </p:sp>
      <p:sp>
        <p:nvSpPr>
          <p:cNvPr id="11" name="Rounded Rectangle 7">
            <a:extLst>
              <a:ext uri="{FF2B5EF4-FFF2-40B4-BE49-F238E27FC236}">
                <a16:creationId xmlns:a16="http://schemas.microsoft.com/office/drawing/2014/main" id="{ABB70BD2-60C1-064D-95BB-38DE736A1572}"/>
              </a:ext>
            </a:extLst>
          </p:cNvPr>
          <p:cNvSpPr/>
          <p:nvPr/>
        </p:nvSpPr>
        <p:spPr>
          <a:xfrm>
            <a:off x="4327524" y="1819276"/>
            <a:ext cx="3533775" cy="28800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0"/>
            <a:r>
              <a:rPr lang="en-gb" sz="1400" kern="1200">
                <a:solidFill>
                  <a:srgbClr val="000000"/>
                </a:solidFill>
                <a:effectLst/>
                <a:ea typeface="Times New Roman" panose="02020603050405020304" pitchFamily="18" charset="0"/>
              </a:rPr>
              <a:t>Provide first aid</a:t>
            </a:r>
            <a:endParaRPr lang="lv-LV" sz="1400">
              <a:effectLst/>
              <a:ea typeface="Times New Roman" panose="02020603050405020304" pitchFamily="18" charset="0"/>
            </a:endParaRPr>
          </a:p>
        </p:txBody>
      </p:sp>
      <p:sp>
        <p:nvSpPr>
          <p:cNvPr id="12" name="Rounded Rectangle 9">
            <a:extLst>
              <a:ext uri="{FF2B5EF4-FFF2-40B4-BE49-F238E27FC236}">
                <a16:creationId xmlns:a16="http://schemas.microsoft.com/office/drawing/2014/main" id="{90E04B7C-9E41-4641-A5D6-FF34530482E0}"/>
              </a:ext>
            </a:extLst>
          </p:cNvPr>
          <p:cNvSpPr/>
          <p:nvPr/>
        </p:nvSpPr>
        <p:spPr>
          <a:xfrm>
            <a:off x="442912" y="2327014"/>
            <a:ext cx="3529013" cy="28800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0"/>
            <a:r>
              <a:rPr lang="en-gb" sz="1400" kern="1200">
                <a:solidFill>
                  <a:srgbClr val="000000"/>
                </a:solidFill>
                <a:effectLst/>
                <a:ea typeface="Times New Roman" panose="02020603050405020304" pitchFamily="18" charset="0"/>
              </a:rPr>
              <a:t>Help!</a:t>
            </a:r>
            <a:endParaRPr lang="lv-LV" sz="1400">
              <a:effectLst/>
              <a:ea typeface="Times New Roman" panose="02020603050405020304" pitchFamily="18" charset="0"/>
            </a:endParaRPr>
          </a:p>
        </p:txBody>
      </p:sp>
      <p:sp>
        <p:nvSpPr>
          <p:cNvPr id="13" name="Rounded Rectangle 10">
            <a:extLst>
              <a:ext uri="{FF2B5EF4-FFF2-40B4-BE49-F238E27FC236}">
                <a16:creationId xmlns:a16="http://schemas.microsoft.com/office/drawing/2014/main" id="{FFA0AA22-B08B-7F4A-B365-587EEE2D842D}"/>
              </a:ext>
            </a:extLst>
          </p:cNvPr>
          <p:cNvSpPr/>
          <p:nvPr/>
        </p:nvSpPr>
        <p:spPr>
          <a:xfrm>
            <a:off x="442912" y="2834754"/>
            <a:ext cx="3529013" cy="28800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0"/>
            <a:r>
              <a:rPr lang="en-gb" sz="1400" kern="1200">
                <a:solidFill>
                  <a:srgbClr val="000000"/>
                </a:solidFill>
                <a:effectLst/>
                <a:ea typeface="Times New Roman" panose="02020603050405020304" pitchFamily="18" charset="0"/>
              </a:rPr>
              <a:t>Clear the airways</a:t>
            </a:r>
            <a:endParaRPr lang="lv-LV" sz="1400">
              <a:effectLst/>
              <a:ea typeface="Times New Roman" panose="02020603050405020304" pitchFamily="18" charset="0"/>
            </a:endParaRPr>
          </a:p>
        </p:txBody>
      </p:sp>
      <p:sp>
        <p:nvSpPr>
          <p:cNvPr id="15" name="Rounded Rectangle 12">
            <a:extLst>
              <a:ext uri="{FF2B5EF4-FFF2-40B4-BE49-F238E27FC236}">
                <a16:creationId xmlns:a16="http://schemas.microsoft.com/office/drawing/2014/main" id="{817192BF-33DA-6E42-944F-7B2F09E52C43}"/>
              </a:ext>
            </a:extLst>
          </p:cNvPr>
          <p:cNvSpPr/>
          <p:nvPr/>
        </p:nvSpPr>
        <p:spPr>
          <a:xfrm>
            <a:off x="442912" y="3342494"/>
            <a:ext cx="3529013" cy="28800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0"/>
            <a:r>
              <a:rPr lang="en-gb" sz="1400" kern="1200">
                <a:solidFill>
                  <a:srgbClr val="000000"/>
                </a:solidFill>
                <a:effectLst/>
                <a:ea typeface="Times New Roman" panose="02020603050405020304" pitchFamily="18" charset="0"/>
              </a:rPr>
              <a:t>Respiratory control</a:t>
            </a:r>
            <a:endParaRPr lang="lv-LV" sz="1400">
              <a:effectLst/>
              <a:ea typeface="Times New Roman" panose="02020603050405020304" pitchFamily="18" charset="0"/>
            </a:endParaRPr>
          </a:p>
        </p:txBody>
      </p:sp>
      <p:sp>
        <p:nvSpPr>
          <p:cNvPr id="16" name="Rounded Rectangle 14">
            <a:extLst>
              <a:ext uri="{FF2B5EF4-FFF2-40B4-BE49-F238E27FC236}">
                <a16:creationId xmlns:a16="http://schemas.microsoft.com/office/drawing/2014/main" id="{2AA0056B-1B3F-9647-9399-DD6B5207FA3B}"/>
              </a:ext>
            </a:extLst>
          </p:cNvPr>
          <p:cNvSpPr/>
          <p:nvPr/>
        </p:nvSpPr>
        <p:spPr>
          <a:xfrm>
            <a:off x="442912" y="3850234"/>
            <a:ext cx="3529013" cy="288000"/>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0"/>
            <a:r>
              <a:rPr lang="lv-LV" sz="1400" kern="1200" dirty="0" err="1">
                <a:solidFill>
                  <a:schemeClr val="bg1"/>
                </a:solidFill>
                <a:effectLst/>
                <a:ea typeface="Times New Roman" panose="02020603050405020304" pitchFamily="18" charset="0"/>
              </a:rPr>
              <a:t>Breathing</a:t>
            </a:r>
            <a:r>
              <a:rPr lang="en-gb" sz="1400" kern="1200" dirty="0">
                <a:solidFill>
                  <a:schemeClr val="bg1"/>
                </a:solidFill>
                <a:effectLst/>
                <a:ea typeface="Times New Roman" panose="02020603050405020304" pitchFamily="18" charset="0"/>
              </a:rPr>
              <a:t>?</a:t>
            </a:r>
            <a:endParaRPr lang="lv-LV" sz="1400" dirty="0">
              <a:solidFill>
                <a:schemeClr val="bg1"/>
              </a:solidFill>
              <a:effectLst/>
              <a:ea typeface="Times New Roman" panose="02020603050405020304" pitchFamily="18" charset="0"/>
            </a:endParaRPr>
          </a:p>
        </p:txBody>
      </p:sp>
      <p:sp>
        <p:nvSpPr>
          <p:cNvPr id="17" name="Rounded Rectangle 16">
            <a:extLst>
              <a:ext uri="{FF2B5EF4-FFF2-40B4-BE49-F238E27FC236}">
                <a16:creationId xmlns:a16="http://schemas.microsoft.com/office/drawing/2014/main" id="{C1683A97-5B75-9940-AD67-614A9DFD6627}"/>
              </a:ext>
            </a:extLst>
          </p:cNvPr>
          <p:cNvSpPr/>
          <p:nvPr/>
        </p:nvSpPr>
        <p:spPr>
          <a:xfrm>
            <a:off x="442912" y="4865714"/>
            <a:ext cx="3529013" cy="28800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0"/>
            <a:r>
              <a:rPr lang="en-gb" sz="1400" kern="1200">
                <a:solidFill>
                  <a:srgbClr val="000000"/>
                </a:solidFill>
                <a:effectLst/>
                <a:ea typeface="Times New Roman" panose="02020603050405020304" pitchFamily="18" charset="0"/>
              </a:rPr>
              <a:t>Stable side posture</a:t>
            </a:r>
            <a:endParaRPr lang="lv-LV" sz="1400">
              <a:effectLst/>
              <a:ea typeface="Times New Roman" panose="02020603050405020304" pitchFamily="18" charset="0"/>
            </a:endParaRPr>
          </a:p>
        </p:txBody>
      </p:sp>
      <p:sp>
        <p:nvSpPr>
          <p:cNvPr id="18" name="Rounded Rectangle 17">
            <a:extLst>
              <a:ext uri="{FF2B5EF4-FFF2-40B4-BE49-F238E27FC236}">
                <a16:creationId xmlns:a16="http://schemas.microsoft.com/office/drawing/2014/main" id="{E4C5F8F0-E4BD-274A-8190-28583D21E512}"/>
              </a:ext>
            </a:extLst>
          </p:cNvPr>
          <p:cNvSpPr/>
          <p:nvPr/>
        </p:nvSpPr>
        <p:spPr>
          <a:xfrm>
            <a:off x="442912" y="5373454"/>
            <a:ext cx="3529013" cy="28800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0"/>
            <a:r>
              <a:rPr lang="en-gb" sz="1400" kern="1200" dirty="0">
                <a:solidFill>
                  <a:srgbClr val="000000"/>
                </a:solidFill>
                <a:effectLst/>
                <a:ea typeface="Times New Roman" panose="02020603050405020304" pitchFamily="18" charset="0"/>
              </a:rPr>
              <a:t>Call </a:t>
            </a:r>
            <a:r>
              <a:rPr lang="lv-LV" sz="1400" kern="1200" dirty="0">
                <a:solidFill>
                  <a:srgbClr val="000000"/>
                </a:solidFill>
                <a:effectLst/>
                <a:ea typeface="Times New Roman" panose="02020603050405020304" pitchFamily="18" charset="0"/>
              </a:rPr>
              <a:t>113</a:t>
            </a:r>
            <a:endParaRPr lang="lv-LV" sz="1400" dirty="0">
              <a:effectLst/>
              <a:ea typeface="Times New Roman" panose="02020603050405020304" pitchFamily="18" charset="0"/>
            </a:endParaRPr>
          </a:p>
        </p:txBody>
      </p:sp>
      <p:sp>
        <p:nvSpPr>
          <p:cNvPr id="23" name="Rounded Rectangle 23">
            <a:extLst>
              <a:ext uri="{FF2B5EF4-FFF2-40B4-BE49-F238E27FC236}">
                <a16:creationId xmlns:a16="http://schemas.microsoft.com/office/drawing/2014/main" id="{1DFA226E-CAF3-2D42-AC96-11A51BD07541}"/>
              </a:ext>
            </a:extLst>
          </p:cNvPr>
          <p:cNvSpPr/>
          <p:nvPr/>
        </p:nvSpPr>
        <p:spPr>
          <a:xfrm>
            <a:off x="4327524" y="3849309"/>
            <a:ext cx="3533775" cy="288925"/>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0"/>
            <a:r>
              <a:rPr lang="en-gb" sz="1400" kern="1200" dirty="0">
                <a:solidFill>
                  <a:srgbClr val="000000"/>
                </a:solidFill>
                <a:effectLst/>
                <a:ea typeface="Times New Roman" panose="02020603050405020304" pitchFamily="18" charset="0"/>
              </a:rPr>
              <a:t>Call </a:t>
            </a:r>
            <a:r>
              <a:rPr lang="lv-LV" sz="1400" kern="1200" dirty="0">
                <a:solidFill>
                  <a:srgbClr val="000000"/>
                </a:solidFill>
                <a:effectLst/>
                <a:ea typeface="Times New Roman" panose="02020603050405020304" pitchFamily="18" charset="0"/>
              </a:rPr>
              <a:t>113</a:t>
            </a:r>
            <a:r>
              <a:rPr lang="en-gb" sz="1400" kern="1200" dirty="0">
                <a:solidFill>
                  <a:srgbClr val="000000"/>
                </a:solidFill>
                <a:effectLst/>
                <a:ea typeface="Times New Roman" panose="02020603050405020304" pitchFamily="18" charset="0"/>
              </a:rPr>
              <a:t> /</a:t>
            </a:r>
            <a:r>
              <a:rPr lang="en-gb" sz="1400" dirty="0">
                <a:solidFill>
                  <a:srgbClr val="000000"/>
                </a:solidFill>
                <a:ea typeface="Times New Roman" panose="02020603050405020304" pitchFamily="18" charset="0"/>
              </a:rPr>
              <a:t> </a:t>
            </a:r>
            <a:r>
              <a:rPr lang="en-gb" sz="1400" kern="1200" dirty="0">
                <a:solidFill>
                  <a:srgbClr val="000000"/>
                </a:solidFill>
                <a:effectLst/>
                <a:ea typeface="Times New Roman" panose="02020603050405020304" pitchFamily="18" charset="0"/>
              </a:rPr>
              <a:t>Have an AED brought</a:t>
            </a:r>
            <a:endParaRPr lang="lv-LV" sz="1400" dirty="0">
              <a:effectLst/>
              <a:ea typeface="Times New Roman" panose="02020603050405020304" pitchFamily="18" charset="0"/>
            </a:endParaRPr>
          </a:p>
        </p:txBody>
      </p:sp>
      <p:sp>
        <p:nvSpPr>
          <p:cNvPr id="24" name="Rounded Rectangle 24">
            <a:extLst>
              <a:ext uri="{FF2B5EF4-FFF2-40B4-BE49-F238E27FC236}">
                <a16:creationId xmlns:a16="http://schemas.microsoft.com/office/drawing/2014/main" id="{10B15265-346F-0349-AF94-74C872CA65DD}"/>
              </a:ext>
            </a:extLst>
          </p:cNvPr>
          <p:cNvSpPr/>
          <p:nvPr/>
        </p:nvSpPr>
        <p:spPr>
          <a:xfrm>
            <a:off x="4327524" y="4357974"/>
            <a:ext cx="3533775" cy="28800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0"/>
            <a:r>
              <a:rPr lang="en-gb" sz="1400" kern="1200" dirty="0">
                <a:solidFill>
                  <a:srgbClr val="000000"/>
                </a:solidFill>
                <a:effectLst/>
                <a:ea typeface="Times New Roman" panose="02020603050405020304" pitchFamily="18" charset="0"/>
              </a:rPr>
              <a:t>30 </a:t>
            </a:r>
            <a:r>
              <a:rPr lang="lv-LV" sz="1400" kern="1200" dirty="0" err="1">
                <a:solidFill>
                  <a:srgbClr val="000000"/>
                </a:solidFill>
                <a:effectLst/>
                <a:ea typeface="Times New Roman" panose="02020603050405020304" pitchFamily="18" charset="0"/>
              </a:rPr>
              <a:t>chest</a:t>
            </a:r>
            <a:r>
              <a:rPr lang="lv-LV" sz="1400" kern="1200" dirty="0">
                <a:solidFill>
                  <a:srgbClr val="000000"/>
                </a:solidFill>
                <a:effectLst/>
                <a:ea typeface="Times New Roman" panose="02020603050405020304" pitchFamily="18" charset="0"/>
              </a:rPr>
              <a:t> </a:t>
            </a:r>
            <a:r>
              <a:rPr lang="lv-LV" sz="1400" kern="1200" dirty="0" err="1">
                <a:solidFill>
                  <a:srgbClr val="000000"/>
                </a:solidFill>
                <a:effectLst/>
                <a:ea typeface="Times New Roman" panose="02020603050405020304" pitchFamily="18" charset="0"/>
              </a:rPr>
              <a:t>compressions</a:t>
            </a:r>
            <a:endParaRPr lang="lv-LV" sz="1400" dirty="0">
              <a:effectLst/>
              <a:ea typeface="Times New Roman" panose="02020603050405020304" pitchFamily="18" charset="0"/>
            </a:endParaRPr>
          </a:p>
        </p:txBody>
      </p:sp>
      <p:sp>
        <p:nvSpPr>
          <p:cNvPr id="25" name="Rounded Rectangle 25">
            <a:extLst>
              <a:ext uri="{FF2B5EF4-FFF2-40B4-BE49-F238E27FC236}">
                <a16:creationId xmlns:a16="http://schemas.microsoft.com/office/drawing/2014/main" id="{73F30B4C-A440-674A-9472-8F1EB39DA9F2}"/>
              </a:ext>
            </a:extLst>
          </p:cNvPr>
          <p:cNvSpPr/>
          <p:nvPr/>
        </p:nvSpPr>
        <p:spPr>
          <a:xfrm>
            <a:off x="4327524" y="4865714"/>
            <a:ext cx="3533775" cy="28800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0"/>
            <a:r>
              <a:rPr lang="en-gb" sz="1400" kern="1200" dirty="0">
                <a:solidFill>
                  <a:srgbClr val="000000"/>
                </a:solidFill>
                <a:effectLst/>
                <a:ea typeface="Times New Roman" panose="02020603050405020304" pitchFamily="18" charset="0"/>
              </a:rPr>
              <a:t>2 </a:t>
            </a:r>
            <a:r>
              <a:rPr lang="lv-LV" sz="1400" kern="1200" dirty="0" err="1">
                <a:solidFill>
                  <a:srgbClr val="000000"/>
                </a:solidFill>
                <a:effectLst/>
                <a:ea typeface="Times New Roman" panose="02020603050405020304" pitchFamily="18" charset="0"/>
              </a:rPr>
              <a:t>breaths</a:t>
            </a:r>
            <a:endParaRPr lang="lv-LV" sz="1400" dirty="0">
              <a:effectLst/>
              <a:ea typeface="Times New Roman" panose="02020603050405020304" pitchFamily="18" charset="0"/>
            </a:endParaRPr>
          </a:p>
        </p:txBody>
      </p:sp>
      <p:sp>
        <p:nvSpPr>
          <p:cNvPr id="26" name="Rounded Rectangle 26">
            <a:extLst>
              <a:ext uri="{FF2B5EF4-FFF2-40B4-BE49-F238E27FC236}">
                <a16:creationId xmlns:a16="http://schemas.microsoft.com/office/drawing/2014/main" id="{8B070493-BB90-AA4F-AE2F-427F4E058BD7}"/>
              </a:ext>
            </a:extLst>
          </p:cNvPr>
          <p:cNvSpPr/>
          <p:nvPr/>
        </p:nvSpPr>
        <p:spPr>
          <a:xfrm>
            <a:off x="4327524" y="5373454"/>
            <a:ext cx="3533775" cy="28800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rtl="0"/>
            <a:r>
              <a:rPr lang="en-gb" sz="1400" kern="1200" spc="-50" dirty="0">
                <a:solidFill>
                  <a:srgbClr val="000000"/>
                </a:solidFill>
                <a:effectLst/>
                <a:ea typeface="Times New Roman" panose="02020603050405020304" pitchFamily="18" charset="0"/>
              </a:rPr>
              <a:t>Continue </a:t>
            </a:r>
            <a:r>
              <a:rPr lang="lv-LV" sz="1400" kern="1200" spc="-50" dirty="0" err="1">
                <a:solidFill>
                  <a:srgbClr val="000000"/>
                </a:solidFill>
                <a:effectLst/>
                <a:ea typeface="Times New Roman" panose="02020603050405020304" pitchFamily="18" charset="0"/>
              </a:rPr>
              <a:t>chest</a:t>
            </a:r>
            <a:r>
              <a:rPr lang="lv-LV" sz="1400" kern="1200" spc="-50" dirty="0">
                <a:solidFill>
                  <a:srgbClr val="000000"/>
                </a:solidFill>
                <a:effectLst/>
                <a:ea typeface="Times New Roman" panose="02020603050405020304" pitchFamily="18" charset="0"/>
              </a:rPr>
              <a:t> </a:t>
            </a:r>
            <a:r>
              <a:rPr lang="lv-LV" sz="1400" kern="1200" spc="-50" dirty="0" err="1">
                <a:solidFill>
                  <a:srgbClr val="000000"/>
                </a:solidFill>
                <a:effectLst/>
                <a:ea typeface="Times New Roman" panose="02020603050405020304" pitchFamily="18" charset="0"/>
              </a:rPr>
              <a:t>compressions</a:t>
            </a:r>
            <a:r>
              <a:rPr lang="lv-LV" sz="1400" kern="1200" spc="-50" dirty="0">
                <a:solidFill>
                  <a:srgbClr val="000000"/>
                </a:solidFill>
                <a:effectLst/>
                <a:ea typeface="Times New Roman" panose="02020603050405020304" pitchFamily="18" charset="0"/>
              </a:rPr>
              <a:t> </a:t>
            </a:r>
            <a:r>
              <a:rPr lang="lv-LV" sz="1400" kern="1200" spc="-50" dirty="0" err="1">
                <a:solidFill>
                  <a:srgbClr val="000000"/>
                </a:solidFill>
                <a:effectLst/>
                <a:ea typeface="Times New Roman" panose="02020603050405020304" pitchFamily="18" charset="0"/>
              </a:rPr>
              <a:t>and</a:t>
            </a:r>
            <a:r>
              <a:rPr lang="en-gb" sz="1400" kern="1200" spc="-50" dirty="0">
                <a:solidFill>
                  <a:srgbClr val="000000"/>
                </a:solidFill>
                <a:effectLst/>
                <a:ea typeface="Times New Roman" panose="02020603050405020304" pitchFamily="18" charset="0"/>
              </a:rPr>
              <a:t> </a:t>
            </a:r>
            <a:r>
              <a:rPr lang="lv-LV" sz="1400" kern="1200" spc="-50" dirty="0" err="1">
                <a:solidFill>
                  <a:srgbClr val="000000"/>
                </a:solidFill>
                <a:effectLst/>
                <a:ea typeface="Times New Roman" panose="02020603050405020304" pitchFamily="18" charset="0"/>
              </a:rPr>
              <a:t>breaths</a:t>
            </a:r>
            <a:r>
              <a:rPr lang="en-gb" sz="1400" kern="1200" spc="-50" dirty="0">
                <a:solidFill>
                  <a:srgbClr val="000000"/>
                </a:solidFill>
                <a:effectLst/>
                <a:ea typeface="Times New Roman" panose="02020603050405020304" pitchFamily="18" charset="0"/>
              </a:rPr>
              <a:t> </a:t>
            </a:r>
            <a:r>
              <a:rPr lang="lv-LV" sz="1400" kern="1200" spc="-50" dirty="0">
                <a:solidFill>
                  <a:srgbClr val="000000"/>
                </a:solidFill>
                <a:effectLst/>
                <a:ea typeface="Times New Roman" panose="02020603050405020304" pitchFamily="18" charset="0"/>
              </a:rPr>
              <a:t>(</a:t>
            </a:r>
            <a:r>
              <a:rPr lang="en-gb" sz="1400" kern="1200" spc="-50" dirty="0">
                <a:solidFill>
                  <a:srgbClr val="000000"/>
                </a:solidFill>
                <a:effectLst/>
                <a:ea typeface="Times New Roman" panose="02020603050405020304" pitchFamily="18" charset="0"/>
              </a:rPr>
              <a:t>30:2</a:t>
            </a:r>
            <a:r>
              <a:rPr lang="lv-LV" sz="1400" kern="1200" spc="-50" dirty="0">
                <a:solidFill>
                  <a:srgbClr val="000000"/>
                </a:solidFill>
                <a:effectLst/>
                <a:ea typeface="Times New Roman" panose="02020603050405020304" pitchFamily="18" charset="0"/>
              </a:rPr>
              <a:t>)</a:t>
            </a:r>
            <a:r>
              <a:rPr lang="en-gb" sz="1400" kern="1200" spc="-50" dirty="0">
                <a:solidFill>
                  <a:srgbClr val="000000"/>
                </a:solidFill>
                <a:effectLst/>
                <a:ea typeface="Times New Roman" panose="02020603050405020304" pitchFamily="18" charset="0"/>
              </a:rPr>
              <a:t> </a:t>
            </a:r>
            <a:endParaRPr lang="lv-LV" sz="1400" spc="-50" dirty="0">
              <a:effectLst/>
              <a:ea typeface="Times New Roman" panose="02020603050405020304" pitchFamily="18" charset="0"/>
            </a:endParaRPr>
          </a:p>
        </p:txBody>
      </p:sp>
      <p:sp>
        <p:nvSpPr>
          <p:cNvPr id="9" name="Rounded Rectangle 3">
            <a:extLst>
              <a:ext uri="{FF2B5EF4-FFF2-40B4-BE49-F238E27FC236}">
                <a16:creationId xmlns:a16="http://schemas.microsoft.com/office/drawing/2014/main" id="{A2B233A5-ED06-3246-BD46-B7B39150B709}"/>
              </a:ext>
            </a:extLst>
          </p:cNvPr>
          <p:cNvSpPr/>
          <p:nvPr/>
        </p:nvSpPr>
        <p:spPr>
          <a:xfrm>
            <a:off x="4327524" y="5881191"/>
            <a:ext cx="3533775" cy="28800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0"/>
            <a:r>
              <a:rPr lang="en-gb" sz="1400" kern="1200">
                <a:solidFill>
                  <a:srgbClr val="000000"/>
                </a:solidFill>
                <a:effectLst/>
                <a:ea typeface="Times New Roman" panose="02020603050405020304" pitchFamily="18" charset="0"/>
              </a:rPr>
              <a:t>Switch on the AAD, follow its commands </a:t>
            </a:r>
            <a:endParaRPr lang="lv-LV" sz="1400">
              <a:effectLst/>
              <a:ea typeface="Times New Roman" panose="02020603050405020304" pitchFamily="18" charset="0"/>
            </a:endParaRPr>
          </a:p>
        </p:txBody>
      </p:sp>
      <p:cxnSp>
        <p:nvCxnSpPr>
          <p:cNvPr id="37" name="Straight Arrow Connector 36">
            <a:extLst>
              <a:ext uri="{FF2B5EF4-FFF2-40B4-BE49-F238E27FC236}">
                <a16:creationId xmlns:a16="http://schemas.microsoft.com/office/drawing/2014/main" id="{7C7236BE-4ADF-8153-6B39-AEF796CC913C}"/>
              </a:ext>
            </a:extLst>
          </p:cNvPr>
          <p:cNvCxnSpPr>
            <a:cxnSpLocks/>
            <a:stCxn id="10" idx="3"/>
            <a:endCxn id="11" idx="1"/>
          </p:cNvCxnSpPr>
          <p:nvPr/>
        </p:nvCxnSpPr>
        <p:spPr>
          <a:xfrm>
            <a:off x="3971925" y="1963274"/>
            <a:ext cx="355599" cy="2"/>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43" name="Straight Arrow Connector 42">
            <a:extLst>
              <a:ext uri="{FF2B5EF4-FFF2-40B4-BE49-F238E27FC236}">
                <a16:creationId xmlns:a16="http://schemas.microsoft.com/office/drawing/2014/main" id="{72A0F912-B6F6-C429-1D73-5F944261C21E}"/>
              </a:ext>
            </a:extLst>
          </p:cNvPr>
          <p:cNvCxnSpPr>
            <a:stCxn id="23" idx="2"/>
            <a:endCxn id="24" idx="0"/>
          </p:cNvCxnSpPr>
          <p:nvPr/>
        </p:nvCxnSpPr>
        <p:spPr>
          <a:xfrm>
            <a:off x="6094412" y="4138234"/>
            <a:ext cx="0" cy="219740"/>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45" name="Straight Arrow Connector 44">
            <a:extLst>
              <a:ext uri="{FF2B5EF4-FFF2-40B4-BE49-F238E27FC236}">
                <a16:creationId xmlns:a16="http://schemas.microsoft.com/office/drawing/2014/main" id="{98FC76CB-92CA-79EB-0FCC-0279B07E4868}"/>
              </a:ext>
            </a:extLst>
          </p:cNvPr>
          <p:cNvCxnSpPr>
            <a:stCxn id="24" idx="2"/>
            <a:endCxn id="25" idx="0"/>
          </p:cNvCxnSpPr>
          <p:nvPr/>
        </p:nvCxnSpPr>
        <p:spPr>
          <a:xfrm>
            <a:off x="6094412" y="4645974"/>
            <a:ext cx="0" cy="219740"/>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47" name="Straight Arrow Connector 46">
            <a:extLst>
              <a:ext uri="{FF2B5EF4-FFF2-40B4-BE49-F238E27FC236}">
                <a16:creationId xmlns:a16="http://schemas.microsoft.com/office/drawing/2014/main" id="{8B8F284E-EAB2-AD04-A11A-3A260CFADB81}"/>
              </a:ext>
            </a:extLst>
          </p:cNvPr>
          <p:cNvCxnSpPr>
            <a:stCxn id="25" idx="2"/>
            <a:endCxn id="26" idx="0"/>
          </p:cNvCxnSpPr>
          <p:nvPr/>
        </p:nvCxnSpPr>
        <p:spPr>
          <a:xfrm>
            <a:off x="6094412" y="5153714"/>
            <a:ext cx="0" cy="219740"/>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49" name="Straight Arrow Connector 48">
            <a:extLst>
              <a:ext uri="{FF2B5EF4-FFF2-40B4-BE49-F238E27FC236}">
                <a16:creationId xmlns:a16="http://schemas.microsoft.com/office/drawing/2014/main" id="{21BD98F9-4C54-5F05-8131-645F83133AD1}"/>
              </a:ext>
            </a:extLst>
          </p:cNvPr>
          <p:cNvCxnSpPr>
            <a:stCxn id="26" idx="2"/>
            <a:endCxn id="9" idx="0"/>
          </p:cNvCxnSpPr>
          <p:nvPr/>
        </p:nvCxnSpPr>
        <p:spPr>
          <a:xfrm>
            <a:off x="6094412" y="5661454"/>
            <a:ext cx="0" cy="219737"/>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51" name="Straight Arrow Connector 50">
            <a:extLst>
              <a:ext uri="{FF2B5EF4-FFF2-40B4-BE49-F238E27FC236}">
                <a16:creationId xmlns:a16="http://schemas.microsoft.com/office/drawing/2014/main" id="{A247581D-B16A-3BCD-B844-5699CF8A122C}"/>
              </a:ext>
            </a:extLst>
          </p:cNvPr>
          <p:cNvCxnSpPr>
            <a:cxnSpLocks/>
            <a:stCxn id="16" idx="2"/>
            <a:endCxn id="17" idx="0"/>
          </p:cNvCxnSpPr>
          <p:nvPr/>
        </p:nvCxnSpPr>
        <p:spPr>
          <a:xfrm>
            <a:off x="2207419" y="4138234"/>
            <a:ext cx="0" cy="727480"/>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53" name="Straight Arrow Connector 52">
            <a:extLst>
              <a:ext uri="{FF2B5EF4-FFF2-40B4-BE49-F238E27FC236}">
                <a16:creationId xmlns:a16="http://schemas.microsoft.com/office/drawing/2014/main" id="{AC15A7FB-62D3-912B-C6CE-5B0703B74AC4}"/>
              </a:ext>
            </a:extLst>
          </p:cNvPr>
          <p:cNvCxnSpPr>
            <a:cxnSpLocks/>
            <a:stCxn id="17" idx="2"/>
            <a:endCxn id="18" idx="0"/>
          </p:cNvCxnSpPr>
          <p:nvPr/>
        </p:nvCxnSpPr>
        <p:spPr>
          <a:xfrm>
            <a:off x="2207419" y="5153714"/>
            <a:ext cx="0" cy="219740"/>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55" name="Straight Arrow Connector 54">
            <a:extLst>
              <a:ext uri="{FF2B5EF4-FFF2-40B4-BE49-F238E27FC236}">
                <a16:creationId xmlns:a16="http://schemas.microsoft.com/office/drawing/2014/main" id="{3F9B2E66-F81E-035C-3417-93CBB049A98A}"/>
              </a:ext>
            </a:extLst>
          </p:cNvPr>
          <p:cNvCxnSpPr>
            <a:cxnSpLocks/>
            <a:stCxn id="10" idx="2"/>
            <a:endCxn id="12" idx="0"/>
          </p:cNvCxnSpPr>
          <p:nvPr/>
        </p:nvCxnSpPr>
        <p:spPr>
          <a:xfrm>
            <a:off x="2207419" y="2107274"/>
            <a:ext cx="0" cy="219740"/>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57" name="Straight Arrow Connector 56">
            <a:extLst>
              <a:ext uri="{FF2B5EF4-FFF2-40B4-BE49-F238E27FC236}">
                <a16:creationId xmlns:a16="http://schemas.microsoft.com/office/drawing/2014/main" id="{F235514F-D8B3-0248-2D25-0B8582D92491}"/>
              </a:ext>
            </a:extLst>
          </p:cNvPr>
          <p:cNvCxnSpPr>
            <a:cxnSpLocks/>
            <a:stCxn id="12" idx="2"/>
            <a:endCxn id="13" idx="0"/>
          </p:cNvCxnSpPr>
          <p:nvPr/>
        </p:nvCxnSpPr>
        <p:spPr>
          <a:xfrm>
            <a:off x="2207419" y="2615014"/>
            <a:ext cx="0" cy="219740"/>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59" name="Straight Arrow Connector 58">
            <a:extLst>
              <a:ext uri="{FF2B5EF4-FFF2-40B4-BE49-F238E27FC236}">
                <a16:creationId xmlns:a16="http://schemas.microsoft.com/office/drawing/2014/main" id="{20A81309-2578-4335-8652-0E400C879DBE}"/>
              </a:ext>
            </a:extLst>
          </p:cNvPr>
          <p:cNvCxnSpPr>
            <a:cxnSpLocks/>
            <a:stCxn id="13" idx="2"/>
            <a:endCxn id="15" idx="0"/>
          </p:cNvCxnSpPr>
          <p:nvPr/>
        </p:nvCxnSpPr>
        <p:spPr>
          <a:xfrm>
            <a:off x="2207419" y="3122754"/>
            <a:ext cx="0" cy="219740"/>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61" name="Straight Arrow Connector 60">
            <a:extLst>
              <a:ext uri="{FF2B5EF4-FFF2-40B4-BE49-F238E27FC236}">
                <a16:creationId xmlns:a16="http://schemas.microsoft.com/office/drawing/2014/main" id="{FCB0AFCF-B4F3-24DA-9277-A13964EAFAC5}"/>
              </a:ext>
            </a:extLst>
          </p:cNvPr>
          <p:cNvCxnSpPr>
            <a:cxnSpLocks/>
            <a:stCxn id="15" idx="2"/>
            <a:endCxn id="16" idx="0"/>
          </p:cNvCxnSpPr>
          <p:nvPr/>
        </p:nvCxnSpPr>
        <p:spPr>
          <a:xfrm>
            <a:off x="2207419" y="3630494"/>
            <a:ext cx="0" cy="219740"/>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62" name="Straight Arrow Connector 61">
            <a:extLst>
              <a:ext uri="{FF2B5EF4-FFF2-40B4-BE49-F238E27FC236}">
                <a16:creationId xmlns:a16="http://schemas.microsoft.com/office/drawing/2014/main" id="{B56D4A98-332F-9244-0753-E78F9E7502E4}"/>
              </a:ext>
            </a:extLst>
          </p:cNvPr>
          <p:cNvCxnSpPr>
            <a:cxnSpLocks/>
            <a:stCxn id="16" idx="3"/>
            <a:endCxn id="23" idx="1"/>
          </p:cNvCxnSpPr>
          <p:nvPr/>
        </p:nvCxnSpPr>
        <p:spPr>
          <a:xfrm flipV="1">
            <a:off x="3971925" y="3993772"/>
            <a:ext cx="355599" cy="462"/>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sp>
        <p:nvSpPr>
          <p:cNvPr id="80" name="TextBox 79">
            <a:extLst>
              <a:ext uri="{FF2B5EF4-FFF2-40B4-BE49-F238E27FC236}">
                <a16:creationId xmlns:a16="http://schemas.microsoft.com/office/drawing/2014/main" id="{33F3258F-AFEA-7716-88A9-DEF866DBB873}"/>
              </a:ext>
            </a:extLst>
          </p:cNvPr>
          <p:cNvSpPr txBox="1"/>
          <p:nvPr/>
        </p:nvSpPr>
        <p:spPr>
          <a:xfrm>
            <a:off x="2258466" y="2073475"/>
            <a:ext cx="360000" cy="287338"/>
          </a:xfrm>
          <a:prstGeom prst="rect">
            <a:avLst/>
          </a:prstGeom>
          <a:noFill/>
        </p:spPr>
        <p:txBody>
          <a:bodyPr wrap="square" lIns="0" tIns="0" rIns="0" bIns="0" rtlCol="0" anchor="ctr">
            <a:noAutofit/>
          </a:bodyPr>
          <a:lstStyle/>
          <a:p>
            <a:pPr algn="ctr" rtl="0"/>
            <a:r>
              <a:rPr lang="en-gb" sz="1400">
                <a:solidFill>
                  <a:schemeClr val="accent2"/>
                </a:solidFill>
              </a:rPr>
              <a:t>Yes</a:t>
            </a:r>
          </a:p>
        </p:txBody>
      </p:sp>
      <p:sp>
        <p:nvSpPr>
          <p:cNvPr id="81" name="TextBox 80">
            <a:extLst>
              <a:ext uri="{FF2B5EF4-FFF2-40B4-BE49-F238E27FC236}">
                <a16:creationId xmlns:a16="http://schemas.microsoft.com/office/drawing/2014/main" id="{03A635FF-A78F-8735-A808-281BDB5E3F81}"/>
              </a:ext>
            </a:extLst>
          </p:cNvPr>
          <p:cNvSpPr txBox="1"/>
          <p:nvPr/>
        </p:nvSpPr>
        <p:spPr>
          <a:xfrm>
            <a:off x="2258466" y="4358305"/>
            <a:ext cx="360000" cy="287338"/>
          </a:xfrm>
          <a:prstGeom prst="rect">
            <a:avLst/>
          </a:prstGeom>
          <a:noFill/>
        </p:spPr>
        <p:txBody>
          <a:bodyPr wrap="square" lIns="0" tIns="0" rIns="0" bIns="0" rtlCol="0" anchor="ctr">
            <a:noAutofit/>
          </a:bodyPr>
          <a:lstStyle/>
          <a:p>
            <a:pPr algn="ctr" rtl="0"/>
            <a:r>
              <a:rPr lang="en-gb" sz="1400">
                <a:solidFill>
                  <a:schemeClr val="accent2"/>
                </a:solidFill>
              </a:rPr>
              <a:t>Yes</a:t>
            </a:r>
          </a:p>
        </p:txBody>
      </p:sp>
      <p:sp>
        <p:nvSpPr>
          <p:cNvPr id="82" name="TextBox 81">
            <a:extLst>
              <a:ext uri="{FF2B5EF4-FFF2-40B4-BE49-F238E27FC236}">
                <a16:creationId xmlns:a16="http://schemas.microsoft.com/office/drawing/2014/main" id="{65B4A675-6657-816B-877E-77046FB90EDE}"/>
              </a:ext>
            </a:extLst>
          </p:cNvPr>
          <p:cNvSpPr txBox="1"/>
          <p:nvPr/>
        </p:nvSpPr>
        <p:spPr>
          <a:xfrm>
            <a:off x="3926068" y="1727254"/>
            <a:ext cx="360000" cy="287338"/>
          </a:xfrm>
          <a:prstGeom prst="rect">
            <a:avLst/>
          </a:prstGeom>
          <a:noFill/>
        </p:spPr>
        <p:txBody>
          <a:bodyPr wrap="square" lIns="0" tIns="0" rIns="0" bIns="0" rtlCol="0" anchor="ctr">
            <a:noAutofit/>
          </a:bodyPr>
          <a:lstStyle/>
          <a:p>
            <a:pPr algn="ctr" rtl="0"/>
            <a:r>
              <a:rPr lang="en-gb" sz="1400">
                <a:solidFill>
                  <a:schemeClr val="accent2"/>
                </a:solidFill>
              </a:rPr>
              <a:t>No</a:t>
            </a:r>
          </a:p>
        </p:txBody>
      </p:sp>
      <p:sp>
        <p:nvSpPr>
          <p:cNvPr id="83" name="TextBox 82">
            <a:extLst>
              <a:ext uri="{FF2B5EF4-FFF2-40B4-BE49-F238E27FC236}">
                <a16:creationId xmlns:a16="http://schemas.microsoft.com/office/drawing/2014/main" id="{54F0AA69-8303-66A6-6FF1-F4A9B799A601}"/>
              </a:ext>
            </a:extLst>
          </p:cNvPr>
          <p:cNvSpPr txBox="1"/>
          <p:nvPr/>
        </p:nvSpPr>
        <p:spPr>
          <a:xfrm>
            <a:off x="3926068" y="3724750"/>
            <a:ext cx="360000" cy="287338"/>
          </a:xfrm>
          <a:prstGeom prst="rect">
            <a:avLst/>
          </a:prstGeom>
          <a:noFill/>
        </p:spPr>
        <p:txBody>
          <a:bodyPr wrap="square" lIns="0" tIns="0" rIns="0" bIns="0" rtlCol="0" anchor="ctr">
            <a:noAutofit/>
          </a:bodyPr>
          <a:lstStyle/>
          <a:p>
            <a:pPr algn="ctr" rtl="0"/>
            <a:r>
              <a:rPr lang="en-gb" sz="1400">
                <a:solidFill>
                  <a:schemeClr val="accent2"/>
                </a:solidFill>
              </a:rPr>
              <a:t>No</a:t>
            </a:r>
          </a:p>
        </p:txBody>
      </p:sp>
      <p:sp>
        <p:nvSpPr>
          <p:cNvPr id="86" name="Rectangle 85">
            <a:extLst>
              <a:ext uri="{FF2B5EF4-FFF2-40B4-BE49-F238E27FC236}">
                <a16:creationId xmlns:a16="http://schemas.microsoft.com/office/drawing/2014/main" id="{FAE45AAF-2F8E-201A-3A04-5A013ADD89B9}"/>
              </a:ext>
            </a:extLst>
          </p:cNvPr>
          <p:cNvSpPr/>
          <p:nvPr/>
        </p:nvSpPr>
        <p:spPr>
          <a:xfrm>
            <a:off x="8218487" y="0"/>
            <a:ext cx="3973513" cy="61722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 name="Rectangle 1">
            <a:extLst>
              <a:ext uri="{FF2B5EF4-FFF2-40B4-BE49-F238E27FC236}">
                <a16:creationId xmlns:a16="http://schemas.microsoft.com/office/drawing/2014/main" id="{B3B9B40C-89D0-00A8-E1FD-6C775139BEFB}"/>
              </a:ext>
            </a:extLst>
          </p:cNvPr>
          <p:cNvSpPr/>
          <p:nvPr/>
        </p:nvSpPr>
        <p:spPr>
          <a:xfrm>
            <a:off x="8218487" y="4445876"/>
            <a:ext cx="3530601" cy="1726324"/>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432000" tIns="468000" rIns="432000" rtlCol="0" anchor="ctr"/>
          <a:lstStyle/>
          <a:p>
            <a:pPr marL="171450" indent="-171450" rtl="0">
              <a:buFont typeface="Arial" panose="020B0604020202020204" pitchFamily="34" charset="0"/>
              <a:buChar char="•"/>
            </a:pPr>
            <a:r>
              <a:rPr lang="en-gb" sz="1100" b="1" dirty="0">
                <a:solidFill>
                  <a:schemeClr val="bg1"/>
                </a:solidFill>
                <a:hlinkClick r:id="rId7">
                  <a:extLst>
                    <a:ext uri="{A12FA001-AC4F-418D-AE19-62706E023703}">
                      <ahyp:hlinkClr xmlns:ahyp="http://schemas.microsoft.com/office/drawing/2018/hyperlinkcolor" val="tx"/>
                    </a:ext>
                  </a:extLst>
                </a:hlinkClick>
              </a:rPr>
              <a:t>NMPD </a:t>
            </a:r>
            <a:r>
              <a:rPr lang="lv-LV" sz="1100" b="1" dirty="0">
                <a:solidFill>
                  <a:schemeClr val="bg1"/>
                </a:solidFill>
                <a:hlinkClick r:id="rId7">
                  <a:extLst>
                    <a:ext uri="{A12FA001-AC4F-418D-AE19-62706E023703}">
                      <ahyp:hlinkClr xmlns:ahyp="http://schemas.microsoft.com/office/drawing/2018/hyperlinkcolor" val="tx"/>
                    </a:ext>
                  </a:extLst>
                </a:hlinkClick>
              </a:rPr>
              <a:t>I</a:t>
            </a:r>
            <a:r>
              <a:rPr lang="en-gb" sz="1100" b="1" dirty="0" err="1">
                <a:solidFill>
                  <a:schemeClr val="bg1"/>
                </a:solidFill>
                <a:hlinkClick r:id="rId7">
                  <a:extLst>
                    <a:ext uri="{A12FA001-AC4F-418D-AE19-62706E023703}">
                      <ahyp:hlinkClr xmlns:ahyp="http://schemas.microsoft.com/office/drawing/2018/hyperlinkcolor" val="tx"/>
                    </a:ext>
                  </a:extLst>
                </a:hlinkClick>
              </a:rPr>
              <a:t>nstruction</a:t>
            </a:r>
            <a:r>
              <a:rPr lang="lv-LV" sz="1100" b="1" dirty="0">
                <a:solidFill>
                  <a:schemeClr val="bg1"/>
                </a:solidFill>
                <a:hlinkClick r:id="rId7">
                  <a:extLst>
                    <a:ext uri="{A12FA001-AC4F-418D-AE19-62706E023703}">
                      <ahyp:hlinkClr xmlns:ahyp="http://schemas.microsoft.com/office/drawing/2018/hyperlinkcolor" val="tx"/>
                    </a:ext>
                  </a:extLst>
                </a:hlinkClick>
              </a:rPr>
              <a:t>s</a:t>
            </a:r>
            <a:r>
              <a:rPr lang="en-gb" sz="1100" b="1" dirty="0">
                <a:solidFill>
                  <a:schemeClr val="bg1"/>
                </a:solidFill>
                <a:hlinkClick r:id="rId7">
                  <a:extLst>
                    <a:ext uri="{A12FA001-AC4F-418D-AE19-62706E023703}">
                      <ahyp:hlinkClr xmlns:ahyp="http://schemas.microsoft.com/office/drawing/2018/hyperlinkcolor" val="tx"/>
                    </a:ext>
                  </a:extLst>
                </a:hlinkClick>
              </a:rPr>
              <a:t> "First aid: stable lateral posture"</a:t>
            </a:r>
            <a:endParaRPr lang="lv-LV" sz="1100" b="1" dirty="0">
              <a:solidFill>
                <a:schemeClr val="bg1"/>
              </a:solidFill>
            </a:endParaRPr>
          </a:p>
          <a:p>
            <a:pPr marL="171450" indent="-171450" rtl="0">
              <a:buFont typeface="Arial" panose="020B0604020202020204" pitchFamily="34" charset="0"/>
              <a:buChar char="•"/>
            </a:pPr>
            <a:r>
              <a:rPr lang="en-gb" sz="1100" b="1" dirty="0">
                <a:solidFill>
                  <a:schemeClr val="bg1"/>
                </a:solidFill>
                <a:hlinkClick r:id="rId8">
                  <a:extLst>
                    <a:ext uri="{A12FA001-AC4F-418D-AE19-62706E023703}">
                      <ahyp:hlinkClr xmlns:ahyp="http://schemas.microsoft.com/office/drawing/2018/hyperlinkcolor" val="tx"/>
                    </a:ext>
                  </a:extLst>
                </a:hlinkClick>
              </a:rPr>
              <a:t>NMPD Instruction</a:t>
            </a:r>
            <a:r>
              <a:rPr lang="lv-LV" sz="1100" b="1" dirty="0">
                <a:solidFill>
                  <a:schemeClr val="bg1"/>
                </a:solidFill>
                <a:hlinkClick r:id="rId8">
                  <a:extLst>
                    <a:ext uri="{A12FA001-AC4F-418D-AE19-62706E023703}">
                      <ahyp:hlinkClr xmlns:ahyp="http://schemas.microsoft.com/office/drawing/2018/hyperlinkcolor" val="tx"/>
                    </a:ext>
                  </a:extLst>
                </a:hlinkClick>
              </a:rPr>
              <a:t>s</a:t>
            </a:r>
            <a:r>
              <a:rPr lang="en-gb" sz="1100" b="1" dirty="0">
                <a:solidFill>
                  <a:schemeClr val="bg1"/>
                </a:solidFill>
                <a:hlinkClick r:id="rId8">
                  <a:extLst>
                    <a:ext uri="{A12FA001-AC4F-418D-AE19-62706E023703}">
                      <ahyp:hlinkClr xmlns:ahyp="http://schemas.microsoft.com/office/drawing/2018/hyperlinkcolor" val="tx"/>
                    </a:ext>
                  </a:extLst>
                </a:hlinkClick>
              </a:rPr>
              <a:t> "ABC of First Aid. Revitalisation - adults"</a:t>
            </a:r>
            <a:endParaRPr lang="lv-LV" sz="1100" b="1" dirty="0">
              <a:solidFill>
                <a:schemeClr val="bg1"/>
              </a:solidFill>
            </a:endParaRPr>
          </a:p>
        </p:txBody>
      </p:sp>
      <p:sp>
        <p:nvSpPr>
          <p:cNvPr id="5" name="Google Shape;2001;p98">
            <a:extLst>
              <a:ext uri="{FF2B5EF4-FFF2-40B4-BE49-F238E27FC236}">
                <a16:creationId xmlns:a16="http://schemas.microsoft.com/office/drawing/2014/main" id="{9B9A4561-429C-6EAE-F170-E90F8BD220FB}"/>
              </a:ext>
            </a:extLst>
          </p:cNvPr>
          <p:cNvSpPr/>
          <p:nvPr/>
        </p:nvSpPr>
        <p:spPr>
          <a:xfrm>
            <a:off x="8654113" y="4649714"/>
            <a:ext cx="360000" cy="360000"/>
          </a:xfrm>
          <a:custGeom>
            <a:avLst/>
            <a:gdLst/>
            <a:ahLst/>
            <a:cxnLst/>
            <a:rect l="l" t="t" r="r" b="b"/>
            <a:pathLst>
              <a:path w="347" h="347" extrusionOk="0">
                <a:moveTo>
                  <a:pt x="0" y="0"/>
                </a:moveTo>
                <a:cubicBezTo>
                  <a:pt x="0" y="347"/>
                  <a:pt x="0" y="347"/>
                  <a:pt x="0" y="347"/>
                </a:cubicBezTo>
                <a:cubicBezTo>
                  <a:pt x="347" y="347"/>
                  <a:pt x="347" y="347"/>
                  <a:pt x="347" y="347"/>
                </a:cubicBezTo>
                <a:cubicBezTo>
                  <a:pt x="347" y="0"/>
                  <a:pt x="347" y="0"/>
                  <a:pt x="347" y="0"/>
                </a:cubicBezTo>
                <a:lnTo>
                  <a:pt x="0" y="0"/>
                </a:lnTo>
                <a:close/>
                <a:moveTo>
                  <a:pt x="332" y="332"/>
                </a:moveTo>
                <a:cubicBezTo>
                  <a:pt x="15" y="332"/>
                  <a:pt x="15" y="332"/>
                  <a:pt x="15" y="332"/>
                </a:cubicBezTo>
                <a:cubicBezTo>
                  <a:pt x="15" y="15"/>
                  <a:pt x="15" y="15"/>
                  <a:pt x="15" y="15"/>
                </a:cubicBezTo>
                <a:cubicBezTo>
                  <a:pt x="332" y="15"/>
                  <a:pt x="332" y="15"/>
                  <a:pt x="332" y="15"/>
                </a:cubicBezTo>
                <a:lnTo>
                  <a:pt x="332" y="332"/>
                </a:lnTo>
                <a:close/>
                <a:moveTo>
                  <a:pt x="173" y="300"/>
                </a:moveTo>
                <a:cubicBezTo>
                  <a:pt x="243" y="300"/>
                  <a:pt x="300" y="243"/>
                  <a:pt x="300" y="173"/>
                </a:cubicBezTo>
                <a:cubicBezTo>
                  <a:pt x="300" y="104"/>
                  <a:pt x="243" y="47"/>
                  <a:pt x="173" y="47"/>
                </a:cubicBezTo>
                <a:cubicBezTo>
                  <a:pt x="104" y="47"/>
                  <a:pt x="47" y="104"/>
                  <a:pt x="47" y="173"/>
                </a:cubicBezTo>
                <a:cubicBezTo>
                  <a:pt x="47" y="243"/>
                  <a:pt x="104" y="300"/>
                  <a:pt x="173" y="300"/>
                </a:cubicBezTo>
                <a:close/>
                <a:moveTo>
                  <a:pt x="84" y="240"/>
                </a:moveTo>
                <a:cubicBezTo>
                  <a:pt x="109" y="240"/>
                  <a:pt x="109" y="240"/>
                  <a:pt x="109" y="240"/>
                </a:cubicBezTo>
                <a:cubicBezTo>
                  <a:pt x="114" y="254"/>
                  <a:pt x="121" y="266"/>
                  <a:pt x="129" y="276"/>
                </a:cubicBezTo>
                <a:cubicBezTo>
                  <a:pt x="111" y="268"/>
                  <a:pt x="96" y="256"/>
                  <a:pt x="84" y="240"/>
                </a:cubicBezTo>
                <a:close/>
                <a:moveTo>
                  <a:pt x="91" y="121"/>
                </a:moveTo>
                <a:cubicBezTo>
                  <a:pt x="92" y="128"/>
                  <a:pt x="96" y="134"/>
                  <a:pt x="101" y="137"/>
                </a:cubicBezTo>
                <a:cubicBezTo>
                  <a:pt x="100" y="147"/>
                  <a:pt x="99" y="156"/>
                  <a:pt x="99" y="166"/>
                </a:cubicBezTo>
                <a:cubicBezTo>
                  <a:pt x="62" y="166"/>
                  <a:pt x="62" y="166"/>
                  <a:pt x="62" y="166"/>
                </a:cubicBezTo>
                <a:cubicBezTo>
                  <a:pt x="63" y="150"/>
                  <a:pt x="67" y="135"/>
                  <a:pt x="75" y="121"/>
                </a:cubicBezTo>
                <a:lnTo>
                  <a:pt x="91" y="121"/>
                </a:lnTo>
                <a:close/>
                <a:moveTo>
                  <a:pt x="285" y="166"/>
                </a:moveTo>
                <a:cubicBezTo>
                  <a:pt x="267" y="166"/>
                  <a:pt x="267" y="166"/>
                  <a:pt x="267" y="166"/>
                </a:cubicBezTo>
                <a:cubicBezTo>
                  <a:pt x="264" y="157"/>
                  <a:pt x="257" y="151"/>
                  <a:pt x="247" y="149"/>
                </a:cubicBezTo>
                <a:cubicBezTo>
                  <a:pt x="246" y="139"/>
                  <a:pt x="244" y="130"/>
                  <a:pt x="242" y="121"/>
                </a:cubicBezTo>
                <a:cubicBezTo>
                  <a:pt x="272" y="121"/>
                  <a:pt x="272" y="121"/>
                  <a:pt x="272" y="121"/>
                </a:cubicBezTo>
                <a:cubicBezTo>
                  <a:pt x="279" y="135"/>
                  <a:pt x="284" y="150"/>
                  <a:pt x="285" y="166"/>
                </a:cubicBezTo>
                <a:close/>
                <a:moveTo>
                  <a:pt x="145" y="121"/>
                </a:moveTo>
                <a:cubicBezTo>
                  <a:pt x="166" y="121"/>
                  <a:pt x="166" y="121"/>
                  <a:pt x="166" y="121"/>
                </a:cubicBezTo>
                <a:cubicBezTo>
                  <a:pt x="166" y="166"/>
                  <a:pt x="166" y="166"/>
                  <a:pt x="166" y="166"/>
                </a:cubicBezTo>
                <a:cubicBezTo>
                  <a:pt x="113" y="166"/>
                  <a:pt x="113" y="166"/>
                  <a:pt x="113" y="166"/>
                </a:cubicBezTo>
                <a:cubicBezTo>
                  <a:pt x="114" y="158"/>
                  <a:pt x="114" y="150"/>
                  <a:pt x="115" y="143"/>
                </a:cubicBezTo>
                <a:cubicBezTo>
                  <a:pt x="116" y="143"/>
                  <a:pt x="117" y="143"/>
                  <a:pt x="118" y="143"/>
                </a:cubicBezTo>
                <a:cubicBezTo>
                  <a:pt x="131" y="143"/>
                  <a:pt x="142" y="134"/>
                  <a:pt x="145" y="121"/>
                </a:cubicBezTo>
                <a:close/>
                <a:moveTo>
                  <a:pt x="166" y="181"/>
                </a:moveTo>
                <a:cubicBezTo>
                  <a:pt x="166" y="205"/>
                  <a:pt x="166" y="205"/>
                  <a:pt x="166" y="205"/>
                </a:cubicBezTo>
                <a:cubicBezTo>
                  <a:pt x="157" y="208"/>
                  <a:pt x="149" y="216"/>
                  <a:pt x="147" y="226"/>
                </a:cubicBezTo>
                <a:cubicBezTo>
                  <a:pt x="120" y="226"/>
                  <a:pt x="120" y="226"/>
                  <a:pt x="120" y="226"/>
                </a:cubicBezTo>
                <a:cubicBezTo>
                  <a:pt x="116" y="212"/>
                  <a:pt x="114" y="197"/>
                  <a:pt x="113" y="181"/>
                </a:cubicBezTo>
                <a:lnTo>
                  <a:pt x="166" y="181"/>
                </a:lnTo>
                <a:close/>
                <a:moveTo>
                  <a:pt x="174" y="244"/>
                </a:moveTo>
                <a:cubicBezTo>
                  <a:pt x="167" y="244"/>
                  <a:pt x="161" y="238"/>
                  <a:pt x="161" y="232"/>
                </a:cubicBezTo>
                <a:cubicBezTo>
                  <a:pt x="161" y="225"/>
                  <a:pt x="167" y="219"/>
                  <a:pt x="174" y="219"/>
                </a:cubicBezTo>
                <a:cubicBezTo>
                  <a:pt x="181" y="219"/>
                  <a:pt x="186" y="225"/>
                  <a:pt x="186" y="232"/>
                </a:cubicBezTo>
                <a:cubicBezTo>
                  <a:pt x="186" y="238"/>
                  <a:pt x="181" y="244"/>
                  <a:pt x="174" y="244"/>
                </a:cubicBezTo>
                <a:close/>
                <a:moveTo>
                  <a:pt x="148" y="240"/>
                </a:moveTo>
                <a:cubicBezTo>
                  <a:pt x="151" y="249"/>
                  <a:pt x="158" y="255"/>
                  <a:pt x="166" y="258"/>
                </a:cubicBezTo>
                <a:cubicBezTo>
                  <a:pt x="166" y="284"/>
                  <a:pt x="166" y="284"/>
                  <a:pt x="166" y="284"/>
                </a:cubicBezTo>
                <a:cubicBezTo>
                  <a:pt x="150" y="280"/>
                  <a:pt x="135" y="264"/>
                  <a:pt x="126" y="240"/>
                </a:cubicBezTo>
                <a:lnTo>
                  <a:pt x="148" y="240"/>
                </a:lnTo>
                <a:close/>
                <a:moveTo>
                  <a:pt x="181" y="284"/>
                </a:moveTo>
                <a:cubicBezTo>
                  <a:pt x="181" y="258"/>
                  <a:pt x="181" y="258"/>
                  <a:pt x="181" y="258"/>
                </a:cubicBezTo>
                <a:cubicBezTo>
                  <a:pt x="190" y="256"/>
                  <a:pt x="197" y="249"/>
                  <a:pt x="200" y="240"/>
                </a:cubicBezTo>
                <a:cubicBezTo>
                  <a:pt x="221" y="240"/>
                  <a:pt x="221" y="240"/>
                  <a:pt x="221" y="240"/>
                </a:cubicBezTo>
                <a:cubicBezTo>
                  <a:pt x="212" y="264"/>
                  <a:pt x="197" y="280"/>
                  <a:pt x="181" y="284"/>
                </a:cubicBezTo>
                <a:close/>
                <a:moveTo>
                  <a:pt x="201" y="226"/>
                </a:moveTo>
                <a:cubicBezTo>
                  <a:pt x="198" y="216"/>
                  <a:pt x="191" y="208"/>
                  <a:pt x="181" y="205"/>
                </a:cubicBezTo>
                <a:cubicBezTo>
                  <a:pt x="181" y="181"/>
                  <a:pt x="181" y="181"/>
                  <a:pt x="181" y="181"/>
                </a:cubicBezTo>
                <a:cubicBezTo>
                  <a:pt x="215" y="181"/>
                  <a:pt x="215" y="181"/>
                  <a:pt x="215" y="181"/>
                </a:cubicBezTo>
                <a:cubicBezTo>
                  <a:pt x="217" y="190"/>
                  <a:pt x="223" y="198"/>
                  <a:pt x="232" y="201"/>
                </a:cubicBezTo>
                <a:cubicBezTo>
                  <a:pt x="231" y="210"/>
                  <a:pt x="229" y="218"/>
                  <a:pt x="227" y="226"/>
                </a:cubicBezTo>
                <a:lnTo>
                  <a:pt x="201" y="226"/>
                </a:lnTo>
                <a:close/>
                <a:moveTo>
                  <a:pt x="242" y="163"/>
                </a:moveTo>
                <a:cubicBezTo>
                  <a:pt x="249" y="163"/>
                  <a:pt x="254" y="169"/>
                  <a:pt x="254" y="176"/>
                </a:cubicBezTo>
                <a:cubicBezTo>
                  <a:pt x="254" y="182"/>
                  <a:pt x="249" y="188"/>
                  <a:pt x="242" y="188"/>
                </a:cubicBezTo>
                <a:cubicBezTo>
                  <a:pt x="235" y="188"/>
                  <a:pt x="229" y="182"/>
                  <a:pt x="229" y="176"/>
                </a:cubicBezTo>
                <a:cubicBezTo>
                  <a:pt x="229" y="169"/>
                  <a:pt x="235" y="163"/>
                  <a:pt x="242" y="163"/>
                </a:cubicBezTo>
                <a:close/>
                <a:moveTo>
                  <a:pt x="247" y="202"/>
                </a:moveTo>
                <a:cubicBezTo>
                  <a:pt x="258" y="201"/>
                  <a:pt x="266" y="192"/>
                  <a:pt x="269" y="181"/>
                </a:cubicBezTo>
                <a:cubicBezTo>
                  <a:pt x="285" y="181"/>
                  <a:pt x="285" y="181"/>
                  <a:pt x="285" y="181"/>
                </a:cubicBezTo>
                <a:cubicBezTo>
                  <a:pt x="284" y="197"/>
                  <a:pt x="279" y="212"/>
                  <a:pt x="272" y="226"/>
                </a:cubicBezTo>
                <a:cubicBezTo>
                  <a:pt x="242" y="226"/>
                  <a:pt x="242" y="226"/>
                  <a:pt x="242" y="226"/>
                </a:cubicBezTo>
                <a:cubicBezTo>
                  <a:pt x="244" y="218"/>
                  <a:pt x="245" y="211"/>
                  <a:pt x="247" y="202"/>
                </a:cubicBezTo>
                <a:close/>
                <a:moveTo>
                  <a:pt x="232" y="150"/>
                </a:moveTo>
                <a:cubicBezTo>
                  <a:pt x="225" y="153"/>
                  <a:pt x="219" y="159"/>
                  <a:pt x="216" y="166"/>
                </a:cubicBezTo>
                <a:cubicBezTo>
                  <a:pt x="181" y="166"/>
                  <a:pt x="181" y="166"/>
                  <a:pt x="181" y="166"/>
                </a:cubicBezTo>
                <a:cubicBezTo>
                  <a:pt x="181" y="121"/>
                  <a:pt x="181" y="121"/>
                  <a:pt x="181" y="121"/>
                </a:cubicBezTo>
                <a:cubicBezTo>
                  <a:pt x="227" y="121"/>
                  <a:pt x="227" y="121"/>
                  <a:pt x="227" y="121"/>
                </a:cubicBezTo>
                <a:cubicBezTo>
                  <a:pt x="229" y="130"/>
                  <a:pt x="231" y="140"/>
                  <a:pt x="232" y="150"/>
                </a:cubicBezTo>
                <a:close/>
                <a:moveTo>
                  <a:pt x="181" y="106"/>
                </a:moveTo>
                <a:cubicBezTo>
                  <a:pt x="181" y="63"/>
                  <a:pt x="181" y="63"/>
                  <a:pt x="181" y="63"/>
                </a:cubicBezTo>
                <a:cubicBezTo>
                  <a:pt x="197" y="66"/>
                  <a:pt x="212" y="83"/>
                  <a:pt x="222" y="106"/>
                </a:cubicBezTo>
                <a:lnTo>
                  <a:pt x="181" y="106"/>
                </a:lnTo>
                <a:close/>
                <a:moveTo>
                  <a:pt x="166" y="63"/>
                </a:moveTo>
                <a:cubicBezTo>
                  <a:pt x="166" y="106"/>
                  <a:pt x="166" y="106"/>
                  <a:pt x="166" y="106"/>
                </a:cubicBezTo>
                <a:cubicBezTo>
                  <a:pt x="144" y="106"/>
                  <a:pt x="144" y="106"/>
                  <a:pt x="144" y="106"/>
                </a:cubicBezTo>
                <a:cubicBezTo>
                  <a:pt x="142" y="101"/>
                  <a:pt x="138" y="96"/>
                  <a:pt x="132" y="92"/>
                </a:cubicBezTo>
                <a:cubicBezTo>
                  <a:pt x="142" y="76"/>
                  <a:pt x="154" y="66"/>
                  <a:pt x="166" y="63"/>
                </a:cubicBezTo>
                <a:close/>
                <a:moveTo>
                  <a:pt x="118" y="103"/>
                </a:moveTo>
                <a:cubicBezTo>
                  <a:pt x="125" y="103"/>
                  <a:pt x="130" y="109"/>
                  <a:pt x="130" y="116"/>
                </a:cubicBezTo>
                <a:cubicBezTo>
                  <a:pt x="130" y="122"/>
                  <a:pt x="125" y="128"/>
                  <a:pt x="118" y="128"/>
                </a:cubicBezTo>
                <a:cubicBezTo>
                  <a:pt x="111" y="128"/>
                  <a:pt x="105" y="122"/>
                  <a:pt x="105" y="116"/>
                </a:cubicBezTo>
                <a:cubicBezTo>
                  <a:pt x="105" y="109"/>
                  <a:pt x="111" y="103"/>
                  <a:pt x="118" y="103"/>
                </a:cubicBezTo>
                <a:close/>
                <a:moveTo>
                  <a:pt x="98" y="181"/>
                </a:moveTo>
                <a:cubicBezTo>
                  <a:pt x="99" y="197"/>
                  <a:pt x="101" y="212"/>
                  <a:pt x="105" y="226"/>
                </a:cubicBezTo>
                <a:cubicBezTo>
                  <a:pt x="75" y="226"/>
                  <a:pt x="75" y="226"/>
                  <a:pt x="75" y="226"/>
                </a:cubicBezTo>
                <a:cubicBezTo>
                  <a:pt x="67" y="212"/>
                  <a:pt x="63" y="197"/>
                  <a:pt x="62" y="181"/>
                </a:cubicBezTo>
                <a:lnTo>
                  <a:pt x="98" y="181"/>
                </a:lnTo>
                <a:close/>
                <a:moveTo>
                  <a:pt x="217" y="276"/>
                </a:moveTo>
                <a:cubicBezTo>
                  <a:pt x="225" y="267"/>
                  <a:pt x="232" y="255"/>
                  <a:pt x="237" y="240"/>
                </a:cubicBezTo>
                <a:cubicBezTo>
                  <a:pt x="263" y="240"/>
                  <a:pt x="263" y="240"/>
                  <a:pt x="263" y="240"/>
                </a:cubicBezTo>
                <a:cubicBezTo>
                  <a:pt x="251" y="256"/>
                  <a:pt x="235" y="268"/>
                  <a:pt x="217" y="276"/>
                </a:cubicBezTo>
                <a:close/>
                <a:moveTo>
                  <a:pt x="263" y="106"/>
                </a:moveTo>
                <a:cubicBezTo>
                  <a:pt x="237" y="106"/>
                  <a:pt x="237" y="106"/>
                  <a:pt x="237" y="106"/>
                </a:cubicBezTo>
                <a:cubicBezTo>
                  <a:pt x="232" y="92"/>
                  <a:pt x="226" y="80"/>
                  <a:pt x="218" y="71"/>
                </a:cubicBezTo>
                <a:cubicBezTo>
                  <a:pt x="236" y="79"/>
                  <a:pt x="251" y="91"/>
                  <a:pt x="263" y="106"/>
                </a:cubicBezTo>
                <a:close/>
                <a:moveTo>
                  <a:pt x="129" y="71"/>
                </a:moveTo>
                <a:cubicBezTo>
                  <a:pt x="125" y="76"/>
                  <a:pt x="121" y="82"/>
                  <a:pt x="118" y="88"/>
                </a:cubicBezTo>
                <a:cubicBezTo>
                  <a:pt x="106" y="88"/>
                  <a:pt x="96" y="96"/>
                  <a:pt x="92" y="106"/>
                </a:cubicBezTo>
                <a:cubicBezTo>
                  <a:pt x="84" y="106"/>
                  <a:pt x="84" y="106"/>
                  <a:pt x="84" y="106"/>
                </a:cubicBezTo>
                <a:cubicBezTo>
                  <a:pt x="96" y="91"/>
                  <a:pt x="111" y="79"/>
                  <a:pt x="129" y="71"/>
                </a:cubicBezTo>
                <a:close/>
              </a:path>
            </a:pathLst>
          </a:custGeom>
          <a:solidFill>
            <a:schemeClr val="bg1"/>
          </a:solidFill>
          <a:ln>
            <a:noFill/>
          </a:ln>
        </p:spPr>
        <p:txBody>
          <a:bodyPr spcFirstLastPara="1" wrap="square" lIns="68575" tIns="34275" rIns="68575" bIns="34275" rtlCol="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 name="Rectangle 7">
            <a:extLst>
              <a:ext uri="{FF2B5EF4-FFF2-40B4-BE49-F238E27FC236}">
                <a16:creationId xmlns:a16="http://schemas.microsoft.com/office/drawing/2014/main" id="{2CA7E931-5A39-E16F-287D-26D8CB80F058}"/>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33" name="Group 32">
            <a:extLst>
              <a:ext uri="{FF2B5EF4-FFF2-40B4-BE49-F238E27FC236}">
                <a16:creationId xmlns:a16="http://schemas.microsoft.com/office/drawing/2014/main" id="{ABFF8037-8EB5-4B17-670B-F756F01C5E53}"/>
              </a:ext>
            </a:extLst>
          </p:cNvPr>
          <p:cNvGrpSpPr/>
          <p:nvPr/>
        </p:nvGrpSpPr>
        <p:grpSpPr>
          <a:xfrm>
            <a:off x="9214984" y="126781"/>
            <a:ext cx="2534104" cy="217488"/>
            <a:chOff x="9214984" y="126781"/>
            <a:chExt cx="2534104" cy="217488"/>
          </a:xfrm>
        </p:grpSpPr>
        <p:sp>
          <p:nvSpPr>
            <p:cNvPr id="20" name="Rectangle 19">
              <a:extLst>
                <a:ext uri="{FF2B5EF4-FFF2-40B4-BE49-F238E27FC236}">
                  <a16:creationId xmlns:a16="http://schemas.microsoft.com/office/drawing/2014/main" id="{36C24187-730C-71DC-948E-6236097A3FCE}"/>
                </a:ext>
              </a:extLst>
            </p:cNvPr>
            <p:cNvSpPr/>
            <p:nvPr/>
          </p:nvSpPr>
          <p:spPr>
            <a:xfrm>
              <a:off x="9939020" y="126781"/>
              <a:ext cx="1329297"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000000"/>
                  </a:solidFill>
                  <a:effectLst/>
                  <a:uLnTx/>
                  <a:uFillTx/>
                  <a:ea typeface="Georgia"/>
                  <a:cs typeface="Georgia"/>
                  <a:sym typeface="Georgia"/>
                </a:rPr>
                <a:t>Resuscitation  measures</a:t>
              </a:r>
              <a:endParaRPr lang="en-gb" sz="800" b="1" i="0" u="none" strike="noStrike" kern="0" cap="none" spc="0" normalizeH="0" dirty="0">
                <a:ln>
                  <a:noFill/>
                </a:ln>
                <a:solidFill>
                  <a:srgbClr val="000000"/>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DE96E661-5736-8C3F-255F-9D2374B7F0FB}"/>
                </a:ext>
              </a:extLst>
            </p:cNvPr>
            <p:cNvSpPr/>
            <p:nvPr/>
          </p:nvSpPr>
          <p:spPr>
            <a:xfrm>
              <a:off x="9214984"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a:ln>
                    <a:noFill/>
                  </a:ln>
                  <a:solidFill>
                    <a:schemeClr val="accent1"/>
                  </a:solidFill>
                  <a:effectLst/>
                  <a:uLnTx/>
                  <a:uFillTx/>
                  <a:ea typeface="Georgia"/>
                  <a:cs typeface="Georgia"/>
                  <a:sym typeface="Georgia"/>
                </a:rPr>
                <a:t>.1</a:t>
              </a:r>
            </a:p>
          </p:txBody>
        </p:sp>
        <p:sp>
          <p:nvSpPr>
            <p:cNvPr id="21" name="Rectangle 20">
              <a:extLst>
                <a:ext uri="{FF2B5EF4-FFF2-40B4-BE49-F238E27FC236}">
                  <a16:creationId xmlns:a16="http://schemas.microsoft.com/office/drawing/2014/main" id="{9DDA2F8A-B421-783A-8697-99B26276333A}"/>
                </a:ext>
              </a:extLst>
            </p:cNvPr>
            <p:cNvSpPr/>
            <p:nvPr/>
          </p:nvSpPr>
          <p:spPr>
            <a:xfrm>
              <a:off x="945825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a:ln>
                    <a:noFill/>
                  </a:ln>
                  <a:solidFill>
                    <a:schemeClr val="accent1"/>
                  </a:solidFill>
                  <a:effectLst/>
                  <a:uLnTx/>
                  <a:uFillTx/>
                  <a:ea typeface="Georgia"/>
                  <a:cs typeface="Georgia"/>
                  <a:sym typeface="Georgia"/>
                </a:rPr>
                <a:t>.2</a:t>
              </a:r>
            </a:p>
          </p:txBody>
        </p:sp>
        <p:sp>
          <p:nvSpPr>
            <p:cNvPr id="22" name="Rectangle 21">
              <a:extLst>
                <a:ext uri="{FF2B5EF4-FFF2-40B4-BE49-F238E27FC236}">
                  <a16:creationId xmlns:a16="http://schemas.microsoft.com/office/drawing/2014/main" id="{8E63E40A-7AB1-B534-4B2C-02E4311BEF4F}"/>
                </a:ext>
              </a:extLst>
            </p:cNvPr>
            <p:cNvSpPr/>
            <p:nvPr/>
          </p:nvSpPr>
          <p:spPr>
            <a:xfrm>
              <a:off x="9698634"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7</a:t>
              </a:r>
              <a:r>
                <a:rPr lang="en-gb" sz="800" b="1" i="0" u="none" strike="noStrike" kern="0" cap="none" spc="0" normalizeH="0">
                  <a:ln>
                    <a:noFill/>
                  </a:ln>
                  <a:effectLst/>
                  <a:uLnTx/>
                  <a:uFillTx/>
                  <a:ea typeface="Georgia"/>
                  <a:cs typeface="Georgia"/>
                  <a:sym typeface="Georgia"/>
                </a:rPr>
                <a:t>.3</a:t>
              </a:r>
            </a:p>
          </p:txBody>
        </p:sp>
        <p:sp>
          <p:nvSpPr>
            <p:cNvPr id="28" name="Rectangle 27">
              <a:extLst>
                <a:ext uri="{FF2B5EF4-FFF2-40B4-BE49-F238E27FC236}">
                  <a16:creationId xmlns:a16="http://schemas.microsoft.com/office/drawing/2014/main" id="{D47F3DC6-4280-EA23-4A05-CF43D4483198}"/>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a:ln>
                    <a:noFill/>
                  </a:ln>
                  <a:solidFill>
                    <a:schemeClr val="accent1"/>
                  </a:solidFill>
                  <a:effectLst/>
                  <a:uLnTx/>
                  <a:uFillTx/>
                  <a:ea typeface="Georgia"/>
                  <a:cs typeface="Georgia"/>
                  <a:sym typeface="Georgia"/>
                </a:rPr>
                <a:t>.4</a:t>
              </a:r>
            </a:p>
          </p:txBody>
        </p:sp>
        <p:sp>
          <p:nvSpPr>
            <p:cNvPr id="29" name="Rectangle 28">
              <a:extLst>
                <a:ext uri="{FF2B5EF4-FFF2-40B4-BE49-F238E27FC236}">
                  <a16:creationId xmlns:a16="http://schemas.microsoft.com/office/drawing/2014/main" id="{43CABCC0-76A5-0C3F-920C-D7B1C1522A25}"/>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a:ln>
                    <a:noFill/>
                  </a:ln>
                  <a:solidFill>
                    <a:schemeClr val="accent1"/>
                  </a:solidFill>
                  <a:effectLst/>
                  <a:uLnTx/>
                  <a:uFillTx/>
                  <a:ea typeface="Georgia"/>
                  <a:cs typeface="Georgia"/>
                  <a:sym typeface="Georgia"/>
                </a:rPr>
                <a:t>.5</a:t>
              </a:r>
            </a:p>
          </p:txBody>
        </p:sp>
      </p:grpSp>
    </p:spTree>
    <p:extLst>
      <p:ext uri="{BB962C8B-B14F-4D97-AF65-F5344CB8AC3E}">
        <p14:creationId xmlns:p14="http://schemas.microsoft.com/office/powerpoint/2010/main" val="23006261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D9B4EB0-FA92-4CA3-9E1E-68FD78E7072D}"/>
              </a:ext>
            </a:extLst>
          </p:cNvPr>
          <p:cNvGraphicFramePr>
            <a:graphicFrameLocks noChangeAspect="1"/>
          </p:cNvGraphicFramePr>
          <p:nvPr>
            <p:custDataLst>
              <p:tags r:id="rId1"/>
            </p:custDataLst>
            <p:extLst>
              <p:ext uri="{D42A27DB-BD31-4B8C-83A1-F6EECF244321}">
                <p14:modId xmlns:p14="http://schemas.microsoft.com/office/powerpoint/2010/main" val="2420813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 name="think-cell data - do not delete" hidden="1">
                        <a:extLst>
                          <a:ext uri="{FF2B5EF4-FFF2-40B4-BE49-F238E27FC236}">
                            <a16:creationId xmlns:a16="http://schemas.microsoft.com/office/drawing/2014/main" id="{BD9B4EB0-FA92-4CA3-9E1E-68FD78E707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9" name="Picture 68">
            <a:extLst>
              <a:ext uri="{FF2B5EF4-FFF2-40B4-BE49-F238E27FC236}">
                <a16:creationId xmlns:a16="http://schemas.microsoft.com/office/drawing/2014/main" id="{64F7D8A2-66DC-ADBA-BEC3-1BCF56394367}"/>
              </a:ext>
            </a:extLst>
          </p:cNvPr>
          <p:cNvPicPr>
            <a:picLocks noChangeAspect="1"/>
          </p:cNvPicPr>
          <p:nvPr/>
        </p:nvPicPr>
        <p:blipFill rotWithShape="1">
          <a:blip r:embed="rId6"/>
          <a:srcRect l="16874" r="11384"/>
          <a:stretch/>
        </p:blipFill>
        <p:spPr>
          <a:xfrm>
            <a:off x="9780608" y="1816188"/>
            <a:ext cx="2411391" cy="5041811"/>
          </a:xfrm>
          <a:prstGeom prst="rect">
            <a:avLst/>
          </a:prstGeom>
        </p:spPr>
      </p:pic>
      <p:sp>
        <p:nvSpPr>
          <p:cNvPr id="70" name="Rectangle 69">
            <a:extLst>
              <a:ext uri="{FF2B5EF4-FFF2-40B4-BE49-F238E27FC236}">
                <a16:creationId xmlns:a16="http://schemas.microsoft.com/office/drawing/2014/main" id="{3CC43F94-C99A-EECA-2911-653D73FDABA5}"/>
              </a:ext>
            </a:extLst>
          </p:cNvPr>
          <p:cNvSpPr/>
          <p:nvPr/>
        </p:nvSpPr>
        <p:spPr>
          <a:xfrm>
            <a:off x="9780586" y="1816099"/>
            <a:ext cx="2411413" cy="50419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9" name="TextBox 18">
            <a:extLst>
              <a:ext uri="{FF2B5EF4-FFF2-40B4-BE49-F238E27FC236}">
                <a16:creationId xmlns:a16="http://schemas.microsoft.com/office/drawing/2014/main" id="{EF4D8BEF-8566-D43D-9B28-E036D42EE6BC}"/>
              </a:ext>
            </a:extLst>
          </p:cNvPr>
          <p:cNvSpPr txBox="1"/>
          <p:nvPr/>
        </p:nvSpPr>
        <p:spPr>
          <a:xfrm>
            <a:off x="1297953" y="1816189"/>
            <a:ext cx="8123839" cy="576000"/>
          </a:xfrm>
          <a:prstGeom prst="rect">
            <a:avLst/>
          </a:prstGeom>
          <a:noFill/>
        </p:spPr>
        <p:txBody>
          <a:bodyPr wrap="square" rtlCol="0" anchor="ctr">
            <a:noAutofit/>
          </a:bodyPr>
          <a:lstStyle/>
          <a:p>
            <a:pPr rtl="0">
              <a:spcAft>
                <a:spcPts val="0"/>
              </a:spcAft>
            </a:pPr>
            <a:r>
              <a:rPr lang="en-gb" sz="1400">
                <a:solidFill>
                  <a:schemeClr val="tx1"/>
                </a:solidFill>
              </a:rPr>
              <a:t>In any accident where the victim has lost consciousness, the principles of resuscitation should be followed</a:t>
            </a:r>
          </a:p>
        </p:txBody>
      </p:sp>
      <p:sp>
        <p:nvSpPr>
          <p:cNvPr id="24" name="TextBox 23">
            <a:extLst>
              <a:ext uri="{FF2B5EF4-FFF2-40B4-BE49-F238E27FC236}">
                <a16:creationId xmlns:a16="http://schemas.microsoft.com/office/drawing/2014/main" id="{239B8622-318D-D173-F478-CF1A7EC16B5E}"/>
              </a:ext>
            </a:extLst>
          </p:cNvPr>
          <p:cNvSpPr txBox="1"/>
          <p:nvPr/>
        </p:nvSpPr>
        <p:spPr>
          <a:xfrm>
            <a:off x="1297953" y="2572191"/>
            <a:ext cx="8123839" cy="576000"/>
          </a:xfrm>
          <a:prstGeom prst="rect">
            <a:avLst/>
          </a:prstGeom>
          <a:noFill/>
        </p:spPr>
        <p:txBody>
          <a:bodyPr wrap="square" rtlCol="0" anchor="ctr">
            <a:noAutofit/>
          </a:bodyPr>
          <a:lstStyle/>
          <a:p>
            <a:pPr rtl="0">
              <a:spcAft>
                <a:spcPts val="0"/>
              </a:spcAft>
            </a:pPr>
            <a:r>
              <a:rPr lang="lv-LV" sz="1400" dirty="0" err="1">
                <a:solidFill>
                  <a:schemeClr val="tx1"/>
                </a:solidFill>
              </a:rPr>
              <a:t>Chest</a:t>
            </a:r>
            <a:r>
              <a:rPr lang="lv-LV" sz="1400" dirty="0">
                <a:solidFill>
                  <a:schemeClr val="tx1"/>
                </a:solidFill>
              </a:rPr>
              <a:t> </a:t>
            </a:r>
            <a:r>
              <a:rPr lang="lv-LV" sz="1400" dirty="0" err="1">
                <a:solidFill>
                  <a:schemeClr val="tx1"/>
                </a:solidFill>
              </a:rPr>
              <a:t>compressions</a:t>
            </a:r>
            <a:r>
              <a:rPr lang="lv-LV" sz="1400" dirty="0">
                <a:solidFill>
                  <a:schemeClr val="tx1"/>
                </a:solidFill>
              </a:rPr>
              <a:t> </a:t>
            </a:r>
            <a:r>
              <a:rPr lang="en-gb" sz="1400" dirty="0">
                <a:solidFill>
                  <a:schemeClr val="tx1"/>
                </a:solidFill>
              </a:rPr>
              <a:t>should be performed with the victim on a firm surface whenever possible</a:t>
            </a:r>
          </a:p>
        </p:txBody>
      </p:sp>
      <p:sp>
        <p:nvSpPr>
          <p:cNvPr id="28" name="TextBox 27">
            <a:extLst>
              <a:ext uri="{FF2B5EF4-FFF2-40B4-BE49-F238E27FC236}">
                <a16:creationId xmlns:a16="http://schemas.microsoft.com/office/drawing/2014/main" id="{A914D302-8B7D-1F34-FE6F-2FA8E18E28AD}"/>
              </a:ext>
            </a:extLst>
          </p:cNvPr>
          <p:cNvSpPr txBox="1"/>
          <p:nvPr/>
        </p:nvSpPr>
        <p:spPr>
          <a:xfrm>
            <a:off x="1297953" y="3328193"/>
            <a:ext cx="8123839" cy="576000"/>
          </a:xfrm>
          <a:prstGeom prst="rect">
            <a:avLst/>
          </a:prstGeom>
          <a:noFill/>
        </p:spPr>
        <p:txBody>
          <a:bodyPr wrap="square" rtlCol="0" anchor="ctr">
            <a:noAutofit/>
          </a:bodyPr>
          <a:lstStyle/>
          <a:p>
            <a:pPr rtl="0">
              <a:spcAft>
                <a:spcPts val="0"/>
              </a:spcAft>
            </a:pPr>
            <a:r>
              <a:rPr lang="en-gb" sz="1400" dirty="0">
                <a:solidFill>
                  <a:schemeClr val="tx1"/>
                </a:solidFill>
              </a:rPr>
              <a:t>The recommended rate of </a:t>
            </a:r>
            <a:r>
              <a:rPr lang="lv-LV" sz="1400" dirty="0" err="1">
                <a:solidFill>
                  <a:schemeClr val="tx1"/>
                </a:solidFill>
              </a:rPr>
              <a:t>chest</a:t>
            </a:r>
            <a:r>
              <a:rPr lang="lv-LV" sz="1400" dirty="0">
                <a:solidFill>
                  <a:schemeClr val="tx1"/>
                </a:solidFill>
              </a:rPr>
              <a:t> </a:t>
            </a:r>
            <a:r>
              <a:rPr lang="lv-LV" sz="1400" dirty="0" err="1">
                <a:solidFill>
                  <a:schemeClr val="tx1"/>
                </a:solidFill>
              </a:rPr>
              <a:t>compressions</a:t>
            </a:r>
            <a:r>
              <a:rPr lang="lv-LV" sz="1400" dirty="0">
                <a:solidFill>
                  <a:schemeClr val="tx1"/>
                </a:solidFill>
              </a:rPr>
              <a:t> </a:t>
            </a:r>
            <a:r>
              <a:rPr lang="en-gb" sz="1400" dirty="0">
                <a:solidFill>
                  <a:schemeClr val="tx1"/>
                </a:solidFill>
              </a:rPr>
              <a:t>is 100-120 times per minute, with a depth of 5-6 centimetres</a:t>
            </a:r>
          </a:p>
        </p:txBody>
      </p:sp>
      <p:sp>
        <p:nvSpPr>
          <p:cNvPr id="34" name="TextBox 33">
            <a:extLst>
              <a:ext uri="{FF2B5EF4-FFF2-40B4-BE49-F238E27FC236}">
                <a16:creationId xmlns:a16="http://schemas.microsoft.com/office/drawing/2014/main" id="{2E292E14-80B0-C799-DCA3-1B141B1D2C6D}"/>
              </a:ext>
            </a:extLst>
          </p:cNvPr>
          <p:cNvSpPr txBox="1"/>
          <p:nvPr/>
        </p:nvSpPr>
        <p:spPr>
          <a:xfrm>
            <a:off x="1297953" y="4084195"/>
            <a:ext cx="8123839" cy="576000"/>
          </a:xfrm>
          <a:prstGeom prst="rect">
            <a:avLst/>
          </a:prstGeom>
          <a:noFill/>
        </p:spPr>
        <p:txBody>
          <a:bodyPr wrap="square" rtlCol="0" anchor="ctr">
            <a:noAutofit/>
          </a:bodyPr>
          <a:lstStyle/>
          <a:p>
            <a:pPr rtl="0">
              <a:spcAft>
                <a:spcPts val="0"/>
              </a:spcAft>
            </a:pPr>
            <a:r>
              <a:rPr lang="en-gb" sz="1400" dirty="0">
                <a:solidFill>
                  <a:schemeClr val="tx1"/>
                </a:solidFill>
              </a:rPr>
              <a:t>When </a:t>
            </a:r>
            <a:r>
              <a:rPr lang="lv-LV" sz="1400" dirty="0" err="1">
                <a:solidFill>
                  <a:schemeClr val="tx1"/>
                </a:solidFill>
              </a:rPr>
              <a:t>performing</a:t>
            </a:r>
            <a:r>
              <a:rPr lang="lv-LV" sz="1400" dirty="0">
                <a:solidFill>
                  <a:schemeClr val="tx1"/>
                </a:solidFill>
              </a:rPr>
              <a:t> </a:t>
            </a:r>
            <a:r>
              <a:rPr lang="lv-LV" sz="1400" dirty="0" err="1">
                <a:solidFill>
                  <a:schemeClr val="tx1"/>
                </a:solidFill>
              </a:rPr>
              <a:t>mouth</a:t>
            </a:r>
            <a:r>
              <a:rPr lang="lv-LV" sz="1400" dirty="0">
                <a:solidFill>
                  <a:schemeClr val="tx1"/>
                </a:solidFill>
              </a:rPr>
              <a:t>-to-</a:t>
            </a:r>
            <a:r>
              <a:rPr lang="lv-LV" sz="1400" dirty="0" err="1">
                <a:solidFill>
                  <a:schemeClr val="tx1"/>
                </a:solidFill>
              </a:rPr>
              <a:t>mouth</a:t>
            </a:r>
            <a:r>
              <a:rPr lang="en-gb" sz="1400" dirty="0">
                <a:solidFill>
                  <a:schemeClr val="tx1"/>
                </a:solidFill>
              </a:rPr>
              <a:t>, it is recommended to use a respiratory mask with a one-way valve</a:t>
            </a:r>
          </a:p>
        </p:txBody>
      </p:sp>
      <p:sp>
        <p:nvSpPr>
          <p:cNvPr id="37" name="TextBox 36">
            <a:extLst>
              <a:ext uri="{FF2B5EF4-FFF2-40B4-BE49-F238E27FC236}">
                <a16:creationId xmlns:a16="http://schemas.microsoft.com/office/drawing/2014/main" id="{94812D46-A915-8FCC-CF16-5E3844875EA5}"/>
              </a:ext>
            </a:extLst>
          </p:cNvPr>
          <p:cNvSpPr txBox="1"/>
          <p:nvPr/>
        </p:nvSpPr>
        <p:spPr>
          <a:xfrm>
            <a:off x="1297953" y="4840197"/>
            <a:ext cx="8123839" cy="576000"/>
          </a:xfrm>
          <a:prstGeom prst="rect">
            <a:avLst/>
          </a:prstGeom>
          <a:noFill/>
        </p:spPr>
        <p:txBody>
          <a:bodyPr wrap="square" rtlCol="0" anchor="ctr">
            <a:noAutofit/>
          </a:bodyPr>
          <a:lstStyle/>
          <a:p>
            <a:pPr rtl="0">
              <a:spcAft>
                <a:spcPts val="0"/>
              </a:spcAft>
            </a:pPr>
            <a:r>
              <a:rPr lang="en-gb" sz="1400">
                <a:solidFill>
                  <a:schemeClr val="tx1"/>
                </a:solidFill>
              </a:rPr>
              <a:t>Do not stop the massage for more than 10 seconds, even if the breathing seems to be failing. When using the defibrillator, try to keep the pauses between cardiac massage and defibrillator operation as short as possible </a:t>
            </a:r>
          </a:p>
        </p:txBody>
      </p:sp>
      <p:sp>
        <p:nvSpPr>
          <p:cNvPr id="40" name="TextBox 39">
            <a:extLst>
              <a:ext uri="{FF2B5EF4-FFF2-40B4-BE49-F238E27FC236}">
                <a16:creationId xmlns:a16="http://schemas.microsoft.com/office/drawing/2014/main" id="{D1B7C728-9ECB-FC52-795D-8049E21F1FC0}"/>
              </a:ext>
            </a:extLst>
          </p:cNvPr>
          <p:cNvSpPr txBox="1"/>
          <p:nvPr/>
        </p:nvSpPr>
        <p:spPr>
          <a:xfrm>
            <a:off x="1297953" y="5596200"/>
            <a:ext cx="8123839" cy="576000"/>
          </a:xfrm>
          <a:prstGeom prst="rect">
            <a:avLst/>
          </a:prstGeom>
          <a:noFill/>
        </p:spPr>
        <p:txBody>
          <a:bodyPr wrap="square" rtlCol="0" anchor="ctr">
            <a:noAutofit/>
          </a:bodyPr>
          <a:lstStyle/>
          <a:p>
            <a:pPr rtl="0">
              <a:spcAft>
                <a:spcPts val="0"/>
              </a:spcAft>
            </a:pPr>
            <a:r>
              <a:rPr lang="en-gb" sz="1400" dirty="0">
                <a:solidFill>
                  <a:schemeClr val="tx1"/>
                </a:solidFill>
              </a:rPr>
              <a:t>If there are several rescuers performing resuscitation, they may alternate, taking as little time as possible</a:t>
            </a:r>
            <a:r>
              <a:rPr lang="lv-LV" sz="1400" dirty="0">
                <a:solidFill>
                  <a:schemeClr val="tx1"/>
                </a:solidFill>
              </a:rPr>
              <a:t> to </a:t>
            </a:r>
            <a:r>
              <a:rPr lang="lv-LV" sz="1400" dirty="0" err="1">
                <a:solidFill>
                  <a:schemeClr val="tx1"/>
                </a:solidFill>
              </a:rPr>
              <a:t>switch</a:t>
            </a:r>
            <a:r>
              <a:rPr lang="en-gb" sz="1400" dirty="0">
                <a:solidFill>
                  <a:schemeClr val="tx1"/>
                </a:solidFill>
              </a:rPr>
              <a:t>, each performing resuscitation for 2 minutes</a:t>
            </a:r>
          </a:p>
        </p:txBody>
      </p:sp>
      <p:sp>
        <p:nvSpPr>
          <p:cNvPr id="3" name="Title 2">
            <a:extLst>
              <a:ext uri="{FF2B5EF4-FFF2-40B4-BE49-F238E27FC236}">
                <a16:creationId xmlns:a16="http://schemas.microsoft.com/office/drawing/2014/main" id="{18D846C5-0FE1-0722-5504-7D4D452EA64C}"/>
              </a:ext>
            </a:extLst>
          </p:cNvPr>
          <p:cNvSpPr>
            <a:spLocks noGrp="1"/>
          </p:cNvSpPr>
          <p:nvPr>
            <p:ph type="title"/>
          </p:nvPr>
        </p:nvSpPr>
        <p:spPr/>
        <p:txBody>
          <a:bodyPr vert="horz" rtlCol="0"/>
          <a:lstStyle/>
          <a:p>
            <a:pPr rtl="0"/>
            <a:r>
              <a:rPr lang="en-gb" dirty="0"/>
              <a:t>Adult resuscitation algorithm - important to remember</a:t>
            </a:r>
            <a:endParaRPr lang="en-GB" dirty="0"/>
          </a:p>
        </p:txBody>
      </p:sp>
      <p:sp>
        <p:nvSpPr>
          <p:cNvPr id="4" name="Slide Number Placeholder 3">
            <a:extLst>
              <a:ext uri="{FF2B5EF4-FFF2-40B4-BE49-F238E27FC236}">
                <a16:creationId xmlns:a16="http://schemas.microsoft.com/office/drawing/2014/main" id="{1D0816AF-800B-D4B3-9F92-EA9CA8F47531}"/>
              </a:ext>
            </a:extLst>
          </p:cNvPr>
          <p:cNvSpPr>
            <a:spLocks noGrp="1"/>
          </p:cNvSpPr>
          <p:nvPr>
            <p:ph type="sldNum" sz="quarter" idx="11"/>
          </p:nvPr>
        </p:nvSpPr>
        <p:spPr/>
        <p:txBody>
          <a:bodyPr rtlCol="0"/>
          <a:lstStyle/>
          <a:p>
            <a:pPr rtl="0"/>
            <a:fld id="{7870704B-CE94-48CC-AF30-84932A1262A7}" type="slidenum">
              <a:rPr lang="en-GB" smtClean="0">
                <a:solidFill>
                  <a:schemeClr val="bg1"/>
                </a:solidFill>
              </a:rPr>
              <a:pPr rtl="0"/>
              <a:t>16</a:t>
            </a:fld>
            <a:endParaRPr lang="en-GB">
              <a:solidFill>
                <a:schemeClr val="bg1"/>
              </a:solidFill>
            </a:endParaRPr>
          </a:p>
        </p:txBody>
      </p:sp>
      <p:grpSp>
        <p:nvGrpSpPr>
          <p:cNvPr id="52" name="Group 51">
            <a:extLst>
              <a:ext uri="{FF2B5EF4-FFF2-40B4-BE49-F238E27FC236}">
                <a16:creationId xmlns:a16="http://schemas.microsoft.com/office/drawing/2014/main" id="{361826EC-5A31-6F60-E34A-C417419DBE52}"/>
              </a:ext>
            </a:extLst>
          </p:cNvPr>
          <p:cNvGrpSpPr/>
          <p:nvPr/>
        </p:nvGrpSpPr>
        <p:grpSpPr>
          <a:xfrm>
            <a:off x="441325" y="1816189"/>
            <a:ext cx="630238" cy="576000"/>
            <a:chOff x="441325" y="1816189"/>
            <a:chExt cx="630238" cy="576000"/>
          </a:xfrm>
        </p:grpSpPr>
        <p:sp>
          <p:nvSpPr>
            <p:cNvPr id="13" name="Content Placeholder 1">
              <a:extLst>
                <a:ext uri="{FF2B5EF4-FFF2-40B4-BE49-F238E27FC236}">
                  <a16:creationId xmlns:a16="http://schemas.microsoft.com/office/drawing/2014/main" id="{1588DCB6-1F9C-1843-FD40-E691CF6FB0A3}"/>
                </a:ext>
              </a:extLst>
            </p:cNvPr>
            <p:cNvSpPr txBox="1">
              <a:spLocks/>
            </p:cNvSpPr>
            <p:nvPr/>
          </p:nvSpPr>
          <p:spPr>
            <a:xfrm>
              <a:off x="441325" y="1816189"/>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600">
                <a:solidFill>
                  <a:schemeClr val="bg1"/>
                </a:solidFill>
              </a:endParaRPr>
            </a:p>
          </p:txBody>
        </p:sp>
        <p:sp>
          <p:nvSpPr>
            <p:cNvPr id="14" name="L-Shape 13">
              <a:extLst>
                <a:ext uri="{FF2B5EF4-FFF2-40B4-BE49-F238E27FC236}">
                  <a16:creationId xmlns:a16="http://schemas.microsoft.com/office/drawing/2014/main" id="{1F342EFB-A975-1F78-C00D-526000C5D015}"/>
                </a:ext>
              </a:extLst>
            </p:cNvPr>
            <p:cNvSpPr/>
            <p:nvPr/>
          </p:nvSpPr>
          <p:spPr>
            <a:xfrm rot="13500000">
              <a:off x="628371" y="1976116"/>
              <a:ext cx="256146" cy="256146"/>
            </a:xfrm>
            <a:prstGeom prst="corner">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grpSp>
      <p:cxnSp>
        <p:nvCxnSpPr>
          <p:cNvPr id="20" name="Straight Connector 19">
            <a:extLst>
              <a:ext uri="{FF2B5EF4-FFF2-40B4-BE49-F238E27FC236}">
                <a16:creationId xmlns:a16="http://schemas.microsoft.com/office/drawing/2014/main" id="{92C24E3D-6F40-B1E5-DBC1-2BE00414047A}"/>
              </a:ext>
            </a:extLst>
          </p:cNvPr>
          <p:cNvCxnSpPr>
            <a:cxnSpLocks/>
          </p:cNvCxnSpPr>
          <p:nvPr/>
        </p:nvCxnSpPr>
        <p:spPr>
          <a:xfrm>
            <a:off x="1297953" y="2480397"/>
            <a:ext cx="8123840" cy="5379"/>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3" name="Straight Connector 42">
            <a:extLst>
              <a:ext uri="{FF2B5EF4-FFF2-40B4-BE49-F238E27FC236}">
                <a16:creationId xmlns:a16="http://schemas.microsoft.com/office/drawing/2014/main" id="{59E75C4B-5949-DF88-AD9A-8033C3D4774D}"/>
              </a:ext>
            </a:extLst>
          </p:cNvPr>
          <p:cNvCxnSpPr>
            <a:cxnSpLocks/>
          </p:cNvCxnSpPr>
          <p:nvPr/>
        </p:nvCxnSpPr>
        <p:spPr>
          <a:xfrm>
            <a:off x="1297953" y="3236399"/>
            <a:ext cx="8123840" cy="5379"/>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4" name="Straight Connector 43">
            <a:extLst>
              <a:ext uri="{FF2B5EF4-FFF2-40B4-BE49-F238E27FC236}">
                <a16:creationId xmlns:a16="http://schemas.microsoft.com/office/drawing/2014/main" id="{8889C8BE-E758-9763-FA51-DA257DC99FA3}"/>
              </a:ext>
            </a:extLst>
          </p:cNvPr>
          <p:cNvCxnSpPr>
            <a:cxnSpLocks/>
          </p:cNvCxnSpPr>
          <p:nvPr/>
        </p:nvCxnSpPr>
        <p:spPr>
          <a:xfrm>
            <a:off x="1297953" y="3992401"/>
            <a:ext cx="8123840" cy="5379"/>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5" name="Straight Connector 44">
            <a:extLst>
              <a:ext uri="{FF2B5EF4-FFF2-40B4-BE49-F238E27FC236}">
                <a16:creationId xmlns:a16="http://schemas.microsoft.com/office/drawing/2014/main" id="{A300680A-200E-FF28-E0BC-1F1EC5EAE1F2}"/>
              </a:ext>
            </a:extLst>
          </p:cNvPr>
          <p:cNvCxnSpPr>
            <a:cxnSpLocks/>
          </p:cNvCxnSpPr>
          <p:nvPr/>
        </p:nvCxnSpPr>
        <p:spPr>
          <a:xfrm>
            <a:off x="1297953" y="4748403"/>
            <a:ext cx="8123840" cy="5379"/>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6" name="Straight Connector 45">
            <a:extLst>
              <a:ext uri="{FF2B5EF4-FFF2-40B4-BE49-F238E27FC236}">
                <a16:creationId xmlns:a16="http://schemas.microsoft.com/office/drawing/2014/main" id="{6E9EAA9E-3B17-EFD6-CB33-84C28033B236}"/>
              </a:ext>
            </a:extLst>
          </p:cNvPr>
          <p:cNvCxnSpPr>
            <a:cxnSpLocks/>
          </p:cNvCxnSpPr>
          <p:nvPr/>
        </p:nvCxnSpPr>
        <p:spPr>
          <a:xfrm>
            <a:off x="1297953" y="5504405"/>
            <a:ext cx="8123840" cy="5379"/>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54" name="Content Placeholder 1">
            <a:extLst>
              <a:ext uri="{FF2B5EF4-FFF2-40B4-BE49-F238E27FC236}">
                <a16:creationId xmlns:a16="http://schemas.microsoft.com/office/drawing/2014/main" id="{2160E887-D72A-001F-55FA-3C1960A19D7C}"/>
              </a:ext>
            </a:extLst>
          </p:cNvPr>
          <p:cNvSpPr txBox="1">
            <a:spLocks/>
          </p:cNvSpPr>
          <p:nvPr/>
        </p:nvSpPr>
        <p:spPr>
          <a:xfrm>
            <a:off x="441325" y="2572191"/>
            <a:ext cx="630238" cy="576000"/>
          </a:xfrm>
          <a:prstGeom prst="rect">
            <a:avLst/>
          </a:prstGeom>
          <a:solidFill>
            <a:schemeClr val="accent3"/>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600">
              <a:solidFill>
                <a:schemeClr val="bg1"/>
              </a:solidFill>
            </a:endParaRPr>
          </a:p>
        </p:txBody>
      </p:sp>
      <p:sp>
        <p:nvSpPr>
          <p:cNvPr id="55" name="L-Shape 54">
            <a:extLst>
              <a:ext uri="{FF2B5EF4-FFF2-40B4-BE49-F238E27FC236}">
                <a16:creationId xmlns:a16="http://schemas.microsoft.com/office/drawing/2014/main" id="{97D298FE-57D3-750E-007D-3E91DB407BCA}"/>
              </a:ext>
            </a:extLst>
          </p:cNvPr>
          <p:cNvSpPr/>
          <p:nvPr/>
        </p:nvSpPr>
        <p:spPr>
          <a:xfrm rot="13500000">
            <a:off x="628371" y="2732118"/>
            <a:ext cx="256146" cy="256146"/>
          </a:xfrm>
          <a:prstGeom prst="corner">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grpSp>
        <p:nvGrpSpPr>
          <p:cNvPr id="56" name="Group 55">
            <a:extLst>
              <a:ext uri="{FF2B5EF4-FFF2-40B4-BE49-F238E27FC236}">
                <a16:creationId xmlns:a16="http://schemas.microsoft.com/office/drawing/2014/main" id="{B283AB5C-9A0D-B1DC-E633-C1CC380D0603}"/>
              </a:ext>
            </a:extLst>
          </p:cNvPr>
          <p:cNvGrpSpPr/>
          <p:nvPr/>
        </p:nvGrpSpPr>
        <p:grpSpPr>
          <a:xfrm>
            <a:off x="441325" y="3328193"/>
            <a:ext cx="630238" cy="576000"/>
            <a:chOff x="441325" y="1816189"/>
            <a:chExt cx="630238" cy="576000"/>
          </a:xfrm>
        </p:grpSpPr>
        <p:sp>
          <p:nvSpPr>
            <p:cNvPr id="57" name="Content Placeholder 1">
              <a:extLst>
                <a:ext uri="{FF2B5EF4-FFF2-40B4-BE49-F238E27FC236}">
                  <a16:creationId xmlns:a16="http://schemas.microsoft.com/office/drawing/2014/main" id="{A4B9D62A-0580-D635-828C-DFE7D404846C}"/>
                </a:ext>
              </a:extLst>
            </p:cNvPr>
            <p:cNvSpPr txBox="1">
              <a:spLocks/>
            </p:cNvSpPr>
            <p:nvPr/>
          </p:nvSpPr>
          <p:spPr>
            <a:xfrm>
              <a:off x="441325" y="1816189"/>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600">
                <a:solidFill>
                  <a:schemeClr val="bg1"/>
                </a:solidFill>
              </a:endParaRPr>
            </a:p>
          </p:txBody>
        </p:sp>
        <p:sp>
          <p:nvSpPr>
            <p:cNvPr id="58" name="L-Shape 57">
              <a:extLst>
                <a:ext uri="{FF2B5EF4-FFF2-40B4-BE49-F238E27FC236}">
                  <a16:creationId xmlns:a16="http://schemas.microsoft.com/office/drawing/2014/main" id="{89C4D8B3-0F3A-1A5E-0D82-091517C65C55}"/>
                </a:ext>
              </a:extLst>
            </p:cNvPr>
            <p:cNvSpPr/>
            <p:nvPr/>
          </p:nvSpPr>
          <p:spPr>
            <a:xfrm rot="13500000">
              <a:off x="628371" y="1976116"/>
              <a:ext cx="256146" cy="256146"/>
            </a:xfrm>
            <a:prstGeom prst="corner">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grpSp>
      <p:sp>
        <p:nvSpPr>
          <p:cNvPr id="60" name="Content Placeholder 1">
            <a:extLst>
              <a:ext uri="{FF2B5EF4-FFF2-40B4-BE49-F238E27FC236}">
                <a16:creationId xmlns:a16="http://schemas.microsoft.com/office/drawing/2014/main" id="{313FE6F6-6F21-C667-EDDD-64858C966282}"/>
              </a:ext>
            </a:extLst>
          </p:cNvPr>
          <p:cNvSpPr txBox="1">
            <a:spLocks/>
          </p:cNvSpPr>
          <p:nvPr/>
        </p:nvSpPr>
        <p:spPr>
          <a:xfrm>
            <a:off x="441325" y="4084195"/>
            <a:ext cx="630238" cy="576000"/>
          </a:xfrm>
          <a:prstGeom prst="rect">
            <a:avLst/>
          </a:prstGeom>
          <a:solidFill>
            <a:schemeClr val="accent3"/>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600">
              <a:solidFill>
                <a:schemeClr val="bg1"/>
              </a:solidFill>
            </a:endParaRPr>
          </a:p>
        </p:txBody>
      </p:sp>
      <p:sp>
        <p:nvSpPr>
          <p:cNvPr id="61" name="L-Shape 60">
            <a:extLst>
              <a:ext uri="{FF2B5EF4-FFF2-40B4-BE49-F238E27FC236}">
                <a16:creationId xmlns:a16="http://schemas.microsoft.com/office/drawing/2014/main" id="{02353164-8215-8965-7A2D-8903AA8FD6FD}"/>
              </a:ext>
            </a:extLst>
          </p:cNvPr>
          <p:cNvSpPr/>
          <p:nvPr/>
        </p:nvSpPr>
        <p:spPr>
          <a:xfrm rot="13500000">
            <a:off x="628371" y="4244122"/>
            <a:ext cx="256146" cy="256146"/>
          </a:xfrm>
          <a:prstGeom prst="corner">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grpSp>
        <p:nvGrpSpPr>
          <p:cNvPr id="62" name="Group 61">
            <a:extLst>
              <a:ext uri="{FF2B5EF4-FFF2-40B4-BE49-F238E27FC236}">
                <a16:creationId xmlns:a16="http://schemas.microsoft.com/office/drawing/2014/main" id="{C1EA6D93-8DB7-F1C4-5C88-78889B57D726}"/>
              </a:ext>
            </a:extLst>
          </p:cNvPr>
          <p:cNvGrpSpPr/>
          <p:nvPr/>
        </p:nvGrpSpPr>
        <p:grpSpPr>
          <a:xfrm>
            <a:off x="441325" y="4840197"/>
            <a:ext cx="630238" cy="576000"/>
            <a:chOff x="441325" y="1816189"/>
            <a:chExt cx="630238" cy="576000"/>
          </a:xfrm>
        </p:grpSpPr>
        <p:sp>
          <p:nvSpPr>
            <p:cNvPr id="63" name="Content Placeholder 1">
              <a:extLst>
                <a:ext uri="{FF2B5EF4-FFF2-40B4-BE49-F238E27FC236}">
                  <a16:creationId xmlns:a16="http://schemas.microsoft.com/office/drawing/2014/main" id="{6492D47D-1173-7C35-7619-D81D6BC50BC9}"/>
                </a:ext>
              </a:extLst>
            </p:cNvPr>
            <p:cNvSpPr txBox="1">
              <a:spLocks/>
            </p:cNvSpPr>
            <p:nvPr/>
          </p:nvSpPr>
          <p:spPr>
            <a:xfrm>
              <a:off x="441325" y="1816189"/>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600">
                <a:solidFill>
                  <a:schemeClr val="bg1"/>
                </a:solidFill>
              </a:endParaRPr>
            </a:p>
          </p:txBody>
        </p:sp>
        <p:sp>
          <p:nvSpPr>
            <p:cNvPr id="64" name="L-Shape 63">
              <a:extLst>
                <a:ext uri="{FF2B5EF4-FFF2-40B4-BE49-F238E27FC236}">
                  <a16:creationId xmlns:a16="http://schemas.microsoft.com/office/drawing/2014/main" id="{66F14979-CEB3-45D3-8A84-E0FF8E9A8906}"/>
                </a:ext>
              </a:extLst>
            </p:cNvPr>
            <p:cNvSpPr/>
            <p:nvPr/>
          </p:nvSpPr>
          <p:spPr>
            <a:xfrm rot="13500000">
              <a:off x="628371" y="1976116"/>
              <a:ext cx="256146" cy="256146"/>
            </a:xfrm>
            <a:prstGeom prst="corner">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grpSp>
      <p:sp>
        <p:nvSpPr>
          <p:cNvPr id="66" name="Content Placeholder 1">
            <a:extLst>
              <a:ext uri="{FF2B5EF4-FFF2-40B4-BE49-F238E27FC236}">
                <a16:creationId xmlns:a16="http://schemas.microsoft.com/office/drawing/2014/main" id="{EAE439AD-F0F2-443E-41B6-0463B5B0AB20}"/>
              </a:ext>
            </a:extLst>
          </p:cNvPr>
          <p:cNvSpPr txBox="1">
            <a:spLocks/>
          </p:cNvSpPr>
          <p:nvPr/>
        </p:nvSpPr>
        <p:spPr>
          <a:xfrm>
            <a:off x="441325" y="5596200"/>
            <a:ext cx="630238" cy="576000"/>
          </a:xfrm>
          <a:prstGeom prst="rect">
            <a:avLst/>
          </a:prstGeom>
          <a:solidFill>
            <a:schemeClr val="accent3"/>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600">
              <a:solidFill>
                <a:schemeClr val="bg1"/>
              </a:solidFill>
            </a:endParaRPr>
          </a:p>
        </p:txBody>
      </p:sp>
      <p:sp>
        <p:nvSpPr>
          <p:cNvPr id="67" name="L-Shape 66">
            <a:extLst>
              <a:ext uri="{FF2B5EF4-FFF2-40B4-BE49-F238E27FC236}">
                <a16:creationId xmlns:a16="http://schemas.microsoft.com/office/drawing/2014/main" id="{DD92AC09-30B3-CCED-D1FD-071AD8EA9D45}"/>
              </a:ext>
            </a:extLst>
          </p:cNvPr>
          <p:cNvSpPr/>
          <p:nvPr/>
        </p:nvSpPr>
        <p:spPr>
          <a:xfrm rot="13500000">
            <a:off x="628371" y="5756127"/>
            <a:ext cx="256146" cy="256146"/>
          </a:xfrm>
          <a:prstGeom prst="corner">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 name="Rectangle 1">
            <a:extLst>
              <a:ext uri="{FF2B5EF4-FFF2-40B4-BE49-F238E27FC236}">
                <a16:creationId xmlns:a16="http://schemas.microsoft.com/office/drawing/2014/main" id="{2B9BA7A9-23FD-2573-72ED-860A236A3F30}"/>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15" name="Group 14">
            <a:extLst>
              <a:ext uri="{FF2B5EF4-FFF2-40B4-BE49-F238E27FC236}">
                <a16:creationId xmlns:a16="http://schemas.microsoft.com/office/drawing/2014/main" id="{C1B3FE4A-2838-5F19-939C-520B2697AFCD}"/>
              </a:ext>
            </a:extLst>
          </p:cNvPr>
          <p:cNvGrpSpPr/>
          <p:nvPr/>
        </p:nvGrpSpPr>
        <p:grpSpPr>
          <a:xfrm>
            <a:off x="9214984" y="126781"/>
            <a:ext cx="2534104" cy="217488"/>
            <a:chOff x="9214984" y="126781"/>
            <a:chExt cx="2534104" cy="217488"/>
          </a:xfrm>
        </p:grpSpPr>
        <p:sp>
          <p:nvSpPr>
            <p:cNvPr id="16" name="Rectangle 15">
              <a:extLst>
                <a:ext uri="{FF2B5EF4-FFF2-40B4-BE49-F238E27FC236}">
                  <a16:creationId xmlns:a16="http://schemas.microsoft.com/office/drawing/2014/main" id="{124C852B-9A5A-2AAD-A717-90130BD385F6}"/>
                </a:ext>
              </a:extLst>
            </p:cNvPr>
            <p:cNvSpPr/>
            <p:nvPr/>
          </p:nvSpPr>
          <p:spPr>
            <a:xfrm>
              <a:off x="9939020" y="126781"/>
              <a:ext cx="1329297"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000000"/>
                  </a:solidFill>
                  <a:effectLst/>
                  <a:uLnTx/>
                  <a:uFillTx/>
                  <a:ea typeface="Georgia"/>
                  <a:cs typeface="Georgia"/>
                  <a:sym typeface="Georgia"/>
                </a:rPr>
                <a:t>Resuscitation  measures</a:t>
              </a:r>
              <a:endParaRPr lang="en-gb" sz="800" b="1" i="0" u="none" strike="noStrike" kern="0" cap="none" spc="0" normalizeH="0" dirty="0">
                <a:ln>
                  <a:noFill/>
                </a:ln>
                <a:solidFill>
                  <a:srgbClr val="000000"/>
                </a:solidFill>
                <a:effectLst/>
                <a:uLnTx/>
                <a:uFillTx/>
                <a:ea typeface="Georgia"/>
                <a:cs typeface="Georgia"/>
                <a:sym typeface="Georgia"/>
              </a:endParaRPr>
            </a:p>
          </p:txBody>
        </p:sp>
        <p:sp>
          <p:nvSpPr>
            <p:cNvPr id="17" name="Rectangle 16">
              <a:extLst>
                <a:ext uri="{FF2B5EF4-FFF2-40B4-BE49-F238E27FC236}">
                  <a16:creationId xmlns:a16="http://schemas.microsoft.com/office/drawing/2014/main" id="{D6E9C287-B333-1CA3-606F-1A0E702F1EE6}"/>
                </a:ext>
              </a:extLst>
            </p:cNvPr>
            <p:cNvSpPr/>
            <p:nvPr/>
          </p:nvSpPr>
          <p:spPr>
            <a:xfrm>
              <a:off x="9214984"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a:ln>
                    <a:noFill/>
                  </a:ln>
                  <a:solidFill>
                    <a:schemeClr val="accent1"/>
                  </a:solidFill>
                  <a:effectLst/>
                  <a:uLnTx/>
                  <a:uFillTx/>
                  <a:ea typeface="Georgia"/>
                  <a:cs typeface="Georgia"/>
                  <a:sym typeface="Georgia"/>
                </a:rPr>
                <a:t>.1</a:t>
              </a:r>
            </a:p>
          </p:txBody>
        </p:sp>
        <p:sp>
          <p:nvSpPr>
            <p:cNvPr id="18" name="Rectangle 17">
              <a:extLst>
                <a:ext uri="{FF2B5EF4-FFF2-40B4-BE49-F238E27FC236}">
                  <a16:creationId xmlns:a16="http://schemas.microsoft.com/office/drawing/2014/main" id="{B695EBC4-140F-D0D1-87DA-B4D6A4BF844F}"/>
                </a:ext>
              </a:extLst>
            </p:cNvPr>
            <p:cNvSpPr/>
            <p:nvPr/>
          </p:nvSpPr>
          <p:spPr>
            <a:xfrm>
              <a:off x="945825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a:ln>
                    <a:noFill/>
                  </a:ln>
                  <a:solidFill>
                    <a:schemeClr val="accent1"/>
                  </a:solidFill>
                  <a:effectLst/>
                  <a:uLnTx/>
                  <a:uFillTx/>
                  <a:ea typeface="Georgia"/>
                  <a:cs typeface="Georgia"/>
                  <a:sym typeface="Georgia"/>
                </a:rPr>
                <a:t>.2</a:t>
              </a:r>
            </a:p>
          </p:txBody>
        </p:sp>
        <p:sp>
          <p:nvSpPr>
            <p:cNvPr id="21" name="Rectangle 20">
              <a:extLst>
                <a:ext uri="{FF2B5EF4-FFF2-40B4-BE49-F238E27FC236}">
                  <a16:creationId xmlns:a16="http://schemas.microsoft.com/office/drawing/2014/main" id="{28514178-A26F-6E88-0FC8-4072DD19CCD9}"/>
                </a:ext>
              </a:extLst>
            </p:cNvPr>
            <p:cNvSpPr/>
            <p:nvPr/>
          </p:nvSpPr>
          <p:spPr>
            <a:xfrm>
              <a:off x="9698634"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7</a:t>
              </a:r>
              <a:r>
                <a:rPr lang="en-gb" sz="800" b="1" i="0" u="none" strike="noStrike" kern="0" cap="none" spc="0" normalizeH="0">
                  <a:ln>
                    <a:noFill/>
                  </a:ln>
                  <a:effectLst/>
                  <a:uLnTx/>
                  <a:uFillTx/>
                  <a:ea typeface="Georgia"/>
                  <a:cs typeface="Georgia"/>
                  <a:sym typeface="Georgia"/>
                </a:rPr>
                <a:t>.3</a:t>
              </a:r>
            </a:p>
          </p:txBody>
        </p:sp>
        <p:sp>
          <p:nvSpPr>
            <p:cNvPr id="22" name="Rectangle 21">
              <a:extLst>
                <a:ext uri="{FF2B5EF4-FFF2-40B4-BE49-F238E27FC236}">
                  <a16:creationId xmlns:a16="http://schemas.microsoft.com/office/drawing/2014/main" id="{E750D9E5-8F88-0995-AD42-E42819AE41B7}"/>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a:ln>
                    <a:noFill/>
                  </a:ln>
                  <a:solidFill>
                    <a:schemeClr val="accent1"/>
                  </a:solidFill>
                  <a:effectLst/>
                  <a:uLnTx/>
                  <a:uFillTx/>
                  <a:ea typeface="Georgia"/>
                  <a:cs typeface="Georgia"/>
                  <a:sym typeface="Georgia"/>
                </a:rPr>
                <a:t>.4</a:t>
              </a:r>
            </a:p>
          </p:txBody>
        </p:sp>
        <p:sp>
          <p:nvSpPr>
            <p:cNvPr id="23" name="Rectangle 22">
              <a:extLst>
                <a:ext uri="{FF2B5EF4-FFF2-40B4-BE49-F238E27FC236}">
                  <a16:creationId xmlns:a16="http://schemas.microsoft.com/office/drawing/2014/main" id="{FEBA72E3-1683-334F-60B2-62510A39E136}"/>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a:ln>
                    <a:noFill/>
                  </a:ln>
                  <a:solidFill>
                    <a:schemeClr val="accent1"/>
                  </a:solidFill>
                  <a:effectLst/>
                  <a:uLnTx/>
                  <a:uFillTx/>
                  <a:ea typeface="Georgia"/>
                  <a:cs typeface="Georgia"/>
                  <a:sym typeface="Georgia"/>
                </a:rPr>
                <a:t>.5</a:t>
              </a:r>
            </a:p>
          </p:txBody>
        </p:sp>
      </p:grpSp>
    </p:spTree>
    <p:extLst>
      <p:ext uri="{BB962C8B-B14F-4D97-AF65-F5344CB8AC3E}">
        <p14:creationId xmlns:p14="http://schemas.microsoft.com/office/powerpoint/2010/main" val="17640346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B5F8EBF-52CC-2EDB-41E8-3667D4E9C17E}"/>
              </a:ext>
            </a:extLst>
          </p:cNvPr>
          <p:cNvGraphicFramePr>
            <a:graphicFrameLocks noChangeAspect="1"/>
          </p:cNvGraphicFramePr>
          <p:nvPr>
            <p:custDataLst>
              <p:tags r:id="rId1"/>
            </p:custDataLst>
            <p:extLst>
              <p:ext uri="{D42A27DB-BD31-4B8C-83A1-F6EECF244321}">
                <p14:modId xmlns:p14="http://schemas.microsoft.com/office/powerpoint/2010/main" val="756256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6" name="think-cell data - do not delete" hidden="1">
                        <a:extLst>
                          <a:ext uri="{FF2B5EF4-FFF2-40B4-BE49-F238E27FC236}">
                            <a16:creationId xmlns:a16="http://schemas.microsoft.com/office/drawing/2014/main" id="{8B5F8EBF-52CC-2EDB-41E8-3667D4E9C1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Placeholder 12">
            <a:extLst>
              <a:ext uri="{FF2B5EF4-FFF2-40B4-BE49-F238E27FC236}">
                <a16:creationId xmlns:a16="http://schemas.microsoft.com/office/drawing/2014/main" id="{E7EEA787-A341-92D1-60ED-BDC23F0EF401}"/>
              </a:ext>
            </a:extLst>
          </p:cNvPr>
          <p:cNvPicPr>
            <a:picLocks noGrp="1" noChangeAspect="1"/>
          </p:cNvPicPr>
          <p:nvPr>
            <p:ph type="pic" sz="quarter" idx="10"/>
          </p:nvPr>
        </p:nvPicPr>
        <p:blipFill>
          <a:blip r:embed="rId6"/>
          <a:srcRect l="11775" r="11775"/>
          <a:stretch>
            <a:fillRect/>
          </a:stretch>
        </p:blipFill>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sp>
        <p:nvSpPr>
          <p:cNvPr id="2" name="Title 1"/>
          <p:cNvSpPr>
            <a:spLocks noGrp="1"/>
          </p:cNvSpPr>
          <p:nvPr>
            <p:ph type="ctrTitle"/>
          </p:nvPr>
        </p:nvSpPr>
        <p:spPr>
          <a:xfrm>
            <a:off x="442913" y="1064850"/>
            <a:ext cx="7418387" cy="2428875"/>
          </a:xfrm>
        </p:spPr>
        <p:txBody>
          <a:bodyPr vert="horz" rtlCol="0">
            <a:normAutofit/>
          </a:bodyPr>
          <a:lstStyle/>
          <a:p>
            <a:pPr rtl="0"/>
            <a:r>
              <a:rPr lang="en-gb"/>
              <a:t>7.4. First aid</a:t>
            </a:r>
            <a:br>
              <a:rPr lang="lv-LV" dirty="0"/>
            </a:br>
            <a:r>
              <a:rPr lang="en-gb"/>
              <a:t>measures</a:t>
            </a:r>
            <a:endParaRPr lang="en-GB" dirty="0"/>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Tree>
    <p:extLst>
      <p:ext uri="{BB962C8B-B14F-4D97-AF65-F5344CB8AC3E}">
        <p14:creationId xmlns:p14="http://schemas.microsoft.com/office/powerpoint/2010/main" val="24638226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BD27262-4779-ADB8-12BD-E78A69C7BF00}"/>
              </a:ext>
            </a:extLst>
          </p:cNvPr>
          <p:cNvPicPr>
            <a:picLocks noChangeAspect="1"/>
          </p:cNvPicPr>
          <p:nvPr/>
        </p:nvPicPr>
        <p:blipFill>
          <a:blip r:embed="rId4"/>
          <a:stretch>
            <a:fillRect/>
          </a:stretch>
        </p:blipFill>
        <p:spPr>
          <a:xfrm>
            <a:off x="7620000" y="0"/>
            <a:ext cx="4572000" cy="6858000"/>
          </a:xfrm>
          <a:prstGeom prst="rect">
            <a:avLst/>
          </a:prstGeom>
        </p:spPr>
      </p:pic>
      <p:graphicFrame>
        <p:nvGraphicFramePr>
          <p:cNvPr id="16" name="think-cell data - do not delete" hidden="1">
            <a:extLst>
              <a:ext uri="{FF2B5EF4-FFF2-40B4-BE49-F238E27FC236}">
                <a16:creationId xmlns:a16="http://schemas.microsoft.com/office/drawing/2014/main" id="{4BB85949-B364-9670-87F3-225C32F154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16" name="think-cell data - do not delete" hidden="1">
                        <a:extLst>
                          <a:ext uri="{FF2B5EF4-FFF2-40B4-BE49-F238E27FC236}">
                            <a16:creationId xmlns:a16="http://schemas.microsoft.com/office/drawing/2014/main" id="{4BB85949-B364-9670-87F3-225C32F154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object 2"/>
          <p:cNvSpPr txBox="1">
            <a:spLocks noGrp="1"/>
          </p:cNvSpPr>
          <p:nvPr>
            <p:ph type="title"/>
          </p:nvPr>
        </p:nvSpPr>
        <p:spPr>
          <a:xfrm>
            <a:off x="442913" y="432001"/>
            <a:ext cx="11306175" cy="1387274"/>
          </a:xfrm>
        </p:spPr>
        <p:txBody>
          <a:bodyPr vert="horz" wrap="square" lIns="0" tIns="0" rIns="0" bIns="0" rtlCol="0">
            <a:noAutofit/>
          </a:bodyPr>
          <a:lstStyle/>
          <a:p>
            <a:pPr rtl="0"/>
            <a:r>
              <a:rPr lang="en-gb"/>
              <a:t>First aid measures</a:t>
            </a:r>
          </a:p>
        </p:txBody>
      </p:sp>
      <p:sp>
        <p:nvSpPr>
          <p:cNvPr id="23" name="Slide Number Placeholder 3">
            <a:extLst>
              <a:ext uri="{FF2B5EF4-FFF2-40B4-BE49-F238E27FC236}">
                <a16:creationId xmlns:a16="http://schemas.microsoft.com/office/drawing/2014/main" id="{3E50A70C-AE98-4C4C-DD4B-01F345345628}"/>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lv-LV" smtClean="0"/>
              <a:pPr rtl="0"/>
              <a:t>18</a:t>
            </a:fld>
            <a:endParaRPr lang="lv-LV"/>
          </a:p>
        </p:txBody>
      </p:sp>
      <p:grpSp>
        <p:nvGrpSpPr>
          <p:cNvPr id="67" name="Group 66">
            <a:extLst>
              <a:ext uri="{FF2B5EF4-FFF2-40B4-BE49-F238E27FC236}">
                <a16:creationId xmlns:a16="http://schemas.microsoft.com/office/drawing/2014/main" id="{2D2798A6-DB77-8DF8-0FBA-D6A5F593466B}"/>
              </a:ext>
            </a:extLst>
          </p:cNvPr>
          <p:cNvGrpSpPr/>
          <p:nvPr/>
        </p:nvGrpSpPr>
        <p:grpSpPr>
          <a:xfrm>
            <a:off x="442912" y="1818184"/>
            <a:ext cx="7177088" cy="4356082"/>
            <a:chOff x="442912" y="1818184"/>
            <a:chExt cx="7177088" cy="4356082"/>
          </a:xfrm>
        </p:grpSpPr>
        <p:sp>
          <p:nvSpPr>
            <p:cNvPr id="13" name="Satura vietturis 2">
              <a:extLst>
                <a:ext uri="{FF2B5EF4-FFF2-40B4-BE49-F238E27FC236}">
                  <a16:creationId xmlns:a16="http://schemas.microsoft.com/office/drawing/2014/main" id="{EBC48018-9352-BCE7-EC18-F64F9523FBE2}"/>
                </a:ext>
              </a:extLst>
            </p:cNvPr>
            <p:cNvSpPr txBox="1">
              <a:spLocks/>
            </p:cNvSpPr>
            <p:nvPr/>
          </p:nvSpPr>
          <p:spPr>
            <a:xfrm>
              <a:off x="1139874" y="5735321"/>
              <a:ext cx="6480126" cy="436563"/>
            </a:xfrm>
            <a:prstGeom prst="rect">
              <a:avLst/>
            </a:prstGeom>
            <a:solidFill>
              <a:schemeClr val="bg1"/>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600"/>
                </a:spcAft>
              </a:pPr>
              <a:r>
                <a:rPr lang="en-gb" sz="1400" b="0">
                  <a:solidFill>
                    <a:schemeClr val="tx1">
                      <a:lumMod val="50000"/>
                    </a:schemeClr>
                  </a:solidFill>
                  <a:latin typeface="Arial"/>
                  <a:ea typeface="Arial"/>
                  <a:cs typeface="Arial"/>
                </a:rPr>
                <a:t>Diseases</a:t>
              </a:r>
              <a:endParaRPr lang="lv-LV" sz="1400" b="0">
                <a:solidFill>
                  <a:schemeClr val="tx1">
                    <a:lumMod val="50000"/>
                  </a:schemeClr>
                </a:solidFill>
                <a:cs typeface="Arial"/>
              </a:endParaRPr>
            </a:p>
          </p:txBody>
        </p:sp>
        <p:sp>
          <p:nvSpPr>
            <p:cNvPr id="14" name="Rectangle 13">
              <a:extLst>
                <a:ext uri="{FF2B5EF4-FFF2-40B4-BE49-F238E27FC236}">
                  <a16:creationId xmlns:a16="http://schemas.microsoft.com/office/drawing/2014/main" id="{A6EA8E27-8E20-4FA2-6F3F-47AB069C7A15}"/>
                </a:ext>
              </a:extLst>
            </p:cNvPr>
            <p:cNvSpPr/>
            <p:nvPr/>
          </p:nvSpPr>
          <p:spPr>
            <a:xfrm>
              <a:off x="442912" y="5734866"/>
              <a:ext cx="586800" cy="437018"/>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17" name="Satura vietturis 2">
              <a:extLst>
                <a:ext uri="{FF2B5EF4-FFF2-40B4-BE49-F238E27FC236}">
                  <a16:creationId xmlns:a16="http://schemas.microsoft.com/office/drawing/2014/main" id="{727C3B93-672E-9475-DFE2-94264EF24635}"/>
                </a:ext>
              </a:extLst>
            </p:cNvPr>
            <p:cNvSpPr txBox="1">
              <a:spLocks/>
            </p:cNvSpPr>
            <p:nvPr/>
          </p:nvSpPr>
          <p:spPr>
            <a:xfrm>
              <a:off x="1139874" y="5175730"/>
              <a:ext cx="6480126" cy="436563"/>
            </a:xfrm>
            <a:prstGeom prst="rect">
              <a:avLst/>
            </a:prstGeom>
            <a:solidFill>
              <a:schemeClr val="bg1"/>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600"/>
                </a:spcAft>
              </a:pPr>
              <a:r>
                <a:rPr lang="en-gb" sz="1400" b="0">
                  <a:solidFill>
                    <a:schemeClr val="tx1">
                      <a:lumMod val="50000"/>
                    </a:schemeClr>
                  </a:solidFill>
                  <a:latin typeface="Arial"/>
                  <a:ea typeface="Arial"/>
                  <a:cs typeface="Arial"/>
                </a:rPr>
                <a:t>Foreign bodies</a:t>
              </a:r>
            </a:p>
          </p:txBody>
        </p:sp>
        <p:sp>
          <p:nvSpPr>
            <p:cNvPr id="18" name="Satura vietturis 2">
              <a:extLst>
                <a:ext uri="{FF2B5EF4-FFF2-40B4-BE49-F238E27FC236}">
                  <a16:creationId xmlns:a16="http://schemas.microsoft.com/office/drawing/2014/main" id="{23FEABF4-ACC6-6BA5-26A6-57105BBF3D63}"/>
                </a:ext>
              </a:extLst>
            </p:cNvPr>
            <p:cNvSpPr txBox="1">
              <a:spLocks/>
            </p:cNvSpPr>
            <p:nvPr/>
          </p:nvSpPr>
          <p:spPr>
            <a:xfrm>
              <a:off x="1139874" y="4616139"/>
              <a:ext cx="6480126" cy="436563"/>
            </a:xfrm>
            <a:prstGeom prst="rect">
              <a:avLst/>
            </a:prstGeom>
            <a:solidFill>
              <a:schemeClr val="bg1"/>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600"/>
                </a:spcAft>
              </a:pPr>
              <a:r>
                <a:rPr lang="en-gb" sz="1400" b="0">
                  <a:solidFill>
                    <a:schemeClr val="tx1">
                      <a:lumMod val="50000"/>
                    </a:schemeClr>
                  </a:solidFill>
                  <a:latin typeface="Arial"/>
                  <a:ea typeface="Arial"/>
                  <a:cs typeface="Arial"/>
                </a:rPr>
                <a:t>Accidents caused by animals</a:t>
              </a:r>
            </a:p>
          </p:txBody>
        </p:sp>
        <p:sp>
          <p:nvSpPr>
            <p:cNvPr id="19" name="Satura vietturis 2">
              <a:extLst>
                <a:ext uri="{FF2B5EF4-FFF2-40B4-BE49-F238E27FC236}">
                  <a16:creationId xmlns:a16="http://schemas.microsoft.com/office/drawing/2014/main" id="{640260A6-5B69-D0BB-2ADE-6121D1B73C97}"/>
                </a:ext>
              </a:extLst>
            </p:cNvPr>
            <p:cNvSpPr txBox="1">
              <a:spLocks/>
            </p:cNvSpPr>
            <p:nvPr/>
          </p:nvSpPr>
          <p:spPr>
            <a:xfrm>
              <a:off x="1139874" y="4056548"/>
              <a:ext cx="6480126" cy="436563"/>
            </a:xfrm>
            <a:prstGeom prst="rect">
              <a:avLst/>
            </a:prstGeom>
            <a:solidFill>
              <a:schemeClr val="bg1"/>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600"/>
                </a:spcAft>
              </a:pPr>
              <a:r>
                <a:rPr lang="en-gb" sz="1400" b="0">
                  <a:solidFill>
                    <a:schemeClr val="tx1">
                      <a:lumMod val="50000"/>
                    </a:schemeClr>
                  </a:solidFill>
                  <a:latin typeface="Arial"/>
                  <a:ea typeface="Arial"/>
                  <a:cs typeface="Arial"/>
                </a:rPr>
                <a:t>Road traffic accident</a:t>
              </a:r>
            </a:p>
          </p:txBody>
        </p:sp>
        <p:sp>
          <p:nvSpPr>
            <p:cNvPr id="20" name="Satura vietturis 2">
              <a:extLst>
                <a:ext uri="{FF2B5EF4-FFF2-40B4-BE49-F238E27FC236}">
                  <a16:creationId xmlns:a16="http://schemas.microsoft.com/office/drawing/2014/main" id="{6748D0C1-5B92-F6E9-0A59-E6156DD31117}"/>
                </a:ext>
              </a:extLst>
            </p:cNvPr>
            <p:cNvSpPr txBox="1">
              <a:spLocks/>
            </p:cNvSpPr>
            <p:nvPr/>
          </p:nvSpPr>
          <p:spPr>
            <a:xfrm>
              <a:off x="1139874" y="3496957"/>
              <a:ext cx="6480126" cy="436563"/>
            </a:xfrm>
            <a:prstGeom prst="rect">
              <a:avLst/>
            </a:prstGeom>
            <a:solidFill>
              <a:schemeClr val="bg1"/>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600"/>
                </a:spcAft>
              </a:pPr>
              <a:r>
                <a:rPr lang="en-gb" sz="1400" b="0">
                  <a:solidFill>
                    <a:schemeClr val="tx1">
                      <a:lumMod val="50000"/>
                    </a:schemeClr>
                  </a:solidFill>
                  <a:latin typeface="Arial"/>
                  <a:ea typeface="Arial"/>
                  <a:cs typeface="Arial"/>
                </a:rPr>
                <a:t>Injuries</a:t>
              </a:r>
            </a:p>
          </p:txBody>
        </p:sp>
        <p:sp>
          <p:nvSpPr>
            <p:cNvPr id="21" name="Satura vietturis 2">
              <a:extLst>
                <a:ext uri="{FF2B5EF4-FFF2-40B4-BE49-F238E27FC236}">
                  <a16:creationId xmlns:a16="http://schemas.microsoft.com/office/drawing/2014/main" id="{AD8FAEBD-9C40-1056-EDEE-D682D22C4018}"/>
                </a:ext>
              </a:extLst>
            </p:cNvPr>
            <p:cNvSpPr txBox="1">
              <a:spLocks/>
            </p:cNvSpPr>
            <p:nvPr/>
          </p:nvSpPr>
          <p:spPr>
            <a:xfrm>
              <a:off x="1139874" y="2937366"/>
              <a:ext cx="6480126" cy="436563"/>
            </a:xfrm>
            <a:prstGeom prst="rect">
              <a:avLst/>
            </a:prstGeom>
            <a:solidFill>
              <a:schemeClr val="bg1"/>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600"/>
                </a:spcAft>
              </a:pPr>
              <a:r>
                <a:rPr lang="en-gb" sz="1400" b="0">
                  <a:solidFill>
                    <a:schemeClr val="tx1">
                      <a:lumMod val="50000"/>
                    </a:schemeClr>
                  </a:solidFill>
                  <a:latin typeface="Arial"/>
                  <a:ea typeface="Arial"/>
                  <a:cs typeface="Arial"/>
                </a:rPr>
                <a:t>Chemical substances</a:t>
              </a:r>
            </a:p>
          </p:txBody>
        </p:sp>
        <p:sp>
          <p:nvSpPr>
            <p:cNvPr id="25" name="Satura vietturis 2">
              <a:extLst>
                <a:ext uri="{FF2B5EF4-FFF2-40B4-BE49-F238E27FC236}">
                  <a16:creationId xmlns:a16="http://schemas.microsoft.com/office/drawing/2014/main" id="{FA38E11F-EB0A-CDA0-8C36-9EFAAEF89052}"/>
                </a:ext>
              </a:extLst>
            </p:cNvPr>
            <p:cNvSpPr txBox="1">
              <a:spLocks/>
            </p:cNvSpPr>
            <p:nvPr/>
          </p:nvSpPr>
          <p:spPr>
            <a:xfrm>
              <a:off x="1139874" y="2377775"/>
              <a:ext cx="6480126" cy="436563"/>
            </a:xfrm>
            <a:prstGeom prst="rect">
              <a:avLst/>
            </a:prstGeom>
            <a:solidFill>
              <a:schemeClr val="bg1"/>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600"/>
                </a:spcAft>
              </a:pPr>
              <a:r>
                <a:rPr lang="en-gb" sz="1400" b="0">
                  <a:solidFill>
                    <a:schemeClr val="tx1">
                      <a:lumMod val="50000"/>
                    </a:schemeClr>
                  </a:solidFill>
                  <a:latin typeface="Arial"/>
                  <a:ea typeface="Arial"/>
                  <a:cs typeface="Arial"/>
                </a:rPr>
                <a:t>Thermal damage</a:t>
              </a:r>
            </a:p>
          </p:txBody>
        </p:sp>
        <p:sp>
          <p:nvSpPr>
            <p:cNvPr id="27" name="Satura vietturis 2">
              <a:extLst>
                <a:ext uri="{FF2B5EF4-FFF2-40B4-BE49-F238E27FC236}">
                  <a16:creationId xmlns:a16="http://schemas.microsoft.com/office/drawing/2014/main" id="{9BD1E965-D91B-3C2F-FE9D-C8C3604F3517}"/>
                </a:ext>
              </a:extLst>
            </p:cNvPr>
            <p:cNvSpPr txBox="1">
              <a:spLocks/>
            </p:cNvSpPr>
            <p:nvPr/>
          </p:nvSpPr>
          <p:spPr>
            <a:xfrm>
              <a:off x="1139874" y="1818184"/>
              <a:ext cx="6480126" cy="436563"/>
            </a:xfrm>
            <a:prstGeom prst="rect">
              <a:avLst/>
            </a:prstGeom>
            <a:solidFill>
              <a:schemeClr val="bg1"/>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600"/>
                </a:spcAft>
              </a:pPr>
              <a:r>
                <a:rPr lang="en-gb" sz="1400" b="0">
                  <a:solidFill>
                    <a:schemeClr val="tx1">
                      <a:lumMod val="50000"/>
                    </a:schemeClr>
                  </a:solidFill>
                  <a:latin typeface="Arial"/>
                  <a:cs typeface="Arial"/>
                </a:rPr>
                <a:t>Severe bleeding</a:t>
              </a:r>
            </a:p>
          </p:txBody>
        </p:sp>
        <p:sp>
          <p:nvSpPr>
            <p:cNvPr id="28" name="Rectangle 27">
              <a:extLst>
                <a:ext uri="{FF2B5EF4-FFF2-40B4-BE49-F238E27FC236}">
                  <a16:creationId xmlns:a16="http://schemas.microsoft.com/office/drawing/2014/main" id="{085CC3C1-7BCE-2CFF-6FE9-8B051CE5BAE1}"/>
                </a:ext>
              </a:extLst>
            </p:cNvPr>
            <p:cNvSpPr/>
            <p:nvPr/>
          </p:nvSpPr>
          <p:spPr>
            <a:xfrm>
              <a:off x="442912" y="5175730"/>
              <a:ext cx="586800" cy="43701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9" name="Rectangle 28">
              <a:extLst>
                <a:ext uri="{FF2B5EF4-FFF2-40B4-BE49-F238E27FC236}">
                  <a16:creationId xmlns:a16="http://schemas.microsoft.com/office/drawing/2014/main" id="{22B7628C-AF1F-ECC4-7997-9A5DA3213126}"/>
                </a:ext>
              </a:extLst>
            </p:cNvPr>
            <p:cNvSpPr/>
            <p:nvPr/>
          </p:nvSpPr>
          <p:spPr>
            <a:xfrm>
              <a:off x="442912" y="4616139"/>
              <a:ext cx="586800" cy="437018"/>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30" name="Rectangle 29">
              <a:extLst>
                <a:ext uri="{FF2B5EF4-FFF2-40B4-BE49-F238E27FC236}">
                  <a16:creationId xmlns:a16="http://schemas.microsoft.com/office/drawing/2014/main" id="{CBECDA33-3DF1-41DE-1ABB-16C633BAC804}"/>
                </a:ext>
              </a:extLst>
            </p:cNvPr>
            <p:cNvSpPr/>
            <p:nvPr/>
          </p:nvSpPr>
          <p:spPr>
            <a:xfrm>
              <a:off x="442912" y="4056548"/>
              <a:ext cx="586800" cy="43701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31" name="Rectangle 30">
              <a:extLst>
                <a:ext uri="{FF2B5EF4-FFF2-40B4-BE49-F238E27FC236}">
                  <a16:creationId xmlns:a16="http://schemas.microsoft.com/office/drawing/2014/main" id="{32D800BF-7D51-BDDC-0E3A-1EC21D1841D8}"/>
                </a:ext>
              </a:extLst>
            </p:cNvPr>
            <p:cNvSpPr/>
            <p:nvPr/>
          </p:nvSpPr>
          <p:spPr>
            <a:xfrm>
              <a:off x="442912" y="3496957"/>
              <a:ext cx="586800" cy="437018"/>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32" name="Rectangle 31">
              <a:extLst>
                <a:ext uri="{FF2B5EF4-FFF2-40B4-BE49-F238E27FC236}">
                  <a16:creationId xmlns:a16="http://schemas.microsoft.com/office/drawing/2014/main" id="{3904F4A1-8632-ECDA-CFE9-8DE85E254BF1}"/>
                </a:ext>
              </a:extLst>
            </p:cNvPr>
            <p:cNvSpPr/>
            <p:nvPr/>
          </p:nvSpPr>
          <p:spPr>
            <a:xfrm>
              <a:off x="442912" y="2937366"/>
              <a:ext cx="586800" cy="43701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33" name="Rectangle 32">
              <a:extLst>
                <a:ext uri="{FF2B5EF4-FFF2-40B4-BE49-F238E27FC236}">
                  <a16:creationId xmlns:a16="http://schemas.microsoft.com/office/drawing/2014/main" id="{EF2B0D7D-72D6-DA32-14A0-AAEB0DC31610}"/>
                </a:ext>
              </a:extLst>
            </p:cNvPr>
            <p:cNvSpPr/>
            <p:nvPr/>
          </p:nvSpPr>
          <p:spPr>
            <a:xfrm>
              <a:off x="442912" y="2377775"/>
              <a:ext cx="586800" cy="437018"/>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34" name="Rectangle 33">
              <a:extLst>
                <a:ext uri="{FF2B5EF4-FFF2-40B4-BE49-F238E27FC236}">
                  <a16:creationId xmlns:a16="http://schemas.microsoft.com/office/drawing/2014/main" id="{726C93E4-4142-75A2-547C-0711EA5DF011}"/>
                </a:ext>
              </a:extLst>
            </p:cNvPr>
            <p:cNvSpPr/>
            <p:nvPr/>
          </p:nvSpPr>
          <p:spPr>
            <a:xfrm>
              <a:off x="442912" y="1818184"/>
              <a:ext cx="586800" cy="43701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pic>
          <p:nvPicPr>
            <p:cNvPr id="15" name="Graphic 14" descr="Water with solid fill">
              <a:extLst>
                <a:ext uri="{FF2B5EF4-FFF2-40B4-BE49-F238E27FC236}">
                  <a16:creationId xmlns:a16="http://schemas.microsoft.com/office/drawing/2014/main" id="{56D5031E-9BB8-DB92-8641-EE3099AEAFC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4545" y="1855244"/>
              <a:ext cx="363534" cy="363534"/>
            </a:xfrm>
            <a:prstGeom prst="rect">
              <a:avLst/>
            </a:prstGeom>
          </p:spPr>
        </p:pic>
        <p:pic>
          <p:nvPicPr>
            <p:cNvPr id="43" name="Graphic 42" descr="Car with solid fill">
              <a:extLst>
                <a:ext uri="{FF2B5EF4-FFF2-40B4-BE49-F238E27FC236}">
                  <a16:creationId xmlns:a16="http://schemas.microsoft.com/office/drawing/2014/main" id="{B1930482-85CF-0828-289A-911A88D162F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4288" y="4076829"/>
              <a:ext cx="396000" cy="396000"/>
            </a:xfrm>
            <a:prstGeom prst="rect">
              <a:avLst/>
            </a:prstGeom>
          </p:spPr>
        </p:pic>
        <p:pic>
          <p:nvPicPr>
            <p:cNvPr id="45" name="Graphic 44" descr="Beaker with solid fill">
              <a:extLst>
                <a:ext uri="{FF2B5EF4-FFF2-40B4-BE49-F238E27FC236}">
                  <a16:creationId xmlns:a16="http://schemas.microsoft.com/office/drawing/2014/main" id="{CB7F7362-D009-3746-71A4-C82A3EAECE5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55965" y="2957647"/>
              <a:ext cx="396000" cy="396000"/>
            </a:xfrm>
            <a:prstGeom prst="rect">
              <a:avLst/>
            </a:prstGeom>
          </p:spPr>
        </p:pic>
        <p:pic>
          <p:nvPicPr>
            <p:cNvPr id="47" name="Graphic 46" descr="Veterinarian male with solid fill">
              <a:extLst>
                <a:ext uri="{FF2B5EF4-FFF2-40B4-BE49-F238E27FC236}">
                  <a16:creationId xmlns:a16="http://schemas.microsoft.com/office/drawing/2014/main" id="{1843502D-878E-5D1D-EC6D-637822DA957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54288" y="4636420"/>
              <a:ext cx="396000" cy="396000"/>
            </a:xfrm>
            <a:prstGeom prst="rect">
              <a:avLst/>
            </a:prstGeom>
          </p:spPr>
        </p:pic>
        <p:pic>
          <p:nvPicPr>
            <p:cNvPr id="49" name="Graphic 48" descr="Medicine with solid fill">
              <a:extLst>
                <a:ext uri="{FF2B5EF4-FFF2-40B4-BE49-F238E27FC236}">
                  <a16:creationId xmlns:a16="http://schemas.microsoft.com/office/drawing/2014/main" id="{CE2EC60D-BCC6-E24D-CC9D-94DDDB0D6EF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55209" y="5755375"/>
              <a:ext cx="396000" cy="396000"/>
            </a:xfrm>
            <a:prstGeom prst="rect">
              <a:avLst/>
            </a:prstGeom>
          </p:spPr>
        </p:pic>
        <p:pic>
          <p:nvPicPr>
            <p:cNvPr id="51" name="Graphic 50" descr="Nails with solid fill">
              <a:extLst>
                <a:ext uri="{FF2B5EF4-FFF2-40B4-BE49-F238E27FC236}">
                  <a16:creationId xmlns:a16="http://schemas.microsoft.com/office/drawing/2014/main" id="{B7BCAF95-4E75-7D80-5968-6AB8067240F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38311" y="5182123"/>
              <a:ext cx="396000" cy="396000"/>
            </a:xfrm>
            <a:prstGeom prst="rect">
              <a:avLst/>
            </a:prstGeom>
          </p:spPr>
        </p:pic>
        <p:pic>
          <p:nvPicPr>
            <p:cNvPr id="53" name="Graphic 52" descr="Thermometer with solid fill">
              <a:extLst>
                <a:ext uri="{FF2B5EF4-FFF2-40B4-BE49-F238E27FC236}">
                  <a16:creationId xmlns:a16="http://schemas.microsoft.com/office/drawing/2014/main" id="{F1451C2A-ADFE-AF0D-DFB9-1EB6C4E57003}"/>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43869" y="2398056"/>
              <a:ext cx="396000" cy="396000"/>
            </a:xfrm>
            <a:prstGeom prst="rect">
              <a:avLst/>
            </a:prstGeom>
          </p:spPr>
        </p:pic>
        <p:pic>
          <p:nvPicPr>
            <p:cNvPr id="55" name="Graphic 54" descr="Adhesive Bandage with solid fill">
              <a:extLst>
                <a:ext uri="{FF2B5EF4-FFF2-40B4-BE49-F238E27FC236}">
                  <a16:creationId xmlns:a16="http://schemas.microsoft.com/office/drawing/2014/main" id="{81FB2B37-3861-158D-B102-4866A1069E5C}"/>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54288" y="3523011"/>
              <a:ext cx="396000" cy="396000"/>
            </a:xfrm>
            <a:prstGeom prst="rect">
              <a:avLst/>
            </a:prstGeom>
          </p:spPr>
        </p:pic>
        <p:cxnSp>
          <p:nvCxnSpPr>
            <p:cNvPr id="58" name="Straight Connector 57">
              <a:extLst>
                <a:ext uri="{FF2B5EF4-FFF2-40B4-BE49-F238E27FC236}">
                  <a16:creationId xmlns:a16="http://schemas.microsoft.com/office/drawing/2014/main" id="{60097C3E-95FF-1A87-5F2F-91053212AE11}"/>
                </a:ext>
              </a:extLst>
            </p:cNvPr>
            <p:cNvCxnSpPr>
              <a:cxnSpLocks/>
            </p:cNvCxnSpPr>
            <p:nvPr/>
          </p:nvCxnSpPr>
          <p:spPr>
            <a:xfrm>
              <a:off x="1139874" y="2253046"/>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9" name="Straight Connector 58">
              <a:extLst>
                <a:ext uri="{FF2B5EF4-FFF2-40B4-BE49-F238E27FC236}">
                  <a16:creationId xmlns:a16="http://schemas.microsoft.com/office/drawing/2014/main" id="{9C90833B-60CC-5E5E-3CD3-754141C666B0}"/>
                </a:ext>
              </a:extLst>
            </p:cNvPr>
            <p:cNvCxnSpPr>
              <a:cxnSpLocks/>
            </p:cNvCxnSpPr>
            <p:nvPr/>
          </p:nvCxnSpPr>
          <p:spPr>
            <a:xfrm>
              <a:off x="1139874" y="2810841"/>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0" name="Straight Connector 59">
              <a:extLst>
                <a:ext uri="{FF2B5EF4-FFF2-40B4-BE49-F238E27FC236}">
                  <a16:creationId xmlns:a16="http://schemas.microsoft.com/office/drawing/2014/main" id="{FACF80ED-B110-F707-029A-D22DA28450C2}"/>
                </a:ext>
              </a:extLst>
            </p:cNvPr>
            <p:cNvCxnSpPr>
              <a:cxnSpLocks/>
            </p:cNvCxnSpPr>
            <p:nvPr/>
          </p:nvCxnSpPr>
          <p:spPr>
            <a:xfrm>
              <a:off x="1139874" y="3370432"/>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1" name="Straight Connector 60">
              <a:extLst>
                <a:ext uri="{FF2B5EF4-FFF2-40B4-BE49-F238E27FC236}">
                  <a16:creationId xmlns:a16="http://schemas.microsoft.com/office/drawing/2014/main" id="{5E817EE8-C0F5-AD0B-6B82-B17A6679F1EF}"/>
                </a:ext>
              </a:extLst>
            </p:cNvPr>
            <p:cNvCxnSpPr>
              <a:cxnSpLocks/>
            </p:cNvCxnSpPr>
            <p:nvPr/>
          </p:nvCxnSpPr>
          <p:spPr>
            <a:xfrm>
              <a:off x="1139874" y="3916629"/>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2" name="Straight Connector 61">
              <a:extLst>
                <a:ext uri="{FF2B5EF4-FFF2-40B4-BE49-F238E27FC236}">
                  <a16:creationId xmlns:a16="http://schemas.microsoft.com/office/drawing/2014/main" id="{9019D7AB-38B5-8ADF-40A9-C960F67FB740}"/>
                </a:ext>
              </a:extLst>
            </p:cNvPr>
            <p:cNvCxnSpPr>
              <a:cxnSpLocks/>
            </p:cNvCxnSpPr>
            <p:nvPr/>
          </p:nvCxnSpPr>
          <p:spPr>
            <a:xfrm>
              <a:off x="1139874" y="4477233"/>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3" name="Straight Connector 62">
              <a:extLst>
                <a:ext uri="{FF2B5EF4-FFF2-40B4-BE49-F238E27FC236}">
                  <a16:creationId xmlns:a16="http://schemas.microsoft.com/office/drawing/2014/main" id="{6E1A9B63-C020-BEB6-B577-2797FC7F197A}"/>
                </a:ext>
              </a:extLst>
            </p:cNvPr>
            <p:cNvCxnSpPr>
              <a:cxnSpLocks/>
            </p:cNvCxnSpPr>
            <p:nvPr/>
          </p:nvCxnSpPr>
          <p:spPr>
            <a:xfrm>
              <a:off x="1139874" y="5041530"/>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4" name="Straight Connector 63">
              <a:extLst>
                <a:ext uri="{FF2B5EF4-FFF2-40B4-BE49-F238E27FC236}">
                  <a16:creationId xmlns:a16="http://schemas.microsoft.com/office/drawing/2014/main" id="{0A72AA48-9739-1CC1-781A-D70A103C1399}"/>
                </a:ext>
              </a:extLst>
            </p:cNvPr>
            <p:cNvCxnSpPr>
              <a:cxnSpLocks/>
            </p:cNvCxnSpPr>
            <p:nvPr/>
          </p:nvCxnSpPr>
          <p:spPr>
            <a:xfrm>
              <a:off x="1139874" y="5609911"/>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5" name="Straight Connector 64">
              <a:extLst>
                <a:ext uri="{FF2B5EF4-FFF2-40B4-BE49-F238E27FC236}">
                  <a16:creationId xmlns:a16="http://schemas.microsoft.com/office/drawing/2014/main" id="{FEBC0E08-34CD-CBCA-5F9B-F84B1C59B5EA}"/>
                </a:ext>
              </a:extLst>
            </p:cNvPr>
            <p:cNvCxnSpPr>
              <a:cxnSpLocks/>
            </p:cNvCxnSpPr>
            <p:nvPr/>
          </p:nvCxnSpPr>
          <p:spPr>
            <a:xfrm>
              <a:off x="1139874" y="6171884"/>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grpSp>
      <p:sp>
        <p:nvSpPr>
          <p:cNvPr id="68" name="Rectangle 67">
            <a:extLst>
              <a:ext uri="{FF2B5EF4-FFF2-40B4-BE49-F238E27FC236}">
                <a16:creationId xmlns:a16="http://schemas.microsoft.com/office/drawing/2014/main" id="{512F80CF-595E-3A80-F495-3198099BF352}"/>
              </a:ext>
            </a:extLst>
          </p:cNvPr>
          <p:cNvSpPr/>
          <p:nvPr/>
        </p:nvSpPr>
        <p:spPr>
          <a:xfrm>
            <a:off x="442913" y="963958"/>
            <a:ext cx="6734172" cy="628650"/>
          </a:xfrm>
          <a:prstGeom prst="rect">
            <a:avLst/>
          </a:prstGeom>
          <a:solidFill>
            <a:schemeClr val="bg1"/>
          </a:solidFill>
          <a:ln>
            <a:solidFill>
              <a:schemeClr val="accent2"/>
            </a:solidFill>
          </a:ln>
        </p:spPr>
        <p:style>
          <a:lnRef idx="0">
            <a:schemeClr val="accent1"/>
          </a:lnRef>
          <a:fillRef idx="1">
            <a:schemeClr val="accent1"/>
          </a:fillRef>
          <a:effectRef idx="0">
            <a:schemeClr val="dk1"/>
          </a:effectRef>
          <a:fontRef idx="minor">
            <a:schemeClr val="lt1"/>
          </a:fontRef>
        </p:style>
        <p:txBody>
          <a:bodyPr lIns="900000" rtlCol="0" anchor="ctr"/>
          <a:lstStyle/>
          <a:p>
            <a:pPr rtl="0">
              <a:lnSpc>
                <a:spcPct val="100000"/>
              </a:lnSpc>
            </a:pPr>
            <a:r>
              <a:rPr lang="en-gb" sz="1600" b="1" dirty="0">
                <a:solidFill>
                  <a:schemeClr val="tx1"/>
                </a:solidFill>
              </a:rPr>
              <a:t>Common accidents and </a:t>
            </a:r>
            <a:r>
              <a:rPr lang="lv-LV" sz="1600" b="1" dirty="0">
                <a:solidFill>
                  <a:schemeClr val="tx1"/>
                </a:solidFill>
              </a:rPr>
              <a:t>steps</a:t>
            </a:r>
            <a:endParaRPr lang="en-gb" sz="1600" b="1" dirty="0">
              <a:solidFill>
                <a:schemeClr val="tx1"/>
              </a:solidFill>
            </a:endParaRPr>
          </a:p>
        </p:txBody>
      </p:sp>
      <p:pic>
        <p:nvPicPr>
          <p:cNvPr id="70" name="Graphic 69" descr="Medical outline">
            <a:extLst>
              <a:ext uri="{FF2B5EF4-FFF2-40B4-BE49-F238E27FC236}">
                <a16:creationId xmlns:a16="http://schemas.microsoft.com/office/drawing/2014/main" id="{71E5741B-6DE9-9932-652B-773C9A802D0D}"/>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538311" y="1062283"/>
            <a:ext cx="432000" cy="432000"/>
          </a:xfrm>
          <a:prstGeom prst="rect">
            <a:avLst/>
          </a:prstGeom>
        </p:spPr>
      </p:pic>
      <p:cxnSp>
        <p:nvCxnSpPr>
          <p:cNvPr id="71" name="Straight Connector 70">
            <a:extLst>
              <a:ext uri="{FF2B5EF4-FFF2-40B4-BE49-F238E27FC236}">
                <a16:creationId xmlns:a16="http://schemas.microsoft.com/office/drawing/2014/main" id="{BB5578A7-C7B3-121A-1EC0-BBB5C91477DD}"/>
              </a:ext>
            </a:extLst>
          </p:cNvPr>
          <p:cNvCxnSpPr>
            <a:cxnSpLocks/>
          </p:cNvCxnSpPr>
          <p:nvPr/>
        </p:nvCxnSpPr>
        <p:spPr>
          <a:xfrm>
            <a:off x="1233531" y="1053947"/>
            <a:ext cx="0" cy="448673"/>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72" name="Rectangle 71">
            <a:extLst>
              <a:ext uri="{FF2B5EF4-FFF2-40B4-BE49-F238E27FC236}">
                <a16:creationId xmlns:a16="http://schemas.microsoft.com/office/drawing/2014/main" id="{389AB09B-1895-53B3-B2BF-1941E31431C3}"/>
              </a:ext>
            </a:extLst>
          </p:cNvPr>
          <p:cNvSpPr/>
          <p:nvPr/>
        </p:nvSpPr>
        <p:spPr>
          <a:xfrm>
            <a:off x="1454989" y="1062283"/>
            <a:ext cx="3405187"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rIns="0" rtlCol="0" anchor="ctr"/>
          <a:lstStyle/>
          <a:p>
            <a:pPr rtl="0"/>
            <a:endParaRPr lang="en-GB" sz="1600" b="1">
              <a:solidFill>
                <a:schemeClr val="tx1"/>
              </a:solidFill>
            </a:endParaRPr>
          </a:p>
        </p:txBody>
      </p:sp>
      <p:sp>
        <p:nvSpPr>
          <p:cNvPr id="79" name="Rectangle 78">
            <a:extLst>
              <a:ext uri="{FF2B5EF4-FFF2-40B4-BE49-F238E27FC236}">
                <a16:creationId xmlns:a16="http://schemas.microsoft.com/office/drawing/2014/main" id="{72A92D02-BCC4-F084-7D68-CD45A6DC8E1C}"/>
              </a:ext>
            </a:extLst>
          </p:cNvPr>
          <p:cNvSpPr/>
          <p:nvPr/>
        </p:nvSpPr>
        <p:spPr>
          <a:xfrm>
            <a:off x="7619999" y="0"/>
            <a:ext cx="4572002"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grpSp>
        <p:nvGrpSpPr>
          <p:cNvPr id="78" name="Group 77">
            <a:extLst>
              <a:ext uri="{FF2B5EF4-FFF2-40B4-BE49-F238E27FC236}">
                <a16:creationId xmlns:a16="http://schemas.microsoft.com/office/drawing/2014/main" id="{32B6BDBB-7194-CDE7-F6B7-C8AFABCE0031}"/>
              </a:ext>
            </a:extLst>
          </p:cNvPr>
          <p:cNvGrpSpPr/>
          <p:nvPr/>
        </p:nvGrpSpPr>
        <p:grpSpPr>
          <a:xfrm>
            <a:off x="7619998" y="963958"/>
            <a:ext cx="4129089" cy="1846883"/>
            <a:chOff x="7619998" y="1822554"/>
            <a:chExt cx="4129089" cy="1846883"/>
          </a:xfrm>
        </p:grpSpPr>
        <p:sp>
          <p:nvSpPr>
            <p:cNvPr id="73" name="Rectangle 72">
              <a:extLst>
                <a:ext uri="{FF2B5EF4-FFF2-40B4-BE49-F238E27FC236}">
                  <a16:creationId xmlns:a16="http://schemas.microsoft.com/office/drawing/2014/main" id="{31125C22-727E-9F1A-6243-9118C9184F00}"/>
                </a:ext>
              </a:extLst>
            </p:cNvPr>
            <p:cNvSpPr/>
            <p:nvPr/>
          </p:nvSpPr>
          <p:spPr>
            <a:xfrm>
              <a:off x="7619998" y="2398554"/>
              <a:ext cx="4129089" cy="127088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4400" indent="-284400" rtl="0">
                <a:spcAft>
                  <a:spcPts val="600"/>
                </a:spcAft>
                <a:buBlip>
                  <a:blip r:embed="rId25"/>
                </a:buBlip>
              </a:pPr>
              <a:r>
                <a:rPr lang="en-gb" sz="1400" b="1" dirty="0">
                  <a:solidFill>
                    <a:schemeClr val="tx1"/>
                  </a:solidFill>
                </a:rPr>
                <a:t>If the sequence of actions is numbered in the </a:t>
              </a:r>
              <a:r>
                <a:rPr lang="lv-LV" sz="1400" b="1" dirty="0" err="1">
                  <a:solidFill>
                    <a:schemeClr val="tx1"/>
                  </a:solidFill>
                </a:rPr>
                <a:t>list</a:t>
              </a:r>
              <a:r>
                <a:rPr lang="lv-LV" sz="1400" b="1" dirty="0">
                  <a:solidFill>
                    <a:schemeClr val="tx1"/>
                  </a:solidFill>
                </a:rPr>
                <a:t> </a:t>
              </a:r>
              <a:r>
                <a:rPr lang="lv-LV" sz="1400" b="1" dirty="0" err="1">
                  <a:solidFill>
                    <a:schemeClr val="tx1"/>
                  </a:solidFill>
                </a:rPr>
                <a:t>of</a:t>
              </a:r>
              <a:r>
                <a:rPr lang="lv-LV" sz="1400" b="1" dirty="0">
                  <a:solidFill>
                    <a:schemeClr val="tx1"/>
                  </a:solidFill>
                </a:rPr>
                <a:t> steps</a:t>
              </a:r>
              <a:r>
                <a:rPr lang="en-gb" sz="1400" b="1" dirty="0">
                  <a:solidFill>
                    <a:schemeClr val="tx1"/>
                  </a:solidFill>
                </a:rPr>
                <a:t>, it must be followed. If numbering is not used, the sequence of actions may be changed to suit the circumstances.</a:t>
              </a:r>
            </a:p>
          </p:txBody>
        </p:sp>
        <p:sp>
          <p:nvSpPr>
            <p:cNvPr id="74" name="Rectangle 73">
              <a:extLst>
                <a:ext uri="{FF2B5EF4-FFF2-40B4-BE49-F238E27FC236}">
                  <a16:creationId xmlns:a16="http://schemas.microsoft.com/office/drawing/2014/main" id="{30BC4D96-7AB6-5410-F8A7-11D4C2862746}"/>
                </a:ext>
              </a:extLst>
            </p:cNvPr>
            <p:cNvSpPr/>
            <p:nvPr/>
          </p:nvSpPr>
          <p:spPr>
            <a:xfrm>
              <a:off x="7619998" y="1822554"/>
              <a:ext cx="4129089"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bg1"/>
                  </a:solidFill>
                </a:rPr>
                <a:t>Important!</a:t>
              </a:r>
            </a:p>
          </p:txBody>
        </p:sp>
        <p:sp>
          <p:nvSpPr>
            <p:cNvPr id="75" name="Content Placeholder 1">
              <a:extLst>
                <a:ext uri="{FF2B5EF4-FFF2-40B4-BE49-F238E27FC236}">
                  <a16:creationId xmlns:a16="http://schemas.microsoft.com/office/drawing/2014/main" id="{290E10FB-1E9E-BA02-17CE-37048E36D77D}"/>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76" name="Content Placeholder 1">
              <a:extLst>
                <a:ext uri="{FF2B5EF4-FFF2-40B4-BE49-F238E27FC236}">
                  <a16:creationId xmlns:a16="http://schemas.microsoft.com/office/drawing/2014/main" id="{38DBB93D-57B0-B54F-E839-6C98B0A631BA}"/>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77" name="Google Shape;794;p79">
              <a:extLst>
                <a:ext uri="{FF2B5EF4-FFF2-40B4-BE49-F238E27FC236}">
                  <a16:creationId xmlns:a16="http://schemas.microsoft.com/office/drawing/2014/main" id="{DDB6C16B-57BB-AF2A-E53B-4AB987146955}"/>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3" name="Rectangle 2">
            <a:extLst>
              <a:ext uri="{FF2B5EF4-FFF2-40B4-BE49-F238E27FC236}">
                <a16:creationId xmlns:a16="http://schemas.microsoft.com/office/drawing/2014/main" id="{D62443EF-1EFB-C495-F9E8-EE05C6033CA3}"/>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22" name="Group 21">
            <a:extLst>
              <a:ext uri="{FF2B5EF4-FFF2-40B4-BE49-F238E27FC236}">
                <a16:creationId xmlns:a16="http://schemas.microsoft.com/office/drawing/2014/main" id="{029284BD-D69B-333C-611F-3BAFCA29827D}"/>
              </a:ext>
            </a:extLst>
          </p:cNvPr>
          <p:cNvGrpSpPr/>
          <p:nvPr/>
        </p:nvGrpSpPr>
        <p:grpSpPr>
          <a:xfrm>
            <a:off x="9122935" y="126781"/>
            <a:ext cx="2626153" cy="217488"/>
            <a:chOff x="9122935" y="126781"/>
            <a:chExt cx="2626153" cy="217488"/>
          </a:xfrm>
        </p:grpSpPr>
        <p:sp>
          <p:nvSpPr>
            <p:cNvPr id="5" name="Rectangle 4">
              <a:extLst>
                <a:ext uri="{FF2B5EF4-FFF2-40B4-BE49-F238E27FC236}">
                  <a16:creationId xmlns:a16="http://schemas.microsoft.com/office/drawing/2014/main" id="{8A63010A-ECC5-CF16-9026-675C22212CDD}"/>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000000"/>
                  </a:solidFill>
                  <a:effectLst/>
                  <a:uLnTx/>
                  <a:uFillTx/>
                  <a:ea typeface="Georgia"/>
                  <a:cs typeface="Georgia"/>
                  <a:sym typeface="Georgia"/>
                </a:rPr>
                <a:t>First aid measures</a:t>
              </a:r>
            </a:p>
          </p:txBody>
        </p:sp>
        <p:sp>
          <p:nvSpPr>
            <p:cNvPr id="6" name="Rectangle 5">
              <a:extLst>
                <a:ext uri="{FF2B5EF4-FFF2-40B4-BE49-F238E27FC236}">
                  <a16:creationId xmlns:a16="http://schemas.microsoft.com/office/drawing/2014/main" id="{8BA343BD-9605-1DC6-DA98-2F9D3AC08DE4}"/>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7" name="Rectangle 6">
              <a:extLst>
                <a:ext uri="{FF2B5EF4-FFF2-40B4-BE49-F238E27FC236}">
                  <a16:creationId xmlns:a16="http://schemas.microsoft.com/office/drawing/2014/main" id="{3D8E8461-D203-C9FB-A585-EB1E1E7F2337}"/>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4C91119E-C842-62DC-C140-5B1BA09FD901}"/>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10" name="Rectangle 9">
              <a:extLst>
                <a:ext uri="{FF2B5EF4-FFF2-40B4-BE49-F238E27FC236}">
                  <a16:creationId xmlns:a16="http://schemas.microsoft.com/office/drawing/2014/main" id="{C567299E-DFD6-0AB6-D527-CB736DD459CE}"/>
                </a:ext>
              </a:extLst>
            </p:cNvPr>
            <p:cNvSpPr/>
            <p:nvPr/>
          </p:nvSpPr>
          <p:spPr>
            <a:xfrm>
              <a:off x="9842140"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7</a:t>
              </a:r>
              <a:r>
                <a:rPr lang="en-gb" sz="800" b="1" i="0" u="none" strike="noStrike" kern="0" cap="none" spc="0" normalizeH="0" noProof="0">
                  <a:ln>
                    <a:noFill/>
                  </a:ln>
                  <a:effectLst/>
                  <a:uLnTx/>
                  <a:uFillTx/>
                  <a:ea typeface="Georgia"/>
                  <a:cs typeface="Georgia"/>
                  <a:sym typeface="Georgia"/>
                </a:rPr>
                <a:t>.4</a:t>
              </a:r>
              <a:endParaRPr kumimoji="0" lang="lv-LV" sz="800" b="1" i="0" u="none" strike="noStrike" kern="0" cap="none" spc="0" normalizeH="0" baseline="0" noProof="0" dirty="0">
                <a:ln>
                  <a:noFill/>
                </a:ln>
                <a:effectLst/>
                <a:uLnTx/>
                <a:uFillTx/>
                <a:ea typeface="Georgia"/>
                <a:cs typeface="Georgia"/>
                <a:sym typeface="Georgia"/>
              </a:endParaRPr>
            </a:p>
          </p:txBody>
        </p:sp>
        <p:sp>
          <p:nvSpPr>
            <p:cNvPr id="11" name="Rectangle 10">
              <a:extLst>
                <a:ext uri="{FF2B5EF4-FFF2-40B4-BE49-F238E27FC236}">
                  <a16:creationId xmlns:a16="http://schemas.microsoft.com/office/drawing/2014/main" id="{8058A796-545C-68C0-9520-000E351FC181}"/>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32929958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6E6AF23-7B86-113A-F559-513B41FEC1FE}"/>
              </a:ext>
            </a:extLst>
          </p:cNvPr>
          <p:cNvGraphicFramePr>
            <a:graphicFrameLocks noChangeAspect="1"/>
          </p:cNvGraphicFramePr>
          <p:nvPr>
            <p:custDataLst>
              <p:tags r:id="rId1"/>
            </p:custDataLst>
            <p:extLst>
              <p:ext uri="{D42A27DB-BD31-4B8C-83A1-F6EECF244321}">
                <p14:modId xmlns:p14="http://schemas.microsoft.com/office/powerpoint/2010/main" val="42598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2" name="think-cell data - do not delete" hidden="1">
                        <a:extLst>
                          <a:ext uri="{FF2B5EF4-FFF2-40B4-BE49-F238E27FC236}">
                            <a16:creationId xmlns:a16="http://schemas.microsoft.com/office/drawing/2014/main" id="{F6E6AF23-7B86-113A-F559-513B41FEC1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1" name="Picture 40">
            <a:extLst>
              <a:ext uri="{FF2B5EF4-FFF2-40B4-BE49-F238E27FC236}">
                <a16:creationId xmlns:a16="http://schemas.microsoft.com/office/drawing/2014/main" id="{7CAE88F2-0719-E8A4-5A3E-39E39CF155A6}"/>
              </a:ext>
            </a:extLst>
          </p:cNvPr>
          <p:cNvPicPr>
            <a:picLocks noChangeAspect="1"/>
          </p:cNvPicPr>
          <p:nvPr/>
        </p:nvPicPr>
        <p:blipFill>
          <a:blip r:embed="rId6"/>
          <a:stretch>
            <a:fillRect/>
          </a:stretch>
        </p:blipFill>
        <p:spPr>
          <a:xfrm>
            <a:off x="7620000" y="0"/>
            <a:ext cx="4572000" cy="6858000"/>
          </a:xfrm>
          <a:prstGeom prst="rect">
            <a:avLst/>
          </a:prstGeom>
        </p:spPr>
      </p:pic>
      <p:sp>
        <p:nvSpPr>
          <p:cNvPr id="42" name="Rectangle 41">
            <a:extLst>
              <a:ext uri="{FF2B5EF4-FFF2-40B4-BE49-F238E27FC236}">
                <a16:creationId xmlns:a16="http://schemas.microsoft.com/office/drawing/2014/main" id="{50830596-224D-A11D-D251-21B0CA3EB02E}"/>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5" name="Rectangle 24">
            <a:extLst>
              <a:ext uri="{FF2B5EF4-FFF2-40B4-BE49-F238E27FC236}">
                <a16:creationId xmlns:a16="http://schemas.microsoft.com/office/drawing/2014/main" id="{2B261BF4-92C6-462D-AA95-793AE54DD688}"/>
              </a:ext>
            </a:extLst>
          </p:cNvPr>
          <p:cNvSpPr/>
          <p:nvPr/>
        </p:nvSpPr>
        <p:spPr>
          <a:xfrm>
            <a:off x="7619998" y="2398554"/>
            <a:ext cx="4129089" cy="377364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4400" indent="-284400" rtl="0">
              <a:spcAft>
                <a:spcPts val="600"/>
              </a:spcAft>
              <a:buBlip>
                <a:blip r:embed="rId7"/>
              </a:buBlip>
            </a:pPr>
            <a:r>
              <a:rPr lang="en-gb" sz="1400">
                <a:solidFill>
                  <a:schemeClr val="tx1"/>
                </a:solidFill>
              </a:rPr>
              <a:t>Severe bleeding is life-threatening.</a:t>
            </a:r>
          </a:p>
          <a:p>
            <a:pPr marL="284400" indent="-284400" rtl="0">
              <a:spcAft>
                <a:spcPts val="600"/>
              </a:spcAft>
              <a:buBlip>
                <a:blip r:embed="rId7"/>
              </a:buBlip>
            </a:pPr>
            <a:r>
              <a:rPr lang="en-gb" sz="1400">
                <a:solidFill>
                  <a:schemeClr val="tx1"/>
                </a:solidFill>
              </a:rPr>
              <a:t>Waterproof products (e.g. plastic bags) can be used as substitutes for gloves.</a:t>
            </a:r>
          </a:p>
          <a:p>
            <a:pPr marL="284400" indent="-284400" rtl="0">
              <a:spcAft>
                <a:spcPts val="600"/>
              </a:spcAft>
              <a:buBlip>
                <a:blip r:embed="rId7"/>
              </a:buBlip>
            </a:pPr>
            <a:r>
              <a:rPr lang="en-gb" sz="1400">
                <a:solidFill>
                  <a:schemeClr val="tx1"/>
                </a:solidFill>
              </a:rPr>
              <a:t>The wound can be closed with your fingers, hand or fist. If possible, use a gauze pad or a clean piece of cloth.</a:t>
            </a:r>
          </a:p>
          <a:p>
            <a:pPr marL="284400" indent="-284400" rtl="0">
              <a:spcAft>
                <a:spcPts val="600"/>
              </a:spcAft>
              <a:buBlip>
                <a:blip r:embed="rId7"/>
              </a:buBlip>
            </a:pPr>
            <a:r>
              <a:rPr lang="en-gb" sz="1400">
                <a:solidFill>
                  <a:schemeClr val="tx1"/>
                </a:solidFill>
              </a:rPr>
              <a:t>If bleeding seems to be continuing, press the wound more firmly by placing another gauze pad or piece of cloth over the existing material.</a:t>
            </a:r>
            <a:endParaRPr lang="en-GB" sz="1400"/>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11306175" cy="1387274"/>
          </a:xfrm>
        </p:spPr>
        <p:txBody>
          <a:bodyPr vert="horz" rtlCol="0"/>
          <a:lstStyle/>
          <a:p>
            <a:pPr rtl="0"/>
            <a:r>
              <a:rPr lang="en-gb" spc="-20" dirty="0"/>
              <a:t>What to do in case of </a:t>
            </a:r>
            <a:r>
              <a:rPr lang="lv-LV" spc="-20" dirty="0" err="1"/>
              <a:t>severe</a:t>
            </a:r>
            <a:r>
              <a:rPr lang="en-gb" spc="-20" dirty="0"/>
              <a:t> bleeding?</a:t>
            </a:r>
            <a:endParaRPr lang="en-GB" spc="-20" dirty="0"/>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rtlCol="0"/>
          <a:lstStyle/>
          <a:p>
            <a:pPr rtl="0"/>
            <a:fld id="{7870704B-CE94-48CC-AF30-84932A1262A7}" type="slidenum">
              <a:rPr lang="en-GB" smtClean="0"/>
              <a:pPr rtl="0"/>
              <a:t>19</a:t>
            </a:fld>
            <a:endParaRPr lang="en-GB"/>
          </a:p>
        </p:txBody>
      </p:sp>
      <p:sp>
        <p:nvSpPr>
          <p:cNvPr id="21" name="TextBox 20">
            <a:extLst>
              <a:ext uri="{FF2B5EF4-FFF2-40B4-BE49-F238E27FC236}">
                <a16:creationId xmlns:a16="http://schemas.microsoft.com/office/drawing/2014/main" id="{78DC1799-6B68-492D-BBE0-D7BECB3D58E6}"/>
              </a:ext>
            </a:extLst>
          </p:cNvPr>
          <p:cNvSpPr txBox="1"/>
          <p:nvPr/>
        </p:nvSpPr>
        <p:spPr>
          <a:xfrm>
            <a:off x="1297953" y="2531791"/>
            <a:ext cx="5879131" cy="432000"/>
          </a:xfrm>
          <a:prstGeom prst="rect">
            <a:avLst/>
          </a:prstGeom>
          <a:noFill/>
        </p:spPr>
        <p:txBody>
          <a:bodyPr wrap="square" rtlCol="0" anchor="ctr">
            <a:noAutofit/>
          </a:bodyPr>
          <a:lstStyle/>
          <a:p>
            <a:pPr rtl="0">
              <a:spcAft>
                <a:spcPts val="0"/>
              </a:spcAft>
            </a:pPr>
            <a:r>
              <a:rPr lang="en-gb" sz="1400">
                <a:solidFill>
                  <a:schemeClr val="tx1"/>
                </a:solidFill>
              </a:rPr>
              <a:t>Wear waterproof gloves.</a:t>
            </a:r>
          </a:p>
        </p:txBody>
      </p:sp>
      <p:sp>
        <p:nvSpPr>
          <p:cNvPr id="26" name="Rectangle 25">
            <a:extLst>
              <a:ext uri="{FF2B5EF4-FFF2-40B4-BE49-F238E27FC236}">
                <a16:creationId xmlns:a16="http://schemas.microsoft.com/office/drawing/2014/main" id="{5EC1F9AE-82A4-85FE-592B-EF659F76F7EC}"/>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tx1"/>
                </a:solidFill>
              </a:rPr>
              <a:t>How to proceed?</a:t>
            </a:r>
          </a:p>
        </p:txBody>
      </p:sp>
      <p:sp>
        <p:nvSpPr>
          <p:cNvPr id="27" name="Rectangle 26">
            <a:extLst>
              <a:ext uri="{FF2B5EF4-FFF2-40B4-BE49-F238E27FC236}">
                <a16:creationId xmlns:a16="http://schemas.microsoft.com/office/drawing/2014/main" id="{72D802D4-B169-1594-D931-40179675E33A}"/>
              </a:ext>
            </a:extLst>
          </p:cNvPr>
          <p:cNvSpPr/>
          <p:nvPr/>
        </p:nvSpPr>
        <p:spPr>
          <a:xfrm>
            <a:off x="7619998" y="1822554"/>
            <a:ext cx="4129089"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bg1"/>
                </a:solidFill>
              </a:rPr>
              <a:t>Important!</a:t>
            </a:r>
          </a:p>
        </p:txBody>
      </p:sp>
      <p:sp>
        <p:nvSpPr>
          <p:cNvPr id="29" name="Content Placeholder 1">
            <a:extLst>
              <a:ext uri="{FF2B5EF4-FFF2-40B4-BE49-F238E27FC236}">
                <a16:creationId xmlns:a16="http://schemas.microsoft.com/office/drawing/2014/main" id="{3915AD89-6428-4A75-0915-328643F1703C}"/>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30" name="Content Placeholder 1">
            <a:extLst>
              <a:ext uri="{FF2B5EF4-FFF2-40B4-BE49-F238E27FC236}">
                <a16:creationId xmlns:a16="http://schemas.microsoft.com/office/drawing/2014/main" id="{373AB206-F1F0-CC72-8C15-85605D9AF2AC}"/>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44" name="Content Placeholder 1">
            <a:extLst>
              <a:ext uri="{FF2B5EF4-FFF2-40B4-BE49-F238E27FC236}">
                <a16:creationId xmlns:a16="http://schemas.microsoft.com/office/drawing/2014/main" id="{37325A5C-F07F-2313-782A-18E3E98D15F0}"/>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45" name="Content Placeholder 1">
            <a:extLst>
              <a:ext uri="{FF2B5EF4-FFF2-40B4-BE49-F238E27FC236}">
                <a16:creationId xmlns:a16="http://schemas.microsoft.com/office/drawing/2014/main" id="{5A4A472A-422C-56F4-A0F5-AE422E82D144}"/>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61" name="Content Placeholder 1">
            <a:extLst>
              <a:ext uri="{FF2B5EF4-FFF2-40B4-BE49-F238E27FC236}">
                <a16:creationId xmlns:a16="http://schemas.microsoft.com/office/drawing/2014/main" id="{2A14CA01-2350-21C6-16E6-E9CEAF43B441}"/>
              </a:ext>
            </a:extLst>
          </p:cNvPr>
          <p:cNvSpPr txBox="1">
            <a:spLocks/>
          </p:cNvSpPr>
          <p:nvPr/>
        </p:nvSpPr>
        <p:spPr>
          <a:xfrm>
            <a:off x="441325" y="2990135"/>
            <a:ext cx="630238" cy="43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2</a:t>
            </a:r>
          </a:p>
        </p:txBody>
      </p:sp>
      <p:sp>
        <p:nvSpPr>
          <p:cNvPr id="64" name="Content Placeholder 1">
            <a:extLst>
              <a:ext uri="{FF2B5EF4-FFF2-40B4-BE49-F238E27FC236}">
                <a16:creationId xmlns:a16="http://schemas.microsoft.com/office/drawing/2014/main" id="{19794A8F-A922-1A21-17E6-1B4B21C8F596}"/>
              </a:ext>
            </a:extLst>
          </p:cNvPr>
          <p:cNvSpPr txBox="1">
            <a:spLocks/>
          </p:cNvSpPr>
          <p:nvPr/>
        </p:nvSpPr>
        <p:spPr>
          <a:xfrm>
            <a:off x="441325" y="3448479"/>
            <a:ext cx="630238" cy="43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3</a:t>
            </a:r>
          </a:p>
        </p:txBody>
      </p:sp>
      <p:sp>
        <p:nvSpPr>
          <p:cNvPr id="67" name="Content Placeholder 1">
            <a:extLst>
              <a:ext uri="{FF2B5EF4-FFF2-40B4-BE49-F238E27FC236}">
                <a16:creationId xmlns:a16="http://schemas.microsoft.com/office/drawing/2014/main" id="{173D6274-53F8-0DD4-4E9A-1018104D2DCB}"/>
              </a:ext>
            </a:extLst>
          </p:cNvPr>
          <p:cNvSpPr txBox="1">
            <a:spLocks/>
          </p:cNvSpPr>
          <p:nvPr/>
        </p:nvSpPr>
        <p:spPr>
          <a:xfrm>
            <a:off x="441325" y="3906823"/>
            <a:ext cx="630238" cy="43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4</a:t>
            </a:r>
          </a:p>
        </p:txBody>
      </p:sp>
      <p:sp>
        <p:nvSpPr>
          <p:cNvPr id="70" name="Content Placeholder 1">
            <a:extLst>
              <a:ext uri="{FF2B5EF4-FFF2-40B4-BE49-F238E27FC236}">
                <a16:creationId xmlns:a16="http://schemas.microsoft.com/office/drawing/2014/main" id="{8E071A3F-2B5A-7CD2-907D-0A46168AC360}"/>
              </a:ext>
            </a:extLst>
          </p:cNvPr>
          <p:cNvSpPr txBox="1">
            <a:spLocks/>
          </p:cNvSpPr>
          <p:nvPr/>
        </p:nvSpPr>
        <p:spPr>
          <a:xfrm>
            <a:off x="441325" y="4365167"/>
            <a:ext cx="630238" cy="43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5</a:t>
            </a:r>
          </a:p>
        </p:txBody>
      </p:sp>
      <p:sp>
        <p:nvSpPr>
          <p:cNvPr id="73" name="Content Placeholder 1">
            <a:extLst>
              <a:ext uri="{FF2B5EF4-FFF2-40B4-BE49-F238E27FC236}">
                <a16:creationId xmlns:a16="http://schemas.microsoft.com/office/drawing/2014/main" id="{F861E25B-F987-831A-A602-44A1BC3C9C06}"/>
              </a:ext>
            </a:extLst>
          </p:cNvPr>
          <p:cNvSpPr txBox="1">
            <a:spLocks/>
          </p:cNvSpPr>
          <p:nvPr/>
        </p:nvSpPr>
        <p:spPr>
          <a:xfrm>
            <a:off x="441325" y="4823511"/>
            <a:ext cx="630238" cy="43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6</a:t>
            </a:r>
          </a:p>
        </p:txBody>
      </p:sp>
      <p:sp>
        <p:nvSpPr>
          <p:cNvPr id="76" name="Content Placeholder 1">
            <a:extLst>
              <a:ext uri="{FF2B5EF4-FFF2-40B4-BE49-F238E27FC236}">
                <a16:creationId xmlns:a16="http://schemas.microsoft.com/office/drawing/2014/main" id="{48C1CD32-80B1-493D-9426-7B73B4755484}"/>
              </a:ext>
            </a:extLst>
          </p:cNvPr>
          <p:cNvSpPr txBox="1">
            <a:spLocks/>
          </p:cNvSpPr>
          <p:nvPr/>
        </p:nvSpPr>
        <p:spPr>
          <a:xfrm>
            <a:off x="441325" y="5281855"/>
            <a:ext cx="630238" cy="43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7</a:t>
            </a:r>
          </a:p>
        </p:txBody>
      </p:sp>
      <p:sp>
        <p:nvSpPr>
          <p:cNvPr id="79" name="Content Placeholder 1">
            <a:extLst>
              <a:ext uri="{FF2B5EF4-FFF2-40B4-BE49-F238E27FC236}">
                <a16:creationId xmlns:a16="http://schemas.microsoft.com/office/drawing/2014/main" id="{84ACD26B-9585-F3C8-8179-0329BA741C8A}"/>
              </a:ext>
            </a:extLst>
          </p:cNvPr>
          <p:cNvSpPr txBox="1">
            <a:spLocks/>
          </p:cNvSpPr>
          <p:nvPr/>
        </p:nvSpPr>
        <p:spPr>
          <a:xfrm>
            <a:off x="441325" y="5740201"/>
            <a:ext cx="630238" cy="43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8</a:t>
            </a:r>
          </a:p>
        </p:txBody>
      </p:sp>
      <p:sp>
        <p:nvSpPr>
          <p:cNvPr id="100" name="TextBox 99">
            <a:extLst>
              <a:ext uri="{FF2B5EF4-FFF2-40B4-BE49-F238E27FC236}">
                <a16:creationId xmlns:a16="http://schemas.microsoft.com/office/drawing/2014/main" id="{6196419E-02BA-D21D-1546-F1EC7C2A2D38}"/>
              </a:ext>
            </a:extLst>
          </p:cNvPr>
          <p:cNvSpPr txBox="1"/>
          <p:nvPr/>
        </p:nvSpPr>
        <p:spPr>
          <a:xfrm>
            <a:off x="1297953" y="2990135"/>
            <a:ext cx="5879131" cy="432000"/>
          </a:xfrm>
          <a:prstGeom prst="rect">
            <a:avLst/>
          </a:prstGeom>
          <a:noFill/>
        </p:spPr>
        <p:txBody>
          <a:bodyPr wrap="square" rtlCol="0" anchor="ctr">
            <a:noAutofit/>
          </a:bodyPr>
          <a:lstStyle/>
          <a:p>
            <a:pPr rtl="0">
              <a:spcAft>
                <a:spcPts val="0"/>
              </a:spcAft>
            </a:pPr>
            <a:r>
              <a:rPr lang="en-gb" sz="1400" dirty="0">
                <a:solidFill>
                  <a:schemeClr val="tx1"/>
                </a:solidFill>
              </a:rPr>
              <a:t>Remove</a:t>
            </a:r>
            <a:r>
              <a:rPr lang="lv-LV" sz="1400" dirty="0">
                <a:solidFill>
                  <a:schemeClr val="tx1"/>
                </a:solidFill>
              </a:rPr>
              <a:t> </a:t>
            </a:r>
            <a:r>
              <a:rPr lang="lv-LV" sz="1400" dirty="0" err="1">
                <a:solidFill>
                  <a:schemeClr val="tx1"/>
                </a:solidFill>
              </a:rPr>
              <a:t>clothing</a:t>
            </a:r>
            <a:r>
              <a:rPr lang="lv-LV" sz="1400" dirty="0">
                <a:solidFill>
                  <a:schemeClr val="tx1"/>
                </a:solidFill>
              </a:rPr>
              <a:t> </a:t>
            </a:r>
            <a:r>
              <a:rPr lang="lv-LV" sz="1400" dirty="0" err="1">
                <a:solidFill>
                  <a:schemeClr val="tx1"/>
                </a:solidFill>
              </a:rPr>
              <a:t>from</a:t>
            </a:r>
            <a:r>
              <a:rPr lang="en-gb" sz="1400" dirty="0">
                <a:solidFill>
                  <a:schemeClr val="tx1"/>
                </a:solidFill>
              </a:rPr>
              <a:t> the bleeding area.</a:t>
            </a:r>
          </a:p>
        </p:txBody>
      </p:sp>
      <p:sp>
        <p:nvSpPr>
          <p:cNvPr id="101" name="TextBox 100">
            <a:extLst>
              <a:ext uri="{FF2B5EF4-FFF2-40B4-BE49-F238E27FC236}">
                <a16:creationId xmlns:a16="http://schemas.microsoft.com/office/drawing/2014/main" id="{9ECA4B5E-E4A7-485E-4742-A7A24FB938CD}"/>
              </a:ext>
            </a:extLst>
          </p:cNvPr>
          <p:cNvSpPr txBox="1"/>
          <p:nvPr/>
        </p:nvSpPr>
        <p:spPr>
          <a:xfrm>
            <a:off x="1297953" y="3906823"/>
            <a:ext cx="5879131" cy="432000"/>
          </a:xfrm>
          <a:prstGeom prst="rect">
            <a:avLst/>
          </a:prstGeom>
          <a:noFill/>
        </p:spPr>
        <p:txBody>
          <a:bodyPr wrap="square" rtlCol="0" anchor="ctr">
            <a:noAutofit/>
          </a:bodyPr>
          <a:lstStyle/>
          <a:p>
            <a:pPr rtl="0">
              <a:spcAft>
                <a:spcPts val="0"/>
              </a:spcAft>
            </a:pPr>
            <a:r>
              <a:rPr lang="en-gb" sz="1400">
                <a:solidFill>
                  <a:schemeClr val="tx1"/>
                </a:solidFill>
              </a:rPr>
              <a:t>Lay the victim down with the bleeding area facing up.</a:t>
            </a:r>
          </a:p>
        </p:txBody>
      </p:sp>
      <p:sp>
        <p:nvSpPr>
          <p:cNvPr id="102" name="TextBox 101">
            <a:extLst>
              <a:ext uri="{FF2B5EF4-FFF2-40B4-BE49-F238E27FC236}">
                <a16:creationId xmlns:a16="http://schemas.microsoft.com/office/drawing/2014/main" id="{6C2839D0-72C0-7347-1A1F-A4C976165D3B}"/>
              </a:ext>
            </a:extLst>
          </p:cNvPr>
          <p:cNvSpPr txBox="1"/>
          <p:nvPr/>
        </p:nvSpPr>
        <p:spPr>
          <a:xfrm>
            <a:off x="1297953" y="4365167"/>
            <a:ext cx="5879131" cy="432000"/>
          </a:xfrm>
          <a:prstGeom prst="rect">
            <a:avLst/>
          </a:prstGeom>
          <a:noFill/>
        </p:spPr>
        <p:txBody>
          <a:bodyPr wrap="square" rtlCol="0" anchor="ctr">
            <a:noAutofit/>
          </a:bodyPr>
          <a:lstStyle/>
          <a:p>
            <a:pPr rtl="0">
              <a:spcAft>
                <a:spcPts val="0"/>
              </a:spcAft>
            </a:pPr>
            <a:r>
              <a:rPr lang="en-gb" sz="1400">
                <a:solidFill>
                  <a:schemeClr val="tx1"/>
                </a:solidFill>
              </a:rPr>
              <a:t>Call an ambulance.</a:t>
            </a:r>
          </a:p>
        </p:txBody>
      </p:sp>
      <p:sp>
        <p:nvSpPr>
          <p:cNvPr id="103" name="TextBox 102">
            <a:extLst>
              <a:ext uri="{FF2B5EF4-FFF2-40B4-BE49-F238E27FC236}">
                <a16:creationId xmlns:a16="http://schemas.microsoft.com/office/drawing/2014/main" id="{20162A1E-1272-A65F-9743-08A1C56CDD8F}"/>
              </a:ext>
            </a:extLst>
          </p:cNvPr>
          <p:cNvSpPr txBox="1"/>
          <p:nvPr/>
        </p:nvSpPr>
        <p:spPr>
          <a:xfrm>
            <a:off x="1297953" y="5281855"/>
            <a:ext cx="5879131" cy="432000"/>
          </a:xfrm>
          <a:prstGeom prst="rect">
            <a:avLst/>
          </a:prstGeom>
          <a:noFill/>
        </p:spPr>
        <p:txBody>
          <a:bodyPr wrap="square" rtlCol="0" anchor="ctr">
            <a:noAutofit/>
          </a:bodyPr>
          <a:lstStyle/>
          <a:p>
            <a:pPr rtl="0">
              <a:spcAft>
                <a:spcPts val="0"/>
              </a:spcAft>
            </a:pPr>
            <a:r>
              <a:rPr lang="en-gb" sz="1400">
                <a:solidFill>
                  <a:schemeClr val="tx1"/>
                </a:solidFill>
              </a:rPr>
              <a:t>Care for, reassure the victim.</a:t>
            </a:r>
          </a:p>
        </p:txBody>
      </p:sp>
      <p:sp>
        <p:nvSpPr>
          <p:cNvPr id="104" name="TextBox 103">
            <a:extLst>
              <a:ext uri="{FF2B5EF4-FFF2-40B4-BE49-F238E27FC236}">
                <a16:creationId xmlns:a16="http://schemas.microsoft.com/office/drawing/2014/main" id="{C489AEBB-7FB2-EC1A-2DC3-18B08D331418}"/>
              </a:ext>
            </a:extLst>
          </p:cNvPr>
          <p:cNvSpPr txBox="1"/>
          <p:nvPr/>
        </p:nvSpPr>
        <p:spPr>
          <a:xfrm>
            <a:off x="1297953" y="5740201"/>
            <a:ext cx="5879131" cy="432000"/>
          </a:xfrm>
          <a:prstGeom prst="rect">
            <a:avLst/>
          </a:prstGeom>
          <a:noFill/>
        </p:spPr>
        <p:txBody>
          <a:bodyPr wrap="square" rtlCol="0" anchor="ctr">
            <a:noAutofit/>
          </a:bodyPr>
          <a:lstStyle/>
          <a:p>
            <a:pPr rtl="0">
              <a:spcAft>
                <a:spcPts val="0"/>
              </a:spcAft>
            </a:pPr>
            <a:r>
              <a:rPr lang="en-gb" sz="1400">
                <a:solidFill>
                  <a:schemeClr val="tx1"/>
                </a:solidFill>
              </a:rPr>
              <a:t>Take resuscitation measures if necessary.</a:t>
            </a:r>
          </a:p>
        </p:txBody>
      </p:sp>
      <p:sp>
        <p:nvSpPr>
          <p:cNvPr id="107" name="TextBox 106">
            <a:extLst>
              <a:ext uri="{FF2B5EF4-FFF2-40B4-BE49-F238E27FC236}">
                <a16:creationId xmlns:a16="http://schemas.microsoft.com/office/drawing/2014/main" id="{5E4C4BD5-129E-6AAF-672B-2CE5A9EA1809}"/>
              </a:ext>
            </a:extLst>
          </p:cNvPr>
          <p:cNvSpPr txBox="1"/>
          <p:nvPr/>
        </p:nvSpPr>
        <p:spPr>
          <a:xfrm>
            <a:off x="1297953" y="3448479"/>
            <a:ext cx="5879131" cy="432000"/>
          </a:xfrm>
          <a:prstGeom prst="rect">
            <a:avLst/>
          </a:prstGeom>
          <a:noFill/>
        </p:spPr>
        <p:txBody>
          <a:bodyPr wrap="square" rtlCol="0" anchor="ctr">
            <a:noAutofit/>
          </a:bodyPr>
          <a:lstStyle/>
          <a:p>
            <a:pPr rtl="0">
              <a:spcAft>
                <a:spcPts val="0"/>
              </a:spcAft>
            </a:pPr>
            <a:r>
              <a:rPr lang="lv-LV" sz="1400" dirty="0" err="1">
                <a:solidFill>
                  <a:schemeClr val="tx1"/>
                </a:solidFill>
              </a:rPr>
              <a:t>Apply</a:t>
            </a:r>
            <a:r>
              <a:rPr lang="lv-LV" sz="1400" dirty="0">
                <a:solidFill>
                  <a:schemeClr val="tx1"/>
                </a:solidFill>
              </a:rPr>
              <a:t> </a:t>
            </a:r>
            <a:r>
              <a:rPr lang="lv-LV" sz="1400" dirty="0" err="1">
                <a:solidFill>
                  <a:schemeClr val="tx1"/>
                </a:solidFill>
              </a:rPr>
              <a:t>direct</a:t>
            </a:r>
            <a:r>
              <a:rPr lang="lv-LV" sz="1400" dirty="0">
                <a:solidFill>
                  <a:schemeClr val="tx1"/>
                </a:solidFill>
              </a:rPr>
              <a:t> </a:t>
            </a:r>
            <a:r>
              <a:rPr lang="lv-LV" sz="1400" dirty="0" err="1">
                <a:solidFill>
                  <a:schemeClr val="tx1"/>
                </a:solidFill>
              </a:rPr>
              <a:t>pressure</a:t>
            </a:r>
            <a:r>
              <a:rPr lang="lv-LV" sz="1400" dirty="0">
                <a:solidFill>
                  <a:schemeClr val="tx1"/>
                </a:solidFill>
              </a:rPr>
              <a:t> to </a:t>
            </a:r>
            <a:r>
              <a:rPr lang="lv-LV" sz="1400" dirty="0" err="1">
                <a:solidFill>
                  <a:schemeClr val="tx1"/>
                </a:solidFill>
              </a:rPr>
              <a:t>the</a:t>
            </a:r>
            <a:r>
              <a:rPr lang="lv-LV" sz="1400" dirty="0">
                <a:solidFill>
                  <a:schemeClr val="tx1"/>
                </a:solidFill>
              </a:rPr>
              <a:t> </a:t>
            </a:r>
            <a:r>
              <a:rPr lang="lv-LV" sz="1400" dirty="0" err="1">
                <a:solidFill>
                  <a:schemeClr val="tx1"/>
                </a:solidFill>
              </a:rPr>
              <a:t>bleeding</a:t>
            </a:r>
            <a:r>
              <a:rPr lang="lv-LV" sz="1400" dirty="0">
                <a:solidFill>
                  <a:schemeClr val="tx1"/>
                </a:solidFill>
              </a:rPr>
              <a:t> </a:t>
            </a:r>
            <a:r>
              <a:rPr lang="lv-LV" sz="1400" dirty="0" err="1">
                <a:solidFill>
                  <a:schemeClr val="tx1"/>
                </a:solidFill>
              </a:rPr>
              <a:t>area</a:t>
            </a:r>
            <a:r>
              <a:rPr lang="lv-LV" sz="1400" dirty="0">
                <a:solidFill>
                  <a:schemeClr val="tx1"/>
                </a:solidFill>
              </a:rPr>
              <a:t> </a:t>
            </a:r>
            <a:r>
              <a:rPr lang="lv-LV" sz="1400" dirty="0" err="1">
                <a:solidFill>
                  <a:schemeClr val="tx1"/>
                </a:solidFill>
              </a:rPr>
              <a:t>and</a:t>
            </a:r>
            <a:r>
              <a:rPr lang="lv-LV" sz="1400" dirty="0">
                <a:solidFill>
                  <a:schemeClr val="tx1"/>
                </a:solidFill>
              </a:rPr>
              <a:t> </a:t>
            </a:r>
            <a:r>
              <a:rPr lang="lv-LV" sz="1400" dirty="0" err="1">
                <a:solidFill>
                  <a:schemeClr val="tx1"/>
                </a:solidFill>
              </a:rPr>
              <a:t>close</a:t>
            </a:r>
            <a:r>
              <a:rPr lang="lv-LV" sz="1400" dirty="0">
                <a:solidFill>
                  <a:schemeClr val="tx1"/>
                </a:solidFill>
              </a:rPr>
              <a:t> </a:t>
            </a:r>
            <a:r>
              <a:rPr lang="lv-LV" sz="1400" dirty="0" err="1">
                <a:solidFill>
                  <a:schemeClr val="tx1"/>
                </a:solidFill>
              </a:rPr>
              <a:t>the</a:t>
            </a:r>
            <a:r>
              <a:rPr lang="lv-LV" sz="1400" dirty="0">
                <a:solidFill>
                  <a:schemeClr val="tx1"/>
                </a:solidFill>
              </a:rPr>
              <a:t> </a:t>
            </a:r>
            <a:r>
              <a:rPr lang="lv-LV" sz="1400" dirty="0" err="1">
                <a:solidFill>
                  <a:schemeClr val="tx1"/>
                </a:solidFill>
              </a:rPr>
              <a:t>wound</a:t>
            </a:r>
            <a:r>
              <a:rPr lang="lv-LV" sz="1400" dirty="0">
                <a:solidFill>
                  <a:schemeClr val="tx1"/>
                </a:solidFill>
              </a:rPr>
              <a:t>.</a:t>
            </a:r>
            <a:endParaRPr lang="en-gb" sz="1400" dirty="0">
              <a:solidFill>
                <a:schemeClr val="tx1"/>
              </a:solidFill>
            </a:endParaRPr>
          </a:p>
        </p:txBody>
      </p:sp>
      <p:sp>
        <p:nvSpPr>
          <p:cNvPr id="108" name="TextBox 107">
            <a:extLst>
              <a:ext uri="{FF2B5EF4-FFF2-40B4-BE49-F238E27FC236}">
                <a16:creationId xmlns:a16="http://schemas.microsoft.com/office/drawing/2014/main" id="{374ED229-16EB-16FE-4EEB-6C75D32758A7}"/>
              </a:ext>
            </a:extLst>
          </p:cNvPr>
          <p:cNvSpPr txBox="1"/>
          <p:nvPr/>
        </p:nvSpPr>
        <p:spPr>
          <a:xfrm>
            <a:off x="1297953" y="4823511"/>
            <a:ext cx="5879131" cy="432000"/>
          </a:xfrm>
          <a:prstGeom prst="rect">
            <a:avLst/>
          </a:prstGeom>
          <a:noFill/>
        </p:spPr>
        <p:txBody>
          <a:bodyPr wrap="square" rtlCol="0" anchor="ctr">
            <a:noAutofit/>
          </a:bodyPr>
          <a:lstStyle/>
          <a:p>
            <a:pPr rtl="0">
              <a:spcAft>
                <a:spcPts val="0"/>
              </a:spcAft>
            </a:pPr>
            <a:r>
              <a:rPr lang="en-gb" sz="1400">
                <a:solidFill>
                  <a:schemeClr val="tx1"/>
                </a:solidFill>
              </a:rPr>
              <a:t>Keep the wound closed until the ambulance arrives.</a:t>
            </a:r>
          </a:p>
        </p:txBody>
      </p:sp>
      <p:cxnSp>
        <p:nvCxnSpPr>
          <p:cNvPr id="6" name="Straight Connector 5">
            <a:extLst>
              <a:ext uri="{FF2B5EF4-FFF2-40B4-BE49-F238E27FC236}">
                <a16:creationId xmlns:a16="http://schemas.microsoft.com/office/drawing/2014/main" id="{B3733624-6466-BD41-3C49-71F64E87C523}"/>
              </a:ext>
            </a:extLst>
          </p:cNvPr>
          <p:cNvCxnSpPr>
            <a:cxnSpLocks/>
          </p:cNvCxnSpPr>
          <p:nvPr/>
        </p:nvCxnSpPr>
        <p:spPr>
          <a:xfrm>
            <a:off x="1297953" y="2975772"/>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7" name="Straight Connector 6">
            <a:extLst>
              <a:ext uri="{FF2B5EF4-FFF2-40B4-BE49-F238E27FC236}">
                <a16:creationId xmlns:a16="http://schemas.microsoft.com/office/drawing/2014/main" id="{5A2159BA-60F1-B7B5-DA22-2E5D2C4A8574}"/>
              </a:ext>
            </a:extLst>
          </p:cNvPr>
          <p:cNvCxnSpPr>
            <a:cxnSpLocks/>
          </p:cNvCxnSpPr>
          <p:nvPr/>
        </p:nvCxnSpPr>
        <p:spPr>
          <a:xfrm>
            <a:off x="1297953" y="3434116"/>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9" name="Straight Connector 8">
            <a:extLst>
              <a:ext uri="{FF2B5EF4-FFF2-40B4-BE49-F238E27FC236}">
                <a16:creationId xmlns:a16="http://schemas.microsoft.com/office/drawing/2014/main" id="{CBCFB46D-F848-5D86-81ED-08C2DDBD6018}"/>
              </a:ext>
            </a:extLst>
          </p:cNvPr>
          <p:cNvCxnSpPr>
            <a:cxnSpLocks/>
          </p:cNvCxnSpPr>
          <p:nvPr/>
        </p:nvCxnSpPr>
        <p:spPr>
          <a:xfrm>
            <a:off x="1297953" y="3892460"/>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11" name="Straight Connector 10">
            <a:extLst>
              <a:ext uri="{FF2B5EF4-FFF2-40B4-BE49-F238E27FC236}">
                <a16:creationId xmlns:a16="http://schemas.microsoft.com/office/drawing/2014/main" id="{A04A74A1-0026-74F8-2A50-1E9075544CF3}"/>
              </a:ext>
            </a:extLst>
          </p:cNvPr>
          <p:cNvCxnSpPr>
            <a:cxnSpLocks/>
          </p:cNvCxnSpPr>
          <p:nvPr/>
        </p:nvCxnSpPr>
        <p:spPr>
          <a:xfrm>
            <a:off x="1297953" y="4350804"/>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13" name="Straight Connector 12">
            <a:extLst>
              <a:ext uri="{FF2B5EF4-FFF2-40B4-BE49-F238E27FC236}">
                <a16:creationId xmlns:a16="http://schemas.microsoft.com/office/drawing/2014/main" id="{CB152EF5-0E28-D564-BA70-371799026C17}"/>
              </a:ext>
            </a:extLst>
          </p:cNvPr>
          <p:cNvCxnSpPr>
            <a:cxnSpLocks/>
          </p:cNvCxnSpPr>
          <p:nvPr/>
        </p:nvCxnSpPr>
        <p:spPr>
          <a:xfrm>
            <a:off x="1297953" y="4809148"/>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14" name="Straight Connector 13">
            <a:extLst>
              <a:ext uri="{FF2B5EF4-FFF2-40B4-BE49-F238E27FC236}">
                <a16:creationId xmlns:a16="http://schemas.microsoft.com/office/drawing/2014/main" id="{FEF121C9-BA2C-579A-87E4-3935103FF4BC}"/>
              </a:ext>
            </a:extLst>
          </p:cNvPr>
          <p:cNvCxnSpPr>
            <a:cxnSpLocks/>
          </p:cNvCxnSpPr>
          <p:nvPr/>
        </p:nvCxnSpPr>
        <p:spPr>
          <a:xfrm>
            <a:off x="1297953" y="5267492"/>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15" name="Straight Connector 14">
            <a:extLst>
              <a:ext uri="{FF2B5EF4-FFF2-40B4-BE49-F238E27FC236}">
                <a16:creationId xmlns:a16="http://schemas.microsoft.com/office/drawing/2014/main" id="{3DE31210-26C3-2A63-15ED-FE32524A997D}"/>
              </a:ext>
            </a:extLst>
          </p:cNvPr>
          <p:cNvCxnSpPr>
            <a:cxnSpLocks/>
          </p:cNvCxnSpPr>
          <p:nvPr/>
        </p:nvCxnSpPr>
        <p:spPr>
          <a:xfrm>
            <a:off x="1297953" y="5725836"/>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46" name="Google Shape;760;p79">
            <a:extLst>
              <a:ext uri="{FF2B5EF4-FFF2-40B4-BE49-F238E27FC236}">
                <a16:creationId xmlns:a16="http://schemas.microsoft.com/office/drawing/2014/main" id="{09BF84D6-F468-7005-FAB5-AA0B6AE5CFB4}"/>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9" name="Google Shape;794;p79">
            <a:extLst>
              <a:ext uri="{FF2B5EF4-FFF2-40B4-BE49-F238E27FC236}">
                <a16:creationId xmlns:a16="http://schemas.microsoft.com/office/drawing/2014/main" id="{DED3BED4-139F-CB4F-0A7B-7B90211550F4}"/>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7" name="Content Placeholder 1">
            <a:extLst>
              <a:ext uri="{FF2B5EF4-FFF2-40B4-BE49-F238E27FC236}">
                <a16:creationId xmlns:a16="http://schemas.microsoft.com/office/drawing/2014/main" id="{53CB8D3C-9648-B17B-BD59-60EED0CCD133}"/>
              </a:ext>
            </a:extLst>
          </p:cNvPr>
          <p:cNvSpPr txBox="1">
            <a:spLocks/>
          </p:cNvSpPr>
          <p:nvPr/>
        </p:nvSpPr>
        <p:spPr>
          <a:xfrm>
            <a:off x="441325" y="2531791"/>
            <a:ext cx="630238" cy="43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1</a:t>
            </a:r>
          </a:p>
        </p:txBody>
      </p:sp>
      <p:cxnSp>
        <p:nvCxnSpPr>
          <p:cNvPr id="20" name="Straight Connector 19">
            <a:extLst>
              <a:ext uri="{FF2B5EF4-FFF2-40B4-BE49-F238E27FC236}">
                <a16:creationId xmlns:a16="http://schemas.microsoft.com/office/drawing/2014/main" id="{2864A4FB-5A6B-6282-1ED3-79348932303D}"/>
              </a:ext>
            </a:extLst>
          </p:cNvPr>
          <p:cNvCxnSpPr>
            <a:cxnSpLocks/>
            <a:stCxn id="23" idx="4"/>
            <a:endCxn id="48" idx="3"/>
          </p:cNvCxnSpPr>
          <p:nvPr/>
        </p:nvCxnSpPr>
        <p:spPr>
          <a:xfrm>
            <a:off x="864002" y="2820181"/>
            <a:ext cx="0" cy="3176759"/>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23" name="Oval 22">
            <a:extLst>
              <a:ext uri="{FF2B5EF4-FFF2-40B4-BE49-F238E27FC236}">
                <a16:creationId xmlns:a16="http://schemas.microsoft.com/office/drawing/2014/main" id="{AF01EC8D-5F48-32D6-594A-E45D62E76E38}"/>
              </a:ext>
            </a:extLst>
          </p:cNvPr>
          <p:cNvSpPr/>
          <p:nvPr/>
        </p:nvSpPr>
        <p:spPr>
          <a:xfrm>
            <a:off x="791612" y="2675401"/>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36" name="Isosceles Triangle 35">
            <a:extLst>
              <a:ext uri="{FF2B5EF4-FFF2-40B4-BE49-F238E27FC236}">
                <a16:creationId xmlns:a16="http://schemas.microsoft.com/office/drawing/2014/main" id="{B685A229-84EC-B93B-3F43-6BFE2BE1F4CA}"/>
              </a:ext>
            </a:extLst>
          </p:cNvPr>
          <p:cNvSpPr/>
          <p:nvPr/>
        </p:nvSpPr>
        <p:spPr>
          <a:xfrm flipV="1">
            <a:off x="690171" y="3879781"/>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37" name="Isosceles Triangle 36">
            <a:extLst>
              <a:ext uri="{FF2B5EF4-FFF2-40B4-BE49-F238E27FC236}">
                <a16:creationId xmlns:a16="http://schemas.microsoft.com/office/drawing/2014/main" id="{9D96FB8A-4DBF-49F0-A6C2-FDA1251682FE}"/>
              </a:ext>
            </a:extLst>
          </p:cNvPr>
          <p:cNvSpPr/>
          <p:nvPr/>
        </p:nvSpPr>
        <p:spPr>
          <a:xfrm flipV="1">
            <a:off x="690171" y="4338027"/>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39" name="Isosceles Triangle 38">
            <a:extLst>
              <a:ext uri="{FF2B5EF4-FFF2-40B4-BE49-F238E27FC236}">
                <a16:creationId xmlns:a16="http://schemas.microsoft.com/office/drawing/2014/main" id="{E8BDE45B-79CA-CD3A-5214-E24D77B8609C}"/>
              </a:ext>
            </a:extLst>
          </p:cNvPr>
          <p:cNvSpPr/>
          <p:nvPr/>
        </p:nvSpPr>
        <p:spPr>
          <a:xfrm flipV="1">
            <a:off x="690171" y="4796273"/>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40" name="Isosceles Triangle 39">
            <a:extLst>
              <a:ext uri="{FF2B5EF4-FFF2-40B4-BE49-F238E27FC236}">
                <a16:creationId xmlns:a16="http://schemas.microsoft.com/office/drawing/2014/main" id="{D996275D-295E-F1D0-D67A-44A0A69B4C01}"/>
              </a:ext>
            </a:extLst>
          </p:cNvPr>
          <p:cNvSpPr/>
          <p:nvPr/>
        </p:nvSpPr>
        <p:spPr>
          <a:xfrm flipV="1">
            <a:off x="690171" y="5254519"/>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43" name="Isosceles Triangle 42">
            <a:extLst>
              <a:ext uri="{FF2B5EF4-FFF2-40B4-BE49-F238E27FC236}">
                <a16:creationId xmlns:a16="http://schemas.microsoft.com/office/drawing/2014/main" id="{45949670-5BCB-C59B-3D24-28AC2A6F87F3}"/>
              </a:ext>
            </a:extLst>
          </p:cNvPr>
          <p:cNvSpPr/>
          <p:nvPr/>
        </p:nvSpPr>
        <p:spPr>
          <a:xfrm flipV="1">
            <a:off x="690171" y="5712763"/>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48" name="Isosceles Triangle 47">
            <a:extLst>
              <a:ext uri="{FF2B5EF4-FFF2-40B4-BE49-F238E27FC236}">
                <a16:creationId xmlns:a16="http://schemas.microsoft.com/office/drawing/2014/main" id="{9DA2A02A-BBDF-DCC7-18AC-878856D7A5B2}"/>
              </a:ext>
            </a:extLst>
          </p:cNvPr>
          <p:cNvSpPr/>
          <p:nvPr/>
        </p:nvSpPr>
        <p:spPr>
          <a:xfrm flipV="1">
            <a:off x="809233" y="5996940"/>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2" name="Isosceles Triangle 1">
            <a:extLst>
              <a:ext uri="{FF2B5EF4-FFF2-40B4-BE49-F238E27FC236}">
                <a16:creationId xmlns:a16="http://schemas.microsoft.com/office/drawing/2014/main" id="{6CA1ECBA-9098-2617-476E-BB53C42ACEE3}"/>
              </a:ext>
            </a:extLst>
          </p:cNvPr>
          <p:cNvSpPr/>
          <p:nvPr/>
        </p:nvSpPr>
        <p:spPr>
          <a:xfrm flipV="1">
            <a:off x="690171" y="2963289"/>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17" name="Isosceles Triangle 16">
            <a:extLst>
              <a:ext uri="{FF2B5EF4-FFF2-40B4-BE49-F238E27FC236}">
                <a16:creationId xmlns:a16="http://schemas.microsoft.com/office/drawing/2014/main" id="{1B3B2816-7084-FA8B-9573-B5304273EF81}"/>
              </a:ext>
            </a:extLst>
          </p:cNvPr>
          <p:cNvSpPr/>
          <p:nvPr/>
        </p:nvSpPr>
        <p:spPr>
          <a:xfrm flipV="1">
            <a:off x="690171" y="3421535"/>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50" name="Rectangle 49">
            <a:extLst>
              <a:ext uri="{FF2B5EF4-FFF2-40B4-BE49-F238E27FC236}">
                <a16:creationId xmlns:a16="http://schemas.microsoft.com/office/drawing/2014/main" id="{0130363F-7CE7-F3D0-4AB5-F295FAC2DCBC}"/>
              </a:ext>
            </a:extLst>
          </p:cNvPr>
          <p:cNvSpPr/>
          <p:nvPr/>
        </p:nvSpPr>
        <p:spPr>
          <a:xfrm>
            <a:off x="442913" y="963958"/>
            <a:ext cx="4470731" cy="628650"/>
          </a:xfrm>
          <a:prstGeom prst="rect">
            <a:avLst/>
          </a:prstGeom>
          <a:solidFill>
            <a:schemeClr val="bg1"/>
          </a:solidFill>
          <a:ln>
            <a:solidFill>
              <a:schemeClr val="accent2"/>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51" name="Rectangle 50">
            <a:extLst>
              <a:ext uri="{FF2B5EF4-FFF2-40B4-BE49-F238E27FC236}">
                <a16:creationId xmlns:a16="http://schemas.microsoft.com/office/drawing/2014/main" id="{AFEB1935-0849-FFDB-14A2-768E555E2F79}"/>
              </a:ext>
            </a:extLst>
          </p:cNvPr>
          <p:cNvSpPr/>
          <p:nvPr/>
        </p:nvSpPr>
        <p:spPr>
          <a:xfrm>
            <a:off x="1454989" y="1062283"/>
            <a:ext cx="3405187"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rIns="0" rtlCol="0" anchor="ctr"/>
          <a:lstStyle/>
          <a:p>
            <a:pPr rtl="0"/>
            <a:r>
              <a:rPr lang="en-gb" sz="1600" b="1" dirty="0">
                <a:solidFill>
                  <a:schemeClr val="tx1"/>
                </a:solidFill>
              </a:rPr>
              <a:t>What does </a:t>
            </a:r>
            <a:r>
              <a:rPr lang="lv-LV" sz="1600" b="1" dirty="0" err="1">
                <a:solidFill>
                  <a:schemeClr val="tx1"/>
                </a:solidFill>
              </a:rPr>
              <a:t>severe</a:t>
            </a:r>
            <a:r>
              <a:rPr lang="en-gb" sz="1600" b="1" dirty="0">
                <a:solidFill>
                  <a:schemeClr val="tx1"/>
                </a:solidFill>
              </a:rPr>
              <a:t> bleeding look like?</a:t>
            </a:r>
            <a:endParaRPr lang="en-GB" sz="1600" b="1" dirty="0">
              <a:solidFill>
                <a:schemeClr val="tx1"/>
              </a:solidFill>
            </a:endParaRPr>
          </a:p>
        </p:txBody>
      </p:sp>
      <p:cxnSp>
        <p:nvCxnSpPr>
          <p:cNvPr id="53" name="Straight Connector 52">
            <a:extLst>
              <a:ext uri="{FF2B5EF4-FFF2-40B4-BE49-F238E27FC236}">
                <a16:creationId xmlns:a16="http://schemas.microsoft.com/office/drawing/2014/main" id="{F358E754-064A-5B8C-B2FC-4E612BA07893}"/>
              </a:ext>
            </a:extLst>
          </p:cNvPr>
          <p:cNvCxnSpPr>
            <a:cxnSpLocks/>
          </p:cNvCxnSpPr>
          <p:nvPr/>
        </p:nvCxnSpPr>
        <p:spPr>
          <a:xfrm>
            <a:off x="1233531" y="1053947"/>
            <a:ext cx="0" cy="448673"/>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5" name="Google Shape;764;p79">
            <a:extLst>
              <a:ext uri="{FF2B5EF4-FFF2-40B4-BE49-F238E27FC236}">
                <a16:creationId xmlns:a16="http://schemas.microsoft.com/office/drawing/2014/main" id="{24043397-1676-6167-2BCF-94B9BF536C60}"/>
              </a:ext>
            </a:extLst>
          </p:cNvPr>
          <p:cNvSpPr/>
          <p:nvPr/>
        </p:nvSpPr>
        <p:spPr>
          <a:xfrm>
            <a:off x="578685" y="1062283"/>
            <a:ext cx="433388" cy="4318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178" y="228"/>
                </a:moveTo>
                <a:cubicBezTo>
                  <a:pt x="178" y="210"/>
                  <a:pt x="180" y="194"/>
                  <a:pt x="186" y="180"/>
                </a:cubicBezTo>
                <a:cubicBezTo>
                  <a:pt x="191" y="165"/>
                  <a:pt x="199" y="153"/>
                  <a:pt x="209" y="143"/>
                </a:cubicBezTo>
                <a:cubicBezTo>
                  <a:pt x="219" y="132"/>
                  <a:pt x="231" y="124"/>
                  <a:pt x="246" y="119"/>
                </a:cubicBezTo>
                <a:cubicBezTo>
                  <a:pt x="260" y="113"/>
                  <a:pt x="276" y="110"/>
                  <a:pt x="294" y="110"/>
                </a:cubicBezTo>
                <a:cubicBezTo>
                  <a:pt x="309" y="110"/>
                  <a:pt x="322" y="112"/>
                  <a:pt x="335" y="117"/>
                </a:cubicBezTo>
                <a:cubicBezTo>
                  <a:pt x="348" y="121"/>
                  <a:pt x="359" y="127"/>
                  <a:pt x="369" y="136"/>
                </a:cubicBezTo>
                <a:cubicBezTo>
                  <a:pt x="378" y="144"/>
                  <a:pt x="386" y="154"/>
                  <a:pt x="391" y="166"/>
                </a:cubicBezTo>
                <a:cubicBezTo>
                  <a:pt x="397" y="179"/>
                  <a:pt x="399" y="192"/>
                  <a:pt x="399" y="208"/>
                </a:cubicBezTo>
                <a:cubicBezTo>
                  <a:pt x="399" y="219"/>
                  <a:pt x="398" y="229"/>
                  <a:pt x="396" y="237"/>
                </a:cubicBezTo>
                <a:cubicBezTo>
                  <a:pt x="393" y="245"/>
                  <a:pt x="390" y="253"/>
                  <a:pt x="386" y="258"/>
                </a:cubicBezTo>
                <a:cubicBezTo>
                  <a:pt x="382" y="264"/>
                  <a:pt x="377" y="270"/>
                  <a:pt x="372" y="274"/>
                </a:cubicBezTo>
                <a:cubicBezTo>
                  <a:pt x="367" y="279"/>
                  <a:pt x="362" y="284"/>
                  <a:pt x="357" y="288"/>
                </a:cubicBezTo>
                <a:cubicBezTo>
                  <a:pt x="351" y="293"/>
                  <a:pt x="345" y="298"/>
                  <a:pt x="340" y="303"/>
                </a:cubicBezTo>
                <a:cubicBezTo>
                  <a:pt x="335" y="308"/>
                  <a:pt x="330" y="313"/>
                  <a:pt x="326" y="319"/>
                </a:cubicBezTo>
                <a:cubicBezTo>
                  <a:pt x="322" y="325"/>
                  <a:pt x="319" y="332"/>
                  <a:pt x="317" y="341"/>
                </a:cubicBezTo>
                <a:cubicBezTo>
                  <a:pt x="315" y="349"/>
                  <a:pt x="314" y="358"/>
                  <a:pt x="314" y="370"/>
                </a:cubicBezTo>
                <a:cubicBezTo>
                  <a:pt x="262" y="370"/>
                  <a:pt x="262" y="370"/>
                  <a:pt x="262" y="370"/>
                </a:cubicBezTo>
                <a:cubicBezTo>
                  <a:pt x="262" y="356"/>
                  <a:pt x="263" y="344"/>
                  <a:pt x="264" y="334"/>
                </a:cubicBezTo>
                <a:cubicBezTo>
                  <a:pt x="266" y="324"/>
                  <a:pt x="268" y="316"/>
                  <a:pt x="271" y="308"/>
                </a:cubicBezTo>
                <a:cubicBezTo>
                  <a:pt x="274" y="301"/>
                  <a:pt x="278" y="294"/>
                  <a:pt x="283" y="288"/>
                </a:cubicBezTo>
                <a:cubicBezTo>
                  <a:pt x="288" y="283"/>
                  <a:pt x="293" y="277"/>
                  <a:pt x="300" y="272"/>
                </a:cubicBezTo>
                <a:cubicBezTo>
                  <a:pt x="305" y="267"/>
                  <a:pt x="310" y="263"/>
                  <a:pt x="314" y="259"/>
                </a:cubicBezTo>
                <a:cubicBezTo>
                  <a:pt x="319" y="255"/>
                  <a:pt x="323" y="251"/>
                  <a:pt x="327" y="246"/>
                </a:cubicBezTo>
                <a:cubicBezTo>
                  <a:pt x="331" y="242"/>
                  <a:pt x="334" y="236"/>
                  <a:pt x="336" y="231"/>
                </a:cubicBezTo>
                <a:cubicBezTo>
                  <a:pt x="338" y="225"/>
                  <a:pt x="339" y="218"/>
                  <a:pt x="339" y="210"/>
                </a:cubicBezTo>
                <a:cubicBezTo>
                  <a:pt x="339" y="200"/>
                  <a:pt x="337" y="192"/>
                  <a:pt x="334" y="185"/>
                </a:cubicBezTo>
                <a:cubicBezTo>
                  <a:pt x="330" y="178"/>
                  <a:pt x="326" y="172"/>
                  <a:pt x="321" y="168"/>
                </a:cubicBezTo>
                <a:cubicBezTo>
                  <a:pt x="317" y="164"/>
                  <a:pt x="311" y="161"/>
                  <a:pt x="306" y="159"/>
                </a:cubicBezTo>
                <a:cubicBezTo>
                  <a:pt x="300" y="157"/>
                  <a:pt x="296" y="156"/>
                  <a:pt x="291" y="156"/>
                </a:cubicBezTo>
                <a:cubicBezTo>
                  <a:pt x="271" y="156"/>
                  <a:pt x="257" y="163"/>
                  <a:pt x="247" y="176"/>
                </a:cubicBezTo>
                <a:cubicBezTo>
                  <a:pt x="238" y="189"/>
                  <a:pt x="233" y="206"/>
                  <a:pt x="233" y="228"/>
                </a:cubicBezTo>
                <a:lnTo>
                  <a:pt x="178" y="228"/>
                </a:lnTo>
                <a:close/>
                <a:moveTo>
                  <a:pt x="255" y="403"/>
                </a:moveTo>
                <a:cubicBezTo>
                  <a:pt x="319" y="403"/>
                  <a:pt x="319" y="403"/>
                  <a:pt x="319" y="403"/>
                </a:cubicBezTo>
                <a:cubicBezTo>
                  <a:pt x="319" y="464"/>
                  <a:pt x="319" y="464"/>
                  <a:pt x="319" y="464"/>
                </a:cubicBezTo>
                <a:cubicBezTo>
                  <a:pt x="255" y="464"/>
                  <a:pt x="255" y="464"/>
                  <a:pt x="255" y="464"/>
                </a:cubicBezTo>
                <a:lnTo>
                  <a:pt x="255" y="403"/>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8" name="Rectangle 7">
            <a:extLst>
              <a:ext uri="{FF2B5EF4-FFF2-40B4-BE49-F238E27FC236}">
                <a16:creationId xmlns:a16="http://schemas.microsoft.com/office/drawing/2014/main" id="{3E1B33AD-40C6-3992-E0C2-7519E160295A}"/>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52" name="Group 51">
            <a:extLst>
              <a:ext uri="{FF2B5EF4-FFF2-40B4-BE49-F238E27FC236}">
                <a16:creationId xmlns:a16="http://schemas.microsoft.com/office/drawing/2014/main" id="{D7FCDA61-A0A7-F257-94EF-D3466B884D7B}"/>
              </a:ext>
            </a:extLst>
          </p:cNvPr>
          <p:cNvGrpSpPr/>
          <p:nvPr/>
        </p:nvGrpSpPr>
        <p:grpSpPr>
          <a:xfrm>
            <a:off x="9842140" y="372216"/>
            <a:ext cx="1667215" cy="217488"/>
            <a:chOff x="9842140" y="372216"/>
            <a:chExt cx="1667215" cy="217488"/>
          </a:xfrm>
        </p:grpSpPr>
        <p:sp>
          <p:nvSpPr>
            <p:cNvPr id="57" name="TextBox 56">
              <a:extLst>
                <a:ext uri="{FF2B5EF4-FFF2-40B4-BE49-F238E27FC236}">
                  <a16:creationId xmlns:a16="http://schemas.microsoft.com/office/drawing/2014/main" id="{E0007A68-F3EF-5218-37FA-972FF8C8BB56}"/>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rtl="0">
                <a:lnSpc>
                  <a:spcPct val="100000"/>
                </a:lnSpc>
                <a:spcAft>
                  <a:spcPts val="600"/>
                </a:spcAft>
                <a:buSzPct val="100000"/>
              </a:pPr>
              <a:r>
                <a:rPr lang="en-gb" sz="800">
                  <a:solidFill>
                    <a:schemeClr val="bg1"/>
                  </a:solidFill>
                </a:rPr>
                <a:t>Severe bleeding</a:t>
              </a:r>
            </a:p>
          </p:txBody>
        </p:sp>
        <p:sp>
          <p:nvSpPr>
            <p:cNvPr id="38" name="Freeform 49">
              <a:extLst>
                <a:ext uri="{FF2B5EF4-FFF2-40B4-BE49-F238E27FC236}">
                  <a16:creationId xmlns:a16="http://schemas.microsoft.com/office/drawing/2014/main" id="{C72A1EE8-17BC-FE3C-D219-11BEE967A4BF}"/>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p>
          </p:txBody>
        </p:sp>
      </p:grpSp>
      <p:grpSp>
        <p:nvGrpSpPr>
          <p:cNvPr id="31" name="Group 30">
            <a:extLst>
              <a:ext uri="{FF2B5EF4-FFF2-40B4-BE49-F238E27FC236}">
                <a16:creationId xmlns:a16="http://schemas.microsoft.com/office/drawing/2014/main" id="{383F900E-4D4A-7C00-FF90-3ABB566ACC11}"/>
              </a:ext>
            </a:extLst>
          </p:cNvPr>
          <p:cNvGrpSpPr/>
          <p:nvPr/>
        </p:nvGrpSpPr>
        <p:grpSpPr>
          <a:xfrm>
            <a:off x="9122935" y="126781"/>
            <a:ext cx="2626153" cy="217488"/>
            <a:chOff x="9122935" y="126781"/>
            <a:chExt cx="2626153" cy="217488"/>
          </a:xfrm>
        </p:grpSpPr>
        <p:sp>
          <p:nvSpPr>
            <p:cNvPr id="32" name="Rectangle 31">
              <a:extLst>
                <a:ext uri="{FF2B5EF4-FFF2-40B4-BE49-F238E27FC236}">
                  <a16:creationId xmlns:a16="http://schemas.microsoft.com/office/drawing/2014/main" id="{9F3A2225-0E7F-BA60-975D-1ABE6FD6B0BC}"/>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000000"/>
                  </a:solidFill>
                  <a:effectLst/>
                  <a:uLnTx/>
                  <a:uFillTx/>
                  <a:ea typeface="Georgia"/>
                  <a:cs typeface="Georgia"/>
                  <a:sym typeface="Georgia"/>
                </a:rPr>
                <a:t>First aid measures</a:t>
              </a:r>
            </a:p>
          </p:txBody>
        </p:sp>
        <p:sp>
          <p:nvSpPr>
            <p:cNvPr id="33" name="Rectangle 32">
              <a:extLst>
                <a:ext uri="{FF2B5EF4-FFF2-40B4-BE49-F238E27FC236}">
                  <a16:creationId xmlns:a16="http://schemas.microsoft.com/office/drawing/2014/main" id="{DA0CB55B-FBB6-65D8-E66E-4BE74BE1C3B6}"/>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4" name="Rectangle 33">
              <a:extLst>
                <a:ext uri="{FF2B5EF4-FFF2-40B4-BE49-F238E27FC236}">
                  <a16:creationId xmlns:a16="http://schemas.microsoft.com/office/drawing/2014/main" id="{AAC30472-230D-6CB1-DB13-9A04D287058B}"/>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5" name="Rectangle 34">
              <a:extLst>
                <a:ext uri="{FF2B5EF4-FFF2-40B4-BE49-F238E27FC236}">
                  <a16:creationId xmlns:a16="http://schemas.microsoft.com/office/drawing/2014/main" id="{FA6775AC-41E6-90A1-7287-8DC337D54C9C}"/>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54" name="Rectangle 53">
              <a:extLst>
                <a:ext uri="{FF2B5EF4-FFF2-40B4-BE49-F238E27FC236}">
                  <a16:creationId xmlns:a16="http://schemas.microsoft.com/office/drawing/2014/main" id="{231A6CC3-1D35-0AC0-F766-8DCD389AA15C}"/>
                </a:ext>
              </a:extLst>
            </p:cNvPr>
            <p:cNvSpPr/>
            <p:nvPr/>
          </p:nvSpPr>
          <p:spPr>
            <a:xfrm>
              <a:off x="9842140"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7</a:t>
              </a:r>
              <a:r>
                <a:rPr lang="en-gb" sz="800" b="1" i="0" u="none" strike="noStrike" kern="0" cap="none" spc="0" normalizeH="0" noProof="0">
                  <a:ln>
                    <a:noFill/>
                  </a:ln>
                  <a:effectLst/>
                  <a:uLnTx/>
                  <a:uFillTx/>
                  <a:ea typeface="Georgia"/>
                  <a:cs typeface="Georgia"/>
                  <a:sym typeface="Georgia"/>
                </a:rPr>
                <a:t>.4</a:t>
              </a:r>
              <a:endParaRPr kumimoji="0" lang="lv-LV" sz="800" b="1" i="0" u="none" strike="noStrike" kern="0" cap="none" spc="0" normalizeH="0" baseline="0" noProof="0" dirty="0">
                <a:ln>
                  <a:noFill/>
                </a:ln>
                <a:effectLst/>
                <a:uLnTx/>
                <a:uFillTx/>
                <a:ea typeface="Georgia"/>
                <a:cs typeface="Georgia"/>
                <a:sym typeface="Georgia"/>
              </a:endParaRPr>
            </a:p>
          </p:txBody>
        </p:sp>
        <p:sp>
          <p:nvSpPr>
            <p:cNvPr id="55" name="Rectangle 54">
              <a:extLst>
                <a:ext uri="{FF2B5EF4-FFF2-40B4-BE49-F238E27FC236}">
                  <a16:creationId xmlns:a16="http://schemas.microsoft.com/office/drawing/2014/main" id="{9513FB66-655B-B37B-0E48-995781F71245}"/>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34315789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DFB9B2E-C1F9-21A3-00BA-9A57ED0111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3" name="think-cell data - do not delete" hidden="1">
                        <a:extLst>
                          <a:ext uri="{FF2B5EF4-FFF2-40B4-BE49-F238E27FC236}">
                            <a16:creationId xmlns:a16="http://schemas.microsoft.com/office/drawing/2014/main" id="{8DFB9B2E-C1F9-21A3-00BA-9A57ED0111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E8E0A4EB-3147-3688-FC1E-46F571D3FA32}"/>
              </a:ext>
            </a:extLst>
          </p:cNvPr>
          <p:cNvSpPr>
            <a:spLocks noGrp="1"/>
          </p:cNvSpPr>
          <p:nvPr>
            <p:ph type="title"/>
          </p:nvPr>
        </p:nvSpPr>
        <p:spPr>
          <a:xfrm>
            <a:off x="442913" y="432001"/>
            <a:ext cx="5480307" cy="1387274"/>
          </a:xfrm>
        </p:spPr>
        <p:txBody>
          <a:bodyPr vert="horz" rtlCol="0"/>
          <a:lstStyle/>
          <a:p>
            <a:pPr rtl="0"/>
            <a:r>
              <a:rPr lang="en-gb"/>
              <a:t>Tasks</a:t>
            </a:r>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p:txBody>
          <a:bodyPr rtlCol="0"/>
          <a:lstStyle/>
          <a:p>
            <a:pPr rtl="0"/>
            <a:fld id="{7870704B-CE94-48CC-AF30-84932A1262A7}" type="slidenum">
              <a:rPr lang="en-GB" smtClean="0"/>
              <a:pPr rtl="0"/>
              <a:t>2</a:t>
            </a:fld>
            <a:endParaRPr lang="en-GB"/>
          </a:p>
        </p:txBody>
      </p:sp>
      <p:sp>
        <p:nvSpPr>
          <p:cNvPr id="3" name="TextBox 2">
            <a:extLst>
              <a:ext uri="{FF2B5EF4-FFF2-40B4-BE49-F238E27FC236}">
                <a16:creationId xmlns:a16="http://schemas.microsoft.com/office/drawing/2014/main" id="{4EF6DB77-182C-C281-1C2F-C2E2D9AB6583}"/>
              </a:ext>
            </a:extLst>
          </p:cNvPr>
          <p:cNvSpPr txBox="1"/>
          <p:nvPr/>
        </p:nvSpPr>
        <p:spPr>
          <a:xfrm>
            <a:off x="6281995" y="1819275"/>
            <a:ext cx="5473702" cy="2212642"/>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Aft>
                <a:spcPts val="600"/>
              </a:spcAft>
            </a:pPr>
            <a:r>
              <a:rPr lang="lv-LV" sz="1600" dirty="0" err="1">
                <a:cs typeface="Arial"/>
              </a:rPr>
              <a:t>Educatees</a:t>
            </a:r>
            <a:r>
              <a:rPr lang="en-gb" sz="1600" dirty="0">
                <a:cs typeface="Arial"/>
              </a:rPr>
              <a:t>:</a:t>
            </a:r>
          </a:p>
          <a:p>
            <a:pPr marL="742950" lvl="3" indent="-285750" rtl="0">
              <a:spcAft>
                <a:spcPts val="600"/>
              </a:spcAft>
              <a:buBlip>
                <a:blip r:embed="rId5"/>
              </a:buBlip>
            </a:pPr>
            <a:r>
              <a:rPr lang="en-gb" sz="1600" dirty="0">
                <a:cs typeface="Arial"/>
              </a:rPr>
              <a:t>can explain what first aid is; </a:t>
            </a:r>
          </a:p>
          <a:p>
            <a:pPr marL="742950" lvl="3" indent="-285750" rtl="0">
              <a:spcAft>
                <a:spcPts val="600"/>
              </a:spcAft>
              <a:buBlip>
                <a:blip r:embed="rId5"/>
              </a:buBlip>
            </a:pPr>
            <a:r>
              <a:rPr lang="en-gb" sz="1600" dirty="0">
                <a:cs typeface="Arial"/>
              </a:rPr>
              <a:t>know what to do at the scene of an accident; </a:t>
            </a:r>
          </a:p>
          <a:p>
            <a:pPr marL="742950" lvl="3" indent="-285750" rtl="0">
              <a:spcAft>
                <a:spcPts val="600"/>
              </a:spcAft>
              <a:buBlip>
                <a:blip r:embed="rId5"/>
              </a:buBlip>
            </a:pPr>
            <a:r>
              <a:rPr lang="en-gb" sz="1600" dirty="0">
                <a:cs typeface="Arial"/>
              </a:rPr>
              <a:t>know how to administer first aid in life-threatening situations.</a:t>
            </a:r>
          </a:p>
        </p:txBody>
      </p:sp>
      <p:sp>
        <p:nvSpPr>
          <p:cNvPr id="4" name="Title 1">
            <a:extLst>
              <a:ext uri="{FF2B5EF4-FFF2-40B4-BE49-F238E27FC236}">
                <a16:creationId xmlns:a16="http://schemas.microsoft.com/office/drawing/2014/main" id="{DE559977-5422-3158-C786-2983A20A2674}"/>
              </a:ext>
            </a:extLst>
          </p:cNvPr>
          <p:cNvSpPr txBox="1">
            <a:spLocks/>
          </p:cNvSpPr>
          <p:nvPr/>
        </p:nvSpPr>
        <p:spPr>
          <a:xfrm>
            <a:off x="6268782" y="438960"/>
            <a:ext cx="5473700" cy="1387274"/>
          </a:xfrm>
          <a:prstGeom prst="rect">
            <a:avLst/>
          </a:prstGeom>
        </p:spPr>
        <p:txBody>
          <a:bodyPr vert="horz" lIns="0" tIns="0" rIns="0" bIns="0" rtlCol="0" anchor="t" anchorCtr="0">
            <a:normAutofit fontScale="97500"/>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rtl="0">
              <a:spcAft>
                <a:spcPts val="600"/>
              </a:spcAft>
              <a:buSzPct val="100000"/>
            </a:pPr>
            <a:r>
              <a:rPr lang="lv-LV" sz="3600" dirty="0" err="1">
                <a:latin typeface="Georgia"/>
                <a:cs typeface="Arial"/>
              </a:rPr>
              <a:t>Intended</a:t>
            </a:r>
            <a:r>
              <a:rPr lang="en-gb" sz="3600" dirty="0">
                <a:latin typeface="Georgia"/>
                <a:cs typeface="Arial"/>
              </a:rPr>
              <a:t> results</a:t>
            </a:r>
            <a:endParaRPr lang="en-GB" sz="3600" dirty="0">
              <a:cs typeface="Arial"/>
            </a:endParaRPr>
          </a:p>
        </p:txBody>
      </p:sp>
      <p:sp>
        <p:nvSpPr>
          <p:cNvPr id="6" name="TextBox 5">
            <a:extLst>
              <a:ext uri="{FF2B5EF4-FFF2-40B4-BE49-F238E27FC236}">
                <a16:creationId xmlns:a16="http://schemas.microsoft.com/office/drawing/2014/main" id="{2CB3F9F5-858C-1D21-4D13-EAEDABE2E74A}"/>
              </a:ext>
            </a:extLst>
          </p:cNvPr>
          <p:cNvSpPr txBox="1"/>
          <p:nvPr/>
        </p:nvSpPr>
        <p:spPr>
          <a:xfrm>
            <a:off x="442911" y="1826234"/>
            <a:ext cx="5473702" cy="2199646"/>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rtl="0">
              <a:spcAft>
                <a:spcPts val="600"/>
              </a:spcAft>
            </a:pPr>
            <a:r>
              <a:rPr lang="en-gb" sz="1600" dirty="0">
                <a:cs typeface="Arial"/>
              </a:rPr>
              <a:t>To introduce </a:t>
            </a:r>
            <a:r>
              <a:rPr lang="lv-LV" sz="1600" dirty="0" err="1">
                <a:cs typeface="Arial"/>
              </a:rPr>
              <a:t>educatees</a:t>
            </a:r>
            <a:r>
              <a:rPr lang="en-gb" sz="1600" dirty="0">
                <a:cs typeface="Arial"/>
              </a:rPr>
              <a:t> to: </a:t>
            </a:r>
          </a:p>
          <a:p>
            <a:pPr marL="740664" indent="-285750" rtl="0">
              <a:spcAft>
                <a:spcPts val="600"/>
              </a:spcAft>
              <a:buBlip>
                <a:blip r:embed="rId5"/>
              </a:buBlip>
            </a:pPr>
            <a:r>
              <a:rPr lang="en-gb" sz="1600" dirty="0">
                <a:cs typeface="Arial"/>
              </a:rPr>
              <a:t>the concept of first aid; </a:t>
            </a:r>
          </a:p>
          <a:p>
            <a:pPr marL="740664" indent="-285750" rtl="0">
              <a:spcAft>
                <a:spcPts val="600"/>
              </a:spcAft>
              <a:buBlip>
                <a:blip r:embed="rId5"/>
              </a:buBlip>
            </a:pPr>
            <a:r>
              <a:rPr lang="en-gb" sz="1600" dirty="0">
                <a:cs typeface="Arial"/>
              </a:rPr>
              <a:t>an algorithm for action at the scene of an accident; </a:t>
            </a:r>
          </a:p>
          <a:p>
            <a:pPr marL="740664" indent="-285750" rtl="0">
              <a:spcAft>
                <a:spcPts val="600"/>
              </a:spcAft>
              <a:buBlip>
                <a:blip r:embed="rId5"/>
              </a:buBlip>
            </a:pPr>
            <a:r>
              <a:rPr lang="en-gb" sz="1600" dirty="0">
                <a:cs typeface="Arial"/>
              </a:rPr>
              <a:t>resuscitation measures and first aid steps</a:t>
            </a:r>
            <a:r>
              <a:rPr lang="lv-LV" sz="1600" dirty="0">
                <a:cs typeface="Arial"/>
              </a:rPr>
              <a:t>.</a:t>
            </a:r>
            <a:endParaRPr lang="en-gb" sz="1600" dirty="0">
              <a:cs typeface="Arial"/>
            </a:endParaRPr>
          </a:p>
        </p:txBody>
      </p:sp>
      <p:sp>
        <p:nvSpPr>
          <p:cNvPr id="8" name="Rectangle 7">
            <a:extLst>
              <a:ext uri="{FF2B5EF4-FFF2-40B4-BE49-F238E27FC236}">
                <a16:creationId xmlns:a16="http://schemas.microsoft.com/office/drawing/2014/main" id="{B6BFA0E2-7135-FFE5-3283-2EDC43146D38}"/>
              </a:ext>
            </a:extLst>
          </p:cNvPr>
          <p:cNvSpPr/>
          <p:nvPr/>
        </p:nvSpPr>
        <p:spPr>
          <a:xfrm>
            <a:off x="442911" y="955542"/>
            <a:ext cx="54737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9" name="Rectangle 8">
            <a:extLst>
              <a:ext uri="{FF2B5EF4-FFF2-40B4-BE49-F238E27FC236}">
                <a16:creationId xmlns:a16="http://schemas.microsoft.com/office/drawing/2014/main" id="{A8B3E759-01F6-3FCC-7165-6B1BE6AFC21E}"/>
              </a:ext>
            </a:extLst>
          </p:cNvPr>
          <p:cNvSpPr/>
          <p:nvPr/>
        </p:nvSpPr>
        <p:spPr>
          <a:xfrm>
            <a:off x="6281995" y="955047"/>
            <a:ext cx="5473700" cy="57626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24" name="Freeform 128">
            <a:extLst>
              <a:ext uri="{FF2B5EF4-FFF2-40B4-BE49-F238E27FC236}">
                <a16:creationId xmlns:a16="http://schemas.microsoft.com/office/drawing/2014/main" id="{19F3A3EA-1A15-1B4C-8DCB-26EE245E8AFC}"/>
              </a:ext>
            </a:extLst>
          </p:cNvPr>
          <p:cNvSpPr>
            <a:spLocks noChangeAspect="1" noEditPoints="1"/>
          </p:cNvSpPr>
          <p:nvPr/>
        </p:nvSpPr>
        <p:spPr bwMode="auto">
          <a:xfrm>
            <a:off x="8790893" y="1028955"/>
            <a:ext cx="455905" cy="457200"/>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5 h 576"/>
              <a:gd name="T16" fmla="*/ 551 w 576"/>
              <a:gd name="T17" fmla="*/ 25 h 576"/>
              <a:gd name="T18" fmla="*/ 551 w 576"/>
              <a:gd name="T19" fmla="*/ 551 h 576"/>
              <a:gd name="T20" fmla="*/ 130 w 576"/>
              <a:gd name="T21" fmla="*/ 215 h 576"/>
              <a:gd name="T22" fmla="*/ 176 w 576"/>
              <a:gd name="T23" fmla="*/ 169 h 576"/>
              <a:gd name="T24" fmla="*/ 130 w 576"/>
              <a:gd name="T25" fmla="*/ 124 h 576"/>
              <a:gd name="T26" fmla="*/ 85 w 576"/>
              <a:gd name="T27" fmla="*/ 169 h 576"/>
              <a:gd name="T28" fmla="*/ 130 w 576"/>
              <a:gd name="T29" fmla="*/ 215 h 576"/>
              <a:gd name="T30" fmla="*/ 130 w 576"/>
              <a:gd name="T31" fmla="*/ 148 h 576"/>
              <a:gd name="T32" fmla="*/ 151 w 576"/>
              <a:gd name="T33" fmla="*/ 169 h 576"/>
              <a:gd name="T34" fmla="*/ 130 w 576"/>
              <a:gd name="T35" fmla="*/ 190 h 576"/>
              <a:gd name="T36" fmla="*/ 109 w 576"/>
              <a:gd name="T37" fmla="*/ 169 h 576"/>
              <a:gd name="T38" fmla="*/ 130 w 576"/>
              <a:gd name="T39" fmla="*/ 148 h 576"/>
              <a:gd name="T40" fmla="*/ 494 w 576"/>
              <a:gd name="T41" fmla="*/ 182 h 576"/>
              <a:gd name="T42" fmla="*/ 217 w 576"/>
              <a:gd name="T43" fmla="*/ 182 h 576"/>
              <a:gd name="T44" fmla="*/ 217 w 576"/>
              <a:gd name="T45" fmla="*/ 157 h 576"/>
              <a:gd name="T46" fmla="*/ 494 w 576"/>
              <a:gd name="T47" fmla="*/ 157 h 576"/>
              <a:gd name="T48" fmla="*/ 494 w 576"/>
              <a:gd name="T49" fmla="*/ 182 h 576"/>
              <a:gd name="T50" fmla="*/ 130 w 576"/>
              <a:gd name="T51" fmla="*/ 358 h 576"/>
              <a:gd name="T52" fmla="*/ 176 w 576"/>
              <a:gd name="T53" fmla="*/ 312 h 576"/>
              <a:gd name="T54" fmla="*/ 130 w 576"/>
              <a:gd name="T55" fmla="*/ 267 h 576"/>
              <a:gd name="T56" fmla="*/ 85 w 576"/>
              <a:gd name="T57" fmla="*/ 312 h 576"/>
              <a:gd name="T58" fmla="*/ 130 w 576"/>
              <a:gd name="T59" fmla="*/ 358 h 576"/>
              <a:gd name="T60" fmla="*/ 130 w 576"/>
              <a:gd name="T61" fmla="*/ 291 h 576"/>
              <a:gd name="T62" fmla="*/ 151 w 576"/>
              <a:gd name="T63" fmla="*/ 312 h 576"/>
              <a:gd name="T64" fmla="*/ 130 w 576"/>
              <a:gd name="T65" fmla="*/ 333 h 576"/>
              <a:gd name="T66" fmla="*/ 109 w 576"/>
              <a:gd name="T67" fmla="*/ 312 h 576"/>
              <a:gd name="T68" fmla="*/ 130 w 576"/>
              <a:gd name="T69" fmla="*/ 291 h 576"/>
              <a:gd name="T70" fmla="*/ 494 w 576"/>
              <a:gd name="T71" fmla="*/ 325 h 576"/>
              <a:gd name="T72" fmla="*/ 217 w 576"/>
              <a:gd name="T73" fmla="*/ 325 h 576"/>
              <a:gd name="T74" fmla="*/ 217 w 576"/>
              <a:gd name="T75" fmla="*/ 300 h 576"/>
              <a:gd name="T76" fmla="*/ 494 w 576"/>
              <a:gd name="T77" fmla="*/ 300 h 576"/>
              <a:gd name="T78" fmla="*/ 494 w 576"/>
              <a:gd name="T79" fmla="*/ 325 h 576"/>
              <a:gd name="T80" fmla="*/ 130 w 576"/>
              <a:gd name="T81" fmla="*/ 501 h 576"/>
              <a:gd name="T82" fmla="*/ 176 w 576"/>
              <a:gd name="T83" fmla="*/ 455 h 576"/>
              <a:gd name="T84" fmla="*/ 130 w 576"/>
              <a:gd name="T85" fmla="*/ 410 h 576"/>
              <a:gd name="T86" fmla="*/ 85 w 576"/>
              <a:gd name="T87" fmla="*/ 455 h 576"/>
              <a:gd name="T88" fmla="*/ 130 w 576"/>
              <a:gd name="T89" fmla="*/ 501 h 576"/>
              <a:gd name="T90" fmla="*/ 130 w 576"/>
              <a:gd name="T91" fmla="*/ 434 h 576"/>
              <a:gd name="T92" fmla="*/ 151 w 576"/>
              <a:gd name="T93" fmla="*/ 455 h 576"/>
              <a:gd name="T94" fmla="*/ 130 w 576"/>
              <a:gd name="T95" fmla="*/ 476 h 576"/>
              <a:gd name="T96" fmla="*/ 109 w 576"/>
              <a:gd name="T97" fmla="*/ 455 h 576"/>
              <a:gd name="T98" fmla="*/ 130 w 576"/>
              <a:gd name="T99" fmla="*/ 434 h 576"/>
              <a:gd name="T100" fmla="*/ 494 w 576"/>
              <a:gd name="T101" fmla="*/ 468 h 576"/>
              <a:gd name="T102" fmla="*/ 217 w 576"/>
              <a:gd name="T103" fmla="*/ 468 h 576"/>
              <a:gd name="T104" fmla="*/ 217 w 576"/>
              <a:gd name="T105" fmla="*/ 443 h 576"/>
              <a:gd name="T106" fmla="*/ 494 w 576"/>
              <a:gd name="T107" fmla="*/ 443 h 576"/>
              <a:gd name="T108" fmla="*/ 494 w 576"/>
              <a:gd name="T109" fmla="*/ 46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130" y="215"/>
                </a:moveTo>
                <a:cubicBezTo>
                  <a:pt x="155" y="215"/>
                  <a:pt x="176" y="194"/>
                  <a:pt x="176" y="169"/>
                </a:cubicBezTo>
                <a:cubicBezTo>
                  <a:pt x="176" y="144"/>
                  <a:pt x="155" y="124"/>
                  <a:pt x="130" y="124"/>
                </a:cubicBezTo>
                <a:cubicBezTo>
                  <a:pt x="105" y="124"/>
                  <a:pt x="85" y="144"/>
                  <a:pt x="85" y="169"/>
                </a:cubicBezTo>
                <a:cubicBezTo>
                  <a:pt x="85" y="194"/>
                  <a:pt x="105" y="215"/>
                  <a:pt x="130" y="215"/>
                </a:cubicBezTo>
                <a:close/>
                <a:moveTo>
                  <a:pt x="130" y="148"/>
                </a:moveTo>
                <a:cubicBezTo>
                  <a:pt x="142" y="148"/>
                  <a:pt x="151" y="158"/>
                  <a:pt x="151" y="169"/>
                </a:cubicBezTo>
                <a:cubicBezTo>
                  <a:pt x="151" y="181"/>
                  <a:pt x="142" y="190"/>
                  <a:pt x="130" y="190"/>
                </a:cubicBezTo>
                <a:cubicBezTo>
                  <a:pt x="119" y="190"/>
                  <a:pt x="109" y="181"/>
                  <a:pt x="109" y="169"/>
                </a:cubicBezTo>
                <a:cubicBezTo>
                  <a:pt x="109" y="158"/>
                  <a:pt x="119" y="148"/>
                  <a:pt x="130" y="148"/>
                </a:cubicBezTo>
                <a:close/>
                <a:moveTo>
                  <a:pt x="494" y="182"/>
                </a:moveTo>
                <a:cubicBezTo>
                  <a:pt x="217" y="182"/>
                  <a:pt x="217" y="182"/>
                  <a:pt x="217" y="182"/>
                </a:cubicBezTo>
                <a:cubicBezTo>
                  <a:pt x="217" y="157"/>
                  <a:pt x="217" y="157"/>
                  <a:pt x="217" y="157"/>
                </a:cubicBezTo>
                <a:cubicBezTo>
                  <a:pt x="494" y="157"/>
                  <a:pt x="494" y="157"/>
                  <a:pt x="494" y="157"/>
                </a:cubicBezTo>
                <a:lnTo>
                  <a:pt x="494" y="182"/>
                </a:lnTo>
                <a:close/>
                <a:moveTo>
                  <a:pt x="130" y="358"/>
                </a:moveTo>
                <a:cubicBezTo>
                  <a:pt x="155" y="358"/>
                  <a:pt x="176" y="337"/>
                  <a:pt x="176" y="312"/>
                </a:cubicBezTo>
                <a:cubicBezTo>
                  <a:pt x="176" y="287"/>
                  <a:pt x="155" y="267"/>
                  <a:pt x="130" y="267"/>
                </a:cubicBezTo>
                <a:cubicBezTo>
                  <a:pt x="105" y="267"/>
                  <a:pt x="85" y="287"/>
                  <a:pt x="85" y="312"/>
                </a:cubicBezTo>
                <a:cubicBezTo>
                  <a:pt x="85" y="337"/>
                  <a:pt x="105" y="358"/>
                  <a:pt x="130" y="358"/>
                </a:cubicBezTo>
                <a:close/>
                <a:moveTo>
                  <a:pt x="130" y="291"/>
                </a:moveTo>
                <a:cubicBezTo>
                  <a:pt x="142" y="291"/>
                  <a:pt x="151" y="301"/>
                  <a:pt x="151" y="312"/>
                </a:cubicBezTo>
                <a:cubicBezTo>
                  <a:pt x="151" y="324"/>
                  <a:pt x="142" y="333"/>
                  <a:pt x="130" y="333"/>
                </a:cubicBezTo>
                <a:cubicBezTo>
                  <a:pt x="119" y="333"/>
                  <a:pt x="109" y="324"/>
                  <a:pt x="109" y="312"/>
                </a:cubicBezTo>
                <a:cubicBezTo>
                  <a:pt x="109" y="301"/>
                  <a:pt x="119" y="291"/>
                  <a:pt x="130" y="291"/>
                </a:cubicBezTo>
                <a:close/>
                <a:moveTo>
                  <a:pt x="494" y="325"/>
                </a:moveTo>
                <a:cubicBezTo>
                  <a:pt x="217" y="325"/>
                  <a:pt x="217" y="325"/>
                  <a:pt x="217" y="325"/>
                </a:cubicBezTo>
                <a:cubicBezTo>
                  <a:pt x="217" y="300"/>
                  <a:pt x="217" y="300"/>
                  <a:pt x="217" y="300"/>
                </a:cubicBezTo>
                <a:cubicBezTo>
                  <a:pt x="494" y="300"/>
                  <a:pt x="494" y="300"/>
                  <a:pt x="494" y="300"/>
                </a:cubicBezTo>
                <a:lnTo>
                  <a:pt x="494" y="325"/>
                </a:lnTo>
                <a:close/>
                <a:moveTo>
                  <a:pt x="130" y="501"/>
                </a:moveTo>
                <a:cubicBezTo>
                  <a:pt x="155" y="501"/>
                  <a:pt x="176" y="480"/>
                  <a:pt x="176" y="455"/>
                </a:cubicBezTo>
                <a:cubicBezTo>
                  <a:pt x="176" y="430"/>
                  <a:pt x="155" y="410"/>
                  <a:pt x="130" y="410"/>
                </a:cubicBezTo>
                <a:cubicBezTo>
                  <a:pt x="105" y="410"/>
                  <a:pt x="85" y="430"/>
                  <a:pt x="85" y="455"/>
                </a:cubicBezTo>
                <a:cubicBezTo>
                  <a:pt x="85" y="480"/>
                  <a:pt x="105" y="501"/>
                  <a:pt x="130" y="501"/>
                </a:cubicBezTo>
                <a:close/>
                <a:moveTo>
                  <a:pt x="130" y="434"/>
                </a:moveTo>
                <a:cubicBezTo>
                  <a:pt x="142" y="434"/>
                  <a:pt x="151" y="444"/>
                  <a:pt x="151" y="455"/>
                </a:cubicBezTo>
                <a:cubicBezTo>
                  <a:pt x="151" y="467"/>
                  <a:pt x="142" y="476"/>
                  <a:pt x="130" y="476"/>
                </a:cubicBezTo>
                <a:cubicBezTo>
                  <a:pt x="119" y="476"/>
                  <a:pt x="109" y="467"/>
                  <a:pt x="109" y="455"/>
                </a:cubicBezTo>
                <a:cubicBezTo>
                  <a:pt x="109" y="444"/>
                  <a:pt x="119" y="434"/>
                  <a:pt x="130" y="434"/>
                </a:cubicBezTo>
                <a:close/>
                <a:moveTo>
                  <a:pt x="494" y="468"/>
                </a:moveTo>
                <a:cubicBezTo>
                  <a:pt x="217" y="468"/>
                  <a:pt x="217" y="468"/>
                  <a:pt x="217" y="468"/>
                </a:cubicBezTo>
                <a:cubicBezTo>
                  <a:pt x="217" y="443"/>
                  <a:pt x="217" y="443"/>
                  <a:pt x="217" y="443"/>
                </a:cubicBezTo>
                <a:cubicBezTo>
                  <a:pt x="494" y="443"/>
                  <a:pt x="494" y="443"/>
                  <a:pt x="494" y="443"/>
                </a:cubicBezTo>
                <a:lnTo>
                  <a:pt x="494" y="468"/>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b="1">
              <a:solidFill>
                <a:schemeClr val="accent1"/>
              </a:solidFill>
            </a:endParaRPr>
          </a:p>
        </p:txBody>
      </p:sp>
      <p:sp>
        <p:nvSpPr>
          <p:cNvPr id="25" name="Freeform 106">
            <a:extLst>
              <a:ext uri="{FF2B5EF4-FFF2-40B4-BE49-F238E27FC236}">
                <a16:creationId xmlns:a16="http://schemas.microsoft.com/office/drawing/2014/main" id="{014F40D3-F5E9-404A-8FA7-2C2BFB358B3B}"/>
              </a:ext>
            </a:extLst>
          </p:cNvPr>
          <p:cNvSpPr/>
          <p:nvPr/>
        </p:nvSpPr>
        <p:spPr>
          <a:xfrm>
            <a:off x="3181757"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endParaRPr lang="en-GB"/>
          </a:p>
        </p:txBody>
      </p:sp>
      <p:pic>
        <p:nvPicPr>
          <p:cNvPr id="28" name="Picture 27">
            <a:extLst>
              <a:ext uri="{FF2B5EF4-FFF2-40B4-BE49-F238E27FC236}">
                <a16:creationId xmlns:a16="http://schemas.microsoft.com/office/drawing/2014/main" id="{57146472-1E12-8599-0248-F6AE825AAC25}"/>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42892" b="30359"/>
          <a:stretch/>
        </p:blipFill>
        <p:spPr>
          <a:xfrm>
            <a:off x="442911" y="4402207"/>
            <a:ext cx="11309609" cy="1769992"/>
          </a:xfrm>
          <a:prstGeom prst="rect">
            <a:avLst/>
          </a:prstGeom>
        </p:spPr>
      </p:pic>
      <p:sp>
        <p:nvSpPr>
          <p:cNvPr id="2" name="Rectangle 1">
            <a:extLst>
              <a:ext uri="{FF2B5EF4-FFF2-40B4-BE49-F238E27FC236}">
                <a16:creationId xmlns:a16="http://schemas.microsoft.com/office/drawing/2014/main" id="{56F2AB26-56CB-48B7-4C20-5421B6EF2D40}"/>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spTree>
    <p:extLst>
      <p:ext uri="{BB962C8B-B14F-4D97-AF65-F5344CB8AC3E}">
        <p14:creationId xmlns:p14="http://schemas.microsoft.com/office/powerpoint/2010/main" val="41776760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17D5129-C98E-0B87-735C-CE927B0DA4C9}"/>
              </a:ext>
            </a:extLst>
          </p:cNvPr>
          <p:cNvGraphicFramePr>
            <a:graphicFrameLocks noChangeAspect="1"/>
          </p:cNvGraphicFramePr>
          <p:nvPr>
            <p:custDataLst>
              <p:tags r:id="rId1"/>
            </p:custDataLst>
            <p:extLst>
              <p:ext uri="{D42A27DB-BD31-4B8C-83A1-F6EECF244321}">
                <p14:modId xmlns:p14="http://schemas.microsoft.com/office/powerpoint/2010/main" val="1137100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2" name="think-cell data - do not delete" hidden="1">
                        <a:extLst>
                          <a:ext uri="{FF2B5EF4-FFF2-40B4-BE49-F238E27FC236}">
                            <a16:creationId xmlns:a16="http://schemas.microsoft.com/office/drawing/2014/main" id="{317D5129-C98E-0B87-735C-CE927B0DA4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4" name="Picture 63">
            <a:extLst>
              <a:ext uri="{FF2B5EF4-FFF2-40B4-BE49-F238E27FC236}">
                <a16:creationId xmlns:a16="http://schemas.microsoft.com/office/drawing/2014/main" id="{00D7B3D6-4A21-F58A-0C43-20AB30413294}"/>
              </a:ext>
            </a:extLst>
          </p:cNvPr>
          <p:cNvPicPr>
            <a:picLocks noChangeAspect="1"/>
          </p:cNvPicPr>
          <p:nvPr/>
        </p:nvPicPr>
        <p:blipFill>
          <a:blip r:embed="rId6"/>
          <a:stretch>
            <a:fillRect/>
          </a:stretch>
        </p:blipFill>
        <p:spPr>
          <a:xfrm>
            <a:off x="7620000" y="0"/>
            <a:ext cx="4572000" cy="6858000"/>
          </a:xfrm>
          <a:prstGeom prst="rect">
            <a:avLst/>
          </a:prstGeom>
        </p:spPr>
      </p:pic>
      <p:sp>
        <p:nvSpPr>
          <p:cNvPr id="65" name="Rectangle 64">
            <a:extLst>
              <a:ext uri="{FF2B5EF4-FFF2-40B4-BE49-F238E27FC236}">
                <a16:creationId xmlns:a16="http://schemas.microsoft.com/office/drawing/2014/main" id="{5251DA9C-70D5-D5D9-4097-7ABDC1CD630B}"/>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rtlCol="0">
            <a:normAutofit/>
          </a:bodyPr>
          <a:lstStyle/>
          <a:p>
            <a:pPr rtl="0"/>
            <a:r>
              <a:rPr lang="en-gb" dirty="0"/>
              <a:t>What to do if there is heavy bleeding</a:t>
            </a:r>
            <a:br>
              <a:rPr lang="lv-LV" dirty="0"/>
            </a:br>
            <a:r>
              <a:rPr lang="en-gb" dirty="0"/>
              <a:t>in the arm</a:t>
            </a:r>
            <a:r>
              <a:rPr lang="lv-LV" dirty="0"/>
              <a:t> </a:t>
            </a:r>
            <a:r>
              <a:rPr lang="en-gb" dirty="0"/>
              <a:t>or in the leg and bandages </a:t>
            </a:r>
            <a:br>
              <a:rPr lang="lv-LV" dirty="0"/>
            </a:br>
            <a:r>
              <a:rPr lang="en-gb" dirty="0"/>
              <a:t>are available?</a:t>
            </a:r>
            <a:endParaRPr lang="en-GB" dirty="0"/>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rtlCol="0"/>
          <a:lstStyle/>
          <a:p>
            <a:pPr rtl="0"/>
            <a:fld id="{7870704B-CE94-48CC-AF30-84932A1262A7}" type="slidenum">
              <a:rPr lang="en-GB" smtClean="0"/>
              <a:pPr rtl="0"/>
              <a:t>20</a:t>
            </a:fld>
            <a:endParaRPr lang="en-GB"/>
          </a:p>
        </p:txBody>
      </p:sp>
      <p:sp>
        <p:nvSpPr>
          <p:cNvPr id="7" name="Content Placeholder 1">
            <a:extLst>
              <a:ext uri="{FF2B5EF4-FFF2-40B4-BE49-F238E27FC236}">
                <a16:creationId xmlns:a16="http://schemas.microsoft.com/office/drawing/2014/main" id="{C808DA25-FA14-FF3C-E908-05869001F803}"/>
              </a:ext>
            </a:extLst>
          </p:cNvPr>
          <p:cNvSpPr txBox="1">
            <a:spLocks/>
          </p:cNvSpPr>
          <p:nvPr/>
        </p:nvSpPr>
        <p:spPr>
          <a:xfrm>
            <a:off x="442914" y="1646238"/>
            <a:ext cx="3529012" cy="40687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a:p>
        </p:txBody>
      </p:sp>
      <p:sp>
        <p:nvSpPr>
          <p:cNvPr id="22" name="Rectangle 21">
            <a:extLst>
              <a:ext uri="{FF2B5EF4-FFF2-40B4-BE49-F238E27FC236}">
                <a16:creationId xmlns:a16="http://schemas.microsoft.com/office/drawing/2014/main" id="{138C1537-B2D2-8CD4-AB9A-7BDF4C5BA5B6}"/>
              </a:ext>
            </a:extLst>
          </p:cNvPr>
          <p:cNvSpPr/>
          <p:nvPr/>
        </p:nvSpPr>
        <p:spPr>
          <a:xfrm>
            <a:off x="7619998" y="2398554"/>
            <a:ext cx="4129089" cy="377364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rtl="0">
              <a:spcAft>
                <a:spcPts val="600"/>
              </a:spcAft>
              <a:buBlip>
                <a:blip r:embed="rId7"/>
              </a:buBlip>
            </a:pPr>
            <a:r>
              <a:rPr lang="en-gb" sz="1400" dirty="0">
                <a:solidFill>
                  <a:schemeClr val="tx1"/>
                </a:solidFill>
              </a:rPr>
              <a:t>If bleeding seems to be continuing, top up the</a:t>
            </a:r>
            <a:r>
              <a:rPr lang="lv-LV" sz="1400" dirty="0">
                <a:solidFill>
                  <a:schemeClr val="tx1"/>
                </a:solidFill>
              </a:rPr>
              <a:t> </a:t>
            </a:r>
            <a:r>
              <a:rPr lang="lv-LV" sz="1400" dirty="0" err="1">
                <a:solidFill>
                  <a:schemeClr val="tx1"/>
                </a:solidFill>
              </a:rPr>
              <a:t>pressure</a:t>
            </a:r>
            <a:r>
              <a:rPr lang="en-gb" sz="1400" dirty="0">
                <a:solidFill>
                  <a:schemeClr val="tx1"/>
                </a:solidFill>
              </a:rPr>
              <a:t> dressing with another object.</a:t>
            </a:r>
          </a:p>
          <a:p>
            <a:pPr marL="285750" indent="-285750" rtl="0">
              <a:spcAft>
                <a:spcPts val="600"/>
              </a:spcAft>
              <a:buBlip>
                <a:blip r:embed="rId7"/>
              </a:buBlip>
            </a:pPr>
            <a:r>
              <a:rPr lang="en-gb" sz="1400" dirty="0">
                <a:solidFill>
                  <a:schemeClr val="tx1"/>
                </a:solidFill>
              </a:rPr>
              <a:t>Applying a tourniquet requires a factory-made tourniquet and the skills to use it. Applying a tourniquet is taught in extended first aid training programmes or in first aid training programmes with additional knowledge.</a:t>
            </a:r>
          </a:p>
        </p:txBody>
      </p:sp>
      <p:sp>
        <p:nvSpPr>
          <p:cNvPr id="23" name="TextBox 22">
            <a:extLst>
              <a:ext uri="{FF2B5EF4-FFF2-40B4-BE49-F238E27FC236}">
                <a16:creationId xmlns:a16="http://schemas.microsoft.com/office/drawing/2014/main" id="{2B31A048-71F3-36BF-C023-498023B6C82B}"/>
              </a:ext>
            </a:extLst>
          </p:cNvPr>
          <p:cNvSpPr txBox="1"/>
          <p:nvPr/>
        </p:nvSpPr>
        <p:spPr>
          <a:xfrm>
            <a:off x="1297953" y="2531791"/>
            <a:ext cx="5879131" cy="432000"/>
          </a:xfrm>
          <a:prstGeom prst="rect">
            <a:avLst/>
          </a:prstGeom>
          <a:noFill/>
        </p:spPr>
        <p:txBody>
          <a:bodyPr wrap="square" rtlCol="0" anchor="ctr">
            <a:noAutofit/>
          </a:bodyPr>
          <a:lstStyle/>
          <a:p>
            <a:pPr rtl="0">
              <a:spcAft>
                <a:spcPts val="0"/>
              </a:spcAft>
            </a:pPr>
            <a:r>
              <a:rPr lang="en-gb" sz="1400">
                <a:solidFill>
                  <a:schemeClr val="tx1"/>
                </a:solidFill>
              </a:rPr>
              <a:t>Wear waterproof gloves.</a:t>
            </a:r>
          </a:p>
        </p:txBody>
      </p:sp>
      <p:sp>
        <p:nvSpPr>
          <p:cNvPr id="37" name="TextBox 36">
            <a:extLst>
              <a:ext uri="{FF2B5EF4-FFF2-40B4-BE49-F238E27FC236}">
                <a16:creationId xmlns:a16="http://schemas.microsoft.com/office/drawing/2014/main" id="{C2CA78DD-F69A-5D59-15A8-FCB689B70AC2}"/>
              </a:ext>
            </a:extLst>
          </p:cNvPr>
          <p:cNvSpPr txBox="1"/>
          <p:nvPr/>
        </p:nvSpPr>
        <p:spPr>
          <a:xfrm>
            <a:off x="1297953" y="2990135"/>
            <a:ext cx="5879131" cy="432000"/>
          </a:xfrm>
          <a:prstGeom prst="rect">
            <a:avLst/>
          </a:prstGeom>
          <a:noFill/>
        </p:spPr>
        <p:txBody>
          <a:bodyPr wrap="square" rtlCol="0" anchor="ctr">
            <a:noAutofit/>
          </a:bodyPr>
          <a:lstStyle/>
          <a:p>
            <a:pPr rtl="0">
              <a:spcAft>
                <a:spcPts val="0"/>
              </a:spcAft>
            </a:pPr>
            <a:r>
              <a:rPr lang="en-gb" sz="1400" dirty="0">
                <a:solidFill>
                  <a:schemeClr val="tx1"/>
                </a:solidFill>
              </a:rPr>
              <a:t>Remove</a:t>
            </a:r>
            <a:r>
              <a:rPr lang="lv-LV" sz="1400" dirty="0">
                <a:solidFill>
                  <a:schemeClr val="tx1"/>
                </a:solidFill>
              </a:rPr>
              <a:t> </a:t>
            </a:r>
            <a:r>
              <a:rPr lang="lv-LV" sz="1400" dirty="0" err="1">
                <a:solidFill>
                  <a:schemeClr val="tx1"/>
                </a:solidFill>
              </a:rPr>
              <a:t>clothing</a:t>
            </a:r>
            <a:r>
              <a:rPr lang="lv-LV" sz="1400" dirty="0">
                <a:solidFill>
                  <a:schemeClr val="tx1"/>
                </a:solidFill>
              </a:rPr>
              <a:t> </a:t>
            </a:r>
            <a:r>
              <a:rPr lang="lv-LV" sz="1400" dirty="0" err="1">
                <a:solidFill>
                  <a:schemeClr val="tx1"/>
                </a:solidFill>
              </a:rPr>
              <a:t>from</a:t>
            </a:r>
            <a:r>
              <a:rPr lang="en-gb" sz="1400" dirty="0">
                <a:solidFill>
                  <a:schemeClr val="tx1"/>
                </a:solidFill>
              </a:rPr>
              <a:t> the bleeding area.</a:t>
            </a:r>
          </a:p>
        </p:txBody>
      </p:sp>
      <p:sp>
        <p:nvSpPr>
          <p:cNvPr id="38" name="TextBox 37">
            <a:extLst>
              <a:ext uri="{FF2B5EF4-FFF2-40B4-BE49-F238E27FC236}">
                <a16:creationId xmlns:a16="http://schemas.microsoft.com/office/drawing/2014/main" id="{FED4070B-D467-BCBB-40C2-1A6D5681C2FA}"/>
              </a:ext>
            </a:extLst>
          </p:cNvPr>
          <p:cNvSpPr txBox="1"/>
          <p:nvPr/>
        </p:nvSpPr>
        <p:spPr>
          <a:xfrm>
            <a:off x="1297953" y="3906823"/>
            <a:ext cx="5879131" cy="432000"/>
          </a:xfrm>
          <a:prstGeom prst="rect">
            <a:avLst/>
          </a:prstGeom>
          <a:noFill/>
        </p:spPr>
        <p:txBody>
          <a:bodyPr wrap="square" rtlCol="0" anchor="ctr">
            <a:noAutofit/>
          </a:bodyPr>
          <a:lstStyle/>
          <a:p>
            <a:pPr rtl="0">
              <a:spcAft>
                <a:spcPts val="0"/>
              </a:spcAft>
            </a:pPr>
            <a:r>
              <a:rPr lang="en-gb" sz="1400">
                <a:solidFill>
                  <a:schemeClr val="tx1"/>
                </a:solidFill>
              </a:rPr>
              <a:t>Lay the victim down with the bleeding area facing up.</a:t>
            </a:r>
          </a:p>
        </p:txBody>
      </p:sp>
      <p:sp>
        <p:nvSpPr>
          <p:cNvPr id="39" name="TextBox 38">
            <a:extLst>
              <a:ext uri="{FF2B5EF4-FFF2-40B4-BE49-F238E27FC236}">
                <a16:creationId xmlns:a16="http://schemas.microsoft.com/office/drawing/2014/main" id="{A7A994A1-7F1E-6A81-8CD8-5804507EC70D}"/>
              </a:ext>
            </a:extLst>
          </p:cNvPr>
          <p:cNvSpPr txBox="1"/>
          <p:nvPr/>
        </p:nvSpPr>
        <p:spPr>
          <a:xfrm>
            <a:off x="1297953" y="4365167"/>
            <a:ext cx="5879131" cy="432000"/>
          </a:xfrm>
          <a:prstGeom prst="rect">
            <a:avLst/>
          </a:prstGeom>
          <a:noFill/>
        </p:spPr>
        <p:txBody>
          <a:bodyPr wrap="square" rtlCol="0" anchor="ctr">
            <a:noAutofit/>
          </a:bodyPr>
          <a:lstStyle/>
          <a:p>
            <a:pPr rtl="0">
              <a:spcAft>
                <a:spcPts val="0"/>
              </a:spcAft>
            </a:pPr>
            <a:r>
              <a:rPr lang="en-gb" sz="1400" dirty="0">
                <a:solidFill>
                  <a:schemeClr val="tx1"/>
                </a:solidFill>
              </a:rPr>
              <a:t>Apply the </a:t>
            </a:r>
            <a:r>
              <a:rPr lang="lv-LV" sz="1400" dirty="0" err="1">
                <a:solidFill>
                  <a:schemeClr val="tx1"/>
                </a:solidFill>
              </a:rPr>
              <a:t>pressure</a:t>
            </a:r>
            <a:r>
              <a:rPr lang="lv-LV" sz="1400" dirty="0">
                <a:solidFill>
                  <a:schemeClr val="tx1"/>
                </a:solidFill>
              </a:rPr>
              <a:t> </a:t>
            </a:r>
            <a:r>
              <a:rPr lang="lv-LV" sz="1400" dirty="0" err="1">
                <a:solidFill>
                  <a:schemeClr val="tx1"/>
                </a:solidFill>
              </a:rPr>
              <a:t>dressing</a:t>
            </a:r>
            <a:r>
              <a:rPr lang="lv-LV" sz="1400" dirty="0">
                <a:solidFill>
                  <a:schemeClr val="tx1"/>
                </a:solidFill>
              </a:rPr>
              <a:t>.</a:t>
            </a:r>
            <a:endParaRPr lang="en-gb" sz="1400" dirty="0">
              <a:solidFill>
                <a:schemeClr val="tx1"/>
              </a:solidFill>
            </a:endParaRPr>
          </a:p>
        </p:txBody>
      </p:sp>
      <p:sp>
        <p:nvSpPr>
          <p:cNvPr id="40" name="TextBox 39">
            <a:extLst>
              <a:ext uri="{FF2B5EF4-FFF2-40B4-BE49-F238E27FC236}">
                <a16:creationId xmlns:a16="http://schemas.microsoft.com/office/drawing/2014/main" id="{EB86B500-D698-3756-B7C3-C05978613A25}"/>
              </a:ext>
            </a:extLst>
          </p:cNvPr>
          <p:cNvSpPr txBox="1"/>
          <p:nvPr/>
        </p:nvSpPr>
        <p:spPr>
          <a:xfrm>
            <a:off x="1297953" y="5281855"/>
            <a:ext cx="5879131" cy="432000"/>
          </a:xfrm>
          <a:prstGeom prst="rect">
            <a:avLst/>
          </a:prstGeom>
          <a:noFill/>
        </p:spPr>
        <p:txBody>
          <a:bodyPr wrap="square" rtlCol="0" anchor="ctr">
            <a:noAutofit/>
          </a:bodyPr>
          <a:lstStyle/>
          <a:p>
            <a:pPr rtl="0">
              <a:spcAft>
                <a:spcPts val="0"/>
              </a:spcAft>
            </a:pPr>
            <a:r>
              <a:rPr lang="en-gb" sz="1400">
                <a:solidFill>
                  <a:schemeClr val="tx1"/>
                </a:solidFill>
              </a:rPr>
              <a:t>Care for, reassure the victim.</a:t>
            </a:r>
          </a:p>
        </p:txBody>
      </p:sp>
      <p:sp>
        <p:nvSpPr>
          <p:cNvPr id="41" name="TextBox 40">
            <a:extLst>
              <a:ext uri="{FF2B5EF4-FFF2-40B4-BE49-F238E27FC236}">
                <a16:creationId xmlns:a16="http://schemas.microsoft.com/office/drawing/2014/main" id="{43FCA442-D4C2-FD75-2AE1-CE8B3AF7F9DF}"/>
              </a:ext>
            </a:extLst>
          </p:cNvPr>
          <p:cNvSpPr txBox="1"/>
          <p:nvPr/>
        </p:nvSpPr>
        <p:spPr>
          <a:xfrm>
            <a:off x="1297953" y="5740201"/>
            <a:ext cx="5879131" cy="432000"/>
          </a:xfrm>
          <a:prstGeom prst="rect">
            <a:avLst/>
          </a:prstGeom>
          <a:noFill/>
        </p:spPr>
        <p:txBody>
          <a:bodyPr wrap="square" rtlCol="0" anchor="ctr">
            <a:noAutofit/>
          </a:bodyPr>
          <a:lstStyle/>
          <a:p>
            <a:pPr rtl="0">
              <a:spcAft>
                <a:spcPts val="0"/>
              </a:spcAft>
            </a:pPr>
            <a:r>
              <a:rPr lang="en-gb" sz="1400">
                <a:solidFill>
                  <a:schemeClr val="tx1"/>
                </a:solidFill>
              </a:rPr>
              <a:t>Take resuscitation measures if necessary.</a:t>
            </a:r>
          </a:p>
        </p:txBody>
      </p:sp>
      <p:sp>
        <p:nvSpPr>
          <p:cNvPr id="42" name="TextBox 41">
            <a:extLst>
              <a:ext uri="{FF2B5EF4-FFF2-40B4-BE49-F238E27FC236}">
                <a16:creationId xmlns:a16="http://schemas.microsoft.com/office/drawing/2014/main" id="{54557E55-3507-1776-B43F-2BF914364CDC}"/>
              </a:ext>
            </a:extLst>
          </p:cNvPr>
          <p:cNvSpPr txBox="1"/>
          <p:nvPr/>
        </p:nvSpPr>
        <p:spPr>
          <a:xfrm>
            <a:off x="1297953" y="3448479"/>
            <a:ext cx="5879131" cy="432000"/>
          </a:xfrm>
          <a:prstGeom prst="rect">
            <a:avLst/>
          </a:prstGeom>
          <a:noFill/>
        </p:spPr>
        <p:txBody>
          <a:bodyPr wrap="square" rtlCol="0" anchor="ctr">
            <a:noAutofit/>
          </a:bodyPr>
          <a:lstStyle/>
          <a:p>
            <a:pPr rtl="0">
              <a:spcAft>
                <a:spcPts val="0"/>
              </a:spcAft>
            </a:pPr>
            <a:r>
              <a:rPr lang="en-gb" sz="1400">
                <a:solidFill>
                  <a:schemeClr val="tx1"/>
                </a:solidFill>
              </a:rPr>
              <a:t>Close the wound.</a:t>
            </a:r>
          </a:p>
        </p:txBody>
      </p:sp>
      <p:sp>
        <p:nvSpPr>
          <p:cNvPr id="43" name="TextBox 42">
            <a:extLst>
              <a:ext uri="{FF2B5EF4-FFF2-40B4-BE49-F238E27FC236}">
                <a16:creationId xmlns:a16="http://schemas.microsoft.com/office/drawing/2014/main" id="{88DB8DA6-ED94-CDC8-8ACB-3050ABC429D6}"/>
              </a:ext>
            </a:extLst>
          </p:cNvPr>
          <p:cNvSpPr txBox="1"/>
          <p:nvPr/>
        </p:nvSpPr>
        <p:spPr>
          <a:xfrm>
            <a:off x="1297953" y="4823511"/>
            <a:ext cx="5879131" cy="432000"/>
          </a:xfrm>
          <a:prstGeom prst="rect">
            <a:avLst/>
          </a:prstGeom>
          <a:noFill/>
        </p:spPr>
        <p:txBody>
          <a:bodyPr wrap="square" rtlCol="0" anchor="ctr">
            <a:noAutofit/>
          </a:bodyPr>
          <a:lstStyle/>
          <a:p>
            <a:pPr rtl="0">
              <a:spcAft>
                <a:spcPts val="0"/>
              </a:spcAft>
            </a:pPr>
            <a:r>
              <a:rPr lang="en-gb" sz="1400">
                <a:solidFill>
                  <a:schemeClr val="tx1"/>
                </a:solidFill>
              </a:rPr>
              <a:t>Call an ambulance.</a:t>
            </a:r>
          </a:p>
        </p:txBody>
      </p:sp>
      <p:cxnSp>
        <p:nvCxnSpPr>
          <p:cNvPr id="44" name="Straight Connector 43">
            <a:extLst>
              <a:ext uri="{FF2B5EF4-FFF2-40B4-BE49-F238E27FC236}">
                <a16:creationId xmlns:a16="http://schemas.microsoft.com/office/drawing/2014/main" id="{86AA3544-8078-8C8C-0759-E3DC6A24E6ED}"/>
              </a:ext>
            </a:extLst>
          </p:cNvPr>
          <p:cNvCxnSpPr>
            <a:cxnSpLocks/>
          </p:cNvCxnSpPr>
          <p:nvPr/>
        </p:nvCxnSpPr>
        <p:spPr>
          <a:xfrm>
            <a:off x="1297953" y="2975772"/>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5" name="Straight Connector 44">
            <a:extLst>
              <a:ext uri="{FF2B5EF4-FFF2-40B4-BE49-F238E27FC236}">
                <a16:creationId xmlns:a16="http://schemas.microsoft.com/office/drawing/2014/main" id="{9B4AE2A4-0953-2815-D272-B652E04D7D9A}"/>
              </a:ext>
            </a:extLst>
          </p:cNvPr>
          <p:cNvCxnSpPr>
            <a:cxnSpLocks/>
          </p:cNvCxnSpPr>
          <p:nvPr/>
        </p:nvCxnSpPr>
        <p:spPr>
          <a:xfrm>
            <a:off x="1297953" y="3434116"/>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6" name="Straight Connector 45">
            <a:extLst>
              <a:ext uri="{FF2B5EF4-FFF2-40B4-BE49-F238E27FC236}">
                <a16:creationId xmlns:a16="http://schemas.microsoft.com/office/drawing/2014/main" id="{F2BF2269-DD68-E61E-C57D-3092670F8B8E}"/>
              </a:ext>
            </a:extLst>
          </p:cNvPr>
          <p:cNvCxnSpPr>
            <a:cxnSpLocks/>
          </p:cNvCxnSpPr>
          <p:nvPr/>
        </p:nvCxnSpPr>
        <p:spPr>
          <a:xfrm>
            <a:off x="1297953" y="3892460"/>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7" name="Straight Connector 46">
            <a:extLst>
              <a:ext uri="{FF2B5EF4-FFF2-40B4-BE49-F238E27FC236}">
                <a16:creationId xmlns:a16="http://schemas.microsoft.com/office/drawing/2014/main" id="{302B2A6A-9855-2A91-3ECB-C9CDFD2F5290}"/>
              </a:ext>
            </a:extLst>
          </p:cNvPr>
          <p:cNvCxnSpPr>
            <a:cxnSpLocks/>
          </p:cNvCxnSpPr>
          <p:nvPr/>
        </p:nvCxnSpPr>
        <p:spPr>
          <a:xfrm>
            <a:off x="1297953" y="4350804"/>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8" name="Straight Connector 47">
            <a:extLst>
              <a:ext uri="{FF2B5EF4-FFF2-40B4-BE49-F238E27FC236}">
                <a16:creationId xmlns:a16="http://schemas.microsoft.com/office/drawing/2014/main" id="{960CEA53-11AD-7AFC-8199-EEAD6FADEB5A}"/>
              </a:ext>
            </a:extLst>
          </p:cNvPr>
          <p:cNvCxnSpPr>
            <a:cxnSpLocks/>
          </p:cNvCxnSpPr>
          <p:nvPr/>
        </p:nvCxnSpPr>
        <p:spPr>
          <a:xfrm>
            <a:off x="1297953" y="4809148"/>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9" name="Straight Connector 48">
            <a:extLst>
              <a:ext uri="{FF2B5EF4-FFF2-40B4-BE49-F238E27FC236}">
                <a16:creationId xmlns:a16="http://schemas.microsoft.com/office/drawing/2014/main" id="{45CD009F-0997-2BAB-6111-300DC415D36F}"/>
              </a:ext>
            </a:extLst>
          </p:cNvPr>
          <p:cNvCxnSpPr>
            <a:cxnSpLocks/>
          </p:cNvCxnSpPr>
          <p:nvPr/>
        </p:nvCxnSpPr>
        <p:spPr>
          <a:xfrm>
            <a:off x="1297953" y="5267492"/>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0" name="Straight Connector 49">
            <a:extLst>
              <a:ext uri="{FF2B5EF4-FFF2-40B4-BE49-F238E27FC236}">
                <a16:creationId xmlns:a16="http://schemas.microsoft.com/office/drawing/2014/main" id="{B4A0F0CD-ADBC-2253-5BCA-ACB10D9B55DE}"/>
              </a:ext>
            </a:extLst>
          </p:cNvPr>
          <p:cNvCxnSpPr>
            <a:cxnSpLocks/>
          </p:cNvCxnSpPr>
          <p:nvPr/>
        </p:nvCxnSpPr>
        <p:spPr>
          <a:xfrm>
            <a:off x="1297953" y="5725836"/>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69" name="Rectangle 68">
            <a:extLst>
              <a:ext uri="{FF2B5EF4-FFF2-40B4-BE49-F238E27FC236}">
                <a16:creationId xmlns:a16="http://schemas.microsoft.com/office/drawing/2014/main" id="{1754B4E2-BA66-E8F8-14EA-81E58AEBD33C}"/>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tx1"/>
                </a:solidFill>
              </a:rPr>
              <a:t>How to proceed?</a:t>
            </a:r>
          </a:p>
        </p:txBody>
      </p:sp>
      <p:sp>
        <p:nvSpPr>
          <p:cNvPr id="70" name="Rectangle 69">
            <a:extLst>
              <a:ext uri="{FF2B5EF4-FFF2-40B4-BE49-F238E27FC236}">
                <a16:creationId xmlns:a16="http://schemas.microsoft.com/office/drawing/2014/main" id="{705A2BE6-2534-568C-D8AC-28B020789766}"/>
              </a:ext>
            </a:extLst>
          </p:cNvPr>
          <p:cNvSpPr/>
          <p:nvPr/>
        </p:nvSpPr>
        <p:spPr>
          <a:xfrm>
            <a:off x="7619998" y="1822554"/>
            <a:ext cx="4129089"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bg1"/>
                </a:solidFill>
              </a:rPr>
              <a:t>Important!</a:t>
            </a:r>
          </a:p>
        </p:txBody>
      </p:sp>
      <p:sp>
        <p:nvSpPr>
          <p:cNvPr id="71" name="Content Placeholder 1">
            <a:extLst>
              <a:ext uri="{FF2B5EF4-FFF2-40B4-BE49-F238E27FC236}">
                <a16:creationId xmlns:a16="http://schemas.microsoft.com/office/drawing/2014/main" id="{130264A3-BC88-CC76-BE2A-96B8C1ED6604}"/>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72" name="Content Placeholder 1">
            <a:extLst>
              <a:ext uri="{FF2B5EF4-FFF2-40B4-BE49-F238E27FC236}">
                <a16:creationId xmlns:a16="http://schemas.microsoft.com/office/drawing/2014/main" id="{53E7A0B9-B7CF-ECFC-3C26-635AD3B8B524}"/>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73" name="Content Placeholder 1">
            <a:extLst>
              <a:ext uri="{FF2B5EF4-FFF2-40B4-BE49-F238E27FC236}">
                <a16:creationId xmlns:a16="http://schemas.microsoft.com/office/drawing/2014/main" id="{2B26BD32-8601-1467-322C-FF6778E2322E}"/>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74" name="Content Placeholder 1">
            <a:extLst>
              <a:ext uri="{FF2B5EF4-FFF2-40B4-BE49-F238E27FC236}">
                <a16:creationId xmlns:a16="http://schemas.microsoft.com/office/drawing/2014/main" id="{4EA69B3B-AA2B-1109-4D13-69B005A0B356}"/>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75" name="Google Shape;760;p79">
            <a:extLst>
              <a:ext uri="{FF2B5EF4-FFF2-40B4-BE49-F238E27FC236}">
                <a16:creationId xmlns:a16="http://schemas.microsoft.com/office/drawing/2014/main" id="{0730373B-D43A-F431-867E-F1DE33819D4F}"/>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76" name="Google Shape;794;p79">
            <a:extLst>
              <a:ext uri="{FF2B5EF4-FFF2-40B4-BE49-F238E27FC236}">
                <a16:creationId xmlns:a16="http://schemas.microsoft.com/office/drawing/2014/main" id="{DEC8C03A-2424-6BA6-DEF7-DA6DB86A3149}"/>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78" name="Content Placeholder 1">
            <a:extLst>
              <a:ext uri="{FF2B5EF4-FFF2-40B4-BE49-F238E27FC236}">
                <a16:creationId xmlns:a16="http://schemas.microsoft.com/office/drawing/2014/main" id="{9B5A74B6-FB10-2BA0-78A1-B456635624A2}"/>
              </a:ext>
            </a:extLst>
          </p:cNvPr>
          <p:cNvSpPr txBox="1">
            <a:spLocks/>
          </p:cNvSpPr>
          <p:nvPr/>
        </p:nvSpPr>
        <p:spPr>
          <a:xfrm>
            <a:off x="441325" y="2990135"/>
            <a:ext cx="630238" cy="43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2</a:t>
            </a:r>
          </a:p>
        </p:txBody>
      </p:sp>
      <p:sp>
        <p:nvSpPr>
          <p:cNvPr id="79" name="Content Placeholder 1">
            <a:extLst>
              <a:ext uri="{FF2B5EF4-FFF2-40B4-BE49-F238E27FC236}">
                <a16:creationId xmlns:a16="http://schemas.microsoft.com/office/drawing/2014/main" id="{D961E21E-3D2D-C986-38CE-61F71FBCFF50}"/>
              </a:ext>
            </a:extLst>
          </p:cNvPr>
          <p:cNvSpPr txBox="1">
            <a:spLocks/>
          </p:cNvSpPr>
          <p:nvPr/>
        </p:nvSpPr>
        <p:spPr>
          <a:xfrm>
            <a:off x="441325" y="3448479"/>
            <a:ext cx="630238" cy="43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3</a:t>
            </a:r>
          </a:p>
        </p:txBody>
      </p:sp>
      <p:sp>
        <p:nvSpPr>
          <p:cNvPr id="80" name="Content Placeholder 1">
            <a:extLst>
              <a:ext uri="{FF2B5EF4-FFF2-40B4-BE49-F238E27FC236}">
                <a16:creationId xmlns:a16="http://schemas.microsoft.com/office/drawing/2014/main" id="{F866AF98-F376-21F3-55F6-697FFC7B0E11}"/>
              </a:ext>
            </a:extLst>
          </p:cNvPr>
          <p:cNvSpPr txBox="1">
            <a:spLocks/>
          </p:cNvSpPr>
          <p:nvPr/>
        </p:nvSpPr>
        <p:spPr>
          <a:xfrm>
            <a:off x="441325" y="3906823"/>
            <a:ext cx="630238" cy="43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4</a:t>
            </a:r>
          </a:p>
        </p:txBody>
      </p:sp>
      <p:sp>
        <p:nvSpPr>
          <p:cNvPr id="81" name="Content Placeholder 1">
            <a:extLst>
              <a:ext uri="{FF2B5EF4-FFF2-40B4-BE49-F238E27FC236}">
                <a16:creationId xmlns:a16="http://schemas.microsoft.com/office/drawing/2014/main" id="{F09E0947-1C95-ED66-E901-09529C80D293}"/>
              </a:ext>
            </a:extLst>
          </p:cNvPr>
          <p:cNvSpPr txBox="1">
            <a:spLocks/>
          </p:cNvSpPr>
          <p:nvPr/>
        </p:nvSpPr>
        <p:spPr>
          <a:xfrm>
            <a:off x="441325" y="4365167"/>
            <a:ext cx="630238" cy="43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5</a:t>
            </a:r>
          </a:p>
        </p:txBody>
      </p:sp>
      <p:sp>
        <p:nvSpPr>
          <p:cNvPr id="82" name="Content Placeholder 1">
            <a:extLst>
              <a:ext uri="{FF2B5EF4-FFF2-40B4-BE49-F238E27FC236}">
                <a16:creationId xmlns:a16="http://schemas.microsoft.com/office/drawing/2014/main" id="{75FEAD71-CE5A-45D5-40E3-0E43BE9CCEBC}"/>
              </a:ext>
            </a:extLst>
          </p:cNvPr>
          <p:cNvSpPr txBox="1">
            <a:spLocks/>
          </p:cNvSpPr>
          <p:nvPr/>
        </p:nvSpPr>
        <p:spPr>
          <a:xfrm>
            <a:off x="441325" y="4823511"/>
            <a:ext cx="630238" cy="43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6</a:t>
            </a:r>
          </a:p>
        </p:txBody>
      </p:sp>
      <p:sp>
        <p:nvSpPr>
          <p:cNvPr id="83" name="Content Placeholder 1">
            <a:extLst>
              <a:ext uri="{FF2B5EF4-FFF2-40B4-BE49-F238E27FC236}">
                <a16:creationId xmlns:a16="http://schemas.microsoft.com/office/drawing/2014/main" id="{E20B9513-8BD3-2724-D843-7E666E9EA3D3}"/>
              </a:ext>
            </a:extLst>
          </p:cNvPr>
          <p:cNvSpPr txBox="1">
            <a:spLocks/>
          </p:cNvSpPr>
          <p:nvPr/>
        </p:nvSpPr>
        <p:spPr>
          <a:xfrm>
            <a:off x="441325" y="5281855"/>
            <a:ext cx="630238" cy="43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7</a:t>
            </a:r>
          </a:p>
        </p:txBody>
      </p:sp>
      <p:sp>
        <p:nvSpPr>
          <p:cNvPr id="84" name="Content Placeholder 1">
            <a:extLst>
              <a:ext uri="{FF2B5EF4-FFF2-40B4-BE49-F238E27FC236}">
                <a16:creationId xmlns:a16="http://schemas.microsoft.com/office/drawing/2014/main" id="{A3817198-39BA-8D82-E588-415D74AE79E6}"/>
              </a:ext>
            </a:extLst>
          </p:cNvPr>
          <p:cNvSpPr txBox="1">
            <a:spLocks/>
          </p:cNvSpPr>
          <p:nvPr/>
        </p:nvSpPr>
        <p:spPr>
          <a:xfrm>
            <a:off x="441325" y="5740201"/>
            <a:ext cx="630238" cy="43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8</a:t>
            </a:r>
          </a:p>
        </p:txBody>
      </p:sp>
      <p:sp>
        <p:nvSpPr>
          <p:cNvPr id="85" name="Content Placeholder 1">
            <a:extLst>
              <a:ext uri="{FF2B5EF4-FFF2-40B4-BE49-F238E27FC236}">
                <a16:creationId xmlns:a16="http://schemas.microsoft.com/office/drawing/2014/main" id="{709C1DD6-305F-6483-87C6-7A81A75D609F}"/>
              </a:ext>
            </a:extLst>
          </p:cNvPr>
          <p:cNvSpPr txBox="1">
            <a:spLocks/>
          </p:cNvSpPr>
          <p:nvPr/>
        </p:nvSpPr>
        <p:spPr>
          <a:xfrm>
            <a:off x="441325" y="2531791"/>
            <a:ext cx="630238" cy="43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1</a:t>
            </a:r>
          </a:p>
        </p:txBody>
      </p:sp>
      <p:cxnSp>
        <p:nvCxnSpPr>
          <p:cNvPr id="86" name="Straight Connector 85">
            <a:extLst>
              <a:ext uri="{FF2B5EF4-FFF2-40B4-BE49-F238E27FC236}">
                <a16:creationId xmlns:a16="http://schemas.microsoft.com/office/drawing/2014/main" id="{C5E041A6-46B5-468F-88CB-37765961A408}"/>
              </a:ext>
            </a:extLst>
          </p:cNvPr>
          <p:cNvCxnSpPr>
            <a:cxnSpLocks/>
            <a:stCxn id="87" idx="4"/>
            <a:endCxn id="93" idx="3"/>
          </p:cNvCxnSpPr>
          <p:nvPr/>
        </p:nvCxnSpPr>
        <p:spPr>
          <a:xfrm>
            <a:off x="864002" y="2820181"/>
            <a:ext cx="0" cy="3176759"/>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87" name="Oval 86">
            <a:extLst>
              <a:ext uri="{FF2B5EF4-FFF2-40B4-BE49-F238E27FC236}">
                <a16:creationId xmlns:a16="http://schemas.microsoft.com/office/drawing/2014/main" id="{7F12CF72-4E98-AC6C-0CAA-069A7BEB7929}"/>
              </a:ext>
            </a:extLst>
          </p:cNvPr>
          <p:cNvSpPr/>
          <p:nvPr/>
        </p:nvSpPr>
        <p:spPr>
          <a:xfrm>
            <a:off x="791612" y="2675401"/>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88" name="Isosceles Triangle 87">
            <a:extLst>
              <a:ext uri="{FF2B5EF4-FFF2-40B4-BE49-F238E27FC236}">
                <a16:creationId xmlns:a16="http://schemas.microsoft.com/office/drawing/2014/main" id="{8FDB5D70-C0CC-9736-705B-EC3C4510FADC}"/>
              </a:ext>
            </a:extLst>
          </p:cNvPr>
          <p:cNvSpPr/>
          <p:nvPr/>
        </p:nvSpPr>
        <p:spPr>
          <a:xfrm flipV="1">
            <a:off x="690171" y="3879781"/>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89" name="Isosceles Triangle 88">
            <a:extLst>
              <a:ext uri="{FF2B5EF4-FFF2-40B4-BE49-F238E27FC236}">
                <a16:creationId xmlns:a16="http://schemas.microsoft.com/office/drawing/2014/main" id="{61F01A40-A906-09F5-FA41-6FD189393CF8}"/>
              </a:ext>
            </a:extLst>
          </p:cNvPr>
          <p:cNvSpPr/>
          <p:nvPr/>
        </p:nvSpPr>
        <p:spPr>
          <a:xfrm flipV="1">
            <a:off x="690171" y="4338027"/>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90" name="Isosceles Triangle 89">
            <a:extLst>
              <a:ext uri="{FF2B5EF4-FFF2-40B4-BE49-F238E27FC236}">
                <a16:creationId xmlns:a16="http://schemas.microsoft.com/office/drawing/2014/main" id="{12611061-5823-F5D8-7807-AC0EE800FBC6}"/>
              </a:ext>
            </a:extLst>
          </p:cNvPr>
          <p:cNvSpPr/>
          <p:nvPr/>
        </p:nvSpPr>
        <p:spPr>
          <a:xfrm flipV="1">
            <a:off x="690171" y="4796273"/>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91" name="Isosceles Triangle 90">
            <a:extLst>
              <a:ext uri="{FF2B5EF4-FFF2-40B4-BE49-F238E27FC236}">
                <a16:creationId xmlns:a16="http://schemas.microsoft.com/office/drawing/2014/main" id="{CAE6B261-9C4F-844D-9AE8-75AB438102F3}"/>
              </a:ext>
            </a:extLst>
          </p:cNvPr>
          <p:cNvSpPr/>
          <p:nvPr/>
        </p:nvSpPr>
        <p:spPr>
          <a:xfrm flipV="1">
            <a:off x="690171" y="5254519"/>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92" name="Isosceles Triangle 91">
            <a:extLst>
              <a:ext uri="{FF2B5EF4-FFF2-40B4-BE49-F238E27FC236}">
                <a16:creationId xmlns:a16="http://schemas.microsoft.com/office/drawing/2014/main" id="{BBF2487C-09CA-FF67-1720-4578499D72BD}"/>
              </a:ext>
            </a:extLst>
          </p:cNvPr>
          <p:cNvSpPr/>
          <p:nvPr/>
        </p:nvSpPr>
        <p:spPr>
          <a:xfrm flipV="1">
            <a:off x="690171" y="5712763"/>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93" name="Isosceles Triangle 92">
            <a:extLst>
              <a:ext uri="{FF2B5EF4-FFF2-40B4-BE49-F238E27FC236}">
                <a16:creationId xmlns:a16="http://schemas.microsoft.com/office/drawing/2014/main" id="{987C77FD-321B-D7F5-67E2-D69EE602053F}"/>
              </a:ext>
            </a:extLst>
          </p:cNvPr>
          <p:cNvSpPr/>
          <p:nvPr/>
        </p:nvSpPr>
        <p:spPr>
          <a:xfrm flipV="1">
            <a:off x="809233" y="5996940"/>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94" name="Isosceles Triangle 93">
            <a:extLst>
              <a:ext uri="{FF2B5EF4-FFF2-40B4-BE49-F238E27FC236}">
                <a16:creationId xmlns:a16="http://schemas.microsoft.com/office/drawing/2014/main" id="{17C398B3-B4FB-856A-94D9-AD3CA433FF1B}"/>
              </a:ext>
            </a:extLst>
          </p:cNvPr>
          <p:cNvSpPr/>
          <p:nvPr/>
        </p:nvSpPr>
        <p:spPr>
          <a:xfrm flipV="1">
            <a:off x="690171" y="2963289"/>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95" name="Isosceles Triangle 94">
            <a:extLst>
              <a:ext uri="{FF2B5EF4-FFF2-40B4-BE49-F238E27FC236}">
                <a16:creationId xmlns:a16="http://schemas.microsoft.com/office/drawing/2014/main" id="{5506ED65-A6BC-3C99-F157-BBD58E1F1F32}"/>
              </a:ext>
            </a:extLst>
          </p:cNvPr>
          <p:cNvSpPr/>
          <p:nvPr/>
        </p:nvSpPr>
        <p:spPr>
          <a:xfrm flipV="1">
            <a:off x="690171" y="3421535"/>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2" name="Rectangle 1">
            <a:extLst>
              <a:ext uri="{FF2B5EF4-FFF2-40B4-BE49-F238E27FC236}">
                <a16:creationId xmlns:a16="http://schemas.microsoft.com/office/drawing/2014/main" id="{9E458C61-554D-06B9-D7BB-AE586E6578F7}"/>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15" name="Group 14">
            <a:extLst>
              <a:ext uri="{FF2B5EF4-FFF2-40B4-BE49-F238E27FC236}">
                <a16:creationId xmlns:a16="http://schemas.microsoft.com/office/drawing/2014/main" id="{F17F705C-87C9-5D82-0071-8EA1798F0D4B}"/>
              </a:ext>
            </a:extLst>
          </p:cNvPr>
          <p:cNvGrpSpPr/>
          <p:nvPr/>
        </p:nvGrpSpPr>
        <p:grpSpPr>
          <a:xfrm>
            <a:off x="9842140" y="372216"/>
            <a:ext cx="1667215" cy="217488"/>
            <a:chOff x="9842140" y="372216"/>
            <a:chExt cx="1667215" cy="217488"/>
          </a:xfrm>
        </p:grpSpPr>
        <p:sp>
          <p:nvSpPr>
            <p:cNvPr id="16" name="TextBox 15">
              <a:extLst>
                <a:ext uri="{FF2B5EF4-FFF2-40B4-BE49-F238E27FC236}">
                  <a16:creationId xmlns:a16="http://schemas.microsoft.com/office/drawing/2014/main" id="{BB39067C-BB74-431F-475F-367961520F72}"/>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rtl="0">
                <a:lnSpc>
                  <a:spcPct val="100000"/>
                </a:lnSpc>
                <a:spcAft>
                  <a:spcPts val="600"/>
                </a:spcAft>
                <a:buSzPct val="100000"/>
              </a:pPr>
              <a:r>
                <a:rPr lang="en-gb" sz="800">
                  <a:solidFill>
                    <a:schemeClr val="bg1"/>
                  </a:solidFill>
                </a:rPr>
                <a:t>Severe bleeding</a:t>
              </a:r>
            </a:p>
          </p:txBody>
        </p:sp>
        <p:sp>
          <p:nvSpPr>
            <p:cNvPr id="17" name="Freeform 49">
              <a:extLst>
                <a:ext uri="{FF2B5EF4-FFF2-40B4-BE49-F238E27FC236}">
                  <a16:creationId xmlns:a16="http://schemas.microsoft.com/office/drawing/2014/main" id="{9DDB00D3-0ABF-F805-8F9D-63E91DF08229}"/>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p>
          </p:txBody>
        </p:sp>
      </p:grpSp>
      <p:grpSp>
        <p:nvGrpSpPr>
          <p:cNvPr id="14" name="Group 13">
            <a:extLst>
              <a:ext uri="{FF2B5EF4-FFF2-40B4-BE49-F238E27FC236}">
                <a16:creationId xmlns:a16="http://schemas.microsoft.com/office/drawing/2014/main" id="{0E7F843F-4114-269C-A3C1-FD85DD3E86FD}"/>
              </a:ext>
            </a:extLst>
          </p:cNvPr>
          <p:cNvGrpSpPr/>
          <p:nvPr/>
        </p:nvGrpSpPr>
        <p:grpSpPr>
          <a:xfrm>
            <a:off x="9122935" y="126781"/>
            <a:ext cx="2626153" cy="217488"/>
            <a:chOff x="9122935" y="126781"/>
            <a:chExt cx="2626153" cy="217488"/>
          </a:xfrm>
        </p:grpSpPr>
        <p:sp>
          <p:nvSpPr>
            <p:cNvPr id="18" name="Rectangle 17">
              <a:extLst>
                <a:ext uri="{FF2B5EF4-FFF2-40B4-BE49-F238E27FC236}">
                  <a16:creationId xmlns:a16="http://schemas.microsoft.com/office/drawing/2014/main" id="{BF8E15BF-BFE3-1DCD-1637-E8CF4E53E481}"/>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000000"/>
                  </a:solidFill>
                  <a:effectLst/>
                  <a:uLnTx/>
                  <a:uFillTx/>
                  <a:ea typeface="Georgia"/>
                  <a:cs typeface="Georgia"/>
                  <a:sym typeface="Georgia"/>
                </a:rPr>
                <a:t>First aid measures</a:t>
              </a:r>
            </a:p>
          </p:txBody>
        </p:sp>
        <p:sp>
          <p:nvSpPr>
            <p:cNvPr id="19" name="Rectangle 18">
              <a:extLst>
                <a:ext uri="{FF2B5EF4-FFF2-40B4-BE49-F238E27FC236}">
                  <a16:creationId xmlns:a16="http://schemas.microsoft.com/office/drawing/2014/main" id="{CE213D7D-03F3-528B-D63D-E4F8075AF76B}"/>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FFBF72AB-588D-E7EF-4A67-213B82EC5C5B}"/>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303B0FFD-6FC7-62A7-9781-72DDD56524D5}"/>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24" name="Rectangle 23">
              <a:extLst>
                <a:ext uri="{FF2B5EF4-FFF2-40B4-BE49-F238E27FC236}">
                  <a16:creationId xmlns:a16="http://schemas.microsoft.com/office/drawing/2014/main" id="{EE8B03B1-8B3F-2F02-3A31-462735761E16}"/>
                </a:ext>
              </a:extLst>
            </p:cNvPr>
            <p:cNvSpPr/>
            <p:nvPr/>
          </p:nvSpPr>
          <p:spPr>
            <a:xfrm>
              <a:off x="9842140"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7</a:t>
              </a:r>
              <a:r>
                <a:rPr lang="en-gb" sz="800" b="1" i="0" u="none" strike="noStrike" kern="0" cap="none" spc="0" normalizeH="0" noProof="0">
                  <a:ln>
                    <a:noFill/>
                  </a:ln>
                  <a:effectLst/>
                  <a:uLnTx/>
                  <a:uFillTx/>
                  <a:ea typeface="Georgia"/>
                  <a:cs typeface="Georgia"/>
                  <a:sym typeface="Georgia"/>
                </a:rPr>
                <a:t>.4</a:t>
              </a:r>
              <a:endParaRPr kumimoji="0" lang="lv-LV" sz="800" b="1" i="0" u="none" strike="noStrike" kern="0" cap="none" spc="0" normalizeH="0" baseline="0" noProof="0" dirty="0">
                <a:ln>
                  <a:noFill/>
                </a:ln>
                <a:effectLst/>
                <a:uLnTx/>
                <a:uFillTx/>
                <a:ea typeface="Georgia"/>
                <a:cs typeface="Georgia"/>
                <a:sym typeface="Georgia"/>
              </a:endParaRPr>
            </a:p>
          </p:txBody>
        </p:sp>
        <p:sp>
          <p:nvSpPr>
            <p:cNvPr id="25" name="Rectangle 24">
              <a:extLst>
                <a:ext uri="{FF2B5EF4-FFF2-40B4-BE49-F238E27FC236}">
                  <a16:creationId xmlns:a16="http://schemas.microsoft.com/office/drawing/2014/main" id="{BA6EEC3A-F03E-AB89-B824-7F3C579D957D}"/>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20405346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2A03EDD-F030-291B-BE81-BF9DE321CA50}"/>
              </a:ext>
            </a:extLst>
          </p:cNvPr>
          <p:cNvGraphicFramePr>
            <a:graphicFrameLocks noChangeAspect="1"/>
          </p:cNvGraphicFramePr>
          <p:nvPr>
            <p:custDataLst>
              <p:tags r:id="rId1"/>
            </p:custDataLst>
            <p:extLst>
              <p:ext uri="{D42A27DB-BD31-4B8C-83A1-F6EECF244321}">
                <p14:modId xmlns:p14="http://schemas.microsoft.com/office/powerpoint/2010/main" val="4111805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think-cell data - do not delete" hidden="1">
                        <a:extLst>
                          <a:ext uri="{FF2B5EF4-FFF2-40B4-BE49-F238E27FC236}">
                            <a16:creationId xmlns:a16="http://schemas.microsoft.com/office/drawing/2014/main" id="{32A03EDD-F030-291B-BE81-BF9DE321CA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 name="Content Placeholder 1">
            <a:extLst>
              <a:ext uri="{FF2B5EF4-FFF2-40B4-BE49-F238E27FC236}">
                <a16:creationId xmlns:a16="http://schemas.microsoft.com/office/drawing/2014/main" id="{715ED03C-D3A9-521E-7134-1FACE564F40F}"/>
              </a:ext>
            </a:extLst>
          </p:cNvPr>
          <p:cNvSpPr txBox="1">
            <a:spLocks/>
          </p:cNvSpPr>
          <p:nvPr/>
        </p:nvSpPr>
        <p:spPr>
          <a:xfrm>
            <a:off x="441325" y="5794201"/>
            <a:ext cx="630238" cy="37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9</a:t>
            </a:r>
          </a:p>
        </p:txBody>
      </p:sp>
      <p:pic>
        <p:nvPicPr>
          <p:cNvPr id="13" name="Picture 12">
            <a:extLst>
              <a:ext uri="{FF2B5EF4-FFF2-40B4-BE49-F238E27FC236}">
                <a16:creationId xmlns:a16="http://schemas.microsoft.com/office/drawing/2014/main" id="{74DDB8D3-0D3E-4998-DA26-3080B29564A0}"/>
              </a:ext>
            </a:extLst>
          </p:cNvPr>
          <p:cNvPicPr>
            <a:picLocks noChangeAspect="1"/>
          </p:cNvPicPr>
          <p:nvPr/>
        </p:nvPicPr>
        <p:blipFill>
          <a:blip r:embed="rId6"/>
          <a:stretch>
            <a:fillRect/>
          </a:stretch>
        </p:blipFill>
        <p:spPr>
          <a:xfrm>
            <a:off x="7620000" y="0"/>
            <a:ext cx="4572000" cy="6858000"/>
          </a:xfrm>
          <a:prstGeom prst="rect">
            <a:avLst/>
          </a:prstGeom>
        </p:spPr>
      </p:pic>
      <p:sp>
        <p:nvSpPr>
          <p:cNvPr id="14" name="Rectangle 13">
            <a:extLst>
              <a:ext uri="{FF2B5EF4-FFF2-40B4-BE49-F238E27FC236}">
                <a16:creationId xmlns:a16="http://schemas.microsoft.com/office/drawing/2014/main" id="{A8A8DD37-9B73-46FB-C75B-2CEFA6483C22}"/>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6" name="Rectangle 15">
            <a:extLst>
              <a:ext uri="{FF2B5EF4-FFF2-40B4-BE49-F238E27FC236}">
                <a16:creationId xmlns:a16="http://schemas.microsoft.com/office/drawing/2014/main" id="{25A25F16-3DF9-5BEF-8F70-42FAB50A6BCE}"/>
              </a:ext>
            </a:extLst>
          </p:cNvPr>
          <p:cNvSpPr/>
          <p:nvPr/>
        </p:nvSpPr>
        <p:spPr>
          <a:xfrm>
            <a:off x="7619998" y="2398554"/>
            <a:ext cx="4129089" cy="377364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rtl="0">
              <a:spcAft>
                <a:spcPts val="600"/>
              </a:spcAft>
              <a:buBlip>
                <a:blip r:embed="rId7"/>
              </a:buBlip>
            </a:pPr>
            <a:r>
              <a:rPr lang="en-gb" sz="1400" dirty="0">
                <a:solidFill>
                  <a:schemeClr val="tx1"/>
                </a:solidFill>
              </a:rPr>
              <a:t>If bleeding seems to be continuing, press the wound more firmly, if possible by placing another gauze pad or piece of cloth over the existing material.</a:t>
            </a:r>
          </a:p>
          <a:p>
            <a:pPr marL="285750" indent="-285750" rtl="0">
              <a:spcAft>
                <a:spcPts val="600"/>
              </a:spcAft>
              <a:buBlip>
                <a:blip r:embed="rId7"/>
              </a:buBlip>
            </a:pPr>
            <a:r>
              <a:rPr lang="en-gb" sz="1400" dirty="0">
                <a:solidFill>
                  <a:schemeClr val="tx1"/>
                </a:solidFill>
              </a:rPr>
              <a:t>Do not wash the amputated body part. </a:t>
            </a:r>
          </a:p>
          <a:p>
            <a:pPr marL="285750" indent="-285750" rtl="0">
              <a:spcAft>
                <a:spcPts val="600"/>
              </a:spcAft>
              <a:buBlip>
                <a:blip r:embed="rId7"/>
              </a:buBlip>
            </a:pPr>
            <a:r>
              <a:rPr lang="en-gb" sz="1400" dirty="0">
                <a:solidFill>
                  <a:schemeClr val="tx1"/>
                </a:solidFill>
              </a:rPr>
              <a:t>Do not allow the amputated body part to freeze or get warm.</a:t>
            </a:r>
          </a:p>
          <a:p>
            <a:pPr marL="285750" indent="-285750" rtl="0">
              <a:spcAft>
                <a:spcPts val="600"/>
              </a:spcAft>
              <a:buBlip>
                <a:blip r:embed="rId7"/>
              </a:buBlip>
            </a:pPr>
            <a:r>
              <a:rPr lang="en-gb" sz="1400" dirty="0">
                <a:solidFill>
                  <a:schemeClr val="tx1"/>
                </a:solidFill>
              </a:rPr>
              <a:t>What to do with the amputated body part?</a:t>
            </a:r>
          </a:p>
          <a:p>
            <a:pPr marL="612000" indent="-342900" rtl="0">
              <a:spcAft>
                <a:spcPts val="600"/>
              </a:spcAft>
              <a:buFont typeface="+mj-lt"/>
              <a:buAutoNum type="arabicPeriod"/>
            </a:pPr>
            <a:r>
              <a:rPr lang="en-gb" sz="1400" dirty="0">
                <a:solidFill>
                  <a:schemeClr val="tx1"/>
                </a:solidFill>
              </a:rPr>
              <a:t>Wrap it in clean material.</a:t>
            </a:r>
          </a:p>
          <a:p>
            <a:pPr marL="612000" indent="-342900" rtl="0">
              <a:spcAft>
                <a:spcPts val="600"/>
              </a:spcAft>
              <a:buFont typeface="+mj-lt"/>
              <a:buAutoNum type="arabicPeriod"/>
            </a:pPr>
            <a:r>
              <a:rPr lang="en-gb" sz="1400" dirty="0">
                <a:solidFill>
                  <a:schemeClr val="tx1"/>
                </a:solidFill>
              </a:rPr>
              <a:t>Put it in an undamaged plastic bag.</a:t>
            </a:r>
          </a:p>
          <a:p>
            <a:pPr marL="612000" indent="-342900" rtl="0">
              <a:spcAft>
                <a:spcPts val="600"/>
              </a:spcAft>
              <a:buFont typeface="+mj-lt"/>
              <a:buAutoNum type="arabicPeriod"/>
            </a:pPr>
            <a:r>
              <a:rPr lang="en-gb" sz="1400" dirty="0">
                <a:solidFill>
                  <a:schemeClr val="tx1"/>
                </a:solidFill>
              </a:rPr>
              <a:t>Keep it cool (e.g. in the warmest part of the fridge (optimum temperature +4</a:t>
            </a:r>
            <a:r>
              <a:rPr lang="en-gb" sz="1400" baseline="30000" dirty="0">
                <a:solidFill>
                  <a:schemeClr val="tx1"/>
                </a:solidFill>
              </a:rPr>
              <a:t>o</a:t>
            </a:r>
            <a:r>
              <a:rPr lang="en-gb" sz="1400" dirty="0">
                <a:solidFill>
                  <a:schemeClr val="tx1"/>
                </a:solidFill>
              </a:rPr>
              <a:t>C) or in a reservoir (bag, bucket, etc.) with a mixture of ice and water). </a:t>
            </a:r>
          </a:p>
          <a:p>
            <a:pPr marL="612000" indent="-342900" rtl="0">
              <a:spcAft>
                <a:spcPts val="600"/>
              </a:spcAft>
              <a:buFont typeface="Arial" panose="020B0604020202020204" pitchFamily="34" charset="0"/>
              <a:buChar char="•"/>
            </a:pPr>
            <a:endParaRPr lang="lv-LV" sz="1400" dirty="0">
              <a:solidFill>
                <a:schemeClr val="tx1"/>
              </a:solidFill>
            </a:endParaRPr>
          </a:p>
        </p:txBody>
      </p:sp>
      <p:sp>
        <p:nvSpPr>
          <p:cNvPr id="17" name="TextBox 16">
            <a:extLst>
              <a:ext uri="{FF2B5EF4-FFF2-40B4-BE49-F238E27FC236}">
                <a16:creationId xmlns:a16="http://schemas.microsoft.com/office/drawing/2014/main" id="{8A128ED3-6DA0-A56A-B5CE-670FD97F3136}"/>
              </a:ext>
            </a:extLst>
          </p:cNvPr>
          <p:cNvSpPr txBox="1"/>
          <p:nvPr/>
        </p:nvSpPr>
        <p:spPr>
          <a:xfrm>
            <a:off x="1297953" y="2531791"/>
            <a:ext cx="5879131" cy="377825"/>
          </a:xfrm>
          <a:prstGeom prst="rect">
            <a:avLst/>
          </a:prstGeom>
          <a:noFill/>
        </p:spPr>
        <p:txBody>
          <a:bodyPr wrap="square" rtlCol="0" anchor="ctr">
            <a:noAutofit/>
          </a:bodyPr>
          <a:lstStyle/>
          <a:p>
            <a:pPr rtl="0">
              <a:spcAft>
                <a:spcPts val="0"/>
              </a:spcAft>
            </a:pPr>
            <a:r>
              <a:rPr lang="en-gb" sz="1400">
                <a:solidFill>
                  <a:schemeClr val="tx1"/>
                </a:solidFill>
              </a:rPr>
              <a:t>Wear waterproof gloves.</a:t>
            </a:r>
          </a:p>
        </p:txBody>
      </p:sp>
      <p:sp>
        <p:nvSpPr>
          <p:cNvPr id="24" name="Content Placeholder 1">
            <a:extLst>
              <a:ext uri="{FF2B5EF4-FFF2-40B4-BE49-F238E27FC236}">
                <a16:creationId xmlns:a16="http://schemas.microsoft.com/office/drawing/2014/main" id="{7976A404-DCE0-7582-8C59-C64068CD6711}"/>
              </a:ext>
            </a:extLst>
          </p:cNvPr>
          <p:cNvSpPr txBox="1">
            <a:spLocks/>
          </p:cNvSpPr>
          <p:nvPr/>
        </p:nvSpPr>
        <p:spPr>
          <a:xfrm>
            <a:off x="441325" y="2941842"/>
            <a:ext cx="630238" cy="378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2</a:t>
            </a:r>
          </a:p>
        </p:txBody>
      </p:sp>
      <p:sp>
        <p:nvSpPr>
          <p:cNvPr id="25" name="Content Placeholder 1">
            <a:extLst>
              <a:ext uri="{FF2B5EF4-FFF2-40B4-BE49-F238E27FC236}">
                <a16:creationId xmlns:a16="http://schemas.microsoft.com/office/drawing/2014/main" id="{CAEF1BFA-4F5E-5ECC-B05E-7D8BEAB50690}"/>
              </a:ext>
            </a:extLst>
          </p:cNvPr>
          <p:cNvSpPr txBox="1">
            <a:spLocks/>
          </p:cNvSpPr>
          <p:nvPr/>
        </p:nvSpPr>
        <p:spPr>
          <a:xfrm>
            <a:off x="441325" y="3347393"/>
            <a:ext cx="630238" cy="37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3</a:t>
            </a:r>
          </a:p>
        </p:txBody>
      </p:sp>
      <p:sp>
        <p:nvSpPr>
          <p:cNvPr id="26" name="Content Placeholder 1">
            <a:extLst>
              <a:ext uri="{FF2B5EF4-FFF2-40B4-BE49-F238E27FC236}">
                <a16:creationId xmlns:a16="http://schemas.microsoft.com/office/drawing/2014/main" id="{B81EDABD-64F3-49A6-E323-8C6185048BF8}"/>
              </a:ext>
            </a:extLst>
          </p:cNvPr>
          <p:cNvSpPr txBox="1">
            <a:spLocks/>
          </p:cNvSpPr>
          <p:nvPr/>
        </p:nvSpPr>
        <p:spPr>
          <a:xfrm>
            <a:off x="441325" y="3755194"/>
            <a:ext cx="630238" cy="378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4</a:t>
            </a:r>
          </a:p>
        </p:txBody>
      </p:sp>
      <p:sp>
        <p:nvSpPr>
          <p:cNvPr id="27" name="Content Placeholder 1">
            <a:extLst>
              <a:ext uri="{FF2B5EF4-FFF2-40B4-BE49-F238E27FC236}">
                <a16:creationId xmlns:a16="http://schemas.microsoft.com/office/drawing/2014/main" id="{E1CF9F97-1AD2-680B-5387-753B47FD3F5E}"/>
              </a:ext>
            </a:extLst>
          </p:cNvPr>
          <p:cNvSpPr txBox="1">
            <a:spLocks/>
          </p:cNvSpPr>
          <p:nvPr/>
        </p:nvSpPr>
        <p:spPr>
          <a:xfrm>
            <a:off x="441325" y="4162995"/>
            <a:ext cx="630238" cy="37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5</a:t>
            </a:r>
          </a:p>
        </p:txBody>
      </p:sp>
      <p:sp>
        <p:nvSpPr>
          <p:cNvPr id="28" name="Content Placeholder 1">
            <a:extLst>
              <a:ext uri="{FF2B5EF4-FFF2-40B4-BE49-F238E27FC236}">
                <a16:creationId xmlns:a16="http://schemas.microsoft.com/office/drawing/2014/main" id="{05646684-037D-FB27-E857-FE90B3511B0B}"/>
              </a:ext>
            </a:extLst>
          </p:cNvPr>
          <p:cNvSpPr txBox="1">
            <a:spLocks/>
          </p:cNvSpPr>
          <p:nvPr/>
        </p:nvSpPr>
        <p:spPr>
          <a:xfrm>
            <a:off x="441325" y="4570796"/>
            <a:ext cx="630238" cy="378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6</a:t>
            </a:r>
          </a:p>
        </p:txBody>
      </p:sp>
      <p:sp>
        <p:nvSpPr>
          <p:cNvPr id="29" name="Content Placeholder 1">
            <a:extLst>
              <a:ext uri="{FF2B5EF4-FFF2-40B4-BE49-F238E27FC236}">
                <a16:creationId xmlns:a16="http://schemas.microsoft.com/office/drawing/2014/main" id="{42FA7EA8-D762-11AE-4131-888CA48F2894}"/>
              </a:ext>
            </a:extLst>
          </p:cNvPr>
          <p:cNvSpPr txBox="1">
            <a:spLocks/>
          </p:cNvSpPr>
          <p:nvPr/>
        </p:nvSpPr>
        <p:spPr>
          <a:xfrm>
            <a:off x="441325" y="4978597"/>
            <a:ext cx="630238" cy="37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7</a:t>
            </a:r>
          </a:p>
        </p:txBody>
      </p:sp>
      <p:sp>
        <p:nvSpPr>
          <p:cNvPr id="30" name="Content Placeholder 1">
            <a:extLst>
              <a:ext uri="{FF2B5EF4-FFF2-40B4-BE49-F238E27FC236}">
                <a16:creationId xmlns:a16="http://schemas.microsoft.com/office/drawing/2014/main" id="{EC7F10C8-AA0B-EE40-2DBC-EE94DB6D204B}"/>
              </a:ext>
            </a:extLst>
          </p:cNvPr>
          <p:cNvSpPr txBox="1">
            <a:spLocks/>
          </p:cNvSpPr>
          <p:nvPr/>
        </p:nvSpPr>
        <p:spPr>
          <a:xfrm>
            <a:off x="441325" y="5386398"/>
            <a:ext cx="630238" cy="378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8</a:t>
            </a:r>
          </a:p>
        </p:txBody>
      </p:sp>
      <p:sp>
        <p:nvSpPr>
          <p:cNvPr id="31" name="TextBox 30">
            <a:extLst>
              <a:ext uri="{FF2B5EF4-FFF2-40B4-BE49-F238E27FC236}">
                <a16:creationId xmlns:a16="http://schemas.microsoft.com/office/drawing/2014/main" id="{3ED63378-9AD4-6F7B-AA83-0757250B3655}"/>
              </a:ext>
            </a:extLst>
          </p:cNvPr>
          <p:cNvSpPr txBox="1"/>
          <p:nvPr/>
        </p:nvSpPr>
        <p:spPr>
          <a:xfrm>
            <a:off x="1297953" y="2939592"/>
            <a:ext cx="5879131" cy="377825"/>
          </a:xfrm>
          <a:prstGeom prst="rect">
            <a:avLst/>
          </a:prstGeom>
          <a:noFill/>
        </p:spPr>
        <p:txBody>
          <a:bodyPr wrap="square" rtlCol="0" anchor="ctr">
            <a:noAutofit/>
          </a:bodyPr>
          <a:lstStyle/>
          <a:p>
            <a:pPr rtl="0">
              <a:spcAft>
                <a:spcPts val="0"/>
              </a:spcAft>
            </a:pPr>
            <a:r>
              <a:rPr lang="en-gb" sz="1400" dirty="0">
                <a:solidFill>
                  <a:schemeClr val="tx1"/>
                </a:solidFill>
              </a:rPr>
              <a:t>Remove</a:t>
            </a:r>
            <a:r>
              <a:rPr lang="lv-LV" sz="1400" dirty="0">
                <a:solidFill>
                  <a:schemeClr val="tx1"/>
                </a:solidFill>
              </a:rPr>
              <a:t> </a:t>
            </a:r>
            <a:r>
              <a:rPr lang="lv-LV" sz="1400" dirty="0" err="1">
                <a:solidFill>
                  <a:schemeClr val="tx1"/>
                </a:solidFill>
              </a:rPr>
              <a:t>clothing</a:t>
            </a:r>
            <a:r>
              <a:rPr lang="lv-LV" sz="1400" dirty="0">
                <a:solidFill>
                  <a:schemeClr val="tx1"/>
                </a:solidFill>
              </a:rPr>
              <a:t> </a:t>
            </a:r>
            <a:r>
              <a:rPr lang="lv-LV" sz="1400" dirty="0" err="1">
                <a:solidFill>
                  <a:schemeClr val="tx1"/>
                </a:solidFill>
              </a:rPr>
              <a:t>from</a:t>
            </a:r>
            <a:r>
              <a:rPr lang="en-gb" sz="1400" dirty="0">
                <a:solidFill>
                  <a:schemeClr val="tx1"/>
                </a:solidFill>
              </a:rPr>
              <a:t> the bleeding area.</a:t>
            </a:r>
          </a:p>
        </p:txBody>
      </p:sp>
      <p:sp>
        <p:nvSpPr>
          <p:cNvPr id="32" name="TextBox 31">
            <a:extLst>
              <a:ext uri="{FF2B5EF4-FFF2-40B4-BE49-F238E27FC236}">
                <a16:creationId xmlns:a16="http://schemas.microsoft.com/office/drawing/2014/main" id="{368867CA-1A92-D7C5-1747-4DA72A1913A3}"/>
              </a:ext>
            </a:extLst>
          </p:cNvPr>
          <p:cNvSpPr txBox="1"/>
          <p:nvPr/>
        </p:nvSpPr>
        <p:spPr>
          <a:xfrm>
            <a:off x="1297953" y="3755194"/>
            <a:ext cx="5879131" cy="377825"/>
          </a:xfrm>
          <a:prstGeom prst="rect">
            <a:avLst/>
          </a:prstGeom>
          <a:noFill/>
        </p:spPr>
        <p:txBody>
          <a:bodyPr wrap="square" rtlCol="0" anchor="ctr">
            <a:noAutofit/>
          </a:bodyPr>
          <a:lstStyle/>
          <a:p>
            <a:pPr rtl="0">
              <a:spcAft>
                <a:spcPts val="0"/>
              </a:spcAft>
            </a:pPr>
            <a:r>
              <a:rPr lang="en-gb" sz="1400">
                <a:solidFill>
                  <a:schemeClr val="tx1"/>
                </a:solidFill>
              </a:rPr>
              <a:t>Lay the victim down with the bleeding area facing up.</a:t>
            </a:r>
          </a:p>
        </p:txBody>
      </p:sp>
      <p:sp>
        <p:nvSpPr>
          <p:cNvPr id="33" name="TextBox 32">
            <a:extLst>
              <a:ext uri="{FF2B5EF4-FFF2-40B4-BE49-F238E27FC236}">
                <a16:creationId xmlns:a16="http://schemas.microsoft.com/office/drawing/2014/main" id="{C4D43AE7-C8F7-08A9-8215-1FA9C3039CB2}"/>
              </a:ext>
            </a:extLst>
          </p:cNvPr>
          <p:cNvSpPr txBox="1"/>
          <p:nvPr/>
        </p:nvSpPr>
        <p:spPr>
          <a:xfrm>
            <a:off x="1297953" y="4162995"/>
            <a:ext cx="5879131" cy="377825"/>
          </a:xfrm>
          <a:prstGeom prst="rect">
            <a:avLst/>
          </a:prstGeom>
          <a:noFill/>
        </p:spPr>
        <p:txBody>
          <a:bodyPr wrap="square" rtlCol="0" anchor="ctr">
            <a:noAutofit/>
          </a:bodyPr>
          <a:lstStyle/>
          <a:p>
            <a:pPr rtl="0">
              <a:spcAft>
                <a:spcPts val="0"/>
              </a:spcAft>
            </a:pPr>
            <a:r>
              <a:rPr lang="en-gb" sz="1400">
                <a:solidFill>
                  <a:schemeClr val="tx1"/>
                </a:solidFill>
              </a:rPr>
              <a:t>Call an ambulance.</a:t>
            </a:r>
          </a:p>
        </p:txBody>
      </p:sp>
      <p:sp>
        <p:nvSpPr>
          <p:cNvPr id="34" name="TextBox 33">
            <a:extLst>
              <a:ext uri="{FF2B5EF4-FFF2-40B4-BE49-F238E27FC236}">
                <a16:creationId xmlns:a16="http://schemas.microsoft.com/office/drawing/2014/main" id="{A44E1DFA-63E7-6696-A512-35660567BC8E}"/>
              </a:ext>
            </a:extLst>
          </p:cNvPr>
          <p:cNvSpPr txBox="1"/>
          <p:nvPr/>
        </p:nvSpPr>
        <p:spPr>
          <a:xfrm>
            <a:off x="1297953" y="4978597"/>
            <a:ext cx="5879131" cy="377825"/>
          </a:xfrm>
          <a:prstGeom prst="rect">
            <a:avLst/>
          </a:prstGeom>
          <a:noFill/>
        </p:spPr>
        <p:txBody>
          <a:bodyPr wrap="square" rtlCol="0" anchor="ctr">
            <a:noAutofit/>
          </a:bodyPr>
          <a:lstStyle/>
          <a:p>
            <a:pPr rtl="0">
              <a:spcAft>
                <a:spcPts val="0"/>
              </a:spcAft>
            </a:pPr>
            <a:r>
              <a:rPr lang="en-gb" sz="1400">
                <a:solidFill>
                  <a:schemeClr val="tx1"/>
                </a:solidFill>
              </a:rPr>
              <a:t>If possible, apply a bandage to the amputation wound, wrapping it tightly.</a:t>
            </a:r>
          </a:p>
        </p:txBody>
      </p:sp>
      <p:sp>
        <p:nvSpPr>
          <p:cNvPr id="35" name="TextBox 34">
            <a:extLst>
              <a:ext uri="{FF2B5EF4-FFF2-40B4-BE49-F238E27FC236}">
                <a16:creationId xmlns:a16="http://schemas.microsoft.com/office/drawing/2014/main" id="{0E3889E8-6CBA-B9D9-B3CF-37BF7D2AD588}"/>
              </a:ext>
            </a:extLst>
          </p:cNvPr>
          <p:cNvSpPr txBox="1"/>
          <p:nvPr/>
        </p:nvSpPr>
        <p:spPr>
          <a:xfrm>
            <a:off x="1297953" y="5386398"/>
            <a:ext cx="5879131" cy="377825"/>
          </a:xfrm>
          <a:prstGeom prst="rect">
            <a:avLst/>
          </a:prstGeom>
          <a:noFill/>
        </p:spPr>
        <p:txBody>
          <a:bodyPr wrap="square" rtlCol="0" anchor="ctr">
            <a:noAutofit/>
          </a:bodyPr>
          <a:lstStyle/>
          <a:p>
            <a:pPr rtl="0">
              <a:spcAft>
                <a:spcPts val="0"/>
              </a:spcAft>
            </a:pPr>
            <a:r>
              <a:rPr lang="en-gb" sz="1400">
                <a:solidFill>
                  <a:schemeClr val="tx1"/>
                </a:solidFill>
              </a:rPr>
              <a:t>Care for, reassure the victim.</a:t>
            </a:r>
          </a:p>
        </p:txBody>
      </p:sp>
      <p:sp>
        <p:nvSpPr>
          <p:cNvPr id="36" name="TextBox 35">
            <a:extLst>
              <a:ext uri="{FF2B5EF4-FFF2-40B4-BE49-F238E27FC236}">
                <a16:creationId xmlns:a16="http://schemas.microsoft.com/office/drawing/2014/main" id="{1AE54009-C4AA-42A0-6C3E-5B591C01E340}"/>
              </a:ext>
            </a:extLst>
          </p:cNvPr>
          <p:cNvSpPr txBox="1"/>
          <p:nvPr/>
        </p:nvSpPr>
        <p:spPr>
          <a:xfrm>
            <a:off x="1297953" y="3347393"/>
            <a:ext cx="5879131" cy="377825"/>
          </a:xfrm>
          <a:prstGeom prst="rect">
            <a:avLst/>
          </a:prstGeom>
          <a:noFill/>
        </p:spPr>
        <p:txBody>
          <a:bodyPr wrap="square" rtlCol="0" anchor="ctr">
            <a:noAutofit/>
          </a:bodyPr>
          <a:lstStyle/>
          <a:p>
            <a:pPr rtl="0">
              <a:spcAft>
                <a:spcPts val="0"/>
              </a:spcAft>
            </a:pPr>
            <a:r>
              <a:rPr lang="en-gb" sz="1400">
                <a:solidFill>
                  <a:schemeClr val="tx1"/>
                </a:solidFill>
              </a:rPr>
              <a:t>Close the wound.</a:t>
            </a:r>
          </a:p>
        </p:txBody>
      </p:sp>
      <p:sp>
        <p:nvSpPr>
          <p:cNvPr id="37" name="TextBox 36">
            <a:extLst>
              <a:ext uri="{FF2B5EF4-FFF2-40B4-BE49-F238E27FC236}">
                <a16:creationId xmlns:a16="http://schemas.microsoft.com/office/drawing/2014/main" id="{E0CFB0A4-DBFE-D718-60F7-B518BBA84C50}"/>
              </a:ext>
            </a:extLst>
          </p:cNvPr>
          <p:cNvSpPr txBox="1"/>
          <p:nvPr/>
        </p:nvSpPr>
        <p:spPr>
          <a:xfrm>
            <a:off x="1297953" y="4570796"/>
            <a:ext cx="5879131" cy="377825"/>
          </a:xfrm>
          <a:prstGeom prst="rect">
            <a:avLst/>
          </a:prstGeom>
          <a:noFill/>
        </p:spPr>
        <p:txBody>
          <a:bodyPr wrap="square" rtlCol="0" anchor="ctr">
            <a:noAutofit/>
          </a:bodyPr>
          <a:lstStyle/>
          <a:p>
            <a:pPr rtl="0">
              <a:spcAft>
                <a:spcPts val="0"/>
              </a:spcAft>
            </a:pPr>
            <a:r>
              <a:rPr lang="en-gb" sz="1400">
                <a:solidFill>
                  <a:schemeClr val="tx1"/>
                </a:solidFill>
              </a:rPr>
              <a:t>Keep the wound closed until the ambulance arrives.</a:t>
            </a:r>
          </a:p>
        </p:txBody>
      </p:sp>
      <p:cxnSp>
        <p:nvCxnSpPr>
          <p:cNvPr id="38" name="Straight Connector 37">
            <a:extLst>
              <a:ext uri="{FF2B5EF4-FFF2-40B4-BE49-F238E27FC236}">
                <a16:creationId xmlns:a16="http://schemas.microsoft.com/office/drawing/2014/main" id="{6C076618-B972-83FA-E91E-661AF9666BAC}"/>
              </a:ext>
            </a:extLst>
          </p:cNvPr>
          <p:cNvCxnSpPr>
            <a:cxnSpLocks/>
          </p:cNvCxnSpPr>
          <p:nvPr/>
        </p:nvCxnSpPr>
        <p:spPr>
          <a:xfrm>
            <a:off x="1297953" y="2923413"/>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39" name="Straight Connector 38">
            <a:extLst>
              <a:ext uri="{FF2B5EF4-FFF2-40B4-BE49-F238E27FC236}">
                <a16:creationId xmlns:a16="http://schemas.microsoft.com/office/drawing/2014/main" id="{AACFD71A-79C6-7413-5A81-A4AFD0F2E441}"/>
              </a:ext>
            </a:extLst>
          </p:cNvPr>
          <p:cNvCxnSpPr>
            <a:cxnSpLocks/>
          </p:cNvCxnSpPr>
          <p:nvPr/>
        </p:nvCxnSpPr>
        <p:spPr>
          <a:xfrm>
            <a:off x="1297953" y="3331214"/>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0" name="Straight Connector 39">
            <a:extLst>
              <a:ext uri="{FF2B5EF4-FFF2-40B4-BE49-F238E27FC236}">
                <a16:creationId xmlns:a16="http://schemas.microsoft.com/office/drawing/2014/main" id="{7ECA13E0-FA0D-1066-D038-F5C5F3ECD0DE}"/>
              </a:ext>
            </a:extLst>
          </p:cNvPr>
          <p:cNvCxnSpPr>
            <a:cxnSpLocks/>
          </p:cNvCxnSpPr>
          <p:nvPr/>
        </p:nvCxnSpPr>
        <p:spPr>
          <a:xfrm>
            <a:off x="1297953" y="3739015"/>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1" name="Straight Connector 40">
            <a:extLst>
              <a:ext uri="{FF2B5EF4-FFF2-40B4-BE49-F238E27FC236}">
                <a16:creationId xmlns:a16="http://schemas.microsoft.com/office/drawing/2014/main" id="{A235ECF1-4D0C-2C8E-6F14-C26295D9BD92}"/>
              </a:ext>
            </a:extLst>
          </p:cNvPr>
          <p:cNvCxnSpPr>
            <a:cxnSpLocks/>
          </p:cNvCxnSpPr>
          <p:nvPr/>
        </p:nvCxnSpPr>
        <p:spPr>
          <a:xfrm>
            <a:off x="1297953" y="4146816"/>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2" name="Straight Connector 41">
            <a:extLst>
              <a:ext uri="{FF2B5EF4-FFF2-40B4-BE49-F238E27FC236}">
                <a16:creationId xmlns:a16="http://schemas.microsoft.com/office/drawing/2014/main" id="{DBBD5D35-2B1D-A5AD-2FC3-6967356AB8AD}"/>
              </a:ext>
            </a:extLst>
          </p:cNvPr>
          <p:cNvCxnSpPr>
            <a:cxnSpLocks/>
          </p:cNvCxnSpPr>
          <p:nvPr/>
        </p:nvCxnSpPr>
        <p:spPr>
          <a:xfrm>
            <a:off x="1297953" y="4554617"/>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3" name="Straight Connector 42">
            <a:extLst>
              <a:ext uri="{FF2B5EF4-FFF2-40B4-BE49-F238E27FC236}">
                <a16:creationId xmlns:a16="http://schemas.microsoft.com/office/drawing/2014/main" id="{0FA02750-EEED-1294-ED4F-724A2B8FA344}"/>
              </a:ext>
            </a:extLst>
          </p:cNvPr>
          <p:cNvCxnSpPr>
            <a:cxnSpLocks/>
          </p:cNvCxnSpPr>
          <p:nvPr/>
        </p:nvCxnSpPr>
        <p:spPr>
          <a:xfrm>
            <a:off x="1297953" y="4962418"/>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4" name="Straight Connector 43">
            <a:extLst>
              <a:ext uri="{FF2B5EF4-FFF2-40B4-BE49-F238E27FC236}">
                <a16:creationId xmlns:a16="http://schemas.microsoft.com/office/drawing/2014/main" id="{9484F603-EFA7-CF51-3E25-A8C107ED1840}"/>
              </a:ext>
            </a:extLst>
          </p:cNvPr>
          <p:cNvCxnSpPr>
            <a:cxnSpLocks/>
          </p:cNvCxnSpPr>
          <p:nvPr/>
        </p:nvCxnSpPr>
        <p:spPr>
          <a:xfrm>
            <a:off x="1297953" y="5370219"/>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47" name="Content Placeholder 1">
            <a:extLst>
              <a:ext uri="{FF2B5EF4-FFF2-40B4-BE49-F238E27FC236}">
                <a16:creationId xmlns:a16="http://schemas.microsoft.com/office/drawing/2014/main" id="{BFB5D4D5-E118-6D3B-1F42-9A2DB96589BB}"/>
              </a:ext>
            </a:extLst>
          </p:cNvPr>
          <p:cNvSpPr txBox="1">
            <a:spLocks/>
          </p:cNvSpPr>
          <p:nvPr/>
        </p:nvSpPr>
        <p:spPr>
          <a:xfrm>
            <a:off x="441325" y="2531791"/>
            <a:ext cx="630238" cy="37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1</a:t>
            </a:r>
          </a:p>
        </p:txBody>
      </p:sp>
      <p:cxnSp>
        <p:nvCxnSpPr>
          <p:cNvPr id="48" name="Straight Connector 47">
            <a:extLst>
              <a:ext uri="{FF2B5EF4-FFF2-40B4-BE49-F238E27FC236}">
                <a16:creationId xmlns:a16="http://schemas.microsoft.com/office/drawing/2014/main" id="{8C4D9F7B-7A3D-3318-A201-AF6934836B34}"/>
              </a:ext>
            </a:extLst>
          </p:cNvPr>
          <p:cNvCxnSpPr>
            <a:cxnSpLocks/>
            <a:stCxn id="49" idx="4"/>
            <a:endCxn id="55" idx="3"/>
          </p:cNvCxnSpPr>
          <p:nvPr/>
        </p:nvCxnSpPr>
        <p:spPr>
          <a:xfrm>
            <a:off x="864002" y="2793181"/>
            <a:ext cx="0" cy="3235886"/>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49" name="Oval 48">
            <a:extLst>
              <a:ext uri="{FF2B5EF4-FFF2-40B4-BE49-F238E27FC236}">
                <a16:creationId xmlns:a16="http://schemas.microsoft.com/office/drawing/2014/main" id="{CBA276DE-FC82-7DC9-C0DE-E912A56FECAA}"/>
              </a:ext>
            </a:extLst>
          </p:cNvPr>
          <p:cNvSpPr/>
          <p:nvPr/>
        </p:nvSpPr>
        <p:spPr>
          <a:xfrm>
            <a:off x="791612" y="2648401"/>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50" name="Isosceles Triangle 49">
            <a:extLst>
              <a:ext uri="{FF2B5EF4-FFF2-40B4-BE49-F238E27FC236}">
                <a16:creationId xmlns:a16="http://schemas.microsoft.com/office/drawing/2014/main" id="{2AAD1ED9-717D-5C71-0350-C325B79C9D61}"/>
              </a:ext>
            </a:extLst>
          </p:cNvPr>
          <p:cNvSpPr/>
          <p:nvPr/>
        </p:nvSpPr>
        <p:spPr>
          <a:xfrm flipV="1">
            <a:off x="690171" y="3724685"/>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51" name="Isosceles Triangle 50">
            <a:extLst>
              <a:ext uri="{FF2B5EF4-FFF2-40B4-BE49-F238E27FC236}">
                <a16:creationId xmlns:a16="http://schemas.microsoft.com/office/drawing/2014/main" id="{C85C2095-DDB1-C189-7E39-FB1EAB5D20D8}"/>
              </a:ext>
            </a:extLst>
          </p:cNvPr>
          <p:cNvSpPr/>
          <p:nvPr/>
        </p:nvSpPr>
        <p:spPr>
          <a:xfrm flipV="1">
            <a:off x="690171" y="4132593"/>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52" name="Isosceles Triangle 51">
            <a:extLst>
              <a:ext uri="{FF2B5EF4-FFF2-40B4-BE49-F238E27FC236}">
                <a16:creationId xmlns:a16="http://schemas.microsoft.com/office/drawing/2014/main" id="{0EA929E4-70A4-853F-054A-08FE8E8A7FD9}"/>
              </a:ext>
            </a:extLst>
          </p:cNvPr>
          <p:cNvSpPr/>
          <p:nvPr/>
        </p:nvSpPr>
        <p:spPr>
          <a:xfrm flipV="1">
            <a:off x="690171" y="4540501"/>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53" name="Isosceles Triangle 52">
            <a:extLst>
              <a:ext uri="{FF2B5EF4-FFF2-40B4-BE49-F238E27FC236}">
                <a16:creationId xmlns:a16="http://schemas.microsoft.com/office/drawing/2014/main" id="{18815909-39A8-057A-E892-017B041D3041}"/>
              </a:ext>
            </a:extLst>
          </p:cNvPr>
          <p:cNvSpPr/>
          <p:nvPr/>
        </p:nvSpPr>
        <p:spPr>
          <a:xfrm flipV="1">
            <a:off x="690171" y="4948409"/>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54" name="Isosceles Triangle 53">
            <a:extLst>
              <a:ext uri="{FF2B5EF4-FFF2-40B4-BE49-F238E27FC236}">
                <a16:creationId xmlns:a16="http://schemas.microsoft.com/office/drawing/2014/main" id="{4742A4B9-ADF3-C3D5-A7C3-0EF2BC771ED8}"/>
              </a:ext>
            </a:extLst>
          </p:cNvPr>
          <p:cNvSpPr/>
          <p:nvPr/>
        </p:nvSpPr>
        <p:spPr>
          <a:xfrm flipV="1">
            <a:off x="690171" y="5356317"/>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55" name="Isosceles Triangle 54">
            <a:extLst>
              <a:ext uri="{FF2B5EF4-FFF2-40B4-BE49-F238E27FC236}">
                <a16:creationId xmlns:a16="http://schemas.microsoft.com/office/drawing/2014/main" id="{366B0B67-EE35-2B7F-8A32-63885B0BAF18}"/>
              </a:ext>
            </a:extLst>
          </p:cNvPr>
          <p:cNvSpPr/>
          <p:nvPr/>
        </p:nvSpPr>
        <p:spPr>
          <a:xfrm flipV="1">
            <a:off x="809233" y="6029067"/>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56" name="Isosceles Triangle 55">
            <a:extLst>
              <a:ext uri="{FF2B5EF4-FFF2-40B4-BE49-F238E27FC236}">
                <a16:creationId xmlns:a16="http://schemas.microsoft.com/office/drawing/2014/main" id="{3EB4BEBD-8A82-553F-3D2B-78822FBDB433}"/>
              </a:ext>
            </a:extLst>
          </p:cNvPr>
          <p:cNvSpPr/>
          <p:nvPr/>
        </p:nvSpPr>
        <p:spPr>
          <a:xfrm flipV="1">
            <a:off x="690171" y="2908869"/>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57" name="Isosceles Triangle 56">
            <a:extLst>
              <a:ext uri="{FF2B5EF4-FFF2-40B4-BE49-F238E27FC236}">
                <a16:creationId xmlns:a16="http://schemas.microsoft.com/office/drawing/2014/main" id="{5624AA1C-D03F-87D7-BB7D-86AB8398DA97}"/>
              </a:ext>
            </a:extLst>
          </p:cNvPr>
          <p:cNvSpPr/>
          <p:nvPr/>
        </p:nvSpPr>
        <p:spPr>
          <a:xfrm flipV="1">
            <a:off x="690171" y="3316777"/>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rtlCol="0"/>
          <a:lstStyle/>
          <a:p>
            <a:pPr rtl="0"/>
            <a:r>
              <a:rPr lang="en-gb"/>
              <a:t>What to do in case of amputation?</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rtlCol="0"/>
          <a:lstStyle/>
          <a:p>
            <a:pPr rtl="0"/>
            <a:fld id="{7870704B-CE94-48CC-AF30-84932A1262A7}" type="slidenum">
              <a:rPr lang="en-GB" smtClean="0"/>
              <a:pPr rtl="0"/>
              <a:t>21</a:t>
            </a:fld>
            <a:endParaRPr lang="en-GB"/>
          </a:p>
        </p:txBody>
      </p:sp>
      <p:sp>
        <p:nvSpPr>
          <p:cNvPr id="58" name="Isosceles Triangle 57">
            <a:extLst>
              <a:ext uri="{FF2B5EF4-FFF2-40B4-BE49-F238E27FC236}">
                <a16:creationId xmlns:a16="http://schemas.microsoft.com/office/drawing/2014/main" id="{CF3A810F-BF24-BFF9-4540-5B519710E40B}"/>
              </a:ext>
            </a:extLst>
          </p:cNvPr>
          <p:cNvSpPr/>
          <p:nvPr/>
        </p:nvSpPr>
        <p:spPr>
          <a:xfrm flipV="1">
            <a:off x="690171" y="5764223"/>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cxnSp>
        <p:nvCxnSpPr>
          <p:cNvPr id="61" name="Straight Connector 60">
            <a:extLst>
              <a:ext uri="{FF2B5EF4-FFF2-40B4-BE49-F238E27FC236}">
                <a16:creationId xmlns:a16="http://schemas.microsoft.com/office/drawing/2014/main" id="{804E26DD-A68F-F1A2-ED8C-EB65BFE83319}"/>
              </a:ext>
            </a:extLst>
          </p:cNvPr>
          <p:cNvCxnSpPr>
            <a:cxnSpLocks/>
          </p:cNvCxnSpPr>
          <p:nvPr/>
        </p:nvCxnSpPr>
        <p:spPr>
          <a:xfrm>
            <a:off x="1297953" y="5778020"/>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62" name="TextBox 61">
            <a:extLst>
              <a:ext uri="{FF2B5EF4-FFF2-40B4-BE49-F238E27FC236}">
                <a16:creationId xmlns:a16="http://schemas.microsoft.com/office/drawing/2014/main" id="{05D1587F-2220-61CF-C510-7EBB4EE50944}"/>
              </a:ext>
            </a:extLst>
          </p:cNvPr>
          <p:cNvSpPr txBox="1"/>
          <p:nvPr/>
        </p:nvSpPr>
        <p:spPr>
          <a:xfrm>
            <a:off x="1297953" y="5794201"/>
            <a:ext cx="5879131" cy="377825"/>
          </a:xfrm>
          <a:prstGeom prst="rect">
            <a:avLst/>
          </a:prstGeom>
          <a:noFill/>
        </p:spPr>
        <p:txBody>
          <a:bodyPr wrap="square" rtlCol="0" anchor="ctr">
            <a:noAutofit/>
          </a:bodyPr>
          <a:lstStyle/>
          <a:p>
            <a:pPr rtl="0">
              <a:spcAft>
                <a:spcPts val="0"/>
              </a:spcAft>
            </a:pPr>
            <a:r>
              <a:rPr lang="en-gb" sz="1400">
                <a:solidFill>
                  <a:schemeClr val="tx1"/>
                </a:solidFill>
              </a:rPr>
              <a:t>Take resuscitation measures if necessary.</a:t>
            </a:r>
          </a:p>
        </p:txBody>
      </p:sp>
      <p:sp>
        <p:nvSpPr>
          <p:cNvPr id="64" name="Rectangle 63">
            <a:extLst>
              <a:ext uri="{FF2B5EF4-FFF2-40B4-BE49-F238E27FC236}">
                <a16:creationId xmlns:a16="http://schemas.microsoft.com/office/drawing/2014/main" id="{0A0D3723-5FC7-C936-25AC-39631D999DD6}"/>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tx1"/>
                </a:solidFill>
              </a:rPr>
              <a:t>How to proceed?</a:t>
            </a:r>
          </a:p>
        </p:txBody>
      </p:sp>
      <p:sp>
        <p:nvSpPr>
          <p:cNvPr id="65" name="Rectangle 64">
            <a:extLst>
              <a:ext uri="{FF2B5EF4-FFF2-40B4-BE49-F238E27FC236}">
                <a16:creationId xmlns:a16="http://schemas.microsoft.com/office/drawing/2014/main" id="{3CC8ECC6-83AA-36F7-7A5F-D4A307C0537E}"/>
              </a:ext>
            </a:extLst>
          </p:cNvPr>
          <p:cNvSpPr/>
          <p:nvPr/>
        </p:nvSpPr>
        <p:spPr>
          <a:xfrm>
            <a:off x="7619998" y="1822554"/>
            <a:ext cx="4129089"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bg1"/>
                </a:solidFill>
              </a:rPr>
              <a:t>Important!</a:t>
            </a:r>
          </a:p>
        </p:txBody>
      </p:sp>
      <p:sp>
        <p:nvSpPr>
          <p:cNvPr id="66" name="Content Placeholder 1">
            <a:extLst>
              <a:ext uri="{FF2B5EF4-FFF2-40B4-BE49-F238E27FC236}">
                <a16:creationId xmlns:a16="http://schemas.microsoft.com/office/drawing/2014/main" id="{DE3B362D-5D33-2569-90E9-0FB04D189092}"/>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67" name="Content Placeholder 1">
            <a:extLst>
              <a:ext uri="{FF2B5EF4-FFF2-40B4-BE49-F238E27FC236}">
                <a16:creationId xmlns:a16="http://schemas.microsoft.com/office/drawing/2014/main" id="{5FEACEB3-5308-52F2-E30F-84F09C9B8E8C}"/>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68" name="Content Placeholder 1">
            <a:extLst>
              <a:ext uri="{FF2B5EF4-FFF2-40B4-BE49-F238E27FC236}">
                <a16:creationId xmlns:a16="http://schemas.microsoft.com/office/drawing/2014/main" id="{E306B251-3F5F-005F-AEFB-3CB241FE32C8}"/>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69" name="Content Placeholder 1">
            <a:extLst>
              <a:ext uri="{FF2B5EF4-FFF2-40B4-BE49-F238E27FC236}">
                <a16:creationId xmlns:a16="http://schemas.microsoft.com/office/drawing/2014/main" id="{104F4EFD-C9CA-3F71-44EE-FFB520C2BA98}"/>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70" name="Google Shape;760;p79">
            <a:extLst>
              <a:ext uri="{FF2B5EF4-FFF2-40B4-BE49-F238E27FC236}">
                <a16:creationId xmlns:a16="http://schemas.microsoft.com/office/drawing/2014/main" id="{3F5BD87C-F15B-0669-254D-9ED7461E67A3}"/>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71" name="Google Shape;794;p79">
            <a:extLst>
              <a:ext uri="{FF2B5EF4-FFF2-40B4-BE49-F238E27FC236}">
                <a16:creationId xmlns:a16="http://schemas.microsoft.com/office/drawing/2014/main" id="{9C1AF4BA-6826-C17F-A9FE-5541CDF4BFC4}"/>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 name="Rectangle 1">
            <a:extLst>
              <a:ext uri="{FF2B5EF4-FFF2-40B4-BE49-F238E27FC236}">
                <a16:creationId xmlns:a16="http://schemas.microsoft.com/office/drawing/2014/main" id="{30AAC524-3205-5590-45B9-6037C0A5DBDE}"/>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18" name="Group 17">
            <a:extLst>
              <a:ext uri="{FF2B5EF4-FFF2-40B4-BE49-F238E27FC236}">
                <a16:creationId xmlns:a16="http://schemas.microsoft.com/office/drawing/2014/main" id="{C7198D1F-9FC5-DEFE-2837-C0311E2BC589}"/>
              </a:ext>
            </a:extLst>
          </p:cNvPr>
          <p:cNvGrpSpPr/>
          <p:nvPr/>
        </p:nvGrpSpPr>
        <p:grpSpPr>
          <a:xfrm>
            <a:off x="9842140" y="372216"/>
            <a:ext cx="1667215" cy="217488"/>
            <a:chOff x="9842140" y="372216"/>
            <a:chExt cx="1667215" cy="217488"/>
          </a:xfrm>
        </p:grpSpPr>
        <p:sp>
          <p:nvSpPr>
            <p:cNvPr id="19" name="TextBox 18">
              <a:extLst>
                <a:ext uri="{FF2B5EF4-FFF2-40B4-BE49-F238E27FC236}">
                  <a16:creationId xmlns:a16="http://schemas.microsoft.com/office/drawing/2014/main" id="{8B30160C-0B9C-011A-347F-A75919D148DF}"/>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rtl="0">
                <a:lnSpc>
                  <a:spcPct val="100000"/>
                </a:lnSpc>
                <a:spcAft>
                  <a:spcPts val="600"/>
                </a:spcAft>
                <a:buSzPct val="100000"/>
              </a:pPr>
              <a:r>
                <a:rPr lang="en-gb" sz="800">
                  <a:solidFill>
                    <a:schemeClr val="bg1"/>
                  </a:solidFill>
                </a:rPr>
                <a:t>Severe bleeding</a:t>
              </a:r>
            </a:p>
          </p:txBody>
        </p:sp>
        <p:sp>
          <p:nvSpPr>
            <p:cNvPr id="20" name="Freeform 49">
              <a:extLst>
                <a:ext uri="{FF2B5EF4-FFF2-40B4-BE49-F238E27FC236}">
                  <a16:creationId xmlns:a16="http://schemas.microsoft.com/office/drawing/2014/main" id="{A52A24D5-E458-5184-5394-D531237F5174}"/>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p>
          </p:txBody>
        </p:sp>
      </p:grpSp>
      <p:grpSp>
        <p:nvGrpSpPr>
          <p:cNvPr id="15" name="Group 14">
            <a:extLst>
              <a:ext uri="{FF2B5EF4-FFF2-40B4-BE49-F238E27FC236}">
                <a16:creationId xmlns:a16="http://schemas.microsoft.com/office/drawing/2014/main" id="{64CAE25B-E0D4-03B3-2D95-930F60A4D771}"/>
              </a:ext>
            </a:extLst>
          </p:cNvPr>
          <p:cNvGrpSpPr/>
          <p:nvPr/>
        </p:nvGrpSpPr>
        <p:grpSpPr>
          <a:xfrm>
            <a:off x="9122935" y="126781"/>
            <a:ext cx="2626153" cy="217488"/>
            <a:chOff x="9122935" y="126781"/>
            <a:chExt cx="2626153" cy="217488"/>
          </a:xfrm>
        </p:grpSpPr>
        <p:sp>
          <p:nvSpPr>
            <p:cNvPr id="21" name="Rectangle 20">
              <a:extLst>
                <a:ext uri="{FF2B5EF4-FFF2-40B4-BE49-F238E27FC236}">
                  <a16:creationId xmlns:a16="http://schemas.microsoft.com/office/drawing/2014/main" id="{7B1BB4A5-3141-1196-CFA4-50272DB76E57}"/>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000000"/>
                  </a:solidFill>
                  <a:effectLst/>
                  <a:uLnTx/>
                  <a:uFillTx/>
                  <a:ea typeface="Georgia"/>
                  <a:cs typeface="Georgia"/>
                  <a:sym typeface="Georgia"/>
                </a:rPr>
                <a:t>First aid measures</a:t>
              </a:r>
            </a:p>
          </p:txBody>
        </p:sp>
        <p:sp>
          <p:nvSpPr>
            <p:cNvPr id="22" name="Rectangle 21">
              <a:extLst>
                <a:ext uri="{FF2B5EF4-FFF2-40B4-BE49-F238E27FC236}">
                  <a16:creationId xmlns:a16="http://schemas.microsoft.com/office/drawing/2014/main" id="{78C6E0CE-4EE4-C6D2-EB4E-8112BA265A52}"/>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23" name="Rectangle 22">
              <a:extLst>
                <a:ext uri="{FF2B5EF4-FFF2-40B4-BE49-F238E27FC236}">
                  <a16:creationId xmlns:a16="http://schemas.microsoft.com/office/drawing/2014/main" id="{BC321E48-2634-0BE5-6802-6F57CBC9896D}"/>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45" name="Rectangle 44">
              <a:extLst>
                <a:ext uri="{FF2B5EF4-FFF2-40B4-BE49-F238E27FC236}">
                  <a16:creationId xmlns:a16="http://schemas.microsoft.com/office/drawing/2014/main" id="{45D39117-FF95-CEB1-22AC-A944FCC7ED53}"/>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46" name="Rectangle 45">
              <a:extLst>
                <a:ext uri="{FF2B5EF4-FFF2-40B4-BE49-F238E27FC236}">
                  <a16:creationId xmlns:a16="http://schemas.microsoft.com/office/drawing/2014/main" id="{B94635AF-4CB8-B780-FD3D-55995FF672BB}"/>
                </a:ext>
              </a:extLst>
            </p:cNvPr>
            <p:cNvSpPr/>
            <p:nvPr/>
          </p:nvSpPr>
          <p:spPr>
            <a:xfrm>
              <a:off x="9842140"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7</a:t>
              </a:r>
              <a:r>
                <a:rPr lang="en-gb" sz="800" b="1" i="0" u="none" strike="noStrike" kern="0" cap="none" spc="0" normalizeH="0" noProof="0">
                  <a:ln>
                    <a:noFill/>
                  </a:ln>
                  <a:effectLst/>
                  <a:uLnTx/>
                  <a:uFillTx/>
                  <a:ea typeface="Georgia"/>
                  <a:cs typeface="Georgia"/>
                  <a:sym typeface="Georgia"/>
                </a:rPr>
                <a:t>.4</a:t>
              </a:r>
              <a:endParaRPr kumimoji="0" lang="lv-LV" sz="800" b="1" i="0" u="none" strike="noStrike" kern="0" cap="none" spc="0" normalizeH="0" baseline="0" noProof="0" dirty="0">
                <a:ln>
                  <a:noFill/>
                </a:ln>
                <a:effectLst/>
                <a:uLnTx/>
                <a:uFillTx/>
                <a:ea typeface="Georgia"/>
                <a:cs typeface="Georgia"/>
                <a:sym typeface="Georgia"/>
              </a:endParaRPr>
            </a:p>
          </p:txBody>
        </p:sp>
        <p:sp>
          <p:nvSpPr>
            <p:cNvPr id="60" name="Rectangle 59">
              <a:extLst>
                <a:ext uri="{FF2B5EF4-FFF2-40B4-BE49-F238E27FC236}">
                  <a16:creationId xmlns:a16="http://schemas.microsoft.com/office/drawing/2014/main" id="{F0CBCE12-F8EB-A08E-44AB-13F9BDF70244}"/>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34294701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5DFC3D6-83B9-8E99-59C1-D8F51AA95124}"/>
              </a:ext>
            </a:extLst>
          </p:cNvPr>
          <p:cNvGraphicFramePr>
            <a:graphicFrameLocks noChangeAspect="1"/>
          </p:cNvGraphicFramePr>
          <p:nvPr>
            <p:custDataLst>
              <p:tags r:id="rId1"/>
            </p:custDataLst>
            <p:extLst>
              <p:ext uri="{D42A27DB-BD31-4B8C-83A1-F6EECF244321}">
                <p14:modId xmlns:p14="http://schemas.microsoft.com/office/powerpoint/2010/main" val="1280756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45DFC3D6-83B9-8E99-59C1-D8F51AA951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11306175" cy="1387274"/>
          </a:xfrm>
        </p:spPr>
        <p:txBody>
          <a:bodyPr vert="horz" rtlCol="0"/>
          <a:lstStyle/>
          <a:p>
            <a:pPr rtl="0"/>
            <a:r>
              <a:rPr lang="en-gb"/>
              <a:t>Other cases</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rtlCol="0"/>
          <a:lstStyle/>
          <a:p>
            <a:pPr rtl="0"/>
            <a:fld id="{7870704B-CE94-48CC-AF30-84932A1262A7}" type="slidenum">
              <a:rPr lang="en-GB" smtClean="0"/>
              <a:pPr rtl="0"/>
              <a:t>22</a:t>
            </a:fld>
            <a:endParaRPr lang="en-GB"/>
          </a:p>
        </p:txBody>
      </p:sp>
      <p:sp>
        <p:nvSpPr>
          <p:cNvPr id="33" name="Content Placeholder 1">
            <a:extLst>
              <a:ext uri="{FF2B5EF4-FFF2-40B4-BE49-F238E27FC236}">
                <a16:creationId xmlns:a16="http://schemas.microsoft.com/office/drawing/2014/main" id="{93FD5216-5960-E975-E5B0-792A3A7ADDAB}"/>
              </a:ext>
            </a:extLst>
          </p:cNvPr>
          <p:cNvSpPr txBox="1">
            <a:spLocks/>
          </p:cNvSpPr>
          <p:nvPr/>
        </p:nvSpPr>
        <p:spPr>
          <a:xfrm>
            <a:off x="441325" y="3144673"/>
            <a:ext cx="630238"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2</a:t>
            </a:r>
          </a:p>
        </p:txBody>
      </p:sp>
      <p:sp>
        <p:nvSpPr>
          <p:cNvPr id="34" name="Content Placeholder 1">
            <a:extLst>
              <a:ext uri="{FF2B5EF4-FFF2-40B4-BE49-F238E27FC236}">
                <a16:creationId xmlns:a16="http://schemas.microsoft.com/office/drawing/2014/main" id="{DBF09A9E-1B6D-1011-0B1D-B5D707EB04BA}"/>
              </a:ext>
            </a:extLst>
          </p:cNvPr>
          <p:cNvSpPr txBox="1">
            <a:spLocks/>
          </p:cNvSpPr>
          <p:nvPr/>
        </p:nvSpPr>
        <p:spPr>
          <a:xfrm>
            <a:off x="441325" y="3757555"/>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3</a:t>
            </a:r>
          </a:p>
        </p:txBody>
      </p:sp>
      <p:sp>
        <p:nvSpPr>
          <p:cNvPr id="35" name="Content Placeholder 1">
            <a:extLst>
              <a:ext uri="{FF2B5EF4-FFF2-40B4-BE49-F238E27FC236}">
                <a16:creationId xmlns:a16="http://schemas.microsoft.com/office/drawing/2014/main" id="{0F6CD3B8-1FC1-0750-DEE0-591BD614C49B}"/>
              </a:ext>
            </a:extLst>
          </p:cNvPr>
          <p:cNvSpPr txBox="1">
            <a:spLocks/>
          </p:cNvSpPr>
          <p:nvPr/>
        </p:nvSpPr>
        <p:spPr>
          <a:xfrm>
            <a:off x="441325" y="4370437"/>
            <a:ext cx="630238" cy="43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4</a:t>
            </a:r>
          </a:p>
        </p:txBody>
      </p:sp>
      <p:sp>
        <p:nvSpPr>
          <p:cNvPr id="36" name="Content Placeholder 1">
            <a:extLst>
              <a:ext uri="{FF2B5EF4-FFF2-40B4-BE49-F238E27FC236}">
                <a16:creationId xmlns:a16="http://schemas.microsoft.com/office/drawing/2014/main" id="{7A547E0B-19BF-76D6-6846-6916EAC86E10}"/>
              </a:ext>
            </a:extLst>
          </p:cNvPr>
          <p:cNvSpPr txBox="1">
            <a:spLocks/>
          </p:cNvSpPr>
          <p:nvPr/>
        </p:nvSpPr>
        <p:spPr>
          <a:xfrm>
            <a:off x="441325" y="4835423"/>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5</a:t>
            </a:r>
          </a:p>
        </p:txBody>
      </p:sp>
      <p:sp>
        <p:nvSpPr>
          <p:cNvPr id="37" name="Content Placeholder 1">
            <a:extLst>
              <a:ext uri="{FF2B5EF4-FFF2-40B4-BE49-F238E27FC236}">
                <a16:creationId xmlns:a16="http://schemas.microsoft.com/office/drawing/2014/main" id="{39805D96-5245-1291-390C-00303ECA057C}"/>
              </a:ext>
            </a:extLst>
          </p:cNvPr>
          <p:cNvSpPr txBox="1">
            <a:spLocks/>
          </p:cNvSpPr>
          <p:nvPr/>
        </p:nvSpPr>
        <p:spPr>
          <a:xfrm>
            <a:off x="441325" y="5444409"/>
            <a:ext cx="630238" cy="727792"/>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6</a:t>
            </a:r>
          </a:p>
        </p:txBody>
      </p:sp>
      <p:sp>
        <p:nvSpPr>
          <p:cNvPr id="54" name="Content Placeholder 1">
            <a:extLst>
              <a:ext uri="{FF2B5EF4-FFF2-40B4-BE49-F238E27FC236}">
                <a16:creationId xmlns:a16="http://schemas.microsoft.com/office/drawing/2014/main" id="{B5D0EDB5-E00A-1D0F-F13E-491961E8CD41}"/>
              </a:ext>
            </a:extLst>
          </p:cNvPr>
          <p:cNvSpPr txBox="1">
            <a:spLocks/>
          </p:cNvSpPr>
          <p:nvPr/>
        </p:nvSpPr>
        <p:spPr>
          <a:xfrm>
            <a:off x="441325" y="2531791"/>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1</a:t>
            </a:r>
          </a:p>
        </p:txBody>
      </p:sp>
      <p:sp>
        <p:nvSpPr>
          <p:cNvPr id="26" name="Rectangle 25">
            <a:extLst>
              <a:ext uri="{FF2B5EF4-FFF2-40B4-BE49-F238E27FC236}">
                <a16:creationId xmlns:a16="http://schemas.microsoft.com/office/drawing/2014/main" id="{53921BE1-AA0B-33DD-82D0-CCB1AC795236}"/>
              </a:ext>
            </a:extLst>
          </p:cNvPr>
          <p:cNvSpPr/>
          <p:nvPr/>
        </p:nvSpPr>
        <p:spPr>
          <a:xfrm>
            <a:off x="442914" y="1822554"/>
            <a:ext cx="3529012"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tx1"/>
                </a:solidFill>
              </a:rPr>
              <a:t>Nosebleeds</a:t>
            </a:r>
          </a:p>
        </p:txBody>
      </p:sp>
      <p:sp>
        <p:nvSpPr>
          <p:cNvPr id="27" name="Content Placeholder 1">
            <a:extLst>
              <a:ext uri="{FF2B5EF4-FFF2-40B4-BE49-F238E27FC236}">
                <a16:creationId xmlns:a16="http://schemas.microsoft.com/office/drawing/2014/main" id="{4BD59986-9361-5100-003A-62EE6D8B87CC}"/>
              </a:ext>
            </a:extLst>
          </p:cNvPr>
          <p:cNvSpPr txBox="1">
            <a:spLocks/>
          </p:cNvSpPr>
          <p:nvPr/>
        </p:nvSpPr>
        <p:spPr>
          <a:xfrm>
            <a:off x="3395926"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28" name="Content Placeholder 1">
            <a:extLst>
              <a:ext uri="{FF2B5EF4-FFF2-40B4-BE49-F238E27FC236}">
                <a16:creationId xmlns:a16="http://schemas.microsoft.com/office/drawing/2014/main" id="{9370CB65-9630-D59F-776F-39693BC60245}"/>
              </a:ext>
            </a:extLst>
          </p:cNvPr>
          <p:cNvSpPr txBox="1">
            <a:spLocks/>
          </p:cNvSpPr>
          <p:nvPr/>
        </p:nvSpPr>
        <p:spPr>
          <a:xfrm>
            <a:off x="3324538"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32" name="TextBox 31">
            <a:extLst>
              <a:ext uri="{FF2B5EF4-FFF2-40B4-BE49-F238E27FC236}">
                <a16:creationId xmlns:a16="http://schemas.microsoft.com/office/drawing/2014/main" id="{F6FD7F51-FCB6-23F6-84BA-89F9C3713AC4}"/>
              </a:ext>
            </a:extLst>
          </p:cNvPr>
          <p:cNvSpPr txBox="1"/>
          <p:nvPr/>
        </p:nvSpPr>
        <p:spPr>
          <a:xfrm>
            <a:off x="1297953" y="2532063"/>
            <a:ext cx="2673973" cy="576263"/>
          </a:xfrm>
          <a:prstGeom prst="rect">
            <a:avLst/>
          </a:prstGeom>
          <a:noFill/>
        </p:spPr>
        <p:txBody>
          <a:bodyPr wrap="square" rtlCol="0" anchor="ctr">
            <a:noAutofit/>
          </a:bodyPr>
          <a:lstStyle/>
          <a:p>
            <a:pPr rtl="0">
              <a:spcAft>
                <a:spcPts val="0"/>
              </a:spcAft>
            </a:pPr>
            <a:r>
              <a:rPr lang="en-gb" sz="1400">
                <a:solidFill>
                  <a:schemeClr val="tx1"/>
                </a:solidFill>
              </a:rPr>
              <a:t>Wear waterproof gloves.</a:t>
            </a:r>
          </a:p>
        </p:txBody>
      </p:sp>
      <p:sp>
        <p:nvSpPr>
          <p:cNvPr id="40" name="TextBox 39">
            <a:extLst>
              <a:ext uri="{FF2B5EF4-FFF2-40B4-BE49-F238E27FC236}">
                <a16:creationId xmlns:a16="http://schemas.microsoft.com/office/drawing/2014/main" id="{30F089A7-894F-F509-643F-95DAD0568EBA}"/>
              </a:ext>
            </a:extLst>
          </p:cNvPr>
          <p:cNvSpPr txBox="1"/>
          <p:nvPr/>
        </p:nvSpPr>
        <p:spPr>
          <a:xfrm>
            <a:off x="1297953" y="3144838"/>
            <a:ext cx="2673973" cy="576263"/>
          </a:xfrm>
          <a:prstGeom prst="rect">
            <a:avLst/>
          </a:prstGeom>
          <a:noFill/>
        </p:spPr>
        <p:txBody>
          <a:bodyPr wrap="square" rtlCol="0" anchor="ctr">
            <a:noAutofit/>
          </a:bodyPr>
          <a:lstStyle/>
          <a:p>
            <a:pPr rtl="0">
              <a:spcAft>
                <a:spcPts val="0"/>
              </a:spcAft>
            </a:pPr>
            <a:r>
              <a:rPr lang="en-gb" sz="1400" dirty="0">
                <a:solidFill>
                  <a:schemeClr val="tx1"/>
                </a:solidFill>
              </a:rPr>
              <a:t>Make the victim </a:t>
            </a:r>
            <a:r>
              <a:rPr lang="lv-LV" sz="1400" dirty="0" err="1">
                <a:solidFill>
                  <a:schemeClr val="tx1"/>
                </a:solidFill>
              </a:rPr>
              <a:t>pinch</a:t>
            </a:r>
            <a:r>
              <a:rPr lang="lv-LV" sz="1400" dirty="0">
                <a:solidFill>
                  <a:schemeClr val="tx1"/>
                </a:solidFill>
              </a:rPr>
              <a:t> </a:t>
            </a:r>
            <a:r>
              <a:rPr lang="lv-LV" sz="1400" dirty="0" err="1">
                <a:solidFill>
                  <a:schemeClr val="tx1"/>
                </a:solidFill>
              </a:rPr>
              <a:t>the</a:t>
            </a:r>
            <a:r>
              <a:rPr lang="lv-LV" sz="1400" dirty="0">
                <a:solidFill>
                  <a:schemeClr val="tx1"/>
                </a:solidFill>
              </a:rPr>
              <a:t> </a:t>
            </a:r>
            <a:r>
              <a:rPr lang="lv-LV" sz="1400" dirty="0" err="1">
                <a:solidFill>
                  <a:schemeClr val="tx1"/>
                </a:solidFill>
              </a:rPr>
              <a:t>nostril</a:t>
            </a:r>
            <a:r>
              <a:rPr lang="lv-LV" sz="1400" dirty="0">
                <a:solidFill>
                  <a:schemeClr val="tx1"/>
                </a:solidFill>
              </a:rPr>
              <a:t> </a:t>
            </a:r>
            <a:r>
              <a:rPr lang="lv-LV" sz="1400" dirty="0" err="1">
                <a:solidFill>
                  <a:schemeClr val="tx1"/>
                </a:solidFill>
              </a:rPr>
              <a:t>closed</a:t>
            </a:r>
            <a:r>
              <a:rPr lang="lv-LV" sz="1400" dirty="0">
                <a:solidFill>
                  <a:schemeClr val="tx1"/>
                </a:solidFill>
              </a:rPr>
              <a:t>.</a:t>
            </a:r>
            <a:endParaRPr lang="en-gb" sz="1400" dirty="0">
              <a:solidFill>
                <a:schemeClr val="tx1"/>
              </a:solidFill>
            </a:endParaRPr>
          </a:p>
        </p:txBody>
      </p:sp>
      <p:sp>
        <p:nvSpPr>
          <p:cNvPr id="41" name="TextBox 40">
            <a:extLst>
              <a:ext uri="{FF2B5EF4-FFF2-40B4-BE49-F238E27FC236}">
                <a16:creationId xmlns:a16="http://schemas.microsoft.com/office/drawing/2014/main" id="{FD5F1B36-E761-5F42-CEFD-455451E36516}"/>
              </a:ext>
            </a:extLst>
          </p:cNvPr>
          <p:cNvSpPr txBox="1"/>
          <p:nvPr/>
        </p:nvSpPr>
        <p:spPr>
          <a:xfrm>
            <a:off x="1297953" y="4358480"/>
            <a:ext cx="2673973" cy="432000"/>
          </a:xfrm>
          <a:prstGeom prst="rect">
            <a:avLst/>
          </a:prstGeom>
          <a:noFill/>
        </p:spPr>
        <p:txBody>
          <a:bodyPr wrap="square" rtlCol="0" anchor="ctr">
            <a:noAutofit/>
          </a:bodyPr>
          <a:lstStyle/>
          <a:p>
            <a:pPr rtl="0">
              <a:spcAft>
                <a:spcPts val="0"/>
              </a:spcAft>
            </a:pPr>
            <a:r>
              <a:rPr lang="en-gb" sz="1400">
                <a:solidFill>
                  <a:schemeClr val="tx1"/>
                </a:solidFill>
              </a:rPr>
              <a:t>Sit the victim down.</a:t>
            </a:r>
          </a:p>
        </p:txBody>
      </p:sp>
      <p:sp>
        <p:nvSpPr>
          <p:cNvPr id="42" name="TextBox 41">
            <a:extLst>
              <a:ext uri="{FF2B5EF4-FFF2-40B4-BE49-F238E27FC236}">
                <a16:creationId xmlns:a16="http://schemas.microsoft.com/office/drawing/2014/main" id="{A266A737-1E78-D4EB-776C-495C1EBB4F47}"/>
              </a:ext>
            </a:extLst>
          </p:cNvPr>
          <p:cNvSpPr txBox="1"/>
          <p:nvPr/>
        </p:nvSpPr>
        <p:spPr>
          <a:xfrm>
            <a:off x="1297953" y="4835160"/>
            <a:ext cx="2673973" cy="576263"/>
          </a:xfrm>
          <a:prstGeom prst="rect">
            <a:avLst/>
          </a:prstGeom>
          <a:noFill/>
        </p:spPr>
        <p:txBody>
          <a:bodyPr wrap="square" rtlCol="0" anchor="ctr">
            <a:noAutofit/>
          </a:bodyPr>
          <a:lstStyle/>
          <a:p>
            <a:pPr rtl="0">
              <a:spcAft>
                <a:spcPts val="0"/>
              </a:spcAft>
            </a:pPr>
            <a:r>
              <a:rPr lang="en-gb" sz="1400">
                <a:solidFill>
                  <a:schemeClr val="tx1"/>
                </a:solidFill>
              </a:rPr>
              <a:t>Apply cold to </a:t>
            </a:r>
            <a:endParaRPr lang="en-US" sz="1400">
              <a:solidFill>
                <a:schemeClr val="tx1"/>
              </a:solidFill>
            </a:endParaRPr>
          </a:p>
          <a:p>
            <a:pPr rtl="0">
              <a:spcAft>
                <a:spcPts val="0"/>
              </a:spcAft>
            </a:pPr>
            <a:r>
              <a:rPr lang="en-gb" sz="1400">
                <a:solidFill>
                  <a:schemeClr val="tx1"/>
                </a:solidFill>
              </a:rPr>
              <a:t>nose and occiput.</a:t>
            </a:r>
          </a:p>
        </p:txBody>
      </p:sp>
      <p:sp>
        <p:nvSpPr>
          <p:cNvPr id="45" name="TextBox 44">
            <a:extLst>
              <a:ext uri="{FF2B5EF4-FFF2-40B4-BE49-F238E27FC236}">
                <a16:creationId xmlns:a16="http://schemas.microsoft.com/office/drawing/2014/main" id="{11C053ED-4F43-3B06-3803-DF09CC3119C2}"/>
              </a:ext>
            </a:extLst>
          </p:cNvPr>
          <p:cNvSpPr txBox="1"/>
          <p:nvPr/>
        </p:nvSpPr>
        <p:spPr>
          <a:xfrm>
            <a:off x="1297953" y="3757613"/>
            <a:ext cx="2673973" cy="576263"/>
          </a:xfrm>
          <a:prstGeom prst="rect">
            <a:avLst/>
          </a:prstGeom>
          <a:noFill/>
        </p:spPr>
        <p:txBody>
          <a:bodyPr wrap="square" rtlCol="0" anchor="ctr">
            <a:noAutofit/>
          </a:bodyPr>
          <a:lstStyle/>
          <a:p>
            <a:pPr rtl="0">
              <a:spcAft>
                <a:spcPts val="0"/>
              </a:spcAft>
            </a:pPr>
            <a:r>
              <a:rPr lang="en-gb" sz="1400" dirty="0">
                <a:solidFill>
                  <a:schemeClr val="tx1"/>
                </a:solidFill>
              </a:rPr>
              <a:t>Make the victim tilt </a:t>
            </a:r>
            <a:r>
              <a:rPr lang="lv-LV" sz="1400" dirty="0" err="1">
                <a:solidFill>
                  <a:schemeClr val="tx1"/>
                </a:solidFill>
              </a:rPr>
              <a:t>their</a:t>
            </a:r>
            <a:r>
              <a:rPr lang="en-gb" sz="1400" dirty="0">
                <a:solidFill>
                  <a:schemeClr val="tx1"/>
                </a:solidFill>
              </a:rPr>
              <a:t> head forward.</a:t>
            </a:r>
          </a:p>
        </p:txBody>
      </p:sp>
      <p:sp>
        <p:nvSpPr>
          <p:cNvPr id="46" name="TextBox 45">
            <a:extLst>
              <a:ext uri="{FF2B5EF4-FFF2-40B4-BE49-F238E27FC236}">
                <a16:creationId xmlns:a16="http://schemas.microsoft.com/office/drawing/2014/main" id="{87468ECB-778E-5632-E26A-146462E680C5}"/>
              </a:ext>
            </a:extLst>
          </p:cNvPr>
          <p:cNvSpPr txBox="1"/>
          <p:nvPr/>
        </p:nvSpPr>
        <p:spPr>
          <a:xfrm>
            <a:off x="1297953" y="5444078"/>
            <a:ext cx="2673973" cy="728124"/>
          </a:xfrm>
          <a:prstGeom prst="rect">
            <a:avLst/>
          </a:prstGeom>
          <a:noFill/>
        </p:spPr>
        <p:txBody>
          <a:bodyPr wrap="square" rtlCol="0" anchor="ctr">
            <a:noAutofit/>
          </a:bodyPr>
          <a:lstStyle/>
          <a:p>
            <a:pPr rtl="0">
              <a:spcAft>
                <a:spcPts val="0"/>
              </a:spcAft>
            </a:pPr>
            <a:r>
              <a:rPr lang="en-gb" sz="1400">
                <a:solidFill>
                  <a:schemeClr val="tx1"/>
                </a:solidFill>
              </a:rPr>
              <a:t>If bleeding continues for more than 20 minutes, call an ambulance.</a:t>
            </a:r>
          </a:p>
        </p:txBody>
      </p:sp>
      <p:cxnSp>
        <p:nvCxnSpPr>
          <p:cNvPr id="47" name="Straight Connector 46">
            <a:extLst>
              <a:ext uri="{FF2B5EF4-FFF2-40B4-BE49-F238E27FC236}">
                <a16:creationId xmlns:a16="http://schemas.microsoft.com/office/drawing/2014/main" id="{75F516F0-AA92-7B38-0A79-CD97D2B45E94}"/>
              </a:ext>
            </a:extLst>
          </p:cNvPr>
          <p:cNvCxnSpPr>
            <a:cxnSpLocks/>
          </p:cNvCxnSpPr>
          <p:nvPr/>
        </p:nvCxnSpPr>
        <p:spPr>
          <a:xfrm>
            <a:off x="1297953" y="3125391"/>
            <a:ext cx="2673973"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8" name="Straight Connector 47">
            <a:extLst>
              <a:ext uri="{FF2B5EF4-FFF2-40B4-BE49-F238E27FC236}">
                <a16:creationId xmlns:a16="http://schemas.microsoft.com/office/drawing/2014/main" id="{1E9D0D5C-B75F-8EE8-8770-9E84B26DEFEA}"/>
              </a:ext>
            </a:extLst>
          </p:cNvPr>
          <p:cNvCxnSpPr>
            <a:cxnSpLocks/>
          </p:cNvCxnSpPr>
          <p:nvPr/>
        </p:nvCxnSpPr>
        <p:spPr>
          <a:xfrm>
            <a:off x="1297954" y="3738166"/>
            <a:ext cx="2673973"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9" name="Straight Connector 48">
            <a:extLst>
              <a:ext uri="{FF2B5EF4-FFF2-40B4-BE49-F238E27FC236}">
                <a16:creationId xmlns:a16="http://schemas.microsoft.com/office/drawing/2014/main" id="{CB33DCF4-5BB0-8786-EFBF-C12964EE6DEB}"/>
              </a:ext>
            </a:extLst>
          </p:cNvPr>
          <p:cNvCxnSpPr>
            <a:cxnSpLocks/>
          </p:cNvCxnSpPr>
          <p:nvPr/>
        </p:nvCxnSpPr>
        <p:spPr>
          <a:xfrm>
            <a:off x="1297955" y="4350941"/>
            <a:ext cx="2673973"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0" name="Straight Connector 49">
            <a:extLst>
              <a:ext uri="{FF2B5EF4-FFF2-40B4-BE49-F238E27FC236}">
                <a16:creationId xmlns:a16="http://schemas.microsoft.com/office/drawing/2014/main" id="{F0C24945-8A0F-EBD8-B81E-10A4082D2F17}"/>
              </a:ext>
            </a:extLst>
          </p:cNvPr>
          <p:cNvCxnSpPr>
            <a:cxnSpLocks/>
          </p:cNvCxnSpPr>
          <p:nvPr/>
        </p:nvCxnSpPr>
        <p:spPr>
          <a:xfrm>
            <a:off x="1297956" y="4817169"/>
            <a:ext cx="2673973"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1" name="Straight Connector 50">
            <a:extLst>
              <a:ext uri="{FF2B5EF4-FFF2-40B4-BE49-F238E27FC236}">
                <a16:creationId xmlns:a16="http://schemas.microsoft.com/office/drawing/2014/main" id="{A25EECBE-4750-2EBF-464A-3DB80C53CD54}"/>
              </a:ext>
            </a:extLst>
          </p:cNvPr>
          <p:cNvCxnSpPr>
            <a:cxnSpLocks/>
          </p:cNvCxnSpPr>
          <p:nvPr/>
        </p:nvCxnSpPr>
        <p:spPr>
          <a:xfrm>
            <a:off x="1297953" y="5426090"/>
            <a:ext cx="2673973"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5" name="Straight Connector 54">
            <a:extLst>
              <a:ext uri="{FF2B5EF4-FFF2-40B4-BE49-F238E27FC236}">
                <a16:creationId xmlns:a16="http://schemas.microsoft.com/office/drawing/2014/main" id="{4EBDF314-5EDE-BA73-95C4-434B6B2721DA}"/>
              </a:ext>
            </a:extLst>
          </p:cNvPr>
          <p:cNvCxnSpPr>
            <a:cxnSpLocks/>
            <a:stCxn id="56" idx="4"/>
            <a:endCxn id="70" idx="3"/>
          </p:cNvCxnSpPr>
          <p:nvPr/>
        </p:nvCxnSpPr>
        <p:spPr>
          <a:xfrm>
            <a:off x="864002" y="2793181"/>
            <a:ext cx="0" cy="3129936"/>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56" name="Oval 55">
            <a:extLst>
              <a:ext uri="{FF2B5EF4-FFF2-40B4-BE49-F238E27FC236}">
                <a16:creationId xmlns:a16="http://schemas.microsoft.com/office/drawing/2014/main" id="{EF8AC938-0683-F249-2812-36AFBA08177B}"/>
              </a:ext>
            </a:extLst>
          </p:cNvPr>
          <p:cNvSpPr/>
          <p:nvPr/>
        </p:nvSpPr>
        <p:spPr>
          <a:xfrm>
            <a:off x="791612" y="2648401"/>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57" name="Isosceles Triangle 56">
            <a:extLst>
              <a:ext uri="{FF2B5EF4-FFF2-40B4-BE49-F238E27FC236}">
                <a16:creationId xmlns:a16="http://schemas.microsoft.com/office/drawing/2014/main" id="{1B5B27A5-6369-2B0B-D64C-8DD37DC80988}"/>
              </a:ext>
            </a:extLst>
          </p:cNvPr>
          <p:cNvSpPr/>
          <p:nvPr/>
        </p:nvSpPr>
        <p:spPr>
          <a:xfrm flipV="1">
            <a:off x="690171" y="3107459"/>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58" name="Isosceles Triangle 57">
            <a:extLst>
              <a:ext uri="{FF2B5EF4-FFF2-40B4-BE49-F238E27FC236}">
                <a16:creationId xmlns:a16="http://schemas.microsoft.com/office/drawing/2014/main" id="{EF9E905A-D50C-3E90-1C9D-86E46A504CB8}"/>
              </a:ext>
            </a:extLst>
          </p:cNvPr>
          <p:cNvSpPr/>
          <p:nvPr/>
        </p:nvSpPr>
        <p:spPr>
          <a:xfrm flipV="1">
            <a:off x="690171" y="4801685"/>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59" name="Isosceles Triangle 58">
            <a:extLst>
              <a:ext uri="{FF2B5EF4-FFF2-40B4-BE49-F238E27FC236}">
                <a16:creationId xmlns:a16="http://schemas.microsoft.com/office/drawing/2014/main" id="{9ED3828D-80C3-0C76-D826-216087FF834D}"/>
              </a:ext>
            </a:extLst>
          </p:cNvPr>
          <p:cNvSpPr/>
          <p:nvPr/>
        </p:nvSpPr>
        <p:spPr>
          <a:xfrm flipV="1">
            <a:off x="690171" y="5411952"/>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63" name="Isosceles Triangle 62">
            <a:extLst>
              <a:ext uri="{FF2B5EF4-FFF2-40B4-BE49-F238E27FC236}">
                <a16:creationId xmlns:a16="http://schemas.microsoft.com/office/drawing/2014/main" id="{68241AB8-7A1C-9F53-9307-E9F0A324B378}"/>
              </a:ext>
            </a:extLst>
          </p:cNvPr>
          <p:cNvSpPr/>
          <p:nvPr/>
        </p:nvSpPr>
        <p:spPr>
          <a:xfrm flipV="1">
            <a:off x="690171" y="4333653"/>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64" name="Isosceles Triangle 63">
            <a:extLst>
              <a:ext uri="{FF2B5EF4-FFF2-40B4-BE49-F238E27FC236}">
                <a16:creationId xmlns:a16="http://schemas.microsoft.com/office/drawing/2014/main" id="{184460E1-8D1F-7F1D-1031-BBCB54EAC1A5}"/>
              </a:ext>
            </a:extLst>
          </p:cNvPr>
          <p:cNvSpPr/>
          <p:nvPr/>
        </p:nvSpPr>
        <p:spPr>
          <a:xfrm flipV="1">
            <a:off x="690171" y="3720556"/>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70" name="Isosceles Triangle 69">
            <a:extLst>
              <a:ext uri="{FF2B5EF4-FFF2-40B4-BE49-F238E27FC236}">
                <a16:creationId xmlns:a16="http://schemas.microsoft.com/office/drawing/2014/main" id="{B4EA43FC-B71F-E2B9-710A-27D4002E4B75}"/>
              </a:ext>
            </a:extLst>
          </p:cNvPr>
          <p:cNvSpPr/>
          <p:nvPr/>
        </p:nvSpPr>
        <p:spPr>
          <a:xfrm flipV="1">
            <a:off x="809233" y="5923117"/>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79" name="Content Placeholder 1">
            <a:extLst>
              <a:ext uri="{FF2B5EF4-FFF2-40B4-BE49-F238E27FC236}">
                <a16:creationId xmlns:a16="http://schemas.microsoft.com/office/drawing/2014/main" id="{87F7A6B9-1CF6-094D-F7BA-CBE76FF40CD8}"/>
              </a:ext>
            </a:extLst>
          </p:cNvPr>
          <p:cNvSpPr txBox="1">
            <a:spLocks/>
          </p:cNvSpPr>
          <p:nvPr/>
        </p:nvSpPr>
        <p:spPr>
          <a:xfrm>
            <a:off x="4327525" y="3144673"/>
            <a:ext cx="630238"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2</a:t>
            </a:r>
          </a:p>
        </p:txBody>
      </p:sp>
      <p:sp>
        <p:nvSpPr>
          <p:cNvPr id="80" name="Content Placeholder 1">
            <a:extLst>
              <a:ext uri="{FF2B5EF4-FFF2-40B4-BE49-F238E27FC236}">
                <a16:creationId xmlns:a16="http://schemas.microsoft.com/office/drawing/2014/main" id="{16815F6A-90AC-26E9-2E55-8EF39A0E08F7}"/>
              </a:ext>
            </a:extLst>
          </p:cNvPr>
          <p:cNvSpPr txBox="1">
            <a:spLocks/>
          </p:cNvSpPr>
          <p:nvPr/>
        </p:nvSpPr>
        <p:spPr>
          <a:xfrm>
            <a:off x="4327525" y="3757555"/>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3</a:t>
            </a:r>
          </a:p>
        </p:txBody>
      </p:sp>
      <p:sp>
        <p:nvSpPr>
          <p:cNvPr id="81" name="Content Placeholder 1">
            <a:extLst>
              <a:ext uri="{FF2B5EF4-FFF2-40B4-BE49-F238E27FC236}">
                <a16:creationId xmlns:a16="http://schemas.microsoft.com/office/drawing/2014/main" id="{2AE5C254-0775-5E9E-C4A3-AFFBD981C705}"/>
              </a:ext>
            </a:extLst>
          </p:cNvPr>
          <p:cNvSpPr txBox="1">
            <a:spLocks/>
          </p:cNvSpPr>
          <p:nvPr/>
        </p:nvSpPr>
        <p:spPr>
          <a:xfrm>
            <a:off x="4327525" y="4370437"/>
            <a:ext cx="630238" cy="900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4</a:t>
            </a:r>
          </a:p>
        </p:txBody>
      </p:sp>
      <p:sp>
        <p:nvSpPr>
          <p:cNvPr id="82" name="Content Placeholder 1">
            <a:extLst>
              <a:ext uri="{FF2B5EF4-FFF2-40B4-BE49-F238E27FC236}">
                <a16:creationId xmlns:a16="http://schemas.microsoft.com/office/drawing/2014/main" id="{3496C5D2-4C26-CB01-2C95-A713E9BDE03B}"/>
              </a:ext>
            </a:extLst>
          </p:cNvPr>
          <p:cNvSpPr txBox="1">
            <a:spLocks/>
          </p:cNvSpPr>
          <p:nvPr/>
        </p:nvSpPr>
        <p:spPr>
          <a:xfrm>
            <a:off x="4327525" y="5308202"/>
            <a:ext cx="630238" cy="864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5</a:t>
            </a:r>
          </a:p>
        </p:txBody>
      </p:sp>
      <p:sp>
        <p:nvSpPr>
          <p:cNvPr id="84" name="Content Placeholder 1">
            <a:extLst>
              <a:ext uri="{FF2B5EF4-FFF2-40B4-BE49-F238E27FC236}">
                <a16:creationId xmlns:a16="http://schemas.microsoft.com/office/drawing/2014/main" id="{D4A32B2F-B3D8-0539-000F-E02C9DDDEFA7}"/>
              </a:ext>
            </a:extLst>
          </p:cNvPr>
          <p:cNvSpPr txBox="1">
            <a:spLocks/>
          </p:cNvSpPr>
          <p:nvPr/>
        </p:nvSpPr>
        <p:spPr>
          <a:xfrm>
            <a:off x="4327525" y="2531791"/>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1</a:t>
            </a:r>
          </a:p>
        </p:txBody>
      </p:sp>
      <p:sp>
        <p:nvSpPr>
          <p:cNvPr id="85" name="Rectangle 84">
            <a:extLst>
              <a:ext uri="{FF2B5EF4-FFF2-40B4-BE49-F238E27FC236}">
                <a16:creationId xmlns:a16="http://schemas.microsoft.com/office/drawing/2014/main" id="{10617D98-D6CF-8134-79EE-B9DAC8569D40}"/>
              </a:ext>
            </a:extLst>
          </p:cNvPr>
          <p:cNvSpPr/>
          <p:nvPr/>
        </p:nvSpPr>
        <p:spPr>
          <a:xfrm>
            <a:off x="4329114" y="1822554"/>
            <a:ext cx="3529012"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tx1"/>
                </a:solidFill>
              </a:rPr>
              <a:t>Bleeding after a knocked-out tooth</a:t>
            </a:r>
          </a:p>
        </p:txBody>
      </p:sp>
      <p:sp>
        <p:nvSpPr>
          <p:cNvPr id="86" name="Content Placeholder 1">
            <a:extLst>
              <a:ext uri="{FF2B5EF4-FFF2-40B4-BE49-F238E27FC236}">
                <a16:creationId xmlns:a16="http://schemas.microsoft.com/office/drawing/2014/main" id="{04D1CEFF-A4EB-4E20-61F6-E79E1BB2F050}"/>
              </a:ext>
            </a:extLst>
          </p:cNvPr>
          <p:cNvSpPr txBox="1">
            <a:spLocks/>
          </p:cNvSpPr>
          <p:nvPr/>
        </p:nvSpPr>
        <p:spPr>
          <a:xfrm>
            <a:off x="7282126"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87" name="Content Placeholder 1">
            <a:extLst>
              <a:ext uri="{FF2B5EF4-FFF2-40B4-BE49-F238E27FC236}">
                <a16:creationId xmlns:a16="http://schemas.microsoft.com/office/drawing/2014/main" id="{4CB3E58A-911C-3CA9-AEAF-C39B39D18A9F}"/>
              </a:ext>
            </a:extLst>
          </p:cNvPr>
          <p:cNvSpPr txBox="1">
            <a:spLocks/>
          </p:cNvSpPr>
          <p:nvPr/>
        </p:nvSpPr>
        <p:spPr>
          <a:xfrm>
            <a:off x="7210738"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88" name="TextBox 87">
            <a:extLst>
              <a:ext uri="{FF2B5EF4-FFF2-40B4-BE49-F238E27FC236}">
                <a16:creationId xmlns:a16="http://schemas.microsoft.com/office/drawing/2014/main" id="{436E5142-1A97-F9A9-CFC9-DB97889540F3}"/>
              </a:ext>
            </a:extLst>
          </p:cNvPr>
          <p:cNvSpPr txBox="1"/>
          <p:nvPr/>
        </p:nvSpPr>
        <p:spPr>
          <a:xfrm>
            <a:off x="5184153" y="2532063"/>
            <a:ext cx="2673973" cy="576263"/>
          </a:xfrm>
          <a:prstGeom prst="rect">
            <a:avLst/>
          </a:prstGeom>
          <a:noFill/>
        </p:spPr>
        <p:txBody>
          <a:bodyPr wrap="square" rtlCol="0" anchor="ctr">
            <a:noAutofit/>
          </a:bodyPr>
          <a:lstStyle/>
          <a:p>
            <a:pPr rtl="0">
              <a:spcAft>
                <a:spcPts val="0"/>
              </a:spcAft>
            </a:pPr>
            <a:r>
              <a:rPr lang="en-gb" sz="1400">
                <a:solidFill>
                  <a:schemeClr val="tx1"/>
                </a:solidFill>
              </a:rPr>
              <a:t>Wear waterproof gloves.</a:t>
            </a:r>
          </a:p>
        </p:txBody>
      </p:sp>
      <p:sp>
        <p:nvSpPr>
          <p:cNvPr id="89" name="TextBox 88">
            <a:extLst>
              <a:ext uri="{FF2B5EF4-FFF2-40B4-BE49-F238E27FC236}">
                <a16:creationId xmlns:a16="http://schemas.microsoft.com/office/drawing/2014/main" id="{E536C4EB-5830-A9C6-7E29-F6EF449FF4C7}"/>
              </a:ext>
            </a:extLst>
          </p:cNvPr>
          <p:cNvSpPr txBox="1"/>
          <p:nvPr/>
        </p:nvSpPr>
        <p:spPr>
          <a:xfrm>
            <a:off x="5184153" y="3144838"/>
            <a:ext cx="2673973" cy="576263"/>
          </a:xfrm>
          <a:prstGeom prst="rect">
            <a:avLst/>
          </a:prstGeom>
          <a:noFill/>
        </p:spPr>
        <p:txBody>
          <a:bodyPr wrap="square" rtlCol="0" anchor="ctr">
            <a:noAutofit/>
          </a:bodyPr>
          <a:lstStyle/>
          <a:p>
            <a:pPr rtl="0">
              <a:spcAft>
                <a:spcPts val="0"/>
              </a:spcAft>
            </a:pPr>
            <a:r>
              <a:rPr lang="en-gb" sz="1400" dirty="0">
                <a:solidFill>
                  <a:schemeClr val="tx1"/>
                </a:solidFill>
              </a:rPr>
              <a:t>Give</a:t>
            </a:r>
            <a:r>
              <a:rPr lang="lv-LV" sz="1400" dirty="0">
                <a:solidFill>
                  <a:schemeClr val="tx1"/>
                </a:solidFill>
              </a:rPr>
              <a:t> </a:t>
            </a:r>
            <a:r>
              <a:rPr lang="en-gb" sz="1400" dirty="0">
                <a:solidFill>
                  <a:schemeClr val="tx1"/>
                </a:solidFill>
              </a:rPr>
              <a:t>cold water</a:t>
            </a:r>
            <a:r>
              <a:rPr lang="lv-LV" sz="1400" dirty="0">
                <a:solidFill>
                  <a:schemeClr val="tx1"/>
                </a:solidFill>
              </a:rPr>
              <a:t> to </a:t>
            </a:r>
            <a:r>
              <a:rPr lang="lv-LV" sz="1400" dirty="0" err="1">
                <a:solidFill>
                  <a:schemeClr val="tx1"/>
                </a:solidFill>
              </a:rPr>
              <a:t>rinse</a:t>
            </a:r>
            <a:r>
              <a:rPr lang="lv-LV" sz="1400" dirty="0">
                <a:solidFill>
                  <a:schemeClr val="tx1"/>
                </a:solidFill>
              </a:rPr>
              <a:t> </a:t>
            </a:r>
            <a:r>
              <a:rPr lang="lv-LV" sz="1400" dirty="0" err="1">
                <a:solidFill>
                  <a:schemeClr val="tx1"/>
                </a:solidFill>
              </a:rPr>
              <a:t>the</a:t>
            </a:r>
            <a:r>
              <a:rPr lang="lv-LV" sz="1400" dirty="0">
                <a:solidFill>
                  <a:schemeClr val="tx1"/>
                </a:solidFill>
              </a:rPr>
              <a:t> </a:t>
            </a:r>
            <a:r>
              <a:rPr lang="lv-LV" sz="1400" dirty="0" err="1">
                <a:solidFill>
                  <a:schemeClr val="tx1"/>
                </a:solidFill>
              </a:rPr>
              <a:t>mouth</a:t>
            </a:r>
            <a:r>
              <a:rPr lang="en-gb" sz="1400" dirty="0">
                <a:solidFill>
                  <a:schemeClr val="tx1"/>
                </a:solidFill>
              </a:rPr>
              <a:t>.</a:t>
            </a:r>
          </a:p>
        </p:txBody>
      </p:sp>
      <p:sp>
        <p:nvSpPr>
          <p:cNvPr id="90" name="TextBox 89">
            <a:extLst>
              <a:ext uri="{FF2B5EF4-FFF2-40B4-BE49-F238E27FC236}">
                <a16:creationId xmlns:a16="http://schemas.microsoft.com/office/drawing/2014/main" id="{225CAB37-79D8-77DD-6CFF-B862D382D619}"/>
              </a:ext>
            </a:extLst>
          </p:cNvPr>
          <p:cNvSpPr txBox="1"/>
          <p:nvPr/>
        </p:nvSpPr>
        <p:spPr>
          <a:xfrm>
            <a:off x="5184153" y="4532306"/>
            <a:ext cx="2673973" cy="576263"/>
          </a:xfrm>
          <a:prstGeom prst="rect">
            <a:avLst/>
          </a:prstGeom>
          <a:noFill/>
        </p:spPr>
        <p:txBody>
          <a:bodyPr wrap="square" rtlCol="0" anchor="ctr">
            <a:noAutofit/>
          </a:bodyPr>
          <a:lstStyle/>
          <a:p>
            <a:pPr rtl="0">
              <a:spcAft>
                <a:spcPts val="0"/>
              </a:spcAft>
            </a:pPr>
            <a:r>
              <a:rPr lang="en-gb" sz="1400" dirty="0">
                <a:solidFill>
                  <a:schemeClr val="tx1"/>
                </a:solidFill>
              </a:rPr>
              <a:t>Make the victim bite </a:t>
            </a:r>
            <a:r>
              <a:rPr lang="lv-LV" sz="1400" dirty="0" err="1">
                <a:solidFill>
                  <a:schemeClr val="tx1"/>
                </a:solidFill>
              </a:rPr>
              <a:t>their</a:t>
            </a:r>
            <a:r>
              <a:rPr lang="lv-LV" sz="1400" dirty="0">
                <a:solidFill>
                  <a:schemeClr val="tx1"/>
                </a:solidFill>
              </a:rPr>
              <a:t> </a:t>
            </a:r>
            <a:r>
              <a:rPr lang="en-gb" sz="1400" dirty="0">
                <a:solidFill>
                  <a:schemeClr val="tx1"/>
                </a:solidFill>
              </a:rPr>
              <a:t>teeth </a:t>
            </a:r>
            <a:r>
              <a:rPr lang="lv-LV" sz="1400" dirty="0">
                <a:solidFill>
                  <a:schemeClr val="tx1"/>
                </a:solidFill>
              </a:rPr>
              <a:t>to </a:t>
            </a:r>
            <a:r>
              <a:rPr lang="lv-LV" sz="1400" dirty="0" err="1">
                <a:solidFill>
                  <a:schemeClr val="tx1"/>
                </a:solidFill>
              </a:rPr>
              <a:t>keep</a:t>
            </a:r>
            <a:r>
              <a:rPr lang="lv-LV" sz="1400" dirty="0">
                <a:solidFill>
                  <a:schemeClr val="tx1"/>
                </a:solidFill>
              </a:rPr>
              <a:t> </a:t>
            </a:r>
            <a:r>
              <a:rPr lang="lv-LV" sz="1400" dirty="0" err="1">
                <a:solidFill>
                  <a:schemeClr val="tx1"/>
                </a:solidFill>
              </a:rPr>
              <a:t>the</a:t>
            </a:r>
            <a:r>
              <a:rPr lang="en-gb" sz="1400" dirty="0">
                <a:solidFill>
                  <a:schemeClr val="tx1"/>
                </a:solidFill>
              </a:rPr>
              <a:t> compress to the bleeding area.</a:t>
            </a:r>
          </a:p>
        </p:txBody>
      </p:sp>
      <p:sp>
        <p:nvSpPr>
          <p:cNvPr id="91" name="TextBox 90">
            <a:extLst>
              <a:ext uri="{FF2B5EF4-FFF2-40B4-BE49-F238E27FC236}">
                <a16:creationId xmlns:a16="http://schemas.microsoft.com/office/drawing/2014/main" id="{AD8719CE-1154-0150-C638-F14ED1164F38}"/>
              </a:ext>
            </a:extLst>
          </p:cNvPr>
          <p:cNvSpPr txBox="1"/>
          <p:nvPr/>
        </p:nvSpPr>
        <p:spPr>
          <a:xfrm>
            <a:off x="5184153" y="5452071"/>
            <a:ext cx="2673973" cy="576263"/>
          </a:xfrm>
          <a:prstGeom prst="rect">
            <a:avLst/>
          </a:prstGeom>
          <a:noFill/>
        </p:spPr>
        <p:txBody>
          <a:bodyPr wrap="square" rtlCol="0" anchor="ctr">
            <a:noAutofit/>
          </a:bodyPr>
          <a:lstStyle/>
          <a:p>
            <a:pPr rtl="0">
              <a:spcAft>
                <a:spcPts val="0"/>
              </a:spcAft>
            </a:pPr>
            <a:r>
              <a:rPr lang="en-gb" sz="1400">
                <a:solidFill>
                  <a:schemeClr val="tx1"/>
                </a:solidFill>
              </a:rPr>
              <a:t>Call an ambulance or advise the victim to see a dentist. </a:t>
            </a:r>
          </a:p>
        </p:txBody>
      </p:sp>
      <p:sp>
        <p:nvSpPr>
          <p:cNvPr id="92" name="TextBox 91">
            <a:extLst>
              <a:ext uri="{FF2B5EF4-FFF2-40B4-BE49-F238E27FC236}">
                <a16:creationId xmlns:a16="http://schemas.microsoft.com/office/drawing/2014/main" id="{9D38CD76-42E2-0F88-D2E4-FBE4A7B73C45}"/>
              </a:ext>
            </a:extLst>
          </p:cNvPr>
          <p:cNvSpPr txBox="1"/>
          <p:nvPr/>
        </p:nvSpPr>
        <p:spPr>
          <a:xfrm>
            <a:off x="5184153" y="3757613"/>
            <a:ext cx="2673973" cy="576263"/>
          </a:xfrm>
          <a:prstGeom prst="rect">
            <a:avLst/>
          </a:prstGeom>
          <a:noFill/>
        </p:spPr>
        <p:txBody>
          <a:bodyPr wrap="square" rtlCol="0" anchor="ctr">
            <a:noAutofit/>
          </a:bodyPr>
          <a:lstStyle/>
          <a:p>
            <a:pPr rtl="0">
              <a:spcAft>
                <a:spcPts val="0"/>
              </a:spcAft>
            </a:pPr>
            <a:r>
              <a:rPr lang="en-gb" sz="1400">
                <a:solidFill>
                  <a:schemeClr val="tx1"/>
                </a:solidFill>
              </a:rPr>
              <a:t>Put a folded compress on the bleeding area.</a:t>
            </a:r>
          </a:p>
        </p:txBody>
      </p:sp>
      <p:cxnSp>
        <p:nvCxnSpPr>
          <p:cNvPr id="94" name="Straight Connector 93">
            <a:extLst>
              <a:ext uri="{FF2B5EF4-FFF2-40B4-BE49-F238E27FC236}">
                <a16:creationId xmlns:a16="http://schemas.microsoft.com/office/drawing/2014/main" id="{AF2030D2-26EA-4127-8449-5E0C1DA91A56}"/>
              </a:ext>
            </a:extLst>
          </p:cNvPr>
          <p:cNvCxnSpPr>
            <a:cxnSpLocks/>
          </p:cNvCxnSpPr>
          <p:nvPr/>
        </p:nvCxnSpPr>
        <p:spPr>
          <a:xfrm>
            <a:off x="5184153" y="3125391"/>
            <a:ext cx="2673973"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95" name="Straight Connector 94">
            <a:extLst>
              <a:ext uri="{FF2B5EF4-FFF2-40B4-BE49-F238E27FC236}">
                <a16:creationId xmlns:a16="http://schemas.microsoft.com/office/drawing/2014/main" id="{A850844E-2AA8-6B27-DAB2-625546B9F9ED}"/>
              </a:ext>
            </a:extLst>
          </p:cNvPr>
          <p:cNvCxnSpPr>
            <a:cxnSpLocks/>
          </p:cNvCxnSpPr>
          <p:nvPr/>
        </p:nvCxnSpPr>
        <p:spPr>
          <a:xfrm>
            <a:off x="5184154" y="3738166"/>
            <a:ext cx="2673973"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96" name="Straight Connector 95">
            <a:extLst>
              <a:ext uri="{FF2B5EF4-FFF2-40B4-BE49-F238E27FC236}">
                <a16:creationId xmlns:a16="http://schemas.microsoft.com/office/drawing/2014/main" id="{DDBB901D-7628-ED8C-4EA4-A37A674AD7D3}"/>
              </a:ext>
            </a:extLst>
          </p:cNvPr>
          <p:cNvCxnSpPr>
            <a:cxnSpLocks/>
          </p:cNvCxnSpPr>
          <p:nvPr/>
        </p:nvCxnSpPr>
        <p:spPr>
          <a:xfrm>
            <a:off x="5184155" y="4350941"/>
            <a:ext cx="2673973"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97" name="Straight Connector 96">
            <a:extLst>
              <a:ext uri="{FF2B5EF4-FFF2-40B4-BE49-F238E27FC236}">
                <a16:creationId xmlns:a16="http://schemas.microsoft.com/office/drawing/2014/main" id="{B18D4479-B1AE-DC6B-BBC5-FE673E8AFC2D}"/>
              </a:ext>
            </a:extLst>
          </p:cNvPr>
          <p:cNvCxnSpPr>
            <a:cxnSpLocks/>
          </p:cNvCxnSpPr>
          <p:nvPr/>
        </p:nvCxnSpPr>
        <p:spPr>
          <a:xfrm>
            <a:off x="5184156" y="5287559"/>
            <a:ext cx="2673973"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99" name="Straight Connector 98">
            <a:extLst>
              <a:ext uri="{FF2B5EF4-FFF2-40B4-BE49-F238E27FC236}">
                <a16:creationId xmlns:a16="http://schemas.microsoft.com/office/drawing/2014/main" id="{CD0347C9-AB78-F3FF-4D24-EFD1D1FEF8DE}"/>
              </a:ext>
            </a:extLst>
          </p:cNvPr>
          <p:cNvCxnSpPr>
            <a:cxnSpLocks/>
            <a:stCxn id="100" idx="4"/>
            <a:endCxn id="106" idx="3"/>
          </p:cNvCxnSpPr>
          <p:nvPr/>
        </p:nvCxnSpPr>
        <p:spPr>
          <a:xfrm>
            <a:off x="4750202" y="2793181"/>
            <a:ext cx="0" cy="3129936"/>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100" name="Oval 99">
            <a:extLst>
              <a:ext uri="{FF2B5EF4-FFF2-40B4-BE49-F238E27FC236}">
                <a16:creationId xmlns:a16="http://schemas.microsoft.com/office/drawing/2014/main" id="{C1C21A94-E2BF-67B5-6ECF-CA5472E17FFC}"/>
              </a:ext>
            </a:extLst>
          </p:cNvPr>
          <p:cNvSpPr/>
          <p:nvPr/>
        </p:nvSpPr>
        <p:spPr>
          <a:xfrm>
            <a:off x="4677812" y="2648401"/>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01" name="Isosceles Triangle 100">
            <a:extLst>
              <a:ext uri="{FF2B5EF4-FFF2-40B4-BE49-F238E27FC236}">
                <a16:creationId xmlns:a16="http://schemas.microsoft.com/office/drawing/2014/main" id="{949AD25A-08F7-1101-82F6-5EAF64E4F68B}"/>
              </a:ext>
            </a:extLst>
          </p:cNvPr>
          <p:cNvSpPr/>
          <p:nvPr/>
        </p:nvSpPr>
        <p:spPr>
          <a:xfrm flipV="1">
            <a:off x="4576371" y="3107459"/>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102" name="Isosceles Triangle 101">
            <a:extLst>
              <a:ext uri="{FF2B5EF4-FFF2-40B4-BE49-F238E27FC236}">
                <a16:creationId xmlns:a16="http://schemas.microsoft.com/office/drawing/2014/main" id="{3AD602C8-D760-A602-6D10-7C3BCFA9AF31}"/>
              </a:ext>
            </a:extLst>
          </p:cNvPr>
          <p:cNvSpPr/>
          <p:nvPr/>
        </p:nvSpPr>
        <p:spPr>
          <a:xfrm flipV="1">
            <a:off x="4576371" y="5265043"/>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104" name="Isosceles Triangle 103">
            <a:extLst>
              <a:ext uri="{FF2B5EF4-FFF2-40B4-BE49-F238E27FC236}">
                <a16:creationId xmlns:a16="http://schemas.microsoft.com/office/drawing/2014/main" id="{6ECB0DF2-82AB-89C9-B184-98632B57D019}"/>
              </a:ext>
            </a:extLst>
          </p:cNvPr>
          <p:cNvSpPr/>
          <p:nvPr/>
        </p:nvSpPr>
        <p:spPr>
          <a:xfrm flipV="1">
            <a:off x="4576371" y="4333653"/>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105" name="Isosceles Triangle 104">
            <a:extLst>
              <a:ext uri="{FF2B5EF4-FFF2-40B4-BE49-F238E27FC236}">
                <a16:creationId xmlns:a16="http://schemas.microsoft.com/office/drawing/2014/main" id="{1A477AC6-AFC4-98EF-1AE1-BDD9449A9C71}"/>
              </a:ext>
            </a:extLst>
          </p:cNvPr>
          <p:cNvSpPr/>
          <p:nvPr/>
        </p:nvSpPr>
        <p:spPr>
          <a:xfrm flipV="1">
            <a:off x="4576371" y="3720556"/>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106" name="Isosceles Triangle 105">
            <a:extLst>
              <a:ext uri="{FF2B5EF4-FFF2-40B4-BE49-F238E27FC236}">
                <a16:creationId xmlns:a16="http://schemas.microsoft.com/office/drawing/2014/main" id="{C8148559-D7B9-52FE-DEB1-909CBAA88FAB}"/>
              </a:ext>
            </a:extLst>
          </p:cNvPr>
          <p:cNvSpPr/>
          <p:nvPr/>
        </p:nvSpPr>
        <p:spPr>
          <a:xfrm flipV="1">
            <a:off x="4695433" y="5923117"/>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109" name="Content Placeholder 1">
            <a:extLst>
              <a:ext uri="{FF2B5EF4-FFF2-40B4-BE49-F238E27FC236}">
                <a16:creationId xmlns:a16="http://schemas.microsoft.com/office/drawing/2014/main" id="{18B93944-D412-CC38-7DFC-9270EBD14334}"/>
              </a:ext>
            </a:extLst>
          </p:cNvPr>
          <p:cNvSpPr txBox="1">
            <a:spLocks/>
          </p:cNvSpPr>
          <p:nvPr/>
        </p:nvSpPr>
        <p:spPr>
          <a:xfrm>
            <a:off x="8218484" y="4370436"/>
            <a:ext cx="630238" cy="1801763"/>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2</a:t>
            </a:r>
          </a:p>
        </p:txBody>
      </p:sp>
      <p:sp>
        <p:nvSpPr>
          <p:cNvPr id="114" name="Content Placeholder 1">
            <a:extLst>
              <a:ext uri="{FF2B5EF4-FFF2-40B4-BE49-F238E27FC236}">
                <a16:creationId xmlns:a16="http://schemas.microsoft.com/office/drawing/2014/main" id="{1D349B7B-CF01-BB47-719D-2135483170D2}"/>
              </a:ext>
            </a:extLst>
          </p:cNvPr>
          <p:cNvSpPr txBox="1">
            <a:spLocks/>
          </p:cNvSpPr>
          <p:nvPr/>
        </p:nvSpPr>
        <p:spPr>
          <a:xfrm>
            <a:off x="8218484" y="2531791"/>
            <a:ext cx="630238" cy="1798242"/>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1</a:t>
            </a:r>
          </a:p>
        </p:txBody>
      </p:sp>
      <p:sp>
        <p:nvSpPr>
          <p:cNvPr id="115" name="Rectangle 114">
            <a:extLst>
              <a:ext uri="{FF2B5EF4-FFF2-40B4-BE49-F238E27FC236}">
                <a16:creationId xmlns:a16="http://schemas.microsoft.com/office/drawing/2014/main" id="{8549DEA3-738D-4038-A2EA-5970EA360AF1}"/>
              </a:ext>
            </a:extLst>
          </p:cNvPr>
          <p:cNvSpPr/>
          <p:nvPr/>
        </p:nvSpPr>
        <p:spPr>
          <a:xfrm>
            <a:off x="8220073" y="1822554"/>
            <a:ext cx="3529012"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tx1"/>
                </a:solidFill>
              </a:rPr>
              <a:t>Wounds without heavy bleeding</a:t>
            </a:r>
          </a:p>
        </p:txBody>
      </p:sp>
      <p:sp>
        <p:nvSpPr>
          <p:cNvPr id="116" name="Content Placeholder 1">
            <a:extLst>
              <a:ext uri="{FF2B5EF4-FFF2-40B4-BE49-F238E27FC236}">
                <a16:creationId xmlns:a16="http://schemas.microsoft.com/office/drawing/2014/main" id="{C03AF2E5-BCD7-91A5-754B-A3C3CE8888A3}"/>
              </a:ext>
            </a:extLst>
          </p:cNvPr>
          <p:cNvSpPr txBox="1">
            <a:spLocks/>
          </p:cNvSpPr>
          <p:nvPr/>
        </p:nvSpPr>
        <p:spPr>
          <a:xfrm>
            <a:off x="11173085"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17" name="Content Placeholder 1">
            <a:extLst>
              <a:ext uri="{FF2B5EF4-FFF2-40B4-BE49-F238E27FC236}">
                <a16:creationId xmlns:a16="http://schemas.microsoft.com/office/drawing/2014/main" id="{E817571C-E1FA-79E3-9C69-31CEFBBB9590}"/>
              </a:ext>
            </a:extLst>
          </p:cNvPr>
          <p:cNvSpPr txBox="1">
            <a:spLocks/>
          </p:cNvSpPr>
          <p:nvPr/>
        </p:nvSpPr>
        <p:spPr>
          <a:xfrm>
            <a:off x="11101697"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18" name="TextBox 117">
            <a:extLst>
              <a:ext uri="{FF2B5EF4-FFF2-40B4-BE49-F238E27FC236}">
                <a16:creationId xmlns:a16="http://schemas.microsoft.com/office/drawing/2014/main" id="{99E10BF8-C7E4-4C4A-89D4-BF5D9211751E}"/>
              </a:ext>
            </a:extLst>
          </p:cNvPr>
          <p:cNvSpPr txBox="1"/>
          <p:nvPr/>
        </p:nvSpPr>
        <p:spPr>
          <a:xfrm>
            <a:off x="9075112" y="3142781"/>
            <a:ext cx="2673973" cy="576263"/>
          </a:xfrm>
          <a:prstGeom prst="rect">
            <a:avLst/>
          </a:prstGeom>
          <a:noFill/>
        </p:spPr>
        <p:txBody>
          <a:bodyPr wrap="square" rtlCol="0" anchor="ctr">
            <a:noAutofit/>
          </a:bodyPr>
          <a:lstStyle/>
          <a:p>
            <a:pPr rtl="0">
              <a:spcAft>
                <a:spcPts val="0"/>
              </a:spcAft>
            </a:pPr>
            <a:r>
              <a:rPr lang="en-gb" sz="1400">
                <a:solidFill>
                  <a:schemeClr val="tx1"/>
                </a:solidFill>
              </a:rPr>
              <a:t>A dirty abrasion or superficial wound can be rinsed with clean water before dressing.</a:t>
            </a:r>
          </a:p>
        </p:txBody>
      </p:sp>
      <p:sp>
        <p:nvSpPr>
          <p:cNvPr id="119" name="TextBox 118">
            <a:extLst>
              <a:ext uri="{FF2B5EF4-FFF2-40B4-BE49-F238E27FC236}">
                <a16:creationId xmlns:a16="http://schemas.microsoft.com/office/drawing/2014/main" id="{E6F7CE22-8CEE-1A44-5315-4C2E4DE97A7C}"/>
              </a:ext>
            </a:extLst>
          </p:cNvPr>
          <p:cNvSpPr txBox="1"/>
          <p:nvPr/>
        </p:nvSpPr>
        <p:spPr>
          <a:xfrm>
            <a:off x="9075112" y="4983186"/>
            <a:ext cx="2673973" cy="576263"/>
          </a:xfrm>
          <a:prstGeom prst="rect">
            <a:avLst/>
          </a:prstGeom>
          <a:noFill/>
        </p:spPr>
        <p:txBody>
          <a:bodyPr wrap="square" rtlCol="0" anchor="ctr">
            <a:noAutofit/>
          </a:bodyPr>
          <a:lstStyle/>
          <a:p>
            <a:pPr rtl="0">
              <a:spcAft>
                <a:spcPts val="0"/>
              </a:spcAft>
            </a:pPr>
            <a:r>
              <a:rPr lang="en-gb" sz="1400">
                <a:solidFill>
                  <a:schemeClr val="tx1"/>
                </a:solidFill>
              </a:rPr>
              <a:t>Bandage only with dry, preferably sterile, dressings.</a:t>
            </a:r>
          </a:p>
        </p:txBody>
      </p:sp>
      <p:cxnSp>
        <p:nvCxnSpPr>
          <p:cNvPr id="124" name="Straight Connector 123">
            <a:extLst>
              <a:ext uri="{FF2B5EF4-FFF2-40B4-BE49-F238E27FC236}">
                <a16:creationId xmlns:a16="http://schemas.microsoft.com/office/drawing/2014/main" id="{F4B1EDB0-F937-7E75-15EE-D63F022FDE28}"/>
              </a:ext>
            </a:extLst>
          </p:cNvPr>
          <p:cNvCxnSpPr>
            <a:cxnSpLocks/>
          </p:cNvCxnSpPr>
          <p:nvPr/>
        </p:nvCxnSpPr>
        <p:spPr>
          <a:xfrm>
            <a:off x="9075112" y="4348474"/>
            <a:ext cx="2673973"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129" name="Straight Connector 128">
            <a:extLst>
              <a:ext uri="{FF2B5EF4-FFF2-40B4-BE49-F238E27FC236}">
                <a16:creationId xmlns:a16="http://schemas.microsoft.com/office/drawing/2014/main" id="{3AF7C173-E6C5-E60C-6FCC-CC84803A3102}"/>
              </a:ext>
            </a:extLst>
          </p:cNvPr>
          <p:cNvCxnSpPr>
            <a:cxnSpLocks/>
          </p:cNvCxnSpPr>
          <p:nvPr/>
        </p:nvCxnSpPr>
        <p:spPr>
          <a:xfrm>
            <a:off x="8641161" y="2793181"/>
            <a:ext cx="0" cy="3129936"/>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130" name="Oval 129">
            <a:extLst>
              <a:ext uri="{FF2B5EF4-FFF2-40B4-BE49-F238E27FC236}">
                <a16:creationId xmlns:a16="http://schemas.microsoft.com/office/drawing/2014/main" id="{F3803958-7E5B-41E2-B471-D793E213BC07}"/>
              </a:ext>
            </a:extLst>
          </p:cNvPr>
          <p:cNvSpPr/>
          <p:nvPr/>
        </p:nvSpPr>
        <p:spPr>
          <a:xfrm>
            <a:off x="8568771" y="2648401"/>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31" name="Isosceles Triangle 130">
            <a:extLst>
              <a:ext uri="{FF2B5EF4-FFF2-40B4-BE49-F238E27FC236}">
                <a16:creationId xmlns:a16="http://schemas.microsoft.com/office/drawing/2014/main" id="{85968203-D52D-55A1-3723-8D3F3C5AA50E}"/>
              </a:ext>
            </a:extLst>
          </p:cNvPr>
          <p:cNvSpPr/>
          <p:nvPr/>
        </p:nvSpPr>
        <p:spPr>
          <a:xfrm flipV="1">
            <a:off x="8467330" y="4319598"/>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138" name="Isosceles Triangle 137">
            <a:extLst>
              <a:ext uri="{FF2B5EF4-FFF2-40B4-BE49-F238E27FC236}">
                <a16:creationId xmlns:a16="http://schemas.microsoft.com/office/drawing/2014/main" id="{2228D4FF-3C67-5CAD-55F2-0E60F901060B}"/>
              </a:ext>
            </a:extLst>
          </p:cNvPr>
          <p:cNvSpPr/>
          <p:nvPr/>
        </p:nvSpPr>
        <p:spPr>
          <a:xfrm flipV="1">
            <a:off x="8586392" y="5923117"/>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2" name="Google Shape;1533;p92">
            <a:extLst>
              <a:ext uri="{FF2B5EF4-FFF2-40B4-BE49-F238E27FC236}">
                <a16:creationId xmlns:a16="http://schemas.microsoft.com/office/drawing/2014/main" id="{96E90289-07C1-5A7D-A81D-B8B121EFCC45}"/>
              </a:ext>
            </a:extLst>
          </p:cNvPr>
          <p:cNvSpPr/>
          <p:nvPr/>
        </p:nvSpPr>
        <p:spPr>
          <a:xfrm>
            <a:off x="7390126" y="1930554"/>
            <a:ext cx="360000" cy="360000"/>
          </a:xfrm>
          <a:custGeom>
            <a:avLst/>
            <a:gdLst/>
            <a:ahLst/>
            <a:cxnLst/>
            <a:rect l="l" t="t" r="r" b="b"/>
            <a:pathLst>
              <a:path w="576" h="576" extrusionOk="0">
                <a:moveTo>
                  <a:pt x="359" y="112"/>
                </a:moveTo>
                <a:cubicBezTo>
                  <a:pt x="325" y="112"/>
                  <a:pt x="303" y="124"/>
                  <a:pt x="288" y="135"/>
                </a:cubicBezTo>
                <a:cubicBezTo>
                  <a:pt x="273" y="124"/>
                  <a:pt x="251" y="112"/>
                  <a:pt x="216" y="112"/>
                </a:cubicBezTo>
                <a:cubicBezTo>
                  <a:pt x="161" y="112"/>
                  <a:pt x="116" y="157"/>
                  <a:pt x="116" y="213"/>
                </a:cubicBezTo>
                <a:cubicBezTo>
                  <a:pt x="116" y="254"/>
                  <a:pt x="131" y="281"/>
                  <a:pt x="144" y="305"/>
                </a:cubicBezTo>
                <a:cubicBezTo>
                  <a:pt x="147" y="309"/>
                  <a:pt x="147" y="309"/>
                  <a:pt x="147" y="309"/>
                </a:cubicBezTo>
                <a:cubicBezTo>
                  <a:pt x="152" y="320"/>
                  <a:pt x="159" y="332"/>
                  <a:pt x="163" y="344"/>
                </a:cubicBezTo>
                <a:cubicBezTo>
                  <a:pt x="168" y="357"/>
                  <a:pt x="171" y="377"/>
                  <a:pt x="174" y="399"/>
                </a:cubicBezTo>
                <a:cubicBezTo>
                  <a:pt x="174" y="401"/>
                  <a:pt x="174" y="401"/>
                  <a:pt x="174" y="401"/>
                </a:cubicBezTo>
                <a:cubicBezTo>
                  <a:pt x="181" y="445"/>
                  <a:pt x="187" y="491"/>
                  <a:pt x="222" y="491"/>
                </a:cubicBezTo>
                <a:cubicBezTo>
                  <a:pt x="251" y="491"/>
                  <a:pt x="258" y="453"/>
                  <a:pt x="266" y="416"/>
                </a:cubicBezTo>
                <a:cubicBezTo>
                  <a:pt x="266" y="415"/>
                  <a:pt x="266" y="415"/>
                  <a:pt x="266" y="415"/>
                </a:cubicBezTo>
                <a:cubicBezTo>
                  <a:pt x="270" y="394"/>
                  <a:pt x="278" y="358"/>
                  <a:pt x="288" y="358"/>
                </a:cubicBezTo>
                <a:cubicBezTo>
                  <a:pt x="298" y="358"/>
                  <a:pt x="306" y="394"/>
                  <a:pt x="310" y="416"/>
                </a:cubicBezTo>
                <a:cubicBezTo>
                  <a:pt x="311" y="418"/>
                  <a:pt x="311" y="418"/>
                  <a:pt x="311" y="418"/>
                </a:cubicBezTo>
                <a:cubicBezTo>
                  <a:pt x="318" y="455"/>
                  <a:pt x="326" y="491"/>
                  <a:pt x="353" y="491"/>
                </a:cubicBezTo>
                <a:cubicBezTo>
                  <a:pt x="387" y="491"/>
                  <a:pt x="394" y="445"/>
                  <a:pt x="401" y="400"/>
                </a:cubicBezTo>
                <a:cubicBezTo>
                  <a:pt x="402" y="394"/>
                  <a:pt x="402" y="394"/>
                  <a:pt x="402" y="394"/>
                </a:cubicBezTo>
                <a:cubicBezTo>
                  <a:pt x="404" y="376"/>
                  <a:pt x="407" y="357"/>
                  <a:pt x="412" y="344"/>
                </a:cubicBezTo>
                <a:cubicBezTo>
                  <a:pt x="417" y="330"/>
                  <a:pt x="424" y="318"/>
                  <a:pt x="432" y="305"/>
                </a:cubicBezTo>
                <a:cubicBezTo>
                  <a:pt x="445" y="279"/>
                  <a:pt x="460" y="253"/>
                  <a:pt x="460" y="213"/>
                </a:cubicBezTo>
                <a:cubicBezTo>
                  <a:pt x="460" y="157"/>
                  <a:pt x="415" y="112"/>
                  <a:pt x="359" y="112"/>
                </a:cubicBezTo>
                <a:close/>
                <a:moveTo>
                  <a:pt x="363" y="174"/>
                </a:moveTo>
                <a:cubicBezTo>
                  <a:pt x="338" y="174"/>
                  <a:pt x="323" y="164"/>
                  <a:pt x="307" y="151"/>
                </a:cubicBezTo>
                <a:cubicBezTo>
                  <a:pt x="318" y="144"/>
                  <a:pt x="334" y="136"/>
                  <a:pt x="359" y="136"/>
                </a:cubicBezTo>
                <a:cubicBezTo>
                  <a:pt x="402" y="136"/>
                  <a:pt x="436" y="170"/>
                  <a:pt x="436" y="213"/>
                </a:cubicBezTo>
                <a:cubicBezTo>
                  <a:pt x="436" y="246"/>
                  <a:pt x="424" y="268"/>
                  <a:pt x="411" y="292"/>
                </a:cubicBezTo>
                <a:cubicBezTo>
                  <a:pt x="410" y="294"/>
                  <a:pt x="410" y="294"/>
                  <a:pt x="410" y="294"/>
                </a:cubicBezTo>
                <a:cubicBezTo>
                  <a:pt x="409" y="296"/>
                  <a:pt x="408" y="298"/>
                  <a:pt x="406" y="301"/>
                </a:cubicBezTo>
                <a:cubicBezTo>
                  <a:pt x="401" y="312"/>
                  <a:pt x="395" y="323"/>
                  <a:pt x="390" y="336"/>
                </a:cubicBezTo>
                <a:cubicBezTo>
                  <a:pt x="384" y="352"/>
                  <a:pt x="380" y="374"/>
                  <a:pt x="378" y="396"/>
                </a:cubicBezTo>
                <a:cubicBezTo>
                  <a:pt x="378" y="397"/>
                  <a:pt x="378" y="397"/>
                  <a:pt x="378" y="397"/>
                </a:cubicBezTo>
                <a:cubicBezTo>
                  <a:pt x="373" y="426"/>
                  <a:pt x="367" y="467"/>
                  <a:pt x="353" y="467"/>
                </a:cubicBezTo>
                <a:cubicBezTo>
                  <a:pt x="345" y="467"/>
                  <a:pt x="338" y="433"/>
                  <a:pt x="334" y="414"/>
                </a:cubicBezTo>
                <a:cubicBezTo>
                  <a:pt x="334" y="412"/>
                  <a:pt x="334" y="412"/>
                  <a:pt x="334" y="412"/>
                </a:cubicBezTo>
                <a:cubicBezTo>
                  <a:pt x="326" y="374"/>
                  <a:pt x="318" y="335"/>
                  <a:pt x="288" y="335"/>
                </a:cubicBezTo>
                <a:cubicBezTo>
                  <a:pt x="258" y="335"/>
                  <a:pt x="250" y="376"/>
                  <a:pt x="242" y="412"/>
                </a:cubicBezTo>
                <a:cubicBezTo>
                  <a:pt x="242" y="415"/>
                  <a:pt x="242" y="415"/>
                  <a:pt x="242" y="415"/>
                </a:cubicBezTo>
                <a:cubicBezTo>
                  <a:pt x="238" y="435"/>
                  <a:pt x="231" y="467"/>
                  <a:pt x="222" y="467"/>
                </a:cubicBezTo>
                <a:cubicBezTo>
                  <a:pt x="208" y="467"/>
                  <a:pt x="202" y="426"/>
                  <a:pt x="198" y="396"/>
                </a:cubicBezTo>
                <a:cubicBezTo>
                  <a:pt x="197" y="391"/>
                  <a:pt x="197" y="391"/>
                  <a:pt x="197" y="391"/>
                </a:cubicBezTo>
                <a:cubicBezTo>
                  <a:pt x="194" y="371"/>
                  <a:pt x="191" y="351"/>
                  <a:pt x="185" y="336"/>
                </a:cubicBezTo>
                <a:cubicBezTo>
                  <a:pt x="180" y="320"/>
                  <a:pt x="172" y="306"/>
                  <a:pt x="165" y="294"/>
                </a:cubicBezTo>
                <a:cubicBezTo>
                  <a:pt x="164" y="292"/>
                  <a:pt x="164" y="292"/>
                  <a:pt x="164" y="292"/>
                </a:cubicBezTo>
                <a:cubicBezTo>
                  <a:pt x="151" y="268"/>
                  <a:pt x="139" y="246"/>
                  <a:pt x="139" y="213"/>
                </a:cubicBezTo>
                <a:cubicBezTo>
                  <a:pt x="139" y="170"/>
                  <a:pt x="174" y="136"/>
                  <a:pt x="216" y="136"/>
                </a:cubicBezTo>
                <a:cubicBezTo>
                  <a:pt x="253" y="136"/>
                  <a:pt x="270" y="150"/>
                  <a:pt x="288" y="166"/>
                </a:cubicBezTo>
                <a:cubicBezTo>
                  <a:pt x="306" y="181"/>
                  <a:pt x="327" y="198"/>
                  <a:pt x="363" y="198"/>
                </a:cubicBezTo>
                <a:cubicBezTo>
                  <a:pt x="364" y="198"/>
                  <a:pt x="364" y="198"/>
                  <a:pt x="364" y="198"/>
                </a:cubicBezTo>
                <a:cubicBezTo>
                  <a:pt x="364" y="174"/>
                  <a:pt x="364" y="174"/>
                  <a:pt x="364" y="174"/>
                </a:cubicBezTo>
                <a:lnTo>
                  <a:pt x="363" y="174"/>
                </a:lnTo>
                <a:close/>
                <a:moveTo>
                  <a:pt x="191" y="160"/>
                </a:moveTo>
                <a:cubicBezTo>
                  <a:pt x="204" y="180"/>
                  <a:pt x="204" y="180"/>
                  <a:pt x="204" y="180"/>
                </a:cubicBezTo>
                <a:cubicBezTo>
                  <a:pt x="203" y="181"/>
                  <a:pt x="203" y="181"/>
                  <a:pt x="203" y="181"/>
                </a:cubicBezTo>
                <a:cubicBezTo>
                  <a:pt x="180" y="195"/>
                  <a:pt x="173" y="226"/>
                  <a:pt x="187" y="248"/>
                </a:cubicBezTo>
                <a:cubicBezTo>
                  <a:pt x="188" y="249"/>
                  <a:pt x="188" y="249"/>
                  <a:pt x="188" y="249"/>
                </a:cubicBezTo>
                <a:cubicBezTo>
                  <a:pt x="168" y="262"/>
                  <a:pt x="168" y="262"/>
                  <a:pt x="168" y="262"/>
                </a:cubicBezTo>
                <a:cubicBezTo>
                  <a:pt x="167" y="261"/>
                  <a:pt x="167" y="261"/>
                  <a:pt x="167" y="261"/>
                </a:cubicBezTo>
                <a:cubicBezTo>
                  <a:pt x="157" y="245"/>
                  <a:pt x="154" y="225"/>
                  <a:pt x="158" y="206"/>
                </a:cubicBezTo>
                <a:cubicBezTo>
                  <a:pt x="162" y="187"/>
                  <a:pt x="174" y="171"/>
                  <a:pt x="190" y="161"/>
                </a:cubicBezTo>
                <a:lnTo>
                  <a:pt x="191" y="160"/>
                </a:lnTo>
                <a:close/>
                <a:moveTo>
                  <a:pt x="237" y="168"/>
                </a:moveTo>
                <a:cubicBezTo>
                  <a:pt x="237" y="174"/>
                  <a:pt x="232" y="179"/>
                  <a:pt x="225" y="179"/>
                </a:cubicBezTo>
                <a:cubicBezTo>
                  <a:pt x="219" y="179"/>
                  <a:pt x="214" y="174"/>
                  <a:pt x="214" y="168"/>
                </a:cubicBezTo>
                <a:cubicBezTo>
                  <a:pt x="214" y="161"/>
                  <a:pt x="219" y="156"/>
                  <a:pt x="225" y="156"/>
                </a:cubicBezTo>
                <a:cubicBezTo>
                  <a:pt x="232" y="156"/>
                  <a:pt x="237" y="161"/>
                  <a:pt x="237" y="168"/>
                </a:cubicBezTo>
                <a:close/>
                <a:moveTo>
                  <a:pt x="0" y="0"/>
                </a:moveTo>
                <a:cubicBezTo>
                  <a:pt x="0" y="576"/>
                  <a:pt x="0" y="576"/>
                  <a:pt x="0" y="576"/>
                </a:cubicBezTo>
                <a:cubicBezTo>
                  <a:pt x="576" y="576"/>
                  <a:pt x="576" y="576"/>
                  <a:pt x="576" y="576"/>
                </a:cubicBezTo>
                <a:cubicBezTo>
                  <a:pt x="576" y="0"/>
                  <a:pt x="576" y="0"/>
                  <a:pt x="576" y="0"/>
                </a:cubicBezTo>
                <a:lnTo>
                  <a:pt x="0" y="0"/>
                </a:lnTo>
                <a:close/>
                <a:moveTo>
                  <a:pt x="23" y="552"/>
                </a:moveTo>
                <a:cubicBezTo>
                  <a:pt x="23" y="24"/>
                  <a:pt x="23" y="24"/>
                  <a:pt x="23" y="24"/>
                </a:cubicBezTo>
                <a:cubicBezTo>
                  <a:pt x="552" y="24"/>
                  <a:pt x="552" y="24"/>
                  <a:pt x="552" y="24"/>
                </a:cubicBezTo>
                <a:cubicBezTo>
                  <a:pt x="552" y="552"/>
                  <a:pt x="552" y="552"/>
                  <a:pt x="552" y="552"/>
                </a:cubicBezTo>
                <a:lnTo>
                  <a:pt x="23" y="552"/>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grpSp>
        <p:nvGrpSpPr>
          <p:cNvPr id="5" name="Google Shape;1572;p92">
            <a:extLst>
              <a:ext uri="{FF2B5EF4-FFF2-40B4-BE49-F238E27FC236}">
                <a16:creationId xmlns:a16="http://schemas.microsoft.com/office/drawing/2014/main" id="{B2664BA4-3351-49DF-E51C-2731A516378D}"/>
              </a:ext>
            </a:extLst>
          </p:cNvPr>
          <p:cNvGrpSpPr/>
          <p:nvPr/>
        </p:nvGrpSpPr>
        <p:grpSpPr>
          <a:xfrm>
            <a:off x="11281085" y="1930554"/>
            <a:ext cx="360000" cy="360000"/>
            <a:chOff x="8448646" y="3895566"/>
            <a:chExt cx="457200" cy="457200"/>
          </a:xfrm>
        </p:grpSpPr>
        <p:sp>
          <p:nvSpPr>
            <p:cNvPr id="6" name="Google Shape;1573;p92">
              <a:extLst>
                <a:ext uri="{FF2B5EF4-FFF2-40B4-BE49-F238E27FC236}">
                  <a16:creationId xmlns:a16="http://schemas.microsoft.com/office/drawing/2014/main" id="{D1D485D9-992C-9507-12E9-974556D69A56}"/>
                </a:ext>
              </a:extLst>
            </p:cNvPr>
            <p:cNvSpPr/>
            <p:nvPr/>
          </p:nvSpPr>
          <p:spPr>
            <a:xfrm>
              <a:off x="8448646" y="3895566"/>
              <a:ext cx="457200" cy="457200"/>
            </a:xfrm>
            <a:custGeom>
              <a:avLst/>
              <a:gdLst/>
              <a:ahLst/>
              <a:cxnLst/>
              <a:rect l="l" t="t" r="r" b="b"/>
              <a:pathLst>
                <a:path w="457200" h="457200" extrusionOk="0">
                  <a:moveTo>
                    <a:pt x="0" y="0"/>
                  </a:moveTo>
                  <a:lnTo>
                    <a:pt x="0" y="457200"/>
                  </a:lnTo>
                  <a:lnTo>
                    <a:pt x="457200" y="457200"/>
                  </a:lnTo>
                  <a:lnTo>
                    <a:pt x="457200" y="0"/>
                  </a:lnTo>
                  <a:close/>
                  <a:moveTo>
                    <a:pt x="437674" y="19526"/>
                  </a:moveTo>
                  <a:lnTo>
                    <a:pt x="437674" y="195834"/>
                  </a:lnTo>
                  <a:lnTo>
                    <a:pt x="251714" y="195834"/>
                  </a:lnTo>
                  <a:lnTo>
                    <a:pt x="263176" y="215233"/>
                  </a:lnTo>
                  <a:lnTo>
                    <a:pt x="263176" y="215233"/>
                  </a:lnTo>
                  <a:lnTo>
                    <a:pt x="263620" y="215963"/>
                  </a:lnTo>
                  <a:lnTo>
                    <a:pt x="264224" y="216789"/>
                  </a:lnTo>
                  <a:cubicBezTo>
                    <a:pt x="272628" y="228506"/>
                    <a:pt x="277077" y="242598"/>
                    <a:pt x="276924" y="257016"/>
                  </a:cubicBezTo>
                  <a:cubicBezTo>
                    <a:pt x="276919" y="263749"/>
                    <a:pt x="275979" y="270449"/>
                    <a:pt x="274130" y="276924"/>
                  </a:cubicBezTo>
                  <a:cubicBezTo>
                    <a:pt x="272387" y="283430"/>
                    <a:pt x="269634" y="289623"/>
                    <a:pt x="265970" y="295275"/>
                  </a:cubicBezTo>
                  <a:cubicBezTo>
                    <a:pt x="257080" y="308610"/>
                    <a:pt x="243745" y="317119"/>
                    <a:pt x="228600" y="317119"/>
                  </a:cubicBezTo>
                  <a:cubicBezTo>
                    <a:pt x="213455" y="317119"/>
                    <a:pt x="199327" y="307975"/>
                    <a:pt x="190500" y="293846"/>
                  </a:cubicBezTo>
                  <a:cubicBezTo>
                    <a:pt x="187020" y="288292"/>
                    <a:pt x="184397" y="282244"/>
                    <a:pt x="182721" y="275908"/>
                  </a:cubicBezTo>
                  <a:cubicBezTo>
                    <a:pt x="181057" y="269802"/>
                    <a:pt x="180203" y="263503"/>
                    <a:pt x="180181" y="257175"/>
                  </a:cubicBezTo>
                  <a:cubicBezTo>
                    <a:pt x="180028" y="242756"/>
                    <a:pt x="184477" y="228665"/>
                    <a:pt x="192881" y="216948"/>
                  </a:cubicBezTo>
                  <a:lnTo>
                    <a:pt x="193485" y="216122"/>
                  </a:lnTo>
                  <a:lnTo>
                    <a:pt x="193929" y="215392"/>
                  </a:lnTo>
                  <a:lnTo>
                    <a:pt x="193929" y="215392"/>
                  </a:lnTo>
                  <a:lnTo>
                    <a:pt x="205391" y="195993"/>
                  </a:lnTo>
                  <a:lnTo>
                    <a:pt x="19526" y="195993"/>
                  </a:lnTo>
                  <a:lnTo>
                    <a:pt x="19526" y="19526"/>
                  </a:lnTo>
                  <a:close/>
                  <a:moveTo>
                    <a:pt x="286322" y="215360"/>
                  </a:moveTo>
                  <a:lnTo>
                    <a:pt x="437674" y="215360"/>
                  </a:lnTo>
                  <a:lnTo>
                    <a:pt x="437674" y="259017"/>
                  </a:lnTo>
                  <a:cubicBezTo>
                    <a:pt x="428396" y="260304"/>
                    <a:pt x="419627" y="264041"/>
                    <a:pt x="412274" y="269843"/>
                  </a:cubicBezTo>
                  <a:cubicBezTo>
                    <a:pt x="405924" y="274352"/>
                    <a:pt x="401098" y="277590"/>
                    <a:pt x="390462" y="277590"/>
                  </a:cubicBezTo>
                  <a:cubicBezTo>
                    <a:pt x="379825" y="277590"/>
                    <a:pt x="375190" y="274415"/>
                    <a:pt x="368681" y="269843"/>
                  </a:cubicBezTo>
                  <a:cubicBezTo>
                    <a:pt x="349320" y="254769"/>
                    <a:pt x="322193" y="254769"/>
                    <a:pt x="302832" y="269843"/>
                  </a:cubicBezTo>
                  <a:cubicBezTo>
                    <a:pt x="300311" y="271668"/>
                    <a:pt x="297658" y="273303"/>
                    <a:pt x="294894" y="274733"/>
                  </a:cubicBezTo>
                  <a:cubicBezTo>
                    <a:pt x="295995" y="268945"/>
                    <a:pt x="296548" y="263067"/>
                    <a:pt x="296545" y="257175"/>
                  </a:cubicBezTo>
                  <a:cubicBezTo>
                    <a:pt x="296602" y="242611"/>
                    <a:pt x="293093" y="228255"/>
                    <a:pt x="286322" y="215360"/>
                  </a:cubicBezTo>
                  <a:close/>
                  <a:moveTo>
                    <a:pt x="162719" y="276574"/>
                  </a:moveTo>
                  <a:cubicBezTo>
                    <a:pt x="158042" y="275164"/>
                    <a:pt x="153670" y="272892"/>
                    <a:pt x="149828" y="269875"/>
                  </a:cubicBezTo>
                  <a:cubicBezTo>
                    <a:pt x="140494" y="262407"/>
                    <a:pt x="128856" y="258412"/>
                    <a:pt x="116904" y="258572"/>
                  </a:cubicBezTo>
                  <a:cubicBezTo>
                    <a:pt x="104941" y="258412"/>
                    <a:pt x="93294" y="262407"/>
                    <a:pt x="83947" y="269875"/>
                  </a:cubicBezTo>
                  <a:cubicBezTo>
                    <a:pt x="77597" y="274384"/>
                    <a:pt x="72803" y="277622"/>
                    <a:pt x="62198" y="277622"/>
                  </a:cubicBezTo>
                  <a:cubicBezTo>
                    <a:pt x="51594" y="277622"/>
                    <a:pt x="46895" y="274447"/>
                    <a:pt x="40418" y="269875"/>
                  </a:cubicBezTo>
                  <a:cubicBezTo>
                    <a:pt x="34249" y="265079"/>
                    <a:pt x="27126" y="261658"/>
                    <a:pt x="19526" y="259842"/>
                  </a:cubicBezTo>
                  <a:lnTo>
                    <a:pt x="19526" y="215392"/>
                  </a:lnTo>
                  <a:lnTo>
                    <a:pt x="170879" y="215392"/>
                  </a:lnTo>
                  <a:cubicBezTo>
                    <a:pt x="164113" y="228277"/>
                    <a:pt x="160603" y="242622"/>
                    <a:pt x="160655" y="257175"/>
                  </a:cubicBezTo>
                  <a:cubicBezTo>
                    <a:pt x="160643" y="263697"/>
                    <a:pt x="161335" y="270201"/>
                    <a:pt x="162719" y="276574"/>
                  </a:cubicBezTo>
                  <a:close/>
                  <a:moveTo>
                    <a:pt x="19526" y="437674"/>
                  </a:moveTo>
                  <a:lnTo>
                    <a:pt x="19526" y="280130"/>
                  </a:lnTo>
                  <a:cubicBezTo>
                    <a:pt x="22980" y="281623"/>
                    <a:pt x="26251" y="283509"/>
                    <a:pt x="29274" y="285750"/>
                  </a:cubicBezTo>
                  <a:cubicBezTo>
                    <a:pt x="38612" y="293207"/>
                    <a:pt x="50249" y="297190"/>
                    <a:pt x="62198" y="297021"/>
                  </a:cubicBezTo>
                  <a:cubicBezTo>
                    <a:pt x="74191" y="297220"/>
                    <a:pt x="85878" y="293235"/>
                    <a:pt x="95250" y="285750"/>
                  </a:cubicBezTo>
                  <a:cubicBezTo>
                    <a:pt x="101600" y="281242"/>
                    <a:pt x="106394" y="277971"/>
                    <a:pt x="117031" y="277971"/>
                  </a:cubicBezTo>
                  <a:cubicBezTo>
                    <a:pt x="127667" y="277971"/>
                    <a:pt x="132302" y="281146"/>
                    <a:pt x="138779" y="285750"/>
                  </a:cubicBezTo>
                  <a:cubicBezTo>
                    <a:pt x="147680" y="292820"/>
                    <a:pt x="158657" y="296769"/>
                    <a:pt x="170021" y="296990"/>
                  </a:cubicBezTo>
                  <a:cubicBezTo>
                    <a:pt x="181674" y="320675"/>
                    <a:pt x="203549" y="336550"/>
                    <a:pt x="228600" y="336550"/>
                  </a:cubicBezTo>
                  <a:cubicBezTo>
                    <a:pt x="253651" y="336550"/>
                    <a:pt x="275685" y="320675"/>
                    <a:pt x="287433" y="296863"/>
                  </a:cubicBezTo>
                  <a:cubicBezTo>
                    <a:pt x="297132" y="295698"/>
                    <a:pt x="306313" y="291849"/>
                    <a:pt x="313944" y="285750"/>
                  </a:cubicBezTo>
                  <a:cubicBezTo>
                    <a:pt x="320294" y="281242"/>
                    <a:pt x="325120" y="277971"/>
                    <a:pt x="335725" y="277971"/>
                  </a:cubicBezTo>
                  <a:cubicBezTo>
                    <a:pt x="346329" y="277971"/>
                    <a:pt x="351028" y="281146"/>
                    <a:pt x="357505" y="285750"/>
                  </a:cubicBezTo>
                  <a:cubicBezTo>
                    <a:pt x="376895" y="300773"/>
                    <a:pt x="403997" y="300773"/>
                    <a:pt x="423386" y="285750"/>
                  </a:cubicBezTo>
                  <a:cubicBezTo>
                    <a:pt x="427568" y="282373"/>
                    <a:pt x="432448" y="279966"/>
                    <a:pt x="437674" y="278702"/>
                  </a:cubicBezTo>
                  <a:lnTo>
                    <a:pt x="437674" y="437452"/>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7" name="Google Shape;1574;p92">
              <a:extLst>
                <a:ext uri="{FF2B5EF4-FFF2-40B4-BE49-F238E27FC236}">
                  <a16:creationId xmlns:a16="http://schemas.microsoft.com/office/drawing/2014/main" id="{15BA13C0-6C87-20F0-2804-F02F492C5766}"/>
                </a:ext>
              </a:extLst>
            </p:cNvPr>
            <p:cNvSpPr/>
            <p:nvPr/>
          </p:nvSpPr>
          <p:spPr>
            <a:xfrm>
              <a:off x="8515797" y="4267263"/>
              <a:ext cx="50800" cy="19526"/>
            </a:xfrm>
            <a:custGeom>
              <a:avLst/>
              <a:gdLst/>
              <a:ahLst/>
              <a:cxnLst/>
              <a:rect l="l" t="t" r="r" b="b"/>
              <a:pathLst>
                <a:path w="50800" h="19526" extrusionOk="0">
                  <a:moveTo>
                    <a:pt x="0" y="0"/>
                  </a:moveTo>
                  <a:lnTo>
                    <a:pt x="50800" y="0"/>
                  </a:lnTo>
                  <a:lnTo>
                    <a:pt x="50800" y="19526"/>
                  </a:lnTo>
                  <a:lnTo>
                    <a:pt x="0" y="19526"/>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8" name="Google Shape;1575;p92">
              <a:extLst>
                <a:ext uri="{FF2B5EF4-FFF2-40B4-BE49-F238E27FC236}">
                  <a16:creationId xmlns:a16="http://schemas.microsoft.com/office/drawing/2014/main" id="{6FCA05AD-8C35-7836-65D0-E8DA5B08E0ED}"/>
                </a:ext>
              </a:extLst>
            </p:cNvPr>
            <p:cNvSpPr/>
            <p:nvPr/>
          </p:nvSpPr>
          <p:spPr>
            <a:xfrm>
              <a:off x="8782497" y="4267263"/>
              <a:ext cx="50800" cy="19526"/>
            </a:xfrm>
            <a:custGeom>
              <a:avLst/>
              <a:gdLst/>
              <a:ahLst/>
              <a:cxnLst/>
              <a:rect l="l" t="t" r="r" b="b"/>
              <a:pathLst>
                <a:path w="50800" h="19526" extrusionOk="0">
                  <a:moveTo>
                    <a:pt x="0" y="0"/>
                  </a:moveTo>
                  <a:lnTo>
                    <a:pt x="50800" y="0"/>
                  </a:lnTo>
                  <a:lnTo>
                    <a:pt x="50800" y="19526"/>
                  </a:lnTo>
                  <a:lnTo>
                    <a:pt x="0" y="19526"/>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10" name="Google Shape;1576;p92">
              <a:extLst>
                <a:ext uri="{FF2B5EF4-FFF2-40B4-BE49-F238E27FC236}">
                  <a16:creationId xmlns:a16="http://schemas.microsoft.com/office/drawing/2014/main" id="{587DDC30-89F6-93F6-6EBF-3B6714D009F6}"/>
                </a:ext>
              </a:extLst>
            </p:cNvPr>
            <p:cNvSpPr/>
            <p:nvPr/>
          </p:nvSpPr>
          <p:spPr>
            <a:xfrm>
              <a:off x="8693597" y="4267263"/>
              <a:ext cx="50800" cy="19526"/>
            </a:xfrm>
            <a:custGeom>
              <a:avLst/>
              <a:gdLst/>
              <a:ahLst/>
              <a:cxnLst/>
              <a:rect l="l" t="t" r="r" b="b"/>
              <a:pathLst>
                <a:path w="50800" h="19526" extrusionOk="0">
                  <a:moveTo>
                    <a:pt x="0" y="0"/>
                  </a:moveTo>
                  <a:lnTo>
                    <a:pt x="50800" y="0"/>
                  </a:lnTo>
                  <a:lnTo>
                    <a:pt x="50800" y="19526"/>
                  </a:lnTo>
                  <a:lnTo>
                    <a:pt x="0" y="19526"/>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11" name="Google Shape;1577;p92">
              <a:extLst>
                <a:ext uri="{FF2B5EF4-FFF2-40B4-BE49-F238E27FC236}">
                  <a16:creationId xmlns:a16="http://schemas.microsoft.com/office/drawing/2014/main" id="{DB977EC8-480D-D5D8-60CB-3A4515B09437}"/>
                </a:ext>
              </a:extLst>
            </p:cNvPr>
            <p:cNvSpPr/>
            <p:nvPr/>
          </p:nvSpPr>
          <p:spPr>
            <a:xfrm>
              <a:off x="8604697" y="4267263"/>
              <a:ext cx="50800" cy="19526"/>
            </a:xfrm>
            <a:custGeom>
              <a:avLst/>
              <a:gdLst/>
              <a:ahLst/>
              <a:cxnLst/>
              <a:rect l="l" t="t" r="r" b="b"/>
              <a:pathLst>
                <a:path w="50800" h="19526" extrusionOk="0">
                  <a:moveTo>
                    <a:pt x="0" y="0"/>
                  </a:moveTo>
                  <a:lnTo>
                    <a:pt x="50800" y="0"/>
                  </a:lnTo>
                  <a:lnTo>
                    <a:pt x="50800" y="19526"/>
                  </a:lnTo>
                  <a:lnTo>
                    <a:pt x="0" y="19526"/>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grpSp>
      <p:grpSp>
        <p:nvGrpSpPr>
          <p:cNvPr id="12" name="Google Shape;1958;p96">
            <a:extLst>
              <a:ext uri="{FF2B5EF4-FFF2-40B4-BE49-F238E27FC236}">
                <a16:creationId xmlns:a16="http://schemas.microsoft.com/office/drawing/2014/main" id="{229A4399-860F-69A4-7AC8-F812E9A2C896}"/>
              </a:ext>
            </a:extLst>
          </p:cNvPr>
          <p:cNvGrpSpPr/>
          <p:nvPr/>
        </p:nvGrpSpPr>
        <p:grpSpPr>
          <a:xfrm>
            <a:off x="3503926" y="1930554"/>
            <a:ext cx="360000" cy="360000"/>
            <a:chOff x="10418558" y="4634724"/>
            <a:chExt cx="457200" cy="457200"/>
          </a:xfrm>
        </p:grpSpPr>
        <p:sp>
          <p:nvSpPr>
            <p:cNvPr id="13" name="Google Shape;1959;p96">
              <a:extLst>
                <a:ext uri="{FF2B5EF4-FFF2-40B4-BE49-F238E27FC236}">
                  <a16:creationId xmlns:a16="http://schemas.microsoft.com/office/drawing/2014/main" id="{525B38CA-341A-699F-6B0D-119258973EDF}"/>
                </a:ext>
              </a:extLst>
            </p:cNvPr>
            <p:cNvSpPr/>
            <p:nvPr/>
          </p:nvSpPr>
          <p:spPr>
            <a:xfrm>
              <a:off x="10623255" y="4833696"/>
              <a:ext cx="200212" cy="200283"/>
            </a:xfrm>
            <a:custGeom>
              <a:avLst/>
              <a:gdLst/>
              <a:ahLst/>
              <a:cxnLst/>
              <a:rect l="l" t="t" r="r" b="b"/>
              <a:pathLst>
                <a:path w="200212" h="200283" extrusionOk="0">
                  <a:moveTo>
                    <a:pt x="58478" y="63123"/>
                  </a:moveTo>
                  <a:lnTo>
                    <a:pt x="16219" y="105383"/>
                  </a:lnTo>
                  <a:cubicBezTo>
                    <a:pt x="-5406" y="127150"/>
                    <a:pt x="-5406" y="162291"/>
                    <a:pt x="16219" y="184059"/>
                  </a:cubicBezTo>
                  <a:lnTo>
                    <a:pt x="16219" y="184059"/>
                  </a:lnTo>
                  <a:cubicBezTo>
                    <a:pt x="26674" y="194508"/>
                    <a:pt x="40870" y="200350"/>
                    <a:pt x="55652" y="200283"/>
                  </a:cubicBezTo>
                  <a:cubicBezTo>
                    <a:pt x="56636" y="200283"/>
                    <a:pt x="57621" y="200283"/>
                    <a:pt x="58573" y="200283"/>
                  </a:cubicBezTo>
                  <a:cubicBezTo>
                    <a:pt x="65241" y="199864"/>
                    <a:pt x="71780" y="198251"/>
                    <a:pt x="77877" y="195521"/>
                  </a:cubicBezTo>
                  <a:cubicBezTo>
                    <a:pt x="84176" y="192794"/>
                    <a:pt x="89906" y="188904"/>
                    <a:pt x="94768" y="184059"/>
                  </a:cubicBezTo>
                  <a:lnTo>
                    <a:pt x="185319" y="93508"/>
                  </a:lnTo>
                  <a:cubicBezTo>
                    <a:pt x="206242" y="71012"/>
                    <a:pt x="204963" y="35815"/>
                    <a:pt x="182468" y="14893"/>
                  </a:cubicBezTo>
                  <a:cubicBezTo>
                    <a:pt x="161142" y="-4941"/>
                    <a:pt x="128128" y="-4967"/>
                    <a:pt x="106770" y="14832"/>
                  </a:cubicBezTo>
                  <a:lnTo>
                    <a:pt x="77877" y="43597"/>
                  </a:lnTo>
                  <a:close/>
                  <a:moveTo>
                    <a:pt x="81052" y="170248"/>
                  </a:moveTo>
                  <a:cubicBezTo>
                    <a:pt x="74985" y="176277"/>
                    <a:pt x="66974" y="179957"/>
                    <a:pt x="58446" y="180630"/>
                  </a:cubicBezTo>
                  <a:cubicBezTo>
                    <a:pt x="57494" y="180630"/>
                    <a:pt x="56509" y="180630"/>
                    <a:pt x="55525" y="180630"/>
                  </a:cubicBezTo>
                  <a:cubicBezTo>
                    <a:pt x="35588" y="180525"/>
                    <a:pt x="19511" y="164279"/>
                    <a:pt x="19615" y="144343"/>
                  </a:cubicBezTo>
                  <a:cubicBezTo>
                    <a:pt x="19664" y="134862"/>
                    <a:pt x="23439" y="125785"/>
                    <a:pt x="30125" y="119067"/>
                  </a:cubicBezTo>
                  <a:lnTo>
                    <a:pt x="43333" y="105827"/>
                  </a:lnTo>
                  <a:lnTo>
                    <a:pt x="58478" y="120972"/>
                  </a:lnTo>
                  <a:lnTo>
                    <a:pt x="77877" y="140562"/>
                  </a:lnTo>
                  <a:lnTo>
                    <a:pt x="94260" y="156945"/>
                  </a:lnTo>
                  <a:close/>
                  <a:moveTo>
                    <a:pt x="120549" y="28643"/>
                  </a:moveTo>
                  <a:cubicBezTo>
                    <a:pt x="134646" y="14545"/>
                    <a:pt x="157506" y="14545"/>
                    <a:pt x="171603" y="28643"/>
                  </a:cubicBezTo>
                  <a:cubicBezTo>
                    <a:pt x="185700" y="42741"/>
                    <a:pt x="185700" y="65599"/>
                    <a:pt x="171603" y="79697"/>
                  </a:cubicBezTo>
                  <a:lnTo>
                    <a:pt x="158332" y="93127"/>
                  </a:lnTo>
                  <a:lnTo>
                    <a:pt x="107278" y="41946"/>
                  </a:lnTo>
                  <a:close/>
                  <a:moveTo>
                    <a:pt x="144552" y="106811"/>
                  </a:moveTo>
                  <a:lnTo>
                    <a:pt x="108198" y="143133"/>
                  </a:lnTo>
                  <a:lnTo>
                    <a:pt x="77877" y="112971"/>
                  </a:lnTo>
                  <a:lnTo>
                    <a:pt x="58478" y="93445"/>
                  </a:lnTo>
                  <a:lnTo>
                    <a:pt x="57144" y="92079"/>
                  </a:lnTo>
                  <a:lnTo>
                    <a:pt x="58478" y="90746"/>
                  </a:lnTo>
                  <a:lnTo>
                    <a:pt x="77877" y="71220"/>
                  </a:lnTo>
                  <a:lnTo>
                    <a:pt x="93339" y="55757"/>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4" name="Google Shape;1960;p96">
              <a:extLst>
                <a:ext uri="{FF2B5EF4-FFF2-40B4-BE49-F238E27FC236}">
                  <a16:creationId xmlns:a16="http://schemas.microsoft.com/office/drawing/2014/main" id="{61E793CC-19F7-C0AA-59BB-146173E573D1}"/>
                </a:ext>
              </a:extLst>
            </p:cNvPr>
            <p:cNvSpPr/>
            <p:nvPr/>
          </p:nvSpPr>
          <p:spPr>
            <a:xfrm rot="-2700000">
              <a:off x="10713811" y="4917672"/>
              <a:ext cx="19526" cy="29210"/>
            </a:xfrm>
            <a:custGeom>
              <a:avLst/>
              <a:gdLst/>
              <a:ahLst/>
              <a:cxnLst/>
              <a:rect l="l" t="t" r="r" b="b"/>
              <a:pathLst>
                <a:path w="19526" h="29210" extrusionOk="0">
                  <a:moveTo>
                    <a:pt x="0" y="0"/>
                  </a:moveTo>
                  <a:lnTo>
                    <a:pt x="19526" y="0"/>
                  </a:lnTo>
                  <a:lnTo>
                    <a:pt x="19526" y="29210"/>
                  </a:lnTo>
                  <a:lnTo>
                    <a:pt x="0" y="29210"/>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5" name="Google Shape;1961;p96">
              <a:extLst>
                <a:ext uri="{FF2B5EF4-FFF2-40B4-BE49-F238E27FC236}">
                  <a16:creationId xmlns:a16="http://schemas.microsoft.com/office/drawing/2014/main" id="{8098566C-D4E3-EF8D-7D46-18B778966168}"/>
                </a:ext>
              </a:extLst>
            </p:cNvPr>
            <p:cNvSpPr/>
            <p:nvPr/>
          </p:nvSpPr>
          <p:spPr>
            <a:xfrm>
              <a:off x="10418558" y="4634724"/>
              <a:ext cx="457200" cy="457200"/>
            </a:xfrm>
            <a:custGeom>
              <a:avLst/>
              <a:gdLst/>
              <a:ahLst/>
              <a:cxnLst/>
              <a:rect l="l" t="t" r="r" b="b"/>
              <a:pathLst>
                <a:path w="457200" h="457200" extrusionOk="0">
                  <a:moveTo>
                    <a:pt x="0" y="0"/>
                  </a:moveTo>
                  <a:lnTo>
                    <a:pt x="0" y="457200"/>
                  </a:lnTo>
                  <a:lnTo>
                    <a:pt x="457200" y="457200"/>
                  </a:lnTo>
                  <a:lnTo>
                    <a:pt x="457200" y="0"/>
                  </a:lnTo>
                  <a:close/>
                  <a:moveTo>
                    <a:pt x="437674" y="437674"/>
                  </a:moveTo>
                  <a:lnTo>
                    <a:pt x="282575" y="437674"/>
                  </a:lnTo>
                  <a:lnTo>
                    <a:pt x="282575" y="414020"/>
                  </a:lnTo>
                  <a:cubicBezTo>
                    <a:pt x="276400" y="416731"/>
                    <a:pt x="269784" y="418303"/>
                    <a:pt x="263049" y="418656"/>
                  </a:cubicBezTo>
                  <a:lnTo>
                    <a:pt x="263049" y="437706"/>
                  </a:lnTo>
                  <a:lnTo>
                    <a:pt x="85249" y="437706"/>
                  </a:lnTo>
                  <a:lnTo>
                    <a:pt x="85249" y="399288"/>
                  </a:lnTo>
                  <a:lnTo>
                    <a:pt x="174149" y="399288"/>
                  </a:lnTo>
                  <a:lnTo>
                    <a:pt x="174149" y="228600"/>
                  </a:lnTo>
                  <a:lnTo>
                    <a:pt x="85249" y="228600"/>
                  </a:lnTo>
                  <a:lnTo>
                    <a:pt x="85249" y="183864"/>
                  </a:lnTo>
                  <a:lnTo>
                    <a:pt x="263049" y="183864"/>
                  </a:lnTo>
                  <a:lnTo>
                    <a:pt x="263049" y="236125"/>
                  </a:lnTo>
                  <a:lnTo>
                    <a:pt x="276225" y="223044"/>
                  </a:lnTo>
                  <a:lnTo>
                    <a:pt x="282575" y="216694"/>
                  </a:lnTo>
                  <a:lnTo>
                    <a:pt x="282575" y="164338"/>
                  </a:lnTo>
                  <a:lnTo>
                    <a:pt x="222250" y="164338"/>
                  </a:lnTo>
                  <a:lnTo>
                    <a:pt x="222250" y="142272"/>
                  </a:lnTo>
                  <a:lnTo>
                    <a:pt x="243396" y="142272"/>
                  </a:lnTo>
                  <a:lnTo>
                    <a:pt x="243396" y="121761"/>
                  </a:lnTo>
                  <a:cubicBezTo>
                    <a:pt x="243396" y="100719"/>
                    <a:pt x="226338" y="83661"/>
                    <a:pt x="205296" y="83661"/>
                  </a:cubicBezTo>
                  <a:lnTo>
                    <a:pt x="142875" y="83661"/>
                  </a:lnTo>
                  <a:cubicBezTo>
                    <a:pt x="121833" y="83661"/>
                    <a:pt x="104775" y="100719"/>
                    <a:pt x="104775" y="121761"/>
                  </a:cubicBezTo>
                  <a:lnTo>
                    <a:pt x="104775" y="142272"/>
                  </a:lnTo>
                  <a:lnTo>
                    <a:pt x="125889" y="142272"/>
                  </a:lnTo>
                  <a:lnTo>
                    <a:pt x="125889" y="164338"/>
                  </a:lnTo>
                  <a:lnTo>
                    <a:pt x="65564" y="164338"/>
                  </a:lnTo>
                  <a:lnTo>
                    <a:pt x="65564" y="437674"/>
                  </a:lnTo>
                  <a:lnTo>
                    <a:pt x="19526" y="437674"/>
                  </a:lnTo>
                  <a:lnTo>
                    <a:pt x="19526" y="19526"/>
                  </a:lnTo>
                  <a:lnTo>
                    <a:pt x="437674" y="19526"/>
                  </a:lnTo>
                  <a:close/>
                  <a:moveTo>
                    <a:pt x="85249" y="379730"/>
                  </a:moveTo>
                  <a:lnTo>
                    <a:pt x="85249" y="248126"/>
                  </a:lnTo>
                  <a:lnTo>
                    <a:pt x="154718" y="248126"/>
                  </a:lnTo>
                  <a:lnTo>
                    <a:pt x="154718" y="379730"/>
                  </a:lnTo>
                  <a:close/>
                  <a:moveTo>
                    <a:pt x="145574" y="122746"/>
                  </a:moveTo>
                  <a:lnTo>
                    <a:pt x="124397" y="122746"/>
                  </a:lnTo>
                  <a:lnTo>
                    <a:pt x="124397" y="121761"/>
                  </a:lnTo>
                  <a:cubicBezTo>
                    <a:pt x="124397" y="111540"/>
                    <a:pt x="132654" y="103240"/>
                    <a:pt x="142875" y="103188"/>
                  </a:cubicBezTo>
                  <a:lnTo>
                    <a:pt x="205550" y="103188"/>
                  </a:lnTo>
                  <a:cubicBezTo>
                    <a:pt x="215800" y="103205"/>
                    <a:pt x="224106" y="111510"/>
                    <a:pt x="224123" y="121761"/>
                  </a:cubicBezTo>
                  <a:lnTo>
                    <a:pt x="224123" y="122746"/>
                  </a:lnTo>
                  <a:lnTo>
                    <a:pt x="145510" y="122746"/>
                  </a:lnTo>
                  <a:close/>
                  <a:moveTo>
                    <a:pt x="203041" y="142272"/>
                  </a:moveTo>
                  <a:lnTo>
                    <a:pt x="203041" y="164338"/>
                  </a:lnTo>
                  <a:lnTo>
                    <a:pt x="145510" y="164338"/>
                  </a:lnTo>
                  <a:lnTo>
                    <a:pt x="145510" y="142272"/>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6" name="Google Shape;1962;p96">
              <a:extLst>
                <a:ext uri="{FF2B5EF4-FFF2-40B4-BE49-F238E27FC236}">
                  <a16:creationId xmlns:a16="http://schemas.microsoft.com/office/drawing/2014/main" id="{5D1487C4-24F7-DCEB-AD5F-DCCCC045562E}"/>
                </a:ext>
              </a:extLst>
            </p:cNvPr>
            <p:cNvSpPr/>
            <p:nvPr/>
          </p:nvSpPr>
          <p:spPr>
            <a:xfrm>
              <a:off x="10730501" y="4699652"/>
              <a:ext cx="72485" cy="72485"/>
            </a:xfrm>
            <a:custGeom>
              <a:avLst/>
              <a:gdLst/>
              <a:ahLst/>
              <a:cxnLst/>
              <a:rect l="l" t="t" r="r" b="b"/>
              <a:pathLst>
                <a:path w="72485" h="72485" extrusionOk="0">
                  <a:moveTo>
                    <a:pt x="26479" y="72485"/>
                  </a:moveTo>
                  <a:lnTo>
                    <a:pt x="46006" y="72485"/>
                  </a:lnTo>
                  <a:lnTo>
                    <a:pt x="46006" y="46038"/>
                  </a:lnTo>
                  <a:lnTo>
                    <a:pt x="72485" y="46038"/>
                  </a:lnTo>
                  <a:lnTo>
                    <a:pt x="72485" y="26511"/>
                  </a:lnTo>
                  <a:lnTo>
                    <a:pt x="46006" y="26511"/>
                  </a:lnTo>
                  <a:lnTo>
                    <a:pt x="46006" y="0"/>
                  </a:lnTo>
                  <a:lnTo>
                    <a:pt x="26479" y="0"/>
                  </a:lnTo>
                  <a:lnTo>
                    <a:pt x="26479" y="26511"/>
                  </a:lnTo>
                  <a:lnTo>
                    <a:pt x="0" y="26511"/>
                  </a:lnTo>
                  <a:lnTo>
                    <a:pt x="0" y="46038"/>
                  </a:lnTo>
                  <a:lnTo>
                    <a:pt x="26479" y="46038"/>
                  </a:lnTo>
                  <a:lnTo>
                    <a:pt x="26479" y="72485"/>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17" name="Rectangle 16">
            <a:extLst>
              <a:ext uri="{FF2B5EF4-FFF2-40B4-BE49-F238E27FC236}">
                <a16:creationId xmlns:a16="http://schemas.microsoft.com/office/drawing/2014/main" id="{68D4BE07-EE77-6573-3961-3389F961B1B0}"/>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25" name="Group 24">
            <a:extLst>
              <a:ext uri="{FF2B5EF4-FFF2-40B4-BE49-F238E27FC236}">
                <a16:creationId xmlns:a16="http://schemas.microsoft.com/office/drawing/2014/main" id="{18730CB1-C26A-3A29-9EA1-5EC411BC4E4E}"/>
              </a:ext>
            </a:extLst>
          </p:cNvPr>
          <p:cNvGrpSpPr/>
          <p:nvPr/>
        </p:nvGrpSpPr>
        <p:grpSpPr>
          <a:xfrm>
            <a:off x="9842140" y="372216"/>
            <a:ext cx="1667215" cy="217488"/>
            <a:chOff x="9842140" y="372216"/>
            <a:chExt cx="1667215" cy="217488"/>
          </a:xfrm>
        </p:grpSpPr>
        <p:sp>
          <p:nvSpPr>
            <p:cNvPr id="29" name="TextBox 28">
              <a:extLst>
                <a:ext uri="{FF2B5EF4-FFF2-40B4-BE49-F238E27FC236}">
                  <a16:creationId xmlns:a16="http://schemas.microsoft.com/office/drawing/2014/main" id="{10358436-04EB-02D3-5145-56A06675C30B}"/>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rtl="0">
                <a:lnSpc>
                  <a:spcPct val="100000"/>
                </a:lnSpc>
                <a:spcAft>
                  <a:spcPts val="600"/>
                </a:spcAft>
                <a:buSzPct val="100000"/>
              </a:pPr>
              <a:r>
                <a:rPr lang="en-gb" sz="800">
                  <a:solidFill>
                    <a:schemeClr val="bg1"/>
                  </a:solidFill>
                </a:rPr>
                <a:t>Severe bleeding</a:t>
              </a:r>
            </a:p>
          </p:txBody>
        </p:sp>
        <p:sp>
          <p:nvSpPr>
            <p:cNvPr id="30" name="Freeform 49">
              <a:extLst>
                <a:ext uri="{FF2B5EF4-FFF2-40B4-BE49-F238E27FC236}">
                  <a16:creationId xmlns:a16="http://schemas.microsoft.com/office/drawing/2014/main" id="{F1C8D19D-1D86-2F27-142A-E800100023BF}"/>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p>
          </p:txBody>
        </p:sp>
      </p:grpSp>
      <p:grpSp>
        <p:nvGrpSpPr>
          <p:cNvPr id="31" name="Group 30">
            <a:extLst>
              <a:ext uri="{FF2B5EF4-FFF2-40B4-BE49-F238E27FC236}">
                <a16:creationId xmlns:a16="http://schemas.microsoft.com/office/drawing/2014/main" id="{944A3A02-F23A-8251-02DA-CB0DE2E39945}"/>
              </a:ext>
            </a:extLst>
          </p:cNvPr>
          <p:cNvGrpSpPr/>
          <p:nvPr/>
        </p:nvGrpSpPr>
        <p:grpSpPr>
          <a:xfrm>
            <a:off x="9122935" y="126781"/>
            <a:ext cx="2626153" cy="217488"/>
            <a:chOff x="9122935" y="126781"/>
            <a:chExt cx="2626153" cy="217488"/>
          </a:xfrm>
        </p:grpSpPr>
        <p:sp>
          <p:nvSpPr>
            <p:cNvPr id="38" name="Rectangle 37">
              <a:extLst>
                <a:ext uri="{FF2B5EF4-FFF2-40B4-BE49-F238E27FC236}">
                  <a16:creationId xmlns:a16="http://schemas.microsoft.com/office/drawing/2014/main" id="{A967A15F-505C-37E7-D008-23DDD9B067C4}"/>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000000"/>
                  </a:solidFill>
                  <a:effectLst/>
                  <a:uLnTx/>
                  <a:uFillTx/>
                  <a:ea typeface="Georgia"/>
                  <a:cs typeface="Georgia"/>
                  <a:sym typeface="Georgia"/>
                </a:rPr>
                <a:t>First aid measures</a:t>
              </a:r>
            </a:p>
          </p:txBody>
        </p:sp>
        <p:sp>
          <p:nvSpPr>
            <p:cNvPr id="39" name="Rectangle 38">
              <a:extLst>
                <a:ext uri="{FF2B5EF4-FFF2-40B4-BE49-F238E27FC236}">
                  <a16:creationId xmlns:a16="http://schemas.microsoft.com/office/drawing/2014/main" id="{AE8A89F2-E00B-5D5B-54DB-7D40A015464E}"/>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43" name="Rectangle 42">
              <a:extLst>
                <a:ext uri="{FF2B5EF4-FFF2-40B4-BE49-F238E27FC236}">
                  <a16:creationId xmlns:a16="http://schemas.microsoft.com/office/drawing/2014/main" id="{085D23F0-C4D6-BFDF-B5AC-252FF5FDB797}"/>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44" name="Rectangle 43">
              <a:extLst>
                <a:ext uri="{FF2B5EF4-FFF2-40B4-BE49-F238E27FC236}">
                  <a16:creationId xmlns:a16="http://schemas.microsoft.com/office/drawing/2014/main" id="{5DE331D2-E6D5-8093-4FEF-32BD7332CEAC}"/>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52" name="Rectangle 51">
              <a:extLst>
                <a:ext uri="{FF2B5EF4-FFF2-40B4-BE49-F238E27FC236}">
                  <a16:creationId xmlns:a16="http://schemas.microsoft.com/office/drawing/2014/main" id="{452ADE97-FBAD-E1D4-DDF4-6E748D28E9D3}"/>
                </a:ext>
              </a:extLst>
            </p:cNvPr>
            <p:cNvSpPr/>
            <p:nvPr/>
          </p:nvSpPr>
          <p:spPr>
            <a:xfrm>
              <a:off x="9842140"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7</a:t>
              </a:r>
              <a:r>
                <a:rPr lang="en-gb" sz="800" b="1" i="0" u="none" strike="noStrike" kern="0" cap="none" spc="0" normalizeH="0" noProof="0">
                  <a:ln>
                    <a:noFill/>
                  </a:ln>
                  <a:effectLst/>
                  <a:uLnTx/>
                  <a:uFillTx/>
                  <a:ea typeface="Georgia"/>
                  <a:cs typeface="Georgia"/>
                  <a:sym typeface="Georgia"/>
                </a:rPr>
                <a:t>.4</a:t>
              </a:r>
              <a:endParaRPr kumimoji="0" lang="lv-LV" sz="800" b="1" i="0" u="none" strike="noStrike" kern="0" cap="none" spc="0" normalizeH="0" baseline="0" noProof="0" dirty="0">
                <a:ln>
                  <a:noFill/>
                </a:ln>
                <a:effectLst/>
                <a:uLnTx/>
                <a:uFillTx/>
                <a:ea typeface="Georgia"/>
                <a:cs typeface="Georgia"/>
                <a:sym typeface="Georgia"/>
              </a:endParaRPr>
            </a:p>
          </p:txBody>
        </p:sp>
        <p:sp>
          <p:nvSpPr>
            <p:cNvPr id="53" name="Rectangle 52">
              <a:extLst>
                <a:ext uri="{FF2B5EF4-FFF2-40B4-BE49-F238E27FC236}">
                  <a16:creationId xmlns:a16="http://schemas.microsoft.com/office/drawing/2014/main" id="{F0591311-5355-C666-427D-900A4F166158}"/>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19814128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A433BE6-1CEA-AB6A-7754-67F567E06375}"/>
              </a:ext>
            </a:extLst>
          </p:cNvPr>
          <p:cNvGraphicFramePr>
            <a:graphicFrameLocks noChangeAspect="1"/>
          </p:cNvGraphicFramePr>
          <p:nvPr>
            <p:custDataLst>
              <p:tags r:id="rId1"/>
            </p:custDataLst>
            <p:extLst>
              <p:ext uri="{D42A27DB-BD31-4B8C-83A1-F6EECF244321}">
                <p14:modId xmlns:p14="http://schemas.microsoft.com/office/powerpoint/2010/main" val="2148789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2" name="think-cell data - do not delete" hidden="1">
                        <a:extLst>
                          <a:ext uri="{FF2B5EF4-FFF2-40B4-BE49-F238E27FC236}">
                            <a16:creationId xmlns:a16="http://schemas.microsoft.com/office/drawing/2014/main" id="{FA433BE6-1CEA-AB6A-7754-67F567E063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11306175" cy="1387274"/>
          </a:xfrm>
        </p:spPr>
        <p:txBody>
          <a:bodyPr vert="horz" rtlCol="0"/>
          <a:lstStyle/>
          <a:p>
            <a:pPr rtl="0"/>
            <a:r>
              <a:rPr lang="en-gb"/>
              <a:t>What to do in case of overheating?</a:t>
            </a:r>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rtlCol="0"/>
          <a:lstStyle/>
          <a:p>
            <a:pPr rtl="0"/>
            <a:fld id="{7870704B-CE94-48CC-AF30-84932A1262A7}" type="slidenum">
              <a:rPr lang="lv-LV" smtClean="0"/>
              <a:pPr rtl="0"/>
              <a:t>23</a:t>
            </a:fld>
            <a:endParaRPr lang="lv-LV"/>
          </a:p>
        </p:txBody>
      </p:sp>
      <p:sp>
        <p:nvSpPr>
          <p:cNvPr id="25" name="Rectangle 24">
            <a:extLst>
              <a:ext uri="{FF2B5EF4-FFF2-40B4-BE49-F238E27FC236}">
                <a16:creationId xmlns:a16="http://schemas.microsoft.com/office/drawing/2014/main" id="{3F4B047B-9FFA-12D1-B8AD-AAC2A9759CAF}"/>
              </a:ext>
            </a:extLst>
          </p:cNvPr>
          <p:cNvSpPr/>
          <p:nvPr/>
        </p:nvSpPr>
        <p:spPr>
          <a:xfrm>
            <a:off x="9280808" y="2398554"/>
            <a:ext cx="2468280" cy="377364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rtl="0">
              <a:spcAft>
                <a:spcPts val="600"/>
              </a:spcAft>
              <a:buBlip>
                <a:blip r:embed="rId6"/>
              </a:buBlip>
            </a:pPr>
            <a:r>
              <a:rPr lang="en-gb" sz="1400">
                <a:solidFill>
                  <a:schemeClr val="tx1"/>
                </a:solidFill>
              </a:rPr>
              <a:t>Suggested drinks - mineral water, water, juice, low-fat milk. Carbohydrate/electrolyte drinks are preferable if available.</a:t>
            </a:r>
          </a:p>
          <a:p>
            <a:pPr marL="285750" indent="-285750" rtl="0">
              <a:spcAft>
                <a:spcPts val="600"/>
              </a:spcAft>
              <a:buBlip>
                <a:blip r:embed="rId6"/>
              </a:buBlip>
            </a:pPr>
            <a:r>
              <a:rPr lang="en-gb" sz="1400">
                <a:solidFill>
                  <a:schemeClr val="tx1"/>
                </a:solidFill>
              </a:rPr>
              <a:t>You can also use cool drink bottles or ice wrapped in a cloth for cooling.</a:t>
            </a:r>
          </a:p>
          <a:p>
            <a:pPr marL="285750" indent="-285750" rtl="0">
              <a:spcAft>
                <a:spcPts val="600"/>
              </a:spcAft>
              <a:buBlip>
                <a:blip r:embed="rId6"/>
              </a:buBlip>
            </a:pPr>
            <a:r>
              <a:rPr lang="en-gb" sz="1400">
                <a:solidFill>
                  <a:schemeClr val="tx1"/>
                </a:solidFill>
              </a:rPr>
              <a:t>Do not drink alcohol or caffeinated drinks, energy drinks. </a:t>
            </a:r>
          </a:p>
        </p:txBody>
      </p:sp>
      <p:sp>
        <p:nvSpPr>
          <p:cNvPr id="26" name="Rectangle 25">
            <a:extLst>
              <a:ext uri="{FF2B5EF4-FFF2-40B4-BE49-F238E27FC236}">
                <a16:creationId xmlns:a16="http://schemas.microsoft.com/office/drawing/2014/main" id="{515B18CF-E56A-6B40-4A0F-0EAA1C8F56C7}"/>
              </a:ext>
            </a:extLst>
          </p:cNvPr>
          <p:cNvSpPr/>
          <p:nvPr/>
        </p:nvSpPr>
        <p:spPr>
          <a:xfrm>
            <a:off x="9280808" y="1822554"/>
            <a:ext cx="2468280"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bg1"/>
                </a:solidFill>
              </a:rPr>
              <a:t>Important!</a:t>
            </a:r>
          </a:p>
        </p:txBody>
      </p:sp>
      <p:sp>
        <p:nvSpPr>
          <p:cNvPr id="27" name="Content Placeholder 1">
            <a:extLst>
              <a:ext uri="{FF2B5EF4-FFF2-40B4-BE49-F238E27FC236}">
                <a16:creationId xmlns:a16="http://schemas.microsoft.com/office/drawing/2014/main" id="{DB25174A-0656-78A0-0079-8CF72BC6431E}"/>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lv-LV" sz="1400">
              <a:solidFill>
                <a:schemeClr val="bg1"/>
              </a:solidFill>
            </a:endParaRPr>
          </a:p>
        </p:txBody>
      </p:sp>
      <p:sp>
        <p:nvSpPr>
          <p:cNvPr id="28" name="Content Placeholder 1">
            <a:extLst>
              <a:ext uri="{FF2B5EF4-FFF2-40B4-BE49-F238E27FC236}">
                <a16:creationId xmlns:a16="http://schemas.microsoft.com/office/drawing/2014/main" id="{E26856B4-6C3C-09CB-5094-5D5C14CB617C}"/>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lv-LV" sz="1400">
              <a:solidFill>
                <a:schemeClr val="bg1"/>
              </a:solidFill>
            </a:endParaRPr>
          </a:p>
        </p:txBody>
      </p:sp>
      <p:sp>
        <p:nvSpPr>
          <p:cNvPr id="29" name="Google Shape;794;p79">
            <a:extLst>
              <a:ext uri="{FF2B5EF4-FFF2-40B4-BE49-F238E27FC236}">
                <a16:creationId xmlns:a16="http://schemas.microsoft.com/office/drawing/2014/main" id="{D24D2039-8EB4-6BDE-56F6-C1CF4E0BD27B}"/>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sp>
        <p:nvSpPr>
          <p:cNvPr id="34" name="Content Placeholder 1">
            <a:extLst>
              <a:ext uri="{FF2B5EF4-FFF2-40B4-BE49-F238E27FC236}">
                <a16:creationId xmlns:a16="http://schemas.microsoft.com/office/drawing/2014/main" id="{AC027842-8E0B-F976-084E-7FD104C43A84}"/>
              </a:ext>
            </a:extLst>
          </p:cNvPr>
          <p:cNvSpPr txBox="1">
            <a:spLocks/>
          </p:cNvSpPr>
          <p:nvPr/>
        </p:nvSpPr>
        <p:spPr>
          <a:xfrm>
            <a:off x="3272618" y="5794201"/>
            <a:ext cx="630238" cy="37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9</a:t>
            </a:r>
          </a:p>
        </p:txBody>
      </p:sp>
      <p:sp>
        <p:nvSpPr>
          <p:cNvPr id="35" name="TextBox 34">
            <a:extLst>
              <a:ext uri="{FF2B5EF4-FFF2-40B4-BE49-F238E27FC236}">
                <a16:creationId xmlns:a16="http://schemas.microsoft.com/office/drawing/2014/main" id="{432C5712-D5AD-47F7-FC20-0EB40EAFE2D2}"/>
              </a:ext>
            </a:extLst>
          </p:cNvPr>
          <p:cNvSpPr txBox="1"/>
          <p:nvPr/>
        </p:nvSpPr>
        <p:spPr>
          <a:xfrm>
            <a:off x="4129246" y="2472071"/>
            <a:ext cx="4784310" cy="377825"/>
          </a:xfrm>
          <a:prstGeom prst="rect">
            <a:avLst/>
          </a:prstGeom>
          <a:noFill/>
        </p:spPr>
        <p:txBody>
          <a:bodyPr wrap="square" rtlCol="0" anchor="ctr">
            <a:noAutofit/>
          </a:bodyPr>
          <a:lstStyle/>
          <a:p>
            <a:pPr rtl="0">
              <a:spcAft>
                <a:spcPts val="0"/>
              </a:spcAft>
            </a:pPr>
            <a:r>
              <a:rPr lang="en-gb" sz="1400">
                <a:solidFill>
                  <a:schemeClr val="tx1"/>
                </a:solidFill>
              </a:rPr>
              <a:t>Make sure the victim stops any physical exertion.</a:t>
            </a:r>
          </a:p>
        </p:txBody>
      </p:sp>
      <p:sp>
        <p:nvSpPr>
          <p:cNvPr id="36" name="Content Placeholder 1">
            <a:extLst>
              <a:ext uri="{FF2B5EF4-FFF2-40B4-BE49-F238E27FC236}">
                <a16:creationId xmlns:a16="http://schemas.microsoft.com/office/drawing/2014/main" id="{1A91B8D2-3367-8EC1-1639-E51629AF1E93}"/>
              </a:ext>
            </a:extLst>
          </p:cNvPr>
          <p:cNvSpPr txBox="1">
            <a:spLocks/>
          </p:cNvSpPr>
          <p:nvPr/>
        </p:nvSpPr>
        <p:spPr>
          <a:xfrm>
            <a:off x="3272618" y="2939592"/>
            <a:ext cx="630238" cy="378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2</a:t>
            </a:r>
          </a:p>
        </p:txBody>
      </p:sp>
      <p:sp>
        <p:nvSpPr>
          <p:cNvPr id="37" name="Content Placeholder 1">
            <a:extLst>
              <a:ext uri="{FF2B5EF4-FFF2-40B4-BE49-F238E27FC236}">
                <a16:creationId xmlns:a16="http://schemas.microsoft.com/office/drawing/2014/main" id="{43ADB3DB-3BA4-7C31-08CB-601A2D7BCC02}"/>
              </a:ext>
            </a:extLst>
          </p:cNvPr>
          <p:cNvSpPr txBox="1">
            <a:spLocks/>
          </p:cNvSpPr>
          <p:nvPr/>
        </p:nvSpPr>
        <p:spPr>
          <a:xfrm>
            <a:off x="3272618" y="3347393"/>
            <a:ext cx="630238" cy="37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3</a:t>
            </a:r>
          </a:p>
        </p:txBody>
      </p:sp>
      <p:sp>
        <p:nvSpPr>
          <p:cNvPr id="38" name="Content Placeholder 1">
            <a:extLst>
              <a:ext uri="{FF2B5EF4-FFF2-40B4-BE49-F238E27FC236}">
                <a16:creationId xmlns:a16="http://schemas.microsoft.com/office/drawing/2014/main" id="{BD7935CE-15D8-1811-94CE-B987A34E5FB0}"/>
              </a:ext>
            </a:extLst>
          </p:cNvPr>
          <p:cNvSpPr txBox="1">
            <a:spLocks/>
          </p:cNvSpPr>
          <p:nvPr/>
        </p:nvSpPr>
        <p:spPr>
          <a:xfrm>
            <a:off x="3272618" y="3755194"/>
            <a:ext cx="630238" cy="378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4</a:t>
            </a:r>
          </a:p>
        </p:txBody>
      </p:sp>
      <p:sp>
        <p:nvSpPr>
          <p:cNvPr id="39" name="Content Placeholder 1">
            <a:extLst>
              <a:ext uri="{FF2B5EF4-FFF2-40B4-BE49-F238E27FC236}">
                <a16:creationId xmlns:a16="http://schemas.microsoft.com/office/drawing/2014/main" id="{B6D3ACFB-DDDC-6CAA-D35D-49EA05634711}"/>
              </a:ext>
            </a:extLst>
          </p:cNvPr>
          <p:cNvSpPr txBox="1">
            <a:spLocks/>
          </p:cNvSpPr>
          <p:nvPr/>
        </p:nvSpPr>
        <p:spPr>
          <a:xfrm>
            <a:off x="3272618" y="4162995"/>
            <a:ext cx="630238" cy="37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5</a:t>
            </a:r>
          </a:p>
        </p:txBody>
      </p:sp>
      <p:sp>
        <p:nvSpPr>
          <p:cNvPr id="40" name="Content Placeholder 1">
            <a:extLst>
              <a:ext uri="{FF2B5EF4-FFF2-40B4-BE49-F238E27FC236}">
                <a16:creationId xmlns:a16="http://schemas.microsoft.com/office/drawing/2014/main" id="{7EBB5C10-CFEF-60B6-E81C-B496F1A52649}"/>
              </a:ext>
            </a:extLst>
          </p:cNvPr>
          <p:cNvSpPr txBox="1">
            <a:spLocks/>
          </p:cNvSpPr>
          <p:nvPr/>
        </p:nvSpPr>
        <p:spPr>
          <a:xfrm>
            <a:off x="3272618" y="4570796"/>
            <a:ext cx="630238" cy="378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6</a:t>
            </a:r>
          </a:p>
        </p:txBody>
      </p:sp>
      <p:sp>
        <p:nvSpPr>
          <p:cNvPr id="41" name="Content Placeholder 1">
            <a:extLst>
              <a:ext uri="{FF2B5EF4-FFF2-40B4-BE49-F238E27FC236}">
                <a16:creationId xmlns:a16="http://schemas.microsoft.com/office/drawing/2014/main" id="{985E6054-94C7-8CF3-851D-FD85DE2F92CB}"/>
              </a:ext>
            </a:extLst>
          </p:cNvPr>
          <p:cNvSpPr txBox="1">
            <a:spLocks/>
          </p:cNvSpPr>
          <p:nvPr/>
        </p:nvSpPr>
        <p:spPr>
          <a:xfrm>
            <a:off x="3272618" y="4978597"/>
            <a:ext cx="630238" cy="37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7</a:t>
            </a:r>
          </a:p>
        </p:txBody>
      </p:sp>
      <p:sp>
        <p:nvSpPr>
          <p:cNvPr id="42" name="Content Placeholder 1">
            <a:extLst>
              <a:ext uri="{FF2B5EF4-FFF2-40B4-BE49-F238E27FC236}">
                <a16:creationId xmlns:a16="http://schemas.microsoft.com/office/drawing/2014/main" id="{554E30E1-83B8-7761-D567-A1C24032F242}"/>
              </a:ext>
            </a:extLst>
          </p:cNvPr>
          <p:cNvSpPr txBox="1">
            <a:spLocks/>
          </p:cNvSpPr>
          <p:nvPr/>
        </p:nvSpPr>
        <p:spPr>
          <a:xfrm>
            <a:off x="3272618" y="5386398"/>
            <a:ext cx="630238" cy="378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8</a:t>
            </a:r>
          </a:p>
        </p:txBody>
      </p:sp>
      <p:sp>
        <p:nvSpPr>
          <p:cNvPr id="43" name="TextBox 42">
            <a:extLst>
              <a:ext uri="{FF2B5EF4-FFF2-40B4-BE49-F238E27FC236}">
                <a16:creationId xmlns:a16="http://schemas.microsoft.com/office/drawing/2014/main" id="{B59B899D-1483-7DB7-884C-1BF5BB66EEF8}"/>
              </a:ext>
            </a:extLst>
          </p:cNvPr>
          <p:cNvSpPr txBox="1"/>
          <p:nvPr/>
        </p:nvSpPr>
        <p:spPr>
          <a:xfrm>
            <a:off x="4129246" y="2939592"/>
            <a:ext cx="4784310" cy="377825"/>
          </a:xfrm>
          <a:prstGeom prst="rect">
            <a:avLst/>
          </a:prstGeom>
          <a:noFill/>
        </p:spPr>
        <p:txBody>
          <a:bodyPr wrap="square" rtlCol="0" anchor="ctr">
            <a:noAutofit/>
          </a:bodyPr>
          <a:lstStyle/>
          <a:p>
            <a:pPr rtl="0">
              <a:spcAft>
                <a:spcPts val="0"/>
              </a:spcAft>
            </a:pPr>
            <a:r>
              <a:rPr lang="en-gb" sz="1400" spc="-30" dirty="0">
                <a:solidFill>
                  <a:schemeClr val="tx1"/>
                </a:solidFill>
              </a:rPr>
              <a:t>Immediately move the victim to as cool a place as possible or in the shade, and place </a:t>
            </a:r>
            <a:r>
              <a:rPr lang="lv-LV" sz="1400" spc="-30" dirty="0" err="1"/>
              <a:t>them</a:t>
            </a:r>
            <a:r>
              <a:rPr lang="lv-LV" sz="1400" spc="-30" dirty="0"/>
              <a:t> </a:t>
            </a:r>
            <a:r>
              <a:rPr lang="en-gb" sz="1400" spc="-30" dirty="0">
                <a:solidFill>
                  <a:schemeClr val="tx1"/>
                </a:solidFill>
              </a:rPr>
              <a:t>in a semi-recumbent position.</a:t>
            </a:r>
          </a:p>
        </p:txBody>
      </p:sp>
      <p:sp>
        <p:nvSpPr>
          <p:cNvPr id="44" name="TextBox 43">
            <a:extLst>
              <a:ext uri="{FF2B5EF4-FFF2-40B4-BE49-F238E27FC236}">
                <a16:creationId xmlns:a16="http://schemas.microsoft.com/office/drawing/2014/main" id="{94871D9B-9CA0-96F3-8E39-FD36C686E5B2}"/>
              </a:ext>
            </a:extLst>
          </p:cNvPr>
          <p:cNvSpPr txBox="1"/>
          <p:nvPr/>
        </p:nvSpPr>
        <p:spPr>
          <a:xfrm>
            <a:off x="4129246" y="3755194"/>
            <a:ext cx="4784310" cy="377825"/>
          </a:xfrm>
          <a:prstGeom prst="rect">
            <a:avLst/>
          </a:prstGeom>
          <a:noFill/>
        </p:spPr>
        <p:txBody>
          <a:bodyPr wrap="square" rtlCol="0" anchor="ctr">
            <a:noAutofit/>
          </a:bodyPr>
          <a:lstStyle/>
          <a:p>
            <a:pPr rtl="0">
              <a:spcAft>
                <a:spcPts val="0"/>
              </a:spcAft>
            </a:pPr>
            <a:r>
              <a:rPr lang="en-gb" sz="1400">
                <a:solidFill>
                  <a:schemeClr val="tx1"/>
                </a:solidFill>
              </a:rPr>
              <a:t>Re-hydrate the victim's head, neck, chest with cool water.</a:t>
            </a:r>
          </a:p>
        </p:txBody>
      </p:sp>
      <p:sp>
        <p:nvSpPr>
          <p:cNvPr id="45" name="TextBox 44">
            <a:extLst>
              <a:ext uri="{FF2B5EF4-FFF2-40B4-BE49-F238E27FC236}">
                <a16:creationId xmlns:a16="http://schemas.microsoft.com/office/drawing/2014/main" id="{8D71FF02-0232-FA91-F9B2-51C5765FD1F0}"/>
              </a:ext>
            </a:extLst>
          </p:cNvPr>
          <p:cNvSpPr txBox="1"/>
          <p:nvPr/>
        </p:nvSpPr>
        <p:spPr>
          <a:xfrm>
            <a:off x="4129246" y="4162995"/>
            <a:ext cx="4784310" cy="377825"/>
          </a:xfrm>
          <a:prstGeom prst="rect">
            <a:avLst/>
          </a:prstGeom>
          <a:noFill/>
        </p:spPr>
        <p:txBody>
          <a:bodyPr wrap="square" rtlCol="0" anchor="ctr">
            <a:noAutofit/>
          </a:bodyPr>
          <a:lstStyle/>
          <a:p>
            <a:pPr rtl="0">
              <a:spcAft>
                <a:spcPts val="0"/>
              </a:spcAft>
            </a:pPr>
            <a:r>
              <a:rPr lang="en-gb" sz="1400">
                <a:solidFill>
                  <a:schemeClr val="tx1"/>
                </a:solidFill>
              </a:rPr>
              <a:t>Use cold objects for cooling.</a:t>
            </a:r>
          </a:p>
        </p:txBody>
      </p:sp>
      <p:sp>
        <p:nvSpPr>
          <p:cNvPr id="46" name="TextBox 45">
            <a:extLst>
              <a:ext uri="{FF2B5EF4-FFF2-40B4-BE49-F238E27FC236}">
                <a16:creationId xmlns:a16="http://schemas.microsoft.com/office/drawing/2014/main" id="{AA6DDFE9-80E6-B7F6-FB38-9917BC91B4D2}"/>
              </a:ext>
            </a:extLst>
          </p:cNvPr>
          <p:cNvSpPr txBox="1"/>
          <p:nvPr/>
        </p:nvSpPr>
        <p:spPr>
          <a:xfrm>
            <a:off x="4129246" y="4978597"/>
            <a:ext cx="4784310" cy="377825"/>
          </a:xfrm>
          <a:prstGeom prst="rect">
            <a:avLst/>
          </a:prstGeom>
          <a:noFill/>
        </p:spPr>
        <p:txBody>
          <a:bodyPr wrap="square" rtlCol="0" anchor="ctr">
            <a:noAutofit/>
          </a:bodyPr>
          <a:lstStyle/>
          <a:p>
            <a:pPr rtl="0">
              <a:spcAft>
                <a:spcPts val="0"/>
              </a:spcAft>
            </a:pPr>
            <a:r>
              <a:rPr lang="en-gb" sz="1400">
                <a:solidFill>
                  <a:schemeClr val="tx1"/>
                </a:solidFill>
              </a:rPr>
              <a:t>Ventilate, cool, create air flow.</a:t>
            </a:r>
          </a:p>
        </p:txBody>
      </p:sp>
      <p:sp>
        <p:nvSpPr>
          <p:cNvPr id="47" name="TextBox 46">
            <a:extLst>
              <a:ext uri="{FF2B5EF4-FFF2-40B4-BE49-F238E27FC236}">
                <a16:creationId xmlns:a16="http://schemas.microsoft.com/office/drawing/2014/main" id="{115D63E8-2A8B-9CF7-1918-27AD2BA124D4}"/>
              </a:ext>
            </a:extLst>
          </p:cNvPr>
          <p:cNvSpPr txBox="1"/>
          <p:nvPr/>
        </p:nvSpPr>
        <p:spPr>
          <a:xfrm>
            <a:off x="4129246" y="5386398"/>
            <a:ext cx="4784310" cy="377825"/>
          </a:xfrm>
          <a:prstGeom prst="rect">
            <a:avLst/>
          </a:prstGeom>
          <a:noFill/>
        </p:spPr>
        <p:txBody>
          <a:bodyPr wrap="square" rtlCol="0" anchor="ctr">
            <a:noAutofit/>
          </a:bodyPr>
          <a:lstStyle/>
          <a:p>
            <a:pPr rtl="0">
              <a:spcAft>
                <a:spcPts val="0"/>
              </a:spcAft>
            </a:pPr>
            <a:r>
              <a:rPr lang="en-gb" sz="1400">
                <a:solidFill>
                  <a:schemeClr val="tx1"/>
                </a:solidFill>
              </a:rPr>
              <a:t>Call an ambulance.</a:t>
            </a:r>
          </a:p>
        </p:txBody>
      </p:sp>
      <p:sp>
        <p:nvSpPr>
          <p:cNvPr id="48" name="TextBox 47">
            <a:extLst>
              <a:ext uri="{FF2B5EF4-FFF2-40B4-BE49-F238E27FC236}">
                <a16:creationId xmlns:a16="http://schemas.microsoft.com/office/drawing/2014/main" id="{45C97A8C-D8E3-502E-7F55-E280CB660E7E}"/>
              </a:ext>
            </a:extLst>
          </p:cNvPr>
          <p:cNvSpPr txBox="1"/>
          <p:nvPr/>
        </p:nvSpPr>
        <p:spPr>
          <a:xfrm>
            <a:off x="4129246" y="3347393"/>
            <a:ext cx="4784310" cy="377825"/>
          </a:xfrm>
          <a:prstGeom prst="rect">
            <a:avLst/>
          </a:prstGeom>
          <a:noFill/>
        </p:spPr>
        <p:txBody>
          <a:bodyPr wrap="square" rtlCol="0" anchor="ctr">
            <a:noAutofit/>
          </a:bodyPr>
          <a:lstStyle/>
          <a:p>
            <a:pPr rtl="0">
              <a:spcAft>
                <a:spcPts val="0"/>
              </a:spcAft>
            </a:pPr>
            <a:r>
              <a:rPr lang="lv-LV" sz="1400" dirty="0" err="1">
                <a:solidFill>
                  <a:schemeClr val="tx1"/>
                </a:solidFill>
              </a:rPr>
              <a:t>Uncover</a:t>
            </a:r>
            <a:r>
              <a:rPr lang="en-gb" sz="1400" dirty="0">
                <a:solidFill>
                  <a:schemeClr val="tx1"/>
                </a:solidFill>
              </a:rPr>
              <a:t> the victim.</a:t>
            </a:r>
          </a:p>
        </p:txBody>
      </p:sp>
      <p:sp>
        <p:nvSpPr>
          <p:cNvPr id="49" name="TextBox 48">
            <a:extLst>
              <a:ext uri="{FF2B5EF4-FFF2-40B4-BE49-F238E27FC236}">
                <a16:creationId xmlns:a16="http://schemas.microsoft.com/office/drawing/2014/main" id="{1D2FF4CB-94E6-2366-A7D2-CA1C854C04A2}"/>
              </a:ext>
            </a:extLst>
          </p:cNvPr>
          <p:cNvSpPr txBox="1"/>
          <p:nvPr/>
        </p:nvSpPr>
        <p:spPr>
          <a:xfrm>
            <a:off x="4129246" y="4570796"/>
            <a:ext cx="4784310" cy="377825"/>
          </a:xfrm>
          <a:prstGeom prst="rect">
            <a:avLst/>
          </a:prstGeom>
          <a:noFill/>
        </p:spPr>
        <p:txBody>
          <a:bodyPr wrap="square" rtlCol="0" anchor="ctr">
            <a:noAutofit/>
          </a:bodyPr>
          <a:lstStyle/>
          <a:p>
            <a:pPr rtl="0">
              <a:spcAft>
                <a:spcPts val="0"/>
              </a:spcAft>
            </a:pPr>
            <a:r>
              <a:rPr lang="en-gb" sz="1400">
                <a:solidFill>
                  <a:schemeClr val="tx1"/>
                </a:solidFill>
              </a:rPr>
              <a:t>Give a cool drink.</a:t>
            </a:r>
          </a:p>
        </p:txBody>
      </p:sp>
      <p:cxnSp>
        <p:nvCxnSpPr>
          <p:cNvPr id="50" name="Straight Connector 49">
            <a:extLst>
              <a:ext uri="{FF2B5EF4-FFF2-40B4-BE49-F238E27FC236}">
                <a16:creationId xmlns:a16="http://schemas.microsoft.com/office/drawing/2014/main" id="{17653C16-CA97-6000-D7DD-7E037FD85C05}"/>
              </a:ext>
            </a:extLst>
          </p:cNvPr>
          <p:cNvCxnSpPr>
            <a:cxnSpLocks/>
          </p:cNvCxnSpPr>
          <p:nvPr/>
        </p:nvCxnSpPr>
        <p:spPr>
          <a:xfrm>
            <a:off x="4129246" y="2923413"/>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1" name="Straight Connector 50">
            <a:extLst>
              <a:ext uri="{FF2B5EF4-FFF2-40B4-BE49-F238E27FC236}">
                <a16:creationId xmlns:a16="http://schemas.microsoft.com/office/drawing/2014/main" id="{537A688A-62B8-6587-C298-654E7B6FDBF3}"/>
              </a:ext>
            </a:extLst>
          </p:cNvPr>
          <p:cNvCxnSpPr>
            <a:cxnSpLocks/>
          </p:cNvCxnSpPr>
          <p:nvPr/>
        </p:nvCxnSpPr>
        <p:spPr>
          <a:xfrm>
            <a:off x="4129246" y="3331214"/>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2" name="Straight Connector 51">
            <a:extLst>
              <a:ext uri="{FF2B5EF4-FFF2-40B4-BE49-F238E27FC236}">
                <a16:creationId xmlns:a16="http://schemas.microsoft.com/office/drawing/2014/main" id="{F4C3403E-2696-D97B-0B87-BE29207A69F6}"/>
              </a:ext>
            </a:extLst>
          </p:cNvPr>
          <p:cNvCxnSpPr>
            <a:cxnSpLocks/>
          </p:cNvCxnSpPr>
          <p:nvPr/>
        </p:nvCxnSpPr>
        <p:spPr>
          <a:xfrm>
            <a:off x="4129246" y="3739015"/>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3" name="Straight Connector 52">
            <a:extLst>
              <a:ext uri="{FF2B5EF4-FFF2-40B4-BE49-F238E27FC236}">
                <a16:creationId xmlns:a16="http://schemas.microsoft.com/office/drawing/2014/main" id="{FD46ACCE-2596-0F71-8814-2633D9B4F1BE}"/>
              </a:ext>
            </a:extLst>
          </p:cNvPr>
          <p:cNvCxnSpPr>
            <a:cxnSpLocks/>
          </p:cNvCxnSpPr>
          <p:nvPr/>
        </p:nvCxnSpPr>
        <p:spPr>
          <a:xfrm>
            <a:off x="4129246" y="4146816"/>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4" name="Straight Connector 53">
            <a:extLst>
              <a:ext uri="{FF2B5EF4-FFF2-40B4-BE49-F238E27FC236}">
                <a16:creationId xmlns:a16="http://schemas.microsoft.com/office/drawing/2014/main" id="{AC8294AA-CBC2-5CBD-9450-3317CF937180}"/>
              </a:ext>
            </a:extLst>
          </p:cNvPr>
          <p:cNvCxnSpPr>
            <a:cxnSpLocks/>
          </p:cNvCxnSpPr>
          <p:nvPr/>
        </p:nvCxnSpPr>
        <p:spPr>
          <a:xfrm>
            <a:off x="4129246" y="4554617"/>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5" name="Straight Connector 54">
            <a:extLst>
              <a:ext uri="{FF2B5EF4-FFF2-40B4-BE49-F238E27FC236}">
                <a16:creationId xmlns:a16="http://schemas.microsoft.com/office/drawing/2014/main" id="{9A3968C7-859E-E0DE-F046-98C0A6D07AE5}"/>
              </a:ext>
            </a:extLst>
          </p:cNvPr>
          <p:cNvCxnSpPr>
            <a:cxnSpLocks/>
          </p:cNvCxnSpPr>
          <p:nvPr/>
        </p:nvCxnSpPr>
        <p:spPr>
          <a:xfrm>
            <a:off x="4129246" y="4962418"/>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6" name="Straight Connector 55">
            <a:extLst>
              <a:ext uri="{FF2B5EF4-FFF2-40B4-BE49-F238E27FC236}">
                <a16:creationId xmlns:a16="http://schemas.microsoft.com/office/drawing/2014/main" id="{7964D58B-981E-A694-5D12-09F59079F6DE}"/>
              </a:ext>
            </a:extLst>
          </p:cNvPr>
          <p:cNvCxnSpPr>
            <a:cxnSpLocks/>
          </p:cNvCxnSpPr>
          <p:nvPr/>
        </p:nvCxnSpPr>
        <p:spPr>
          <a:xfrm>
            <a:off x="4129246" y="5370219"/>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57" name="Content Placeholder 1">
            <a:extLst>
              <a:ext uri="{FF2B5EF4-FFF2-40B4-BE49-F238E27FC236}">
                <a16:creationId xmlns:a16="http://schemas.microsoft.com/office/drawing/2014/main" id="{35163424-634C-D958-12E3-B664D6A7060F}"/>
              </a:ext>
            </a:extLst>
          </p:cNvPr>
          <p:cNvSpPr txBox="1">
            <a:spLocks/>
          </p:cNvSpPr>
          <p:nvPr/>
        </p:nvSpPr>
        <p:spPr>
          <a:xfrm>
            <a:off x="3272618" y="2531791"/>
            <a:ext cx="630238" cy="37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1</a:t>
            </a:r>
          </a:p>
        </p:txBody>
      </p:sp>
      <p:cxnSp>
        <p:nvCxnSpPr>
          <p:cNvPr id="58" name="Straight Connector 57">
            <a:extLst>
              <a:ext uri="{FF2B5EF4-FFF2-40B4-BE49-F238E27FC236}">
                <a16:creationId xmlns:a16="http://schemas.microsoft.com/office/drawing/2014/main" id="{2198E519-68F7-63B8-1155-0724B785D3FE}"/>
              </a:ext>
            </a:extLst>
          </p:cNvPr>
          <p:cNvCxnSpPr>
            <a:cxnSpLocks/>
            <a:stCxn id="59" idx="4"/>
            <a:endCxn id="65" idx="3"/>
          </p:cNvCxnSpPr>
          <p:nvPr/>
        </p:nvCxnSpPr>
        <p:spPr>
          <a:xfrm>
            <a:off x="3695295" y="2793181"/>
            <a:ext cx="0" cy="3235886"/>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59" name="Oval 58">
            <a:extLst>
              <a:ext uri="{FF2B5EF4-FFF2-40B4-BE49-F238E27FC236}">
                <a16:creationId xmlns:a16="http://schemas.microsoft.com/office/drawing/2014/main" id="{240305AB-D314-184B-8241-309CAA3C49C9}"/>
              </a:ext>
            </a:extLst>
          </p:cNvPr>
          <p:cNvSpPr/>
          <p:nvPr/>
        </p:nvSpPr>
        <p:spPr>
          <a:xfrm>
            <a:off x="3622905" y="2648401"/>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60" name="Isosceles Triangle 59">
            <a:extLst>
              <a:ext uri="{FF2B5EF4-FFF2-40B4-BE49-F238E27FC236}">
                <a16:creationId xmlns:a16="http://schemas.microsoft.com/office/drawing/2014/main" id="{39B1999B-DA2B-AEF1-F527-5B55E3A4F6D3}"/>
              </a:ext>
            </a:extLst>
          </p:cNvPr>
          <p:cNvSpPr/>
          <p:nvPr/>
        </p:nvSpPr>
        <p:spPr>
          <a:xfrm flipV="1">
            <a:off x="3521464" y="3724685"/>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lv-LV" sz="1600"/>
          </a:p>
        </p:txBody>
      </p:sp>
      <p:sp>
        <p:nvSpPr>
          <p:cNvPr id="61" name="Isosceles Triangle 60">
            <a:extLst>
              <a:ext uri="{FF2B5EF4-FFF2-40B4-BE49-F238E27FC236}">
                <a16:creationId xmlns:a16="http://schemas.microsoft.com/office/drawing/2014/main" id="{C89C6CFF-F3F8-4409-558D-AB15D4B22B52}"/>
              </a:ext>
            </a:extLst>
          </p:cNvPr>
          <p:cNvSpPr/>
          <p:nvPr/>
        </p:nvSpPr>
        <p:spPr>
          <a:xfrm flipV="1">
            <a:off x="3521464" y="4132593"/>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lv-LV" sz="1600"/>
          </a:p>
        </p:txBody>
      </p:sp>
      <p:sp>
        <p:nvSpPr>
          <p:cNvPr id="62" name="Isosceles Triangle 61">
            <a:extLst>
              <a:ext uri="{FF2B5EF4-FFF2-40B4-BE49-F238E27FC236}">
                <a16:creationId xmlns:a16="http://schemas.microsoft.com/office/drawing/2014/main" id="{D6533196-5085-05A8-2364-DAC27889663F}"/>
              </a:ext>
            </a:extLst>
          </p:cNvPr>
          <p:cNvSpPr/>
          <p:nvPr/>
        </p:nvSpPr>
        <p:spPr>
          <a:xfrm flipV="1">
            <a:off x="3521464" y="4540501"/>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lv-LV" sz="1600"/>
          </a:p>
        </p:txBody>
      </p:sp>
      <p:sp>
        <p:nvSpPr>
          <p:cNvPr id="63" name="Isosceles Triangle 62">
            <a:extLst>
              <a:ext uri="{FF2B5EF4-FFF2-40B4-BE49-F238E27FC236}">
                <a16:creationId xmlns:a16="http://schemas.microsoft.com/office/drawing/2014/main" id="{B0F6447E-D4BB-398C-BA99-969BA786C7C5}"/>
              </a:ext>
            </a:extLst>
          </p:cNvPr>
          <p:cNvSpPr/>
          <p:nvPr/>
        </p:nvSpPr>
        <p:spPr>
          <a:xfrm flipV="1">
            <a:off x="3521464" y="4948409"/>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lv-LV" sz="1600"/>
          </a:p>
        </p:txBody>
      </p:sp>
      <p:sp>
        <p:nvSpPr>
          <p:cNvPr id="64" name="Isosceles Triangle 63">
            <a:extLst>
              <a:ext uri="{FF2B5EF4-FFF2-40B4-BE49-F238E27FC236}">
                <a16:creationId xmlns:a16="http://schemas.microsoft.com/office/drawing/2014/main" id="{84B6B728-C388-AF06-A34F-8B985415F504}"/>
              </a:ext>
            </a:extLst>
          </p:cNvPr>
          <p:cNvSpPr/>
          <p:nvPr/>
        </p:nvSpPr>
        <p:spPr>
          <a:xfrm flipV="1">
            <a:off x="3521464" y="5356317"/>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lv-LV" sz="1600"/>
          </a:p>
        </p:txBody>
      </p:sp>
      <p:sp>
        <p:nvSpPr>
          <p:cNvPr id="65" name="Isosceles Triangle 64">
            <a:extLst>
              <a:ext uri="{FF2B5EF4-FFF2-40B4-BE49-F238E27FC236}">
                <a16:creationId xmlns:a16="http://schemas.microsoft.com/office/drawing/2014/main" id="{DE4C2663-EB37-60FA-2D68-70149F921862}"/>
              </a:ext>
            </a:extLst>
          </p:cNvPr>
          <p:cNvSpPr/>
          <p:nvPr/>
        </p:nvSpPr>
        <p:spPr>
          <a:xfrm flipV="1">
            <a:off x="3640526" y="6029067"/>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lv-LV" sz="1600"/>
          </a:p>
        </p:txBody>
      </p:sp>
      <p:sp>
        <p:nvSpPr>
          <p:cNvPr id="66" name="Isosceles Triangle 65">
            <a:extLst>
              <a:ext uri="{FF2B5EF4-FFF2-40B4-BE49-F238E27FC236}">
                <a16:creationId xmlns:a16="http://schemas.microsoft.com/office/drawing/2014/main" id="{889CCFBC-A6F2-A8F7-79F0-D31DB6126C09}"/>
              </a:ext>
            </a:extLst>
          </p:cNvPr>
          <p:cNvSpPr/>
          <p:nvPr/>
        </p:nvSpPr>
        <p:spPr>
          <a:xfrm flipV="1">
            <a:off x="3521464" y="2908869"/>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lv-LV" sz="1600"/>
          </a:p>
        </p:txBody>
      </p:sp>
      <p:sp>
        <p:nvSpPr>
          <p:cNvPr id="67" name="Isosceles Triangle 66">
            <a:extLst>
              <a:ext uri="{FF2B5EF4-FFF2-40B4-BE49-F238E27FC236}">
                <a16:creationId xmlns:a16="http://schemas.microsoft.com/office/drawing/2014/main" id="{694D06CB-4FD9-F8F4-87A6-52624FE80486}"/>
              </a:ext>
            </a:extLst>
          </p:cNvPr>
          <p:cNvSpPr/>
          <p:nvPr/>
        </p:nvSpPr>
        <p:spPr>
          <a:xfrm flipV="1">
            <a:off x="3521464" y="3316777"/>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lv-LV" sz="1600"/>
          </a:p>
        </p:txBody>
      </p:sp>
      <p:sp>
        <p:nvSpPr>
          <p:cNvPr id="68" name="Isosceles Triangle 67">
            <a:extLst>
              <a:ext uri="{FF2B5EF4-FFF2-40B4-BE49-F238E27FC236}">
                <a16:creationId xmlns:a16="http://schemas.microsoft.com/office/drawing/2014/main" id="{F301D25A-DA36-DB7B-23E6-238516D081C8}"/>
              </a:ext>
            </a:extLst>
          </p:cNvPr>
          <p:cNvSpPr/>
          <p:nvPr/>
        </p:nvSpPr>
        <p:spPr>
          <a:xfrm flipV="1">
            <a:off x="3521464" y="5764223"/>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lv-LV" sz="1600"/>
          </a:p>
        </p:txBody>
      </p:sp>
      <p:cxnSp>
        <p:nvCxnSpPr>
          <p:cNvPr id="69" name="Straight Connector 68">
            <a:extLst>
              <a:ext uri="{FF2B5EF4-FFF2-40B4-BE49-F238E27FC236}">
                <a16:creationId xmlns:a16="http://schemas.microsoft.com/office/drawing/2014/main" id="{822E8826-40ED-42E9-6EB5-CAEA9A5D9E75}"/>
              </a:ext>
            </a:extLst>
          </p:cNvPr>
          <p:cNvCxnSpPr>
            <a:cxnSpLocks/>
          </p:cNvCxnSpPr>
          <p:nvPr/>
        </p:nvCxnSpPr>
        <p:spPr>
          <a:xfrm>
            <a:off x="4129246" y="5778020"/>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70" name="TextBox 69">
            <a:extLst>
              <a:ext uri="{FF2B5EF4-FFF2-40B4-BE49-F238E27FC236}">
                <a16:creationId xmlns:a16="http://schemas.microsoft.com/office/drawing/2014/main" id="{715CB4D8-B109-4E3E-BFCE-C99080E076DC}"/>
              </a:ext>
            </a:extLst>
          </p:cNvPr>
          <p:cNvSpPr txBox="1"/>
          <p:nvPr/>
        </p:nvSpPr>
        <p:spPr>
          <a:xfrm>
            <a:off x="4129246" y="5794201"/>
            <a:ext cx="4784310" cy="377825"/>
          </a:xfrm>
          <a:prstGeom prst="rect">
            <a:avLst/>
          </a:prstGeom>
          <a:noFill/>
        </p:spPr>
        <p:txBody>
          <a:bodyPr wrap="square" rtlCol="0" anchor="ctr">
            <a:noAutofit/>
          </a:bodyPr>
          <a:lstStyle/>
          <a:p>
            <a:pPr rtl="0">
              <a:spcAft>
                <a:spcPts val="0"/>
              </a:spcAft>
            </a:pPr>
            <a:r>
              <a:rPr lang="en-gb" sz="1400">
                <a:solidFill>
                  <a:schemeClr val="tx1"/>
                </a:solidFill>
              </a:rPr>
              <a:t>Take resuscitation measures if necessary.</a:t>
            </a:r>
          </a:p>
        </p:txBody>
      </p:sp>
      <p:sp>
        <p:nvSpPr>
          <p:cNvPr id="71" name="Rectangle 70">
            <a:extLst>
              <a:ext uri="{FF2B5EF4-FFF2-40B4-BE49-F238E27FC236}">
                <a16:creationId xmlns:a16="http://schemas.microsoft.com/office/drawing/2014/main" id="{D177213A-A08F-109F-C321-81C74500428F}"/>
              </a:ext>
            </a:extLst>
          </p:cNvPr>
          <p:cNvSpPr/>
          <p:nvPr/>
        </p:nvSpPr>
        <p:spPr>
          <a:xfrm>
            <a:off x="3272618" y="1822554"/>
            <a:ext cx="5640938"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tx1"/>
                </a:solidFill>
              </a:rPr>
              <a:t>How to proceed?</a:t>
            </a:r>
          </a:p>
        </p:txBody>
      </p:sp>
      <p:grpSp>
        <p:nvGrpSpPr>
          <p:cNvPr id="95" name="Group 94">
            <a:extLst>
              <a:ext uri="{FF2B5EF4-FFF2-40B4-BE49-F238E27FC236}">
                <a16:creationId xmlns:a16="http://schemas.microsoft.com/office/drawing/2014/main" id="{E56160CB-407D-C18B-F89E-976411FAF04D}"/>
              </a:ext>
            </a:extLst>
          </p:cNvPr>
          <p:cNvGrpSpPr/>
          <p:nvPr/>
        </p:nvGrpSpPr>
        <p:grpSpPr>
          <a:xfrm>
            <a:off x="8266168" y="1822554"/>
            <a:ext cx="647388" cy="576000"/>
            <a:chOff x="7212125" y="1822554"/>
            <a:chExt cx="647388" cy="576000"/>
          </a:xfrm>
        </p:grpSpPr>
        <p:sp>
          <p:nvSpPr>
            <p:cNvPr id="72" name="Content Placeholder 1">
              <a:extLst>
                <a:ext uri="{FF2B5EF4-FFF2-40B4-BE49-F238E27FC236}">
                  <a16:creationId xmlns:a16="http://schemas.microsoft.com/office/drawing/2014/main" id="{97B86F27-97BF-A053-40CF-13B6F7A90C0B}"/>
                </a:ext>
              </a:extLst>
            </p:cNvPr>
            <p:cNvSpPr txBox="1">
              <a:spLocks/>
            </p:cNvSpPr>
            <p:nvPr/>
          </p:nvSpPr>
          <p:spPr>
            <a:xfrm>
              <a:off x="7283513"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lv-LV" sz="1400">
                <a:solidFill>
                  <a:schemeClr val="bg1"/>
                </a:solidFill>
              </a:endParaRPr>
            </a:p>
          </p:txBody>
        </p:sp>
        <p:sp>
          <p:nvSpPr>
            <p:cNvPr id="73" name="Content Placeholder 1">
              <a:extLst>
                <a:ext uri="{FF2B5EF4-FFF2-40B4-BE49-F238E27FC236}">
                  <a16:creationId xmlns:a16="http://schemas.microsoft.com/office/drawing/2014/main" id="{097C697C-20DC-498D-E06D-AE4A61FACDF5}"/>
                </a:ext>
              </a:extLst>
            </p:cNvPr>
            <p:cNvSpPr txBox="1">
              <a:spLocks/>
            </p:cNvSpPr>
            <p:nvPr/>
          </p:nvSpPr>
          <p:spPr>
            <a:xfrm>
              <a:off x="7212125"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lv-LV" sz="1400">
                <a:solidFill>
                  <a:schemeClr val="bg1"/>
                </a:solidFill>
              </a:endParaRPr>
            </a:p>
          </p:txBody>
        </p:sp>
        <p:sp>
          <p:nvSpPr>
            <p:cNvPr id="74" name="Google Shape;760;p79">
              <a:extLst>
                <a:ext uri="{FF2B5EF4-FFF2-40B4-BE49-F238E27FC236}">
                  <a16:creationId xmlns:a16="http://schemas.microsoft.com/office/drawing/2014/main" id="{604C031C-FBD8-99DD-C008-0B6D6174CE10}"/>
                </a:ext>
              </a:extLst>
            </p:cNvPr>
            <p:cNvSpPr/>
            <p:nvPr/>
          </p:nvSpPr>
          <p:spPr>
            <a:xfrm>
              <a:off x="7391513"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grpSp>
      <p:sp>
        <p:nvSpPr>
          <p:cNvPr id="76" name="Rectangle 75">
            <a:extLst>
              <a:ext uri="{FF2B5EF4-FFF2-40B4-BE49-F238E27FC236}">
                <a16:creationId xmlns:a16="http://schemas.microsoft.com/office/drawing/2014/main" id="{749FF834-8FDC-D7F2-E12F-D667F2758F1D}"/>
              </a:ext>
            </a:extLst>
          </p:cNvPr>
          <p:cNvSpPr/>
          <p:nvPr/>
        </p:nvSpPr>
        <p:spPr>
          <a:xfrm>
            <a:off x="442913" y="1822554"/>
            <a:ext cx="2468356" cy="576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bg1"/>
                </a:solidFill>
              </a:rPr>
              <a:t>Contributing circumstances</a:t>
            </a:r>
          </a:p>
        </p:txBody>
      </p:sp>
      <p:sp>
        <p:nvSpPr>
          <p:cNvPr id="77" name="Content Placeholder 1">
            <a:extLst>
              <a:ext uri="{FF2B5EF4-FFF2-40B4-BE49-F238E27FC236}">
                <a16:creationId xmlns:a16="http://schemas.microsoft.com/office/drawing/2014/main" id="{500B9E5D-04F9-8EC8-DB30-15926D654D38}"/>
              </a:ext>
            </a:extLst>
          </p:cNvPr>
          <p:cNvSpPr txBox="1">
            <a:spLocks/>
          </p:cNvSpPr>
          <p:nvPr/>
        </p:nvSpPr>
        <p:spPr>
          <a:xfrm>
            <a:off x="2335269" y="1822554"/>
            <a:ext cx="576000" cy="576000"/>
          </a:xfrm>
          <a:prstGeom prst="rect">
            <a:avLst/>
          </a:prstGeom>
          <a:solidFill>
            <a:schemeClr val="accent3"/>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lv-LV" sz="1400">
              <a:solidFill>
                <a:schemeClr val="bg1"/>
              </a:solidFill>
            </a:endParaRPr>
          </a:p>
        </p:txBody>
      </p:sp>
      <p:sp>
        <p:nvSpPr>
          <p:cNvPr id="78" name="Content Placeholder 1">
            <a:extLst>
              <a:ext uri="{FF2B5EF4-FFF2-40B4-BE49-F238E27FC236}">
                <a16:creationId xmlns:a16="http://schemas.microsoft.com/office/drawing/2014/main" id="{67F23E57-E858-E4CF-4200-B52A6C07C68B}"/>
              </a:ext>
            </a:extLst>
          </p:cNvPr>
          <p:cNvSpPr txBox="1">
            <a:spLocks/>
          </p:cNvSpPr>
          <p:nvPr/>
        </p:nvSpPr>
        <p:spPr>
          <a:xfrm>
            <a:off x="2263881"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lv-LV" sz="1400">
              <a:solidFill>
                <a:schemeClr val="bg1"/>
              </a:solidFill>
            </a:endParaRPr>
          </a:p>
        </p:txBody>
      </p:sp>
      <p:sp>
        <p:nvSpPr>
          <p:cNvPr id="88" name="Rectangle 87">
            <a:extLst>
              <a:ext uri="{FF2B5EF4-FFF2-40B4-BE49-F238E27FC236}">
                <a16:creationId xmlns:a16="http://schemas.microsoft.com/office/drawing/2014/main" id="{FAE4F479-75A7-AEA5-4879-7B116D34F1DF}"/>
              </a:ext>
            </a:extLst>
          </p:cNvPr>
          <p:cNvSpPr/>
          <p:nvPr/>
        </p:nvSpPr>
        <p:spPr>
          <a:xfrm>
            <a:off x="442913" y="2398554"/>
            <a:ext cx="2468280" cy="377364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rtl="0">
              <a:spcAft>
                <a:spcPts val="600"/>
              </a:spcAft>
              <a:buBlip>
                <a:blip r:embed="rId6"/>
              </a:buBlip>
            </a:pPr>
            <a:r>
              <a:rPr lang="en-gb" sz="1400" dirty="0">
                <a:solidFill>
                  <a:schemeClr val="tx1"/>
                </a:solidFill>
              </a:rPr>
              <a:t>Heat</a:t>
            </a:r>
          </a:p>
          <a:p>
            <a:pPr marL="285750" indent="-285750" rtl="0">
              <a:spcAft>
                <a:spcPts val="600"/>
              </a:spcAft>
              <a:buBlip>
                <a:blip r:embed="rId6"/>
              </a:buBlip>
            </a:pPr>
            <a:r>
              <a:rPr lang="en-gb" sz="1400" dirty="0">
                <a:solidFill>
                  <a:schemeClr val="tx1"/>
                </a:solidFill>
              </a:rPr>
              <a:t>Humidity</a:t>
            </a:r>
          </a:p>
          <a:p>
            <a:pPr marL="285750" indent="-285750" rtl="0">
              <a:spcAft>
                <a:spcPts val="600"/>
              </a:spcAft>
              <a:buBlip>
                <a:blip r:embed="rId6"/>
              </a:buBlip>
            </a:pPr>
            <a:r>
              <a:rPr lang="en-gb" sz="1400" dirty="0">
                <a:solidFill>
                  <a:schemeClr val="tx1"/>
                </a:solidFill>
              </a:rPr>
              <a:t>Insufficient fluid intake</a:t>
            </a:r>
          </a:p>
          <a:p>
            <a:pPr marL="285750" indent="-285750" rtl="0">
              <a:spcAft>
                <a:spcPts val="600"/>
              </a:spcAft>
              <a:buBlip>
                <a:blip r:embed="rId6"/>
              </a:buBlip>
            </a:pPr>
            <a:r>
              <a:rPr lang="lv-LV" sz="1400" dirty="0" err="1">
                <a:solidFill>
                  <a:schemeClr val="tx1"/>
                </a:solidFill>
              </a:rPr>
              <a:t>Lack</a:t>
            </a:r>
            <a:r>
              <a:rPr lang="lv-LV" sz="1400" dirty="0">
                <a:solidFill>
                  <a:schemeClr val="tx1"/>
                </a:solidFill>
              </a:rPr>
              <a:t> </a:t>
            </a:r>
            <a:r>
              <a:rPr lang="lv-LV" sz="1400" dirty="0" err="1">
                <a:solidFill>
                  <a:schemeClr val="tx1"/>
                </a:solidFill>
              </a:rPr>
              <a:t>of</a:t>
            </a:r>
            <a:r>
              <a:rPr lang="lv-LV" sz="1400" dirty="0">
                <a:solidFill>
                  <a:schemeClr val="tx1"/>
                </a:solidFill>
              </a:rPr>
              <a:t> </a:t>
            </a:r>
            <a:r>
              <a:rPr lang="lv-LV" sz="1400" dirty="0" err="1">
                <a:solidFill>
                  <a:schemeClr val="tx1"/>
                </a:solidFill>
              </a:rPr>
              <a:t>wind</a:t>
            </a:r>
            <a:endParaRPr lang="en-gb" sz="1400" dirty="0">
              <a:solidFill>
                <a:schemeClr val="tx1"/>
              </a:solidFill>
            </a:endParaRPr>
          </a:p>
          <a:p>
            <a:pPr marL="285750" indent="-285750" rtl="0">
              <a:spcAft>
                <a:spcPts val="600"/>
              </a:spcAft>
              <a:buBlip>
                <a:blip r:embed="rId6"/>
              </a:buBlip>
            </a:pPr>
            <a:r>
              <a:rPr lang="en-gb" sz="1400" dirty="0">
                <a:solidFill>
                  <a:schemeClr val="tx1"/>
                </a:solidFill>
              </a:rPr>
              <a:t>Inadequate clothing</a:t>
            </a:r>
          </a:p>
          <a:p>
            <a:pPr marL="285750" indent="-285750" rtl="0">
              <a:spcAft>
                <a:spcPts val="600"/>
              </a:spcAft>
              <a:buBlip>
                <a:blip r:embed="rId6"/>
              </a:buBlip>
            </a:pPr>
            <a:r>
              <a:rPr lang="en-gb" sz="1400" dirty="0">
                <a:solidFill>
                  <a:schemeClr val="tx1"/>
                </a:solidFill>
              </a:rPr>
              <a:t>Physical exertion</a:t>
            </a:r>
          </a:p>
          <a:p>
            <a:pPr marL="285750" indent="-285750" rtl="0">
              <a:spcAft>
                <a:spcPts val="600"/>
              </a:spcAft>
              <a:buBlip>
                <a:blip r:embed="rId6"/>
              </a:buBlip>
            </a:pPr>
            <a:endParaRPr lang="lv-LV" sz="1400" dirty="0">
              <a:solidFill>
                <a:schemeClr val="tx1"/>
              </a:solidFill>
            </a:endParaRPr>
          </a:p>
        </p:txBody>
      </p:sp>
      <p:grpSp>
        <p:nvGrpSpPr>
          <p:cNvPr id="2" name="Google Shape;1364;p89">
            <a:extLst>
              <a:ext uri="{FF2B5EF4-FFF2-40B4-BE49-F238E27FC236}">
                <a16:creationId xmlns:a16="http://schemas.microsoft.com/office/drawing/2014/main" id="{05FA1246-3867-2443-FF59-A381162CA3D4}"/>
              </a:ext>
            </a:extLst>
          </p:cNvPr>
          <p:cNvGrpSpPr/>
          <p:nvPr/>
        </p:nvGrpSpPr>
        <p:grpSpPr>
          <a:xfrm>
            <a:off x="2443269" y="1930554"/>
            <a:ext cx="360000" cy="360000"/>
            <a:chOff x="2546009" y="5322517"/>
            <a:chExt cx="457200" cy="457200"/>
          </a:xfrm>
          <a:solidFill>
            <a:schemeClr val="bg1"/>
          </a:solidFill>
        </p:grpSpPr>
        <p:sp>
          <p:nvSpPr>
            <p:cNvPr id="5" name="Google Shape;1365;p89">
              <a:extLst>
                <a:ext uri="{FF2B5EF4-FFF2-40B4-BE49-F238E27FC236}">
                  <a16:creationId xmlns:a16="http://schemas.microsoft.com/office/drawing/2014/main" id="{65B20DBA-A0B6-DD32-19D6-76C7062D9658}"/>
                </a:ext>
              </a:extLst>
            </p:cNvPr>
            <p:cNvSpPr/>
            <p:nvPr/>
          </p:nvSpPr>
          <p:spPr>
            <a:xfrm>
              <a:off x="2546009" y="5322517"/>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6" name="Google Shape;1366;p89">
              <a:extLst>
                <a:ext uri="{FF2B5EF4-FFF2-40B4-BE49-F238E27FC236}">
                  <a16:creationId xmlns:a16="http://schemas.microsoft.com/office/drawing/2014/main" id="{A0E793E7-427C-3E34-E013-FCACBB48F56B}"/>
                </a:ext>
              </a:extLst>
            </p:cNvPr>
            <p:cNvSpPr/>
            <p:nvPr/>
          </p:nvSpPr>
          <p:spPr>
            <a:xfrm>
              <a:off x="2588877" y="5373570"/>
              <a:ext cx="116612" cy="358965"/>
            </a:xfrm>
            <a:custGeom>
              <a:avLst/>
              <a:gdLst/>
              <a:ahLst/>
              <a:cxnLst/>
              <a:rect l="l" t="t" r="r" b="b"/>
              <a:pathLst>
                <a:path w="116612" h="358965" extrusionOk="0">
                  <a:moveTo>
                    <a:pt x="116612" y="231966"/>
                  </a:moveTo>
                  <a:cubicBezTo>
                    <a:pt x="116721" y="259877"/>
                    <a:pt x="96916" y="283899"/>
                    <a:pt x="69495" y="289116"/>
                  </a:cubicBezTo>
                  <a:lnTo>
                    <a:pt x="69495" y="358966"/>
                  </a:lnTo>
                  <a:lnTo>
                    <a:pt x="47492" y="358966"/>
                  </a:lnTo>
                  <a:lnTo>
                    <a:pt x="47492" y="289116"/>
                  </a:lnTo>
                  <a:cubicBezTo>
                    <a:pt x="15929" y="283232"/>
                    <a:pt x="-4888" y="252876"/>
                    <a:pt x="995" y="221313"/>
                  </a:cubicBezTo>
                  <a:cubicBezTo>
                    <a:pt x="5397" y="197695"/>
                    <a:pt x="23874" y="179218"/>
                    <a:pt x="47492" y="174816"/>
                  </a:cubicBezTo>
                  <a:lnTo>
                    <a:pt x="47492" y="0"/>
                  </a:lnTo>
                  <a:lnTo>
                    <a:pt x="69495" y="0"/>
                  </a:lnTo>
                  <a:lnTo>
                    <a:pt x="69495" y="174879"/>
                  </a:lnTo>
                  <a:cubicBezTo>
                    <a:pt x="96892" y="180090"/>
                    <a:pt x="116691" y="204078"/>
                    <a:pt x="116612" y="231966"/>
                  </a:cubicBezTo>
                  <a:close/>
                  <a:moveTo>
                    <a:pt x="22346" y="231966"/>
                  </a:moveTo>
                  <a:cubicBezTo>
                    <a:pt x="22329" y="251920"/>
                    <a:pt x="38491" y="268110"/>
                    <a:pt x="58446" y="268129"/>
                  </a:cubicBezTo>
                  <a:cubicBezTo>
                    <a:pt x="78401" y="268148"/>
                    <a:pt x="94592" y="251984"/>
                    <a:pt x="94609" y="232029"/>
                  </a:cubicBezTo>
                  <a:cubicBezTo>
                    <a:pt x="94627" y="212074"/>
                    <a:pt x="78465" y="195883"/>
                    <a:pt x="58510" y="195866"/>
                  </a:cubicBezTo>
                  <a:cubicBezTo>
                    <a:pt x="38569" y="195883"/>
                    <a:pt x="22399" y="212025"/>
                    <a:pt x="22346" y="231966"/>
                  </a:cubicBez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7" name="Google Shape;1367;p89">
              <a:extLst>
                <a:ext uri="{FF2B5EF4-FFF2-40B4-BE49-F238E27FC236}">
                  <a16:creationId xmlns:a16="http://schemas.microsoft.com/office/drawing/2014/main" id="{E886C7A7-47C5-E0CB-C923-882EDC64C19E}"/>
                </a:ext>
              </a:extLst>
            </p:cNvPr>
            <p:cNvSpPr/>
            <p:nvPr/>
          </p:nvSpPr>
          <p:spPr>
            <a:xfrm>
              <a:off x="2715985" y="5373570"/>
              <a:ext cx="116535" cy="358997"/>
            </a:xfrm>
            <a:custGeom>
              <a:avLst/>
              <a:gdLst/>
              <a:ahLst/>
              <a:cxnLst/>
              <a:rect l="l" t="t" r="r" b="b"/>
              <a:pathLst>
                <a:path w="116535" h="358997" extrusionOk="0">
                  <a:moveTo>
                    <a:pt x="116536" y="110363"/>
                  </a:moveTo>
                  <a:cubicBezTo>
                    <a:pt x="116626" y="138290"/>
                    <a:pt x="96794" y="162313"/>
                    <a:pt x="69355" y="167513"/>
                  </a:cubicBezTo>
                  <a:lnTo>
                    <a:pt x="69355" y="358997"/>
                  </a:lnTo>
                  <a:lnTo>
                    <a:pt x="47352" y="358997"/>
                  </a:lnTo>
                  <a:lnTo>
                    <a:pt x="47352" y="167481"/>
                  </a:lnTo>
                  <a:cubicBezTo>
                    <a:pt x="15789" y="161503"/>
                    <a:pt x="-4952" y="131070"/>
                    <a:pt x="1027" y="99507"/>
                  </a:cubicBezTo>
                  <a:cubicBezTo>
                    <a:pt x="5477" y="76010"/>
                    <a:pt x="23856" y="57632"/>
                    <a:pt x="47352" y="53181"/>
                  </a:cubicBezTo>
                  <a:lnTo>
                    <a:pt x="47352" y="0"/>
                  </a:lnTo>
                  <a:lnTo>
                    <a:pt x="69355" y="0"/>
                  </a:lnTo>
                  <a:lnTo>
                    <a:pt x="69355" y="53277"/>
                  </a:lnTo>
                  <a:cubicBezTo>
                    <a:pt x="96770" y="58472"/>
                    <a:pt x="116596" y="82460"/>
                    <a:pt x="116536" y="110363"/>
                  </a:cubicBezTo>
                  <a:close/>
                  <a:moveTo>
                    <a:pt x="22206" y="110363"/>
                  </a:moveTo>
                  <a:cubicBezTo>
                    <a:pt x="22189" y="130335"/>
                    <a:pt x="38366" y="146541"/>
                    <a:pt x="58338" y="146558"/>
                  </a:cubicBezTo>
                  <a:cubicBezTo>
                    <a:pt x="78310" y="146575"/>
                    <a:pt x="94515" y="130399"/>
                    <a:pt x="94533" y="110427"/>
                  </a:cubicBezTo>
                  <a:cubicBezTo>
                    <a:pt x="94550" y="90454"/>
                    <a:pt x="78374" y="74249"/>
                    <a:pt x="58401" y="74232"/>
                  </a:cubicBezTo>
                  <a:cubicBezTo>
                    <a:pt x="58391" y="74232"/>
                    <a:pt x="58380" y="74232"/>
                    <a:pt x="58370" y="74232"/>
                  </a:cubicBezTo>
                  <a:cubicBezTo>
                    <a:pt x="38417" y="74249"/>
                    <a:pt x="22241" y="90410"/>
                    <a:pt x="22206" y="110363"/>
                  </a:cubicBez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 name="Google Shape;1368;p89">
              <a:extLst>
                <a:ext uri="{FF2B5EF4-FFF2-40B4-BE49-F238E27FC236}">
                  <a16:creationId xmlns:a16="http://schemas.microsoft.com/office/drawing/2014/main" id="{24E79FE6-0994-3470-48D1-FB7ACEF10549}"/>
                </a:ext>
              </a:extLst>
            </p:cNvPr>
            <p:cNvSpPr/>
            <p:nvPr/>
          </p:nvSpPr>
          <p:spPr>
            <a:xfrm>
              <a:off x="2842953" y="5373570"/>
              <a:ext cx="116535" cy="358997"/>
            </a:xfrm>
            <a:custGeom>
              <a:avLst/>
              <a:gdLst/>
              <a:ahLst/>
              <a:cxnLst/>
              <a:rect l="l" t="t" r="r" b="b"/>
              <a:pathLst>
                <a:path w="116535" h="358997" extrusionOk="0">
                  <a:moveTo>
                    <a:pt x="116536" y="194215"/>
                  </a:moveTo>
                  <a:cubicBezTo>
                    <a:pt x="116628" y="222132"/>
                    <a:pt x="96813" y="246151"/>
                    <a:pt x="69387" y="251365"/>
                  </a:cubicBezTo>
                  <a:lnTo>
                    <a:pt x="69387" y="358997"/>
                  </a:lnTo>
                  <a:lnTo>
                    <a:pt x="47352" y="358997"/>
                  </a:lnTo>
                  <a:lnTo>
                    <a:pt x="47352" y="251333"/>
                  </a:lnTo>
                  <a:cubicBezTo>
                    <a:pt x="15789" y="245355"/>
                    <a:pt x="-4952" y="214922"/>
                    <a:pt x="1027" y="183359"/>
                  </a:cubicBezTo>
                  <a:cubicBezTo>
                    <a:pt x="5477" y="159862"/>
                    <a:pt x="23854" y="141483"/>
                    <a:pt x="47352" y="137033"/>
                  </a:cubicBezTo>
                  <a:lnTo>
                    <a:pt x="47352" y="0"/>
                  </a:lnTo>
                  <a:lnTo>
                    <a:pt x="69387" y="0"/>
                  </a:lnTo>
                  <a:lnTo>
                    <a:pt x="69387" y="137128"/>
                  </a:lnTo>
                  <a:cubicBezTo>
                    <a:pt x="96797" y="142326"/>
                    <a:pt x="116612" y="166317"/>
                    <a:pt x="116536" y="194215"/>
                  </a:cubicBezTo>
                  <a:close/>
                  <a:moveTo>
                    <a:pt x="22238" y="194215"/>
                  </a:moveTo>
                  <a:cubicBezTo>
                    <a:pt x="22219" y="214187"/>
                    <a:pt x="38396" y="230392"/>
                    <a:pt x="58370" y="230410"/>
                  </a:cubicBezTo>
                  <a:cubicBezTo>
                    <a:pt x="78344" y="230427"/>
                    <a:pt x="94546" y="214251"/>
                    <a:pt x="94565" y="194278"/>
                  </a:cubicBezTo>
                  <a:cubicBezTo>
                    <a:pt x="94584" y="174306"/>
                    <a:pt x="78407" y="158101"/>
                    <a:pt x="58433" y="158083"/>
                  </a:cubicBezTo>
                  <a:cubicBezTo>
                    <a:pt x="58411" y="158083"/>
                    <a:pt x="58392" y="158083"/>
                    <a:pt x="58370" y="158083"/>
                  </a:cubicBezTo>
                  <a:cubicBezTo>
                    <a:pt x="38421" y="158101"/>
                    <a:pt x="22257" y="174267"/>
                    <a:pt x="22238" y="194215"/>
                  </a:cubicBez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grpSp>
      <p:sp>
        <p:nvSpPr>
          <p:cNvPr id="20" name="Rectangle 19">
            <a:extLst>
              <a:ext uri="{FF2B5EF4-FFF2-40B4-BE49-F238E27FC236}">
                <a16:creationId xmlns:a16="http://schemas.microsoft.com/office/drawing/2014/main" id="{54EC1F61-FF16-1408-F9A0-76C3203F84CA}"/>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18" name="Group 17">
            <a:extLst>
              <a:ext uri="{FF2B5EF4-FFF2-40B4-BE49-F238E27FC236}">
                <a16:creationId xmlns:a16="http://schemas.microsoft.com/office/drawing/2014/main" id="{A7C8EFEA-D6C4-50B6-1BCE-1647D16AF1EA}"/>
              </a:ext>
            </a:extLst>
          </p:cNvPr>
          <p:cNvGrpSpPr/>
          <p:nvPr/>
        </p:nvGrpSpPr>
        <p:grpSpPr>
          <a:xfrm>
            <a:off x="9842140" y="372216"/>
            <a:ext cx="1667215" cy="217488"/>
            <a:chOff x="9842140" y="372216"/>
            <a:chExt cx="1667215" cy="217488"/>
          </a:xfrm>
        </p:grpSpPr>
        <p:sp>
          <p:nvSpPr>
            <p:cNvPr id="19" name="TextBox 18">
              <a:extLst>
                <a:ext uri="{FF2B5EF4-FFF2-40B4-BE49-F238E27FC236}">
                  <a16:creationId xmlns:a16="http://schemas.microsoft.com/office/drawing/2014/main" id="{99BB40C4-C854-EF5A-02F1-3DC939BEE066}"/>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rtl="0">
                <a:lnSpc>
                  <a:spcPct val="100000"/>
                </a:lnSpc>
                <a:spcAft>
                  <a:spcPts val="600"/>
                </a:spcAft>
                <a:buSzPct val="100000"/>
              </a:pPr>
              <a:r>
                <a:rPr lang="en-gb" sz="800">
                  <a:solidFill>
                    <a:schemeClr val="bg1"/>
                  </a:solidFill>
                </a:rPr>
                <a:t>Thermal damage</a:t>
              </a:r>
            </a:p>
          </p:txBody>
        </p:sp>
        <p:sp>
          <p:nvSpPr>
            <p:cNvPr id="21" name="Freeform 49">
              <a:extLst>
                <a:ext uri="{FF2B5EF4-FFF2-40B4-BE49-F238E27FC236}">
                  <a16:creationId xmlns:a16="http://schemas.microsoft.com/office/drawing/2014/main" id="{A897BD00-067D-8E02-2B06-3551DAD35FE1}"/>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p>
          </p:txBody>
        </p:sp>
      </p:grpSp>
      <p:grpSp>
        <p:nvGrpSpPr>
          <p:cNvPr id="9" name="Group 8">
            <a:extLst>
              <a:ext uri="{FF2B5EF4-FFF2-40B4-BE49-F238E27FC236}">
                <a16:creationId xmlns:a16="http://schemas.microsoft.com/office/drawing/2014/main" id="{540EF730-41B6-E8D7-0D13-EB3F748BA4BA}"/>
              </a:ext>
            </a:extLst>
          </p:cNvPr>
          <p:cNvGrpSpPr/>
          <p:nvPr/>
        </p:nvGrpSpPr>
        <p:grpSpPr>
          <a:xfrm>
            <a:off x="9122935" y="126781"/>
            <a:ext cx="2626153" cy="217488"/>
            <a:chOff x="9122935" y="126781"/>
            <a:chExt cx="2626153" cy="217488"/>
          </a:xfrm>
        </p:grpSpPr>
        <p:sp>
          <p:nvSpPr>
            <p:cNvPr id="22" name="Rectangle 21">
              <a:extLst>
                <a:ext uri="{FF2B5EF4-FFF2-40B4-BE49-F238E27FC236}">
                  <a16:creationId xmlns:a16="http://schemas.microsoft.com/office/drawing/2014/main" id="{61BF4F23-4BF7-3396-AAE2-64CFA9AF1B14}"/>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000000"/>
                  </a:solidFill>
                  <a:effectLst/>
                  <a:uLnTx/>
                  <a:uFillTx/>
                  <a:ea typeface="Georgia"/>
                  <a:cs typeface="Georgia"/>
                  <a:sym typeface="Georgia"/>
                </a:rPr>
                <a:t>First aid measures</a:t>
              </a:r>
            </a:p>
          </p:txBody>
        </p:sp>
        <p:sp>
          <p:nvSpPr>
            <p:cNvPr id="23" name="Rectangle 22">
              <a:extLst>
                <a:ext uri="{FF2B5EF4-FFF2-40B4-BE49-F238E27FC236}">
                  <a16:creationId xmlns:a16="http://schemas.microsoft.com/office/drawing/2014/main" id="{2DA044E2-07EC-7D6F-9D52-F400EB5FA50F}"/>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24" name="Rectangle 23">
              <a:extLst>
                <a:ext uri="{FF2B5EF4-FFF2-40B4-BE49-F238E27FC236}">
                  <a16:creationId xmlns:a16="http://schemas.microsoft.com/office/drawing/2014/main" id="{03F0B6EA-1C6B-3E0F-45BD-6F2F70666571}"/>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0" name="Rectangle 29">
              <a:extLst>
                <a:ext uri="{FF2B5EF4-FFF2-40B4-BE49-F238E27FC236}">
                  <a16:creationId xmlns:a16="http://schemas.microsoft.com/office/drawing/2014/main" id="{A28C515C-5DF7-2E0E-00C7-91B893B535D1}"/>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BFB90A7F-87AB-9BD2-AA8D-8C1F147C9E28}"/>
                </a:ext>
              </a:extLst>
            </p:cNvPr>
            <p:cNvSpPr/>
            <p:nvPr/>
          </p:nvSpPr>
          <p:spPr>
            <a:xfrm>
              <a:off x="9842140"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7</a:t>
              </a:r>
              <a:r>
                <a:rPr lang="en-gb" sz="800" b="1" i="0" u="none" strike="noStrike" kern="0" cap="none" spc="0" normalizeH="0" noProof="0">
                  <a:ln>
                    <a:noFill/>
                  </a:ln>
                  <a:effectLst/>
                  <a:uLnTx/>
                  <a:uFillTx/>
                  <a:ea typeface="Georgia"/>
                  <a:cs typeface="Georgia"/>
                  <a:sym typeface="Georgia"/>
                </a:rPr>
                <a:t>.4</a:t>
              </a:r>
              <a:endParaRPr kumimoji="0" lang="lv-LV" sz="800" b="1" i="0" u="none" strike="noStrike" kern="0" cap="none" spc="0" normalizeH="0" baseline="0" noProof="0" dirty="0">
                <a:ln>
                  <a:noFill/>
                </a:ln>
                <a:effectLst/>
                <a:uLnTx/>
                <a:uFillTx/>
                <a:ea typeface="Georgia"/>
                <a:cs typeface="Georgia"/>
                <a:sym typeface="Georgia"/>
              </a:endParaRPr>
            </a:p>
          </p:txBody>
        </p:sp>
        <p:sp>
          <p:nvSpPr>
            <p:cNvPr id="32" name="Rectangle 31">
              <a:extLst>
                <a:ext uri="{FF2B5EF4-FFF2-40B4-BE49-F238E27FC236}">
                  <a16:creationId xmlns:a16="http://schemas.microsoft.com/office/drawing/2014/main" id="{7C06E624-B10D-961E-BF22-38973AA0DA67}"/>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648558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D666C9E8-6DFD-D4D1-8102-E97D69DD7F8B}"/>
              </a:ext>
            </a:extLst>
          </p:cNvPr>
          <p:cNvGraphicFramePr>
            <a:graphicFrameLocks noChangeAspect="1"/>
          </p:cNvGraphicFramePr>
          <p:nvPr>
            <p:custDataLst>
              <p:tags r:id="rId1"/>
            </p:custDataLst>
            <p:extLst>
              <p:ext uri="{D42A27DB-BD31-4B8C-83A1-F6EECF244321}">
                <p14:modId xmlns:p14="http://schemas.microsoft.com/office/powerpoint/2010/main" val="3704456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2" name="think-cell data - do not delete" hidden="1">
                        <a:extLst>
                          <a:ext uri="{FF2B5EF4-FFF2-40B4-BE49-F238E27FC236}">
                            <a16:creationId xmlns:a16="http://schemas.microsoft.com/office/drawing/2014/main" id="{D666C9E8-6DFD-D4D1-8102-E97D69DD7F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rtlCol="0"/>
          <a:lstStyle/>
          <a:p>
            <a:pPr rtl="0"/>
            <a:r>
              <a:rPr lang="en-gb"/>
              <a:t>What to do in case of cooling?</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rtlCol="0"/>
          <a:lstStyle/>
          <a:p>
            <a:pPr rtl="0"/>
            <a:fld id="{7870704B-CE94-48CC-AF30-84932A1262A7}" type="slidenum">
              <a:rPr lang="en-GB" smtClean="0"/>
              <a:pPr rtl="0"/>
              <a:t>24</a:t>
            </a:fld>
            <a:endParaRPr lang="en-GB"/>
          </a:p>
        </p:txBody>
      </p:sp>
      <p:sp>
        <p:nvSpPr>
          <p:cNvPr id="19" name="Rectangle 18">
            <a:extLst>
              <a:ext uri="{FF2B5EF4-FFF2-40B4-BE49-F238E27FC236}">
                <a16:creationId xmlns:a16="http://schemas.microsoft.com/office/drawing/2014/main" id="{827EABF6-479E-1D54-0AC1-0797AA292992}"/>
              </a:ext>
            </a:extLst>
          </p:cNvPr>
          <p:cNvSpPr/>
          <p:nvPr/>
        </p:nvSpPr>
        <p:spPr>
          <a:xfrm>
            <a:off x="9280808" y="2398554"/>
            <a:ext cx="2468280" cy="377364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rtl="0">
              <a:spcAft>
                <a:spcPts val="600"/>
              </a:spcAft>
              <a:buBlip>
                <a:blip r:embed="rId6"/>
              </a:buBlip>
            </a:pPr>
            <a:r>
              <a:rPr lang="en-gb" sz="1400">
                <a:solidFill>
                  <a:schemeClr val="tx1"/>
                </a:solidFill>
              </a:rPr>
              <a:t>Do not give the victim alcohol.</a:t>
            </a:r>
          </a:p>
          <a:p>
            <a:pPr marL="285750" indent="-285750" rtl="0">
              <a:spcAft>
                <a:spcPts val="600"/>
              </a:spcAft>
              <a:buBlip>
                <a:blip r:embed="rId6"/>
              </a:buBlip>
            </a:pPr>
            <a:r>
              <a:rPr lang="en-gb" sz="1400">
                <a:solidFill>
                  <a:schemeClr val="tx1"/>
                </a:solidFill>
              </a:rPr>
              <a:t>Do not move a victim with impaired consciousness unnecessarily, rub hands and feet, sit or stand.</a:t>
            </a:r>
          </a:p>
          <a:p>
            <a:pPr marL="285750" indent="-285750" rtl="0">
              <a:spcAft>
                <a:spcPts val="600"/>
              </a:spcAft>
              <a:buBlip>
                <a:blip r:embed="rId6"/>
              </a:buBlip>
            </a:pPr>
            <a:r>
              <a:rPr lang="en-gb" sz="1400">
                <a:solidFill>
                  <a:schemeClr val="tx1"/>
                </a:solidFill>
              </a:rPr>
              <a:t>Do not massage, rub or heat the frostbitten areas.</a:t>
            </a:r>
          </a:p>
        </p:txBody>
      </p:sp>
      <p:sp>
        <p:nvSpPr>
          <p:cNvPr id="20" name="Rectangle 19">
            <a:extLst>
              <a:ext uri="{FF2B5EF4-FFF2-40B4-BE49-F238E27FC236}">
                <a16:creationId xmlns:a16="http://schemas.microsoft.com/office/drawing/2014/main" id="{847D706E-F710-03AC-BCF0-D538BE2E2785}"/>
              </a:ext>
            </a:extLst>
          </p:cNvPr>
          <p:cNvSpPr/>
          <p:nvPr/>
        </p:nvSpPr>
        <p:spPr>
          <a:xfrm>
            <a:off x="9280808" y="1822554"/>
            <a:ext cx="2468280"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bg1"/>
                </a:solidFill>
              </a:rPr>
              <a:t>Important!</a:t>
            </a:r>
          </a:p>
        </p:txBody>
      </p:sp>
      <p:sp>
        <p:nvSpPr>
          <p:cNvPr id="21" name="Content Placeholder 1">
            <a:extLst>
              <a:ext uri="{FF2B5EF4-FFF2-40B4-BE49-F238E27FC236}">
                <a16:creationId xmlns:a16="http://schemas.microsoft.com/office/drawing/2014/main" id="{61C8033F-9026-6947-7EE6-397F054EE5E9}"/>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22" name="Content Placeholder 1">
            <a:extLst>
              <a:ext uri="{FF2B5EF4-FFF2-40B4-BE49-F238E27FC236}">
                <a16:creationId xmlns:a16="http://schemas.microsoft.com/office/drawing/2014/main" id="{B09E11E2-8AE6-0A0F-4A94-E932ABB73C99}"/>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23" name="Google Shape;794;p79">
            <a:extLst>
              <a:ext uri="{FF2B5EF4-FFF2-40B4-BE49-F238E27FC236}">
                <a16:creationId xmlns:a16="http://schemas.microsoft.com/office/drawing/2014/main" id="{BE5CF2FF-6329-BA97-D895-B7D9631A9ED4}"/>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4" name="Rectangle 23">
            <a:extLst>
              <a:ext uri="{FF2B5EF4-FFF2-40B4-BE49-F238E27FC236}">
                <a16:creationId xmlns:a16="http://schemas.microsoft.com/office/drawing/2014/main" id="{626CA42B-7CD9-E034-925C-318DE6B1B621}"/>
              </a:ext>
            </a:extLst>
          </p:cNvPr>
          <p:cNvSpPr/>
          <p:nvPr/>
        </p:nvSpPr>
        <p:spPr>
          <a:xfrm>
            <a:off x="3272618" y="1822554"/>
            <a:ext cx="5640938"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tx1"/>
                </a:solidFill>
              </a:rPr>
              <a:t>How to proceed?</a:t>
            </a:r>
          </a:p>
        </p:txBody>
      </p:sp>
      <p:grpSp>
        <p:nvGrpSpPr>
          <p:cNvPr id="25" name="Group 24">
            <a:extLst>
              <a:ext uri="{FF2B5EF4-FFF2-40B4-BE49-F238E27FC236}">
                <a16:creationId xmlns:a16="http://schemas.microsoft.com/office/drawing/2014/main" id="{8EEEE7BA-6741-828E-2C36-7DB0A2110164}"/>
              </a:ext>
            </a:extLst>
          </p:cNvPr>
          <p:cNvGrpSpPr/>
          <p:nvPr/>
        </p:nvGrpSpPr>
        <p:grpSpPr>
          <a:xfrm>
            <a:off x="8266168" y="1822554"/>
            <a:ext cx="647388" cy="576000"/>
            <a:chOff x="7212125" y="1822554"/>
            <a:chExt cx="647388" cy="576000"/>
          </a:xfrm>
        </p:grpSpPr>
        <p:sp>
          <p:nvSpPr>
            <p:cNvPr id="26" name="Content Placeholder 1">
              <a:extLst>
                <a:ext uri="{FF2B5EF4-FFF2-40B4-BE49-F238E27FC236}">
                  <a16:creationId xmlns:a16="http://schemas.microsoft.com/office/drawing/2014/main" id="{1D5CC5FA-E4E2-B6C1-ED9E-17D84C8C96B1}"/>
                </a:ext>
              </a:extLst>
            </p:cNvPr>
            <p:cNvSpPr txBox="1">
              <a:spLocks/>
            </p:cNvSpPr>
            <p:nvPr/>
          </p:nvSpPr>
          <p:spPr>
            <a:xfrm>
              <a:off x="7283513"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27" name="Content Placeholder 1">
              <a:extLst>
                <a:ext uri="{FF2B5EF4-FFF2-40B4-BE49-F238E27FC236}">
                  <a16:creationId xmlns:a16="http://schemas.microsoft.com/office/drawing/2014/main" id="{092277DB-BA50-6537-4310-BF69D5C5B122}"/>
                </a:ext>
              </a:extLst>
            </p:cNvPr>
            <p:cNvSpPr txBox="1">
              <a:spLocks/>
            </p:cNvSpPr>
            <p:nvPr/>
          </p:nvSpPr>
          <p:spPr>
            <a:xfrm>
              <a:off x="7212125"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28" name="Google Shape;760;p79">
              <a:extLst>
                <a:ext uri="{FF2B5EF4-FFF2-40B4-BE49-F238E27FC236}">
                  <a16:creationId xmlns:a16="http://schemas.microsoft.com/office/drawing/2014/main" id="{4EE197B0-8DE5-F0F1-FF3C-F17D1EDE6597}"/>
                </a:ext>
              </a:extLst>
            </p:cNvPr>
            <p:cNvSpPr/>
            <p:nvPr/>
          </p:nvSpPr>
          <p:spPr>
            <a:xfrm>
              <a:off x="7391513"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sp>
        <p:nvSpPr>
          <p:cNvPr id="29" name="Rectangle 28">
            <a:extLst>
              <a:ext uri="{FF2B5EF4-FFF2-40B4-BE49-F238E27FC236}">
                <a16:creationId xmlns:a16="http://schemas.microsoft.com/office/drawing/2014/main" id="{EAD00C83-2924-49D8-CEA1-9E5AB7ED0D17}"/>
              </a:ext>
            </a:extLst>
          </p:cNvPr>
          <p:cNvSpPr/>
          <p:nvPr/>
        </p:nvSpPr>
        <p:spPr>
          <a:xfrm>
            <a:off x="442913" y="1822554"/>
            <a:ext cx="2468356" cy="576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bg1"/>
                </a:solidFill>
              </a:rPr>
              <a:t>Contributing circumstances</a:t>
            </a:r>
          </a:p>
        </p:txBody>
      </p:sp>
      <p:sp>
        <p:nvSpPr>
          <p:cNvPr id="30" name="Content Placeholder 1">
            <a:extLst>
              <a:ext uri="{FF2B5EF4-FFF2-40B4-BE49-F238E27FC236}">
                <a16:creationId xmlns:a16="http://schemas.microsoft.com/office/drawing/2014/main" id="{EE8F8324-6D8B-6B2B-257E-B0AD4FD556D2}"/>
              </a:ext>
            </a:extLst>
          </p:cNvPr>
          <p:cNvSpPr txBox="1">
            <a:spLocks/>
          </p:cNvSpPr>
          <p:nvPr/>
        </p:nvSpPr>
        <p:spPr>
          <a:xfrm>
            <a:off x="2335269" y="1822554"/>
            <a:ext cx="576000" cy="576000"/>
          </a:xfrm>
          <a:prstGeom prst="rect">
            <a:avLst/>
          </a:prstGeom>
          <a:solidFill>
            <a:schemeClr val="accent3"/>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31" name="Content Placeholder 1">
            <a:extLst>
              <a:ext uri="{FF2B5EF4-FFF2-40B4-BE49-F238E27FC236}">
                <a16:creationId xmlns:a16="http://schemas.microsoft.com/office/drawing/2014/main" id="{6E059F87-0DD1-5DD0-DFE1-EAFE24644414}"/>
              </a:ext>
            </a:extLst>
          </p:cNvPr>
          <p:cNvSpPr txBox="1">
            <a:spLocks/>
          </p:cNvSpPr>
          <p:nvPr/>
        </p:nvSpPr>
        <p:spPr>
          <a:xfrm>
            <a:off x="2263881"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32" name="Rectangle 31">
            <a:extLst>
              <a:ext uri="{FF2B5EF4-FFF2-40B4-BE49-F238E27FC236}">
                <a16:creationId xmlns:a16="http://schemas.microsoft.com/office/drawing/2014/main" id="{498DF9C8-E99C-2B4F-A3C1-C58A792C99F7}"/>
              </a:ext>
            </a:extLst>
          </p:cNvPr>
          <p:cNvSpPr/>
          <p:nvPr/>
        </p:nvSpPr>
        <p:spPr>
          <a:xfrm>
            <a:off x="442913" y="2398554"/>
            <a:ext cx="2468280" cy="377364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rtl="0">
              <a:spcAft>
                <a:spcPts val="600"/>
              </a:spcAft>
              <a:buBlip>
                <a:blip r:embed="rId6"/>
              </a:buBlip>
            </a:pPr>
            <a:r>
              <a:rPr lang="en-gb" sz="1400">
                <a:solidFill>
                  <a:schemeClr val="tx1"/>
                </a:solidFill>
              </a:rPr>
              <a:t>Cold</a:t>
            </a:r>
          </a:p>
          <a:p>
            <a:pPr marL="285750" indent="-285750" rtl="0">
              <a:spcAft>
                <a:spcPts val="600"/>
              </a:spcAft>
              <a:buBlip>
                <a:blip r:embed="rId6"/>
              </a:buBlip>
            </a:pPr>
            <a:r>
              <a:rPr lang="en-gb" sz="1400">
                <a:solidFill>
                  <a:schemeClr val="tx1"/>
                </a:solidFill>
              </a:rPr>
              <a:t>Humidity</a:t>
            </a:r>
          </a:p>
          <a:p>
            <a:pPr marL="285750" indent="-285750" rtl="0">
              <a:spcAft>
                <a:spcPts val="600"/>
              </a:spcAft>
              <a:buBlip>
                <a:blip r:embed="rId6"/>
              </a:buBlip>
            </a:pPr>
            <a:r>
              <a:rPr lang="en-gb" sz="1400">
                <a:solidFill>
                  <a:schemeClr val="tx1"/>
                </a:solidFill>
              </a:rPr>
              <a:t>Wind</a:t>
            </a:r>
          </a:p>
          <a:p>
            <a:pPr marL="285750" indent="-285750" rtl="0">
              <a:spcAft>
                <a:spcPts val="600"/>
              </a:spcAft>
              <a:buBlip>
                <a:blip r:embed="rId6"/>
              </a:buBlip>
            </a:pPr>
            <a:r>
              <a:rPr lang="en-gb" sz="1400">
                <a:solidFill>
                  <a:schemeClr val="tx1"/>
                </a:solidFill>
              </a:rPr>
              <a:t>Alcohol</a:t>
            </a:r>
          </a:p>
          <a:p>
            <a:pPr marL="285750" indent="-285750" rtl="0">
              <a:spcAft>
                <a:spcPts val="600"/>
              </a:spcAft>
              <a:buBlip>
                <a:blip r:embed="rId6"/>
              </a:buBlip>
            </a:pPr>
            <a:r>
              <a:rPr lang="en-gb" sz="1400">
                <a:solidFill>
                  <a:schemeClr val="tx1"/>
                </a:solidFill>
              </a:rPr>
              <a:t>Inadequate clothing</a:t>
            </a:r>
          </a:p>
          <a:p>
            <a:pPr marL="285750" indent="-285750" rtl="0">
              <a:spcAft>
                <a:spcPts val="600"/>
              </a:spcAft>
              <a:buBlip>
                <a:blip r:embed="rId6"/>
              </a:buBlip>
            </a:pPr>
            <a:r>
              <a:rPr lang="en-gb" sz="1400">
                <a:solidFill>
                  <a:schemeClr val="tx1"/>
                </a:solidFill>
              </a:rPr>
              <a:t>Inability to move</a:t>
            </a:r>
          </a:p>
        </p:txBody>
      </p:sp>
      <p:sp>
        <p:nvSpPr>
          <p:cNvPr id="40" name="Content Placeholder 1">
            <a:extLst>
              <a:ext uri="{FF2B5EF4-FFF2-40B4-BE49-F238E27FC236}">
                <a16:creationId xmlns:a16="http://schemas.microsoft.com/office/drawing/2014/main" id="{E7DFDF9F-592A-F0CA-2966-D927B82170D7}"/>
              </a:ext>
            </a:extLst>
          </p:cNvPr>
          <p:cNvSpPr txBox="1">
            <a:spLocks/>
          </p:cNvSpPr>
          <p:nvPr/>
        </p:nvSpPr>
        <p:spPr>
          <a:xfrm>
            <a:off x="3272618" y="3144673"/>
            <a:ext cx="630238"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2</a:t>
            </a:r>
          </a:p>
        </p:txBody>
      </p:sp>
      <p:sp>
        <p:nvSpPr>
          <p:cNvPr id="41" name="Content Placeholder 1">
            <a:extLst>
              <a:ext uri="{FF2B5EF4-FFF2-40B4-BE49-F238E27FC236}">
                <a16:creationId xmlns:a16="http://schemas.microsoft.com/office/drawing/2014/main" id="{948C0DCA-7348-FCD6-02E7-70F96CB85371}"/>
              </a:ext>
            </a:extLst>
          </p:cNvPr>
          <p:cNvSpPr txBox="1">
            <a:spLocks/>
          </p:cNvSpPr>
          <p:nvPr/>
        </p:nvSpPr>
        <p:spPr>
          <a:xfrm>
            <a:off x="3272618" y="3757555"/>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3</a:t>
            </a:r>
          </a:p>
        </p:txBody>
      </p:sp>
      <p:sp>
        <p:nvSpPr>
          <p:cNvPr id="42" name="Content Placeholder 1">
            <a:extLst>
              <a:ext uri="{FF2B5EF4-FFF2-40B4-BE49-F238E27FC236}">
                <a16:creationId xmlns:a16="http://schemas.microsoft.com/office/drawing/2014/main" id="{D0960EB4-A2F3-DA4E-033D-4FC6F9827739}"/>
              </a:ext>
            </a:extLst>
          </p:cNvPr>
          <p:cNvSpPr txBox="1">
            <a:spLocks/>
          </p:cNvSpPr>
          <p:nvPr/>
        </p:nvSpPr>
        <p:spPr>
          <a:xfrm>
            <a:off x="3272618" y="4370437"/>
            <a:ext cx="630238"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4</a:t>
            </a:r>
          </a:p>
        </p:txBody>
      </p:sp>
      <p:sp>
        <p:nvSpPr>
          <p:cNvPr id="43" name="Content Placeholder 1">
            <a:extLst>
              <a:ext uri="{FF2B5EF4-FFF2-40B4-BE49-F238E27FC236}">
                <a16:creationId xmlns:a16="http://schemas.microsoft.com/office/drawing/2014/main" id="{5E8528F0-B4BD-7341-A99F-8A53E01D7F5D}"/>
              </a:ext>
            </a:extLst>
          </p:cNvPr>
          <p:cNvSpPr txBox="1">
            <a:spLocks/>
          </p:cNvSpPr>
          <p:nvPr/>
        </p:nvSpPr>
        <p:spPr>
          <a:xfrm>
            <a:off x="3272618" y="4983319"/>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5</a:t>
            </a:r>
          </a:p>
        </p:txBody>
      </p:sp>
      <p:sp>
        <p:nvSpPr>
          <p:cNvPr id="44" name="Content Placeholder 1">
            <a:extLst>
              <a:ext uri="{FF2B5EF4-FFF2-40B4-BE49-F238E27FC236}">
                <a16:creationId xmlns:a16="http://schemas.microsoft.com/office/drawing/2014/main" id="{9F357977-85D3-0A26-C484-1D746BE796D3}"/>
              </a:ext>
            </a:extLst>
          </p:cNvPr>
          <p:cNvSpPr txBox="1">
            <a:spLocks/>
          </p:cNvSpPr>
          <p:nvPr/>
        </p:nvSpPr>
        <p:spPr>
          <a:xfrm>
            <a:off x="3272618" y="5596201"/>
            <a:ext cx="630238"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6</a:t>
            </a:r>
          </a:p>
        </p:txBody>
      </p:sp>
      <p:sp>
        <p:nvSpPr>
          <p:cNvPr id="45" name="Content Placeholder 1">
            <a:extLst>
              <a:ext uri="{FF2B5EF4-FFF2-40B4-BE49-F238E27FC236}">
                <a16:creationId xmlns:a16="http://schemas.microsoft.com/office/drawing/2014/main" id="{F17A6BB1-ABB8-2B7A-05AC-E37C9BF8E581}"/>
              </a:ext>
            </a:extLst>
          </p:cNvPr>
          <p:cNvSpPr txBox="1">
            <a:spLocks/>
          </p:cNvSpPr>
          <p:nvPr/>
        </p:nvSpPr>
        <p:spPr>
          <a:xfrm>
            <a:off x="3272618" y="2531791"/>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1</a:t>
            </a:r>
          </a:p>
        </p:txBody>
      </p:sp>
      <p:cxnSp>
        <p:nvCxnSpPr>
          <p:cNvPr id="46" name="Straight Connector 45">
            <a:extLst>
              <a:ext uri="{FF2B5EF4-FFF2-40B4-BE49-F238E27FC236}">
                <a16:creationId xmlns:a16="http://schemas.microsoft.com/office/drawing/2014/main" id="{27AFD618-7ECB-3F0F-6F2E-55DBF37153BC}"/>
              </a:ext>
            </a:extLst>
          </p:cNvPr>
          <p:cNvCxnSpPr>
            <a:cxnSpLocks/>
            <a:stCxn id="47" idx="4"/>
            <a:endCxn id="53" idx="3"/>
          </p:cNvCxnSpPr>
          <p:nvPr/>
        </p:nvCxnSpPr>
        <p:spPr>
          <a:xfrm>
            <a:off x="3695295" y="2793181"/>
            <a:ext cx="0" cy="3129936"/>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47" name="Oval 46">
            <a:extLst>
              <a:ext uri="{FF2B5EF4-FFF2-40B4-BE49-F238E27FC236}">
                <a16:creationId xmlns:a16="http://schemas.microsoft.com/office/drawing/2014/main" id="{085AB03D-1000-EACA-A2C3-56C47B409C5B}"/>
              </a:ext>
            </a:extLst>
          </p:cNvPr>
          <p:cNvSpPr/>
          <p:nvPr/>
        </p:nvSpPr>
        <p:spPr>
          <a:xfrm>
            <a:off x="3622905" y="2648401"/>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48" name="Isosceles Triangle 47">
            <a:extLst>
              <a:ext uri="{FF2B5EF4-FFF2-40B4-BE49-F238E27FC236}">
                <a16:creationId xmlns:a16="http://schemas.microsoft.com/office/drawing/2014/main" id="{AB2CB7B3-00A8-4BDF-F99B-904321C2FB7F}"/>
              </a:ext>
            </a:extLst>
          </p:cNvPr>
          <p:cNvSpPr/>
          <p:nvPr/>
        </p:nvSpPr>
        <p:spPr>
          <a:xfrm flipV="1">
            <a:off x="3521464" y="3107459"/>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49" name="Isosceles Triangle 48">
            <a:extLst>
              <a:ext uri="{FF2B5EF4-FFF2-40B4-BE49-F238E27FC236}">
                <a16:creationId xmlns:a16="http://schemas.microsoft.com/office/drawing/2014/main" id="{345770BF-53B5-8752-0746-7658F0373CD7}"/>
              </a:ext>
            </a:extLst>
          </p:cNvPr>
          <p:cNvSpPr/>
          <p:nvPr/>
        </p:nvSpPr>
        <p:spPr>
          <a:xfrm flipV="1">
            <a:off x="3521464" y="4947392"/>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50" name="Isosceles Triangle 49">
            <a:extLst>
              <a:ext uri="{FF2B5EF4-FFF2-40B4-BE49-F238E27FC236}">
                <a16:creationId xmlns:a16="http://schemas.microsoft.com/office/drawing/2014/main" id="{7F881EA9-8822-B77F-AFA9-7F65F90F62C7}"/>
              </a:ext>
            </a:extLst>
          </p:cNvPr>
          <p:cNvSpPr/>
          <p:nvPr/>
        </p:nvSpPr>
        <p:spPr>
          <a:xfrm flipV="1">
            <a:off x="3521464" y="5554267"/>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51" name="Isosceles Triangle 50">
            <a:extLst>
              <a:ext uri="{FF2B5EF4-FFF2-40B4-BE49-F238E27FC236}">
                <a16:creationId xmlns:a16="http://schemas.microsoft.com/office/drawing/2014/main" id="{A8A06EA0-CE73-3CAC-664B-15CD52DDE7C1}"/>
              </a:ext>
            </a:extLst>
          </p:cNvPr>
          <p:cNvSpPr/>
          <p:nvPr/>
        </p:nvSpPr>
        <p:spPr>
          <a:xfrm flipV="1">
            <a:off x="3521464" y="4333653"/>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52" name="Isosceles Triangle 51">
            <a:extLst>
              <a:ext uri="{FF2B5EF4-FFF2-40B4-BE49-F238E27FC236}">
                <a16:creationId xmlns:a16="http://schemas.microsoft.com/office/drawing/2014/main" id="{E0491BA6-4EAC-C6A2-0710-B8EBE4271701}"/>
              </a:ext>
            </a:extLst>
          </p:cNvPr>
          <p:cNvSpPr/>
          <p:nvPr/>
        </p:nvSpPr>
        <p:spPr>
          <a:xfrm flipV="1">
            <a:off x="3521464" y="3720556"/>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53" name="Isosceles Triangle 52">
            <a:extLst>
              <a:ext uri="{FF2B5EF4-FFF2-40B4-BE49-F238E27FC236}">
                <a16:creationId xmlns:a16="http://schemas.microsoft.com/office/drawing/2014/main" id="{BE991518-07C2-B796-3C8E-E23AB9701B79}"/>
              </a:ext>
            </a:extLst>
          </p:cNvPr>
          <p:cNvSpPr/>
          <p:nvPr/>
        </p:nvSpPr>
        <p:spPr>
          <a:xfrm flipV="1">
            <a:off x="3640526" y="5923117"/>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55" name="TextBox 54">
            <a:extLst>
              <a:ext uri="{FF2B5EF4-FFF2-40B4-BE49-F238E27FC236}">
                <a16:creationId xmlns:a16="http://schemas.microsoft.com/office/drawing/2014/main" id="{0AC02ECA-987D-40AF-BE7A-B239872F0524}"/>
              </a:ext>
            </a:extLst>
          </p:cNvPr>
          <p:cNvSpPr txBox="1"/>
          <p:nvPr/>
        </p:nvSpPr>
        <p:spPr>
          <a:xfrm>
            <a:off x="4129246" y="2532063"/>
            <a:ext cx="4784310" cy="727075"/>
          </a:xfrm>
          <a:prstGeom prst="rect">
            <a:avLst/>
          </a:prstGeom>
          <a:noFill/>
        </p:spPr>
        <p:txBody>
          <a:bodyPr wrap="square" rtlCol="0" anchor="ctr">
            <a:noAutofit/>
          </a:bodyPr>
          <a:lstStyle/>
          <a:p>
            <a:pPr rtl="0">
              <a:spcAft>
                <a:spcPts val="0"/>
              </a:spcAft>
            </a:pPr>
            <a:r>
              <a:rPr lang="en-gb" sz="1400">
                <a:solidFill>
                  <a:schemeClr val="tx1"/>
                </a:solidFill>
              </a:rPr>
              <a:t>Call an ambulance.</a:t>
            </a:r>
          </a:p>
        </p:txBody>
      </p:sp>
      <p:sp>
        <p:nvSpPr>
          <p:cNvPr id="56" name="TextBox 55">
            <a:extLst>
              <a:ext uri="{FF2B5EF4-FFF2-40B4-BE49-F238E27FC236}">
                <a16:creationId xmlns:a16="http://schemas.microsoft.com/office/drawing/2014/main" id="{C3C28A52-D275-6E2C-BE22-283C8364819D}"/>
              </a:ext>
            </a:extLst>
          </p:cNvPr>
          <p:cNvSpPr txBox="1"/>
          <p:nvPr/>
        </p:nvSpPr>
        <p:spPr>
          <a:xfrm>
            <a:off x="4129246" y="3114676"/>
            <a:ext cx="4784310" cy="727075"/>
          </a:xfrm>
          <a:prstGeom prst="rect">
            <a:avLst/>
          </a:prstGeom>
          <a:noFill/>
        </p:spPr>
        <p:txBody>
          <a:bodyPr wrap="square" rtlCol="0" anchor="ctr">
            <a:noAutofit/>
          </a:bodyPr>
          <a:lstStyle/>
          <a:p>
            <a:pPr rtl="0">
              <a:spcAft>
                <a:spcPts val="0"/>
              </a:spcAft>
            </a:pPr>
            <a:r>
              <a:rPr lang="en-gb" sz="1400" dirty="0">
                <a:solidFill>
                  <a:schemeClr val="tx1"/>
                </a:solidFill>
              </a:rPr>
              <a:t>Place the victim in a warm room or at least in a </a:t>
            </a:r>
            <a:r>
              <a:rPr lang="lv-LV" sz="1400" dirty="0" err="1">
                <a:solidFill>
                  <a:schemeClr val="tx1"/>
                </a:solidFill>
              </a:rPr>
              <a:t>dry</a:t>
            </a:r>
            <a:r>
              <a:rPr lang="lv-LV" sz="1400" dirty="0">
                <a:solidFill>
                  <a:schemeClr val="tx1"/>
                </a:solidFill>
              </a:rPr>
              <a:t> </a:t>
            </a:r>
            <a:r>
              <a:rPr lang="lv-LV" sz="1400" dirty="0" err="1">
                <a:solidFill>
                  <a:schemeClr val="tx1"/>
                </a:solidFill>
              </a:rPr>
              <a:t>place</a:t>
            </a:r>
            <a:r>
              <a:rPr lang="en-gb" sz="1400" dirty="0">
                <a:solidFill>
                  <a:schemeClr val="tx1"/>
                </a:solidFill>
              </a:rPr>
              <a:t>.</a:t>
            </a:r>
          </a:p>
        </p:txBody>
      </p:sp>
      <p:sp>
        <p:nvSpPr>
          <p:cNvPr id="57" name="TextBox 56">
            <a:extLst>
              <a:ext uri="{FF2B5EF4-FFF2-40B4-BE49-F238E27FC236}">
                <a16:creationId xmlns:a16="http://schemas.microsoft.com/office/drawing/2014/main" id="{B157BBC1-EAD4-45A3-5D5A-DD3191AD5488}"/>
              </a:ext>
            </a:extLst>
          </p:cNvPr>
          <p:cNvSpPr txBox="1"/>
          <p:nvPr/>
        </p:nvSpPr>
        <p:spPr>
          <a:xfrm>
            <a:off x="4129246" y="4279902"/>
            <a:ext cx="4784310" cy="727075"/>
          </a:xfrm>
          <a:prstGeom prst="rect">
            <a:avLst/>
          </a:prstGeom>
          <a:noFill/>
        </p:spPr>
        <p:txBody>
          <a:bodyPr wrap="square" rtlCol="0" anchor="ctr">
            <a:noAutofit/>
          </a:bodyPr>
          <a:lstStyle/>
          <a:p>
            <a:pPr rtl="0">
              <a:spcAft>
                <a:spcPts val="0"/>
              </a:spcAft>
            </a:pPr>
            <a:r>
              <a:rPr lang="en-gb" sz="1400">
                <a:solidFill>
                  <a:schemeClr val="tx1"/>
                </a:solidFill>
              </a:rPr>
              <a:t>Cover with warm, dry clothes and then wrap in a foil blanket.</a:t>
            </a:r>
          </a:p>
        </p:txBody>
      </p:sp>
      <p:sp>
        <p:nvSpPr>
          <p:cNvPr id="58" name="TextBox 57">
            <a:extLst>
              <a:ext uri="{FF2B5EF4-FFF2-40B4-BE49-F238E27FC236}">
                <a16:creationId xmlns:a16="http://schemas.microsoft.com/office/drawing/2014/main" id="{2BCD24FF-F127-6E9F-1E4E-2363B2E8176F}"/>
              </a:ext>
            </a:extLst>
          </p:cNvPr>
          <p:cNvSpPr txBox="1"/>
          <p:nvPr/>
        </p:nvSpPr>
        <p:spPr>
          <a:xfrm>
            <a:off x="4129246" y="4862515"/>
            <a:ext cx="4784310" cy="727075"/>
          </a:xfrm>
          <a:prstGeom prst="rect">
            <a:avLst/>
          </a:prstGeom>
          <a:noFill/>
        </p:spPr>
        <p:txBody>
          <a:bodyPr wrap="square" rtlCol="0" anchor="ctr">
            <a:noAutofit/>
          </a:bodyPr>
          <a:lstStyle/>
          <a:p>
            <a:pPr rtl="0">
              <a:spcAft>
                <a:spcPts val="0"/>
              </a:spcAft>
            </a:pPr>
            <a:r>
              <a:rPr lang="en-gb" sz="1400">
                <a:solidFill>
                  <a:schemeClr val="tx1"/>
                </a:solidFill>
              </a:rPr>
              <a:t>If the victim is not unconscious, give warm, sugary drinks.</a:t>
            </a:r>
          </a:p>
        </p:txBody>
      </p:sp>
      <p:sp>
        <p:nvSpPr>
          <p:cNvPr id="61" name="TextBox 60">
            <a:extLst>
              <a:ext uri="{FF2B5EF4-FFF2-40B4-BE49-F238E27FC236}">
                <a16:creationId xmlns:a16="http://schemas.microsoft.com/office/drawing/2014/main" id="{E5F98DAA-B86C-DE09-039A-F11E1F0780A4}"/>
              </a:ext>
            </a:extLst>
          </p:cNvPr>
          <p:cNvSpPr txBox="1"/>
          <p:nvPr/>
        </p:nvSpPr>
        <p:spPr>
          <a:xfrm>
            <a:off x="4129246" y="3697289"/>
            <a:ext cx="4784310" cy="727075"/>
          </a:xfrm>
          <a:prstGeom prst="rect">
            <a:avLst/>
          </a:prstGeom>
          <a:noFill/>
        </p:spPr>
        <p:txBody>
          <a:bodyPr wrap="square" rtlCol="0" anchor="ctr">
            <a:noAutofit/>
          </a:bodyPr>
          <a:lstStyle/>
          <a:p>
            <a:pPr rtl="0">
              <a:spcAft>
                <a:spcPts val="0"/>
              </a:spcAft>
            </a:pPr>
            <a:r>
              <a:rPr lang="en-gb" sz="1400">
                <a:solidFill>
                  <a:schemeClr val="tx1"/>
                </a:solidFill>
              </a:rPr>
              <a:t>If possible, remove wet clothes, shoes.</a:t>
            </a:r>
          </a:p>
        </p:txBody>
      </p:sp>
      <p:sp>
        <p:nvSpPr>
          <p:cNvPr id="62" name="TextBox 61">
            <a:extLst>
              <a:ext uri="{FF2B5EF4-FFF2-40B4-BE49-F238E27FC236}">
                <a16:creationId xmlns:a16="http://schemas.microsoft.com/office/drawing/2014/main" id="{D4227107-781D-25F3-67A7-75215C978573}"/>
              </a:ext>
            </a:extLst>
          </p:cNvPr>
          <p:cNvSpPr txBox="1"/>
          <p:nvPr/>
        </p:nvSpPr>
        <p:spPr>
          <a:xfrm>
            <a:off x="4129246" y="5445126"/>
            <a:ext cx="4784310" cy="727075"/>
          </a:xfrm>
          <a:prstGeom prst="rect">
            <a:avLst/>
          </a:prstGeom>
          <a:noFill/>
        </p:spPr>
        <p:txBody>
          <a:bodyPr wrap="square" rtlCol="0" anchor="ctr">
            <a:noAutofit/>
          </a:bodyPr>
          <a:lstStyle/>
          <a:p>
            <a:pPr rtl="0">
              <a:spcAft>
                <a:spcPts val="0"/>
              </a:spcAft>
            </a:pPr>
            <a:r>
              <a:rPr lang="en-gb" sz="1400">
                <a:solidFill>
                  <a:schemeClr val="tx1"/>
                </a:solidFill>
              </a:rPr>
              <a:t>Take resuscitation measures if necessary.</a:t>
            </a:r>
          </a:p>
        </p:txBody>
      </p:sp>
      <p:cxnSp>
        <p:nvCxnSpPr>
          <p:cNvPr id="63" name="Straight Connector 62">
            <a:extLst>
              <a:ext uri="{FF2B5EF4-FFF2-40B4-BE49-F238E27FC236}">
                <a16:creationId xmlns:a16="http://schemas.microsoft.com/office/drawing/2014/main" id="{31B040CF-6540-E531-4FCB-56B59B80EB7F}"/>
              </a:ext>
            </a:extLst>
          </p:cNvPr>
          <p:cNvCxnSpPr>
            <a:cxnSpLocks/>
          </p:cNvCxnSpPr>
          <p:nvPr/>
        </p:nvCxnSpPr>
        <p:spPr>
          <a:xfrm>
            <a:off x="4129246" y="3182868"/>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4" name="Straight Connector 63">
            <a:extLst>
              <a:ext uri="{FF2B5EF4-FFF2-40B4-BE49-F238E27FC236}">
                <a16:creationId xmlns:a16="http://schemas.microsoft.com/office/drawing/2014/main" id="{96AF9122-AE78-ECF6-9687-CBD7365E3A59}"/>
              </a:ext>
            </a:extLst>
          </p:cNvPr>
          <p:cNvCxnSpPr>
            <a:cxnSpLocks/>
          </p:cNvCxnSpPr>
          <p:nvPr/>
        </p:nvCxnSpPr>
        <p:spPr>
          <a:xfrm>
            <a:off x="4129246" y="3765481"/>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5" name="Straight Connector 64">
            <a:extLst>
              <a:ext uri="{FF2B5EF4-FFF2-40B4-BE49-F238E27FC236}">
                <a16:creationId xmlns:a16="http://schemas.microsoft.com/office/drawing/2014/main" id="{8579AF8C-577F-0814-EFD6-67A60D929ED2}"/>
              </a:ext>
            </a:extLst>
          </p:cNvPr>
          <p:cNvCxnSpPr>
            <a:cxnSpLocks/>
          </p:cNvCxnSpPr>
          <p:nvPr/>
        </p:nvCxnSpPr>
        <p:spPr>
          <a:xfrm>
            <a:off x="4129246" y="4348094"/>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6" name="Straight Connector 65">
            <a:extLst>
              <a:ext uri="{FF2B5EF4-FFF2-40B4-BE49-F238E27FC236}">
                <a16:creationId xmlns:a16="http://schemas.microsoft.com/office/drawing/2014/main" id="{73045070-3E8B-1D35-97F3-7226B0B5550A}"/>
              </a:ext>
            </a:extLst>
          </p:cNvPr>
          <p:cNvCxnSpPr>
            <a:cxnSpLocks/>
          </p:cNvCxnSpPr>
          <p:nvPr/>
        </p:nvCxnSpPr>
        <p:spPr>
          <a:xfrm>
            <a:off x="4129246" y="4930707"/>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7" name="Straight Connector 66">
            <a:extLst>
              <a:ext uri="{FF2B5EF4-FFF2-40B4-BE49-F238E27FC236}">
                <a16:creationId xmlns:a16="http://schemas.microsoft.com/office/drawing/2014/main" id="{8303DD6B-855C-69D1-AA97-9B41427E38B6}"/>
              </a:ext>
            </a:extLst>
          </p:cNvPr>
          <p:cNvCxnSpPr>
            <a:cxnSpLocks/>
          </p:cNvCxnSpPr>
          <p:nvPr/>
        </p:nvCxnSpPr>
        <p:spPr>
          <a:xfrm>
            <a:off x="4129246" y="5513320"/>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grpSp>
        <p:nvGrpSpPr>
          <p:cNvPr id="2" name="Google Shape;1364;p89">
            <a:extLst>
              <a:ext uri="{FF2B5EF4-FFF2-40B4-BE49-F238E27FC236}">
                <a16:creationId xmlns:a16="http://schemas.microsoft.com/office/drawing/2014/main" id="{8F0CE6DF-CA25-0F5B-805D-A9F9AE65047A}"/>
              </a:ext>
            </a:extLst>
          </p:cNvPr>
          <p:cNvGrpSpPr/>
          <p:nvPr/>
        </p:nvGrpSpPr>
        <p:grpSpPr>
          <a:xfrm>
            <a:off x="2443269" y="1930554"/>
            <a:ext cx="360000" cy="360000"/>
            <a:chOff x="2546009" y="5322517"/>
            <a:chExt cx="457200" cy="457200"/>
          </a:xfrm>
          <a:solidFill>
            <a:schemeClr val="bg1"/>
          </a:solidFill>
        </p:grpSpPr>
        <p:sp>
          <p:nvSpPr>
            <p:cNvPr id="5" name="Google Shape;1365;p89">
              <a:extLst>
                <a:ext uri="{FF2B5EF4-FFF2-40B4-BE49-F238E27FC236}">
                  <a16:creationId xmlns:a16="http://schemas.microsoft.com/office/drawing/2014/main" id="{E11A9D5A-8E51-59DF-2E6E-3D637E7AA57E}"/>
                </a:ext>
              </a:extLst>
            </p:cNvPr>
            <p:cNvSpPr/>
            <p:nvPr/>
          </p:nvSpPr>
          <p:spPr>
            <a:xfrm>
              <a:off x="2546009" y="5322517"/>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6" name="Google Shape;1366;p89">
              <a:extLst>
                <a:ext uri="{FF2B5EF4-FFF2-40B4-BE49-F238E27FC236}">
                  <a16:creationId xmlns:a16="http://schemas.microsoft.com/office/drawing/2014/main" id="{6307E12D-8818-3ECA-6181-7E94A3D6C8D0}"/>
                </a:ext>
              </a:extLst>
            </p:cNvPr>
            <p:cNvSpPr/>
            <p:nvPr/>
          </p:nvSpPr>
          <p:spPr>
            <a:xfrm>
              <a:off x="2588877" y="5373570"/>
              <a:ext cx="116612" cy="358965"/>
            </a:xfrm>
            <a:custGeom>
              <a:avLst/>
              <a:gdLst/>
              <a:ahLst/>
              <a:cxnLst/>
              <a:rect l="l" t="t" r="r" b="b"/>
              <a:pathLst>
                <a:path w="116612" h="358965" extrusionOk="0">
                  <a:moveTo>
                    <a:pt x="116612" y="231966"/>
                  </a:moveTo>
                  <a:cubicBezTo>
                    <a:pt x="116721" y="259877"/>
                    <a:pt x="96916" y="283899"/>
                    <a:pt x="69495" y="289116"/>
                  </a:cubicBezTo>
                  <a:lnTo>
                    <a:pt x="69495" y="358966"/>
                  </a:lnTo>
                  <a:lnTo>
                    <a:pt x="47492" y="358966"/>
                  </a:lnTo>
                  <a:lnTo>
                    <a:pt x="47492" y="289116"/>
                  </a:lnTo>
                  <a:cubicBezTo>
                    <a:pt x="15929" y="283232"/>
                    <a:pt x="-4888" y="252876"/>
                    <a:pt x="995" y="221313"/>
                  </a:cubicBezTo>
                  <a:cubicBezTo>
                    <a:pt x="5397" y="197695"/>
                    <a:pt x="23874" y="179218"/>
                    <a:pt x="47492" y="174816"/>
                  </a:cubicBezTo>
                  <a:lnTo>
                    <a:pt x="47492" y="0"/>
                  </a:lnTo>
                  <a:lnTo>
                    <a:pt x="69495" y="0"/>
                  </a:lnTo>
                  <a:lnTo>
                    <a:pt x="69495" y="174879"/>
                  </a:lnTo>
                  <a:cubicBezTo>
                    <a:pt x="96892" y="180090"/>
                    <a:pt x="116691" y="204078"/>
                    <a:pt x="116612" y="231966"/>
                  </a:cubicBezTo>
                  <a:close/>
                  <a:moveTo>
                    <a:pt x="22346" y="231966"/>
                  </a:moveTo>
                  <a:cubicBezTo>
                    <a:pt x="22329" y="251920"/>
                    <a:pt x="38491" y="268110"/>
                    <a:pt x="58446" y="268129"/>
                  </a:cubicBezTo>
                  <a:cubicBezTo>
                    <a:pt x="78401" y="268148"/>
                    <a:pt x="94592" y="251984"/>
                    <a:pt x="94609" y="232029"/>
                  </a:cubicBezTo>
                  <a:cubicBezTo>
                    <a:pt x="94627" y="212074"/>
                    <a:pt x="78465" y="195883"/>
                    <a:pt x="58510" y="195866"/>
                  </a:cubicBezTo>
                  <a:cubicBezTo>
                    <a:pt x="38569" y="195883"/>
                    <a:pt x="22399" y="212025"/>
                    <a:pt x="22346" y="231966"/>
                  </a:cubicBez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7" name="Google Shape;1367;p89">
              <a:extLst>
                <a:ext uri="{FF2B5EF4-FFF2-40B4-BE49-F238E27FC236}">
                  <a16:creationId xmlns:a16="http://schemas.microsoft.com/office/drawing/2014/main" id="{47D87D78-B0B4-1ED8-A0B0-A0CE22744212}"/>
                </a:ext>
              </a:extLst>
            </p:cNvPr>
            <p:cNvSpPr/>
            <p:nvPr/>
          </p:nvSpPr>
          <p:spPr>
            <a:xfrm>
              <a:off x="2715985" y="5373570"/>
              <a:ext cx="116535" cy="358997"/>
            </a:xfrm>
            <a:custGeom>
              <a:avLst/>
              <a:gdLst/>
              <a:ahLst/>
              <a:cxnLst/>
              <a:rect l="l" t="t" r="r" b="b"/>
              <a:pathLst>
                <a:path w="116535" h="358997" extrusionOk="0">
                  <a:moveTo>
                    <a:pt x="116536" y="110363"/>
                  </a:moveTo>
                  <a:cubicBezTo>
                    <a:pt x="116626" y="138290"/>
                    <a:pt x="96794" y="162313"/>
                    <a:pt x="69355" y="167513"/>
                  </a:cubicBezTo>
                  <a:lnTo>
                    <a:pt x="69355" y="358997"/>
                  </a:lnTo>
                  <a:lnTo>
                    <a:pt x="47352" y="358997"/>
                  </a:lnTo>
                  <a:lnTo>
                    <a:pt x="47352" y="167481"/>
                  </a:lnTo>
                  <a:cubicBezTo>
                    <a:pt x="15789" y="161503"/>
                    <a:pt x="-4952" y="131070"/>
                    <a:pt x="1027" y="99507"/>
                  </a:cubicBezTo>
                  <a:cubicBezTo>
                    <a:pt x="5477" y="76010"/>
                    <a:pt x="23856" y="57632"/>
                    <a:pt x="47352" y="53181"/>
                  </a:cubicBezTo>
                  <a:lnTo>
                    <a:pt x="47352" y="0"/>
                  </a:lnTo>
                  <a:lnTo>
                    <a:pt x="69355" y="0"/>
                  </a:lnTo>
                  <a:lnTo>
                    <a:pt x="69355" y="53277"/>
                  </a:lnTo>
                  <a:cubicBezTo>
                    <a:pt x="96770" y="58472"/>
                    <a:pt x="116596" y="82460"/>
                    <a:pt x="116536" y="110363"/>
                  </a:cubicBezTo>
                  <a:close/>
                  <a:moveTo>
                    <a:pt x="22206" y="110363"/>
                  </a:moveTo>
                  <a:cubicBezTo>
                    <a:pt x="22189" y="130335"/>
                    <a:pt x="38366" y="146541"/>
                    <a:pt x="58338" y="146558"/>
                  </a:cubicBezTo>
                  <a:cubicBezTo>
                    <a:pt x="78310" y="146575"/>
                    <a:pt x="94515" y="130399"/>
                    <a:pt x="94533" y="110427"/>
                  </a:cubicBezTo>
                  <a:cubicBezTo>
                    <a:pt x="94550" y="90454"/>
                    <a:pt x="78374" y="74249"/>
                    <a:pt x="58401" y="74232"/>
                  </a:cubicBezTo>
                  <a:cubicBezTo>
                    <a:pt x="58391" y="74232"/>
                    <a:pt x="58380" y="74232"/>
                    <a:pt x="58370" y="74232"/>
                  </a:cubicBezTo>
                  <a:cubicBezTo>
                    <a:pt x="38417" y="74249"/>
                    <a:pt x="22241" y="90410"/>
                    <a:pt x="22206" y="110363"/>
                  </a:cubicBez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8" name="Google Shape;1368;p89">
              <a:extLst>
                <a:ext uri="{FF2B5EF4-FFF2-40B4-BE49-F238E27FC236}">
                  <a16:creationId xmlns:a16="http://schemas.microsoft.com/office/drawing/2014/main" id="{0639B4B7-C04C-3972-0434-7F6234C301E2}"/>
                </a:ext>
              </a:extLst>
            </p:cNvPr>
            <p:cNvSpPr/>
            <p:nvPr/>
          </p:nvSpPr>
          <p:spPr>
            <a:xfrm>
              <a:off x="2842953" y="5373570"/>
              <a:ext cx="116535" cy="358997"/>
            </a:xfrm>
            <a:custGeom>
              <a:avLst/>
              <a:gdLst/>
              <a:ahLst/>
              <a:cxnLst/>
              <a:rect l="l" t="t" r="r" b="b"/>
              <a:pathLst>
                <a:path w="116535" h="358997" extrusionOk="0">
                  <a:moveTo>
                    <a:pt x="116536" y="194215"/>
                  </a:moveTo>
                  <a:cubicBezTo>
                    <a:pt x="116628" y="222132"/>
                    <a:pt x="96813" y="246151"/>
                    <a:pt x="69387" y="251365"/>
                  </a:cubicBezTo>
                  <a:lnTo>
                    <a:pt x="69387" y="358997"/>
                  </a:lnTo>
                  <a:lnTo>
                    <a:pt x="47352" y="358997"/>
                  </a:lnTo>
                  <a:lnTo>
                    <a:pt x="47352" y="251333"/>
                  </a:lnTo>
                  <a:cubicBezTo>
                    <a:pt x="15789" y="245355"/>
                    <a:pt x="-4952" y="214922"/>
                    <a:pt x="1027" y="183359"/>
                  </a:cubicBezTo>
                  <a:cubicBezTo>
                    <a:pt x="5477" y="159862"/>
                    <a:pt x="23854" y="141483"/>
                    <a:pt x="47352" y="137033"/>
                  </a:cubicBezTo>
                  <a:lnTo>
                    <a:pt x="47352" y="0"/>
                  </a:lnTo>
                  <a:lnTo>
                    <a:pt x="69387" y="0"/>
                  </a:lnTo>
                  <a:lnTo>
                    <a:pt x="69387" y="137128"/>
                  </a:lnTo>
                  <a:cubicBezTo>
                    <a:pt x="96797" y="142326"/>
                    <a:pt x="116612" y="166317"/>
                    <a:pt x="116536" y="194215"/>
                  </a:cubicBezTo>
                  <a:close/>
                  <a:moveTo>
                    <a:pt x="22238" y="194215"/>
                  </a:moveTo>
                  <a:cubicBezTo>
                    <a:pt x="22219" y="214187"/>
                    <a:pt x="38396" y="230392"/>
                    <a:pt x="58370" y="230410"/>
                  </a:cubicBezTo>
                  <a:cubicBezTo>
                    <a:pt x="78344" y="230427"/>
                    <a:pt x="94546" y="214251"/>
                    <a:pt x="94565" y="194278"/>
                  </a:cubicBezTo>
                  <a:cubicBezTo>
                    <a:pt x="94584" y="174306"/>
                    <a:pt x="78407" y="158101"/>
                    <a:pt x="58433" y="158083"/>
                  </a:cubicBezTo>
                  <a:cubicBezTo>
                    <a:pt x="58411" y="158083"/>
                    <a:pt x="58392" y="158083"/>
                    <a:pt x="58370" y="158083"/>
                  </a:cubicBezTo>
                  <a:cubicBezTo>
                    <a:pt x="38421" y="158101"/>
                    <a:pt x="22257" y="174267"/>
                    <a:pt x="22238" y="194215"/>
                  </a:cubicBez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sp>
        <p:nvSpPr>
          <p:cNvPr id="18" name="Rectangle 17">
            <a:extLst>
              <a:ext uri="{FF2B5EF4-FFF2-40B4-BE49-F238E27FC236}">
                <a16:creationId xmlns:a16="http://schemas.microsoft.com/office/drawing/2014/main" id="{8718CE4C-95ED-99AC-270C-360B29FB6AD4}"/>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33" name="Group 32">
            <a:extLst>
              <a:ext uri="{FF2B5EF4-FFF2-40B4-BE49-F238E27FC236}">
                <a16:creationId xmlns:a16="http://schemas.microsoft.com/office/drawing/2014/main" id="{0E1E50A3-2B0B-2403-ED72-97408228FBA9}"/>
              </a:ext>
            </a:extLst>
          </p:cNvPr>
          <p:cNvGrpSpPr/>
          <p:nvPr/>
        </p:nvGrpSpPr>
        <p:grpSpPr>
          <a:xfrm>
            <a:off x="9842140" y="372216"/>
            <a:ext cx="1667215" cy="217488"/>
            <a:chOff x="9842140" y="372216"/>
            <a:chExt cx="1667215" cy="217488"/>
          </a:xfrm>
        </p:grpSpPr>
        <p:sp>
          <p:nvSpPr>
            <p:cNvPr id="34" name="TextBox 33">
              <a:extLst>
                <a:ext uri="{FF2B5EF4-FFF2-40B4-BE49-F238E27FC236}">
                  <a16:creationId xmlns:a16="http://schemas.microsoft.com/office/drawing/2014/main" id="{C87FCEB5-73C2-4FBE-4A19-EA996E36EE39}"/>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rtl="0">
                <a:lnSpc>
                  <a:spcPct val="100000"/>
                </a:lnSpc>
                <a:spcAft>
                  <a:spcPts val="600"/>
                </a:spcAft>
                <a:buSzPct val="100000"/>
              </a:pPr>
              <a:r>
                <a:rPr lang="en-gb" sz="800">
                  <a:solidFill>
                    <a:schemeClr val="bg1"/>
                  </a:solidFill>
                </a:rPr>
                <a:t>Thermal damage</a:t>
              </a:r>
            </a:p>
          </p:txBody>
        </p:sp>
        <p:sp>
          <p:nvSpPr>
            <p:cNvPr id="35" name="Freeform 49">
              <a:extLst>
                <a:ext uri="{FF2B5EF4-FFF2-40B4-BE49-F238E27FC236}">
                  <a16:creationId xmlns:a16="http://schemas.microsoft.com/office/drawing/2014/main" id="{89F13B56-964C-87A2-18FB-B820270895D4}"/>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p>
          </p:txBody>
        </p:sp>
      </p:grpSp>
      <p:grpSp>
        <p:nvGrpSpPr>
          <p:cNvPr id="9" name="Group 8">
            <a:extLst>
              <a:ext uri="{FF2B5EF4-FFF2-40B4-BE49-F238E27FC236}">
                <a16:creationId xmlns:a16="http://schemas.microsoft.com/office/drawing/2014/main" id="{1B34D71C-D43B-FCFC-9A2F-61ADCF605046}"/>
              </a:ext>
            </a:extLst>
          </p:cNvPr>
          <p:cNvGrpSpPr/>
          <p:nvPr/>
        </p:nvGrpSpPr>
        <p:grpSpPr>
          <a:xfrm>
            <a:off x="9122935" y="126781"/>
            <a:ext cx="2626153" cy="217488"/>
            <a:chOff x="9122935" y="126781"/>
            <a:chExt cx="2626153" cy="217488"/>
          </a:xfrm>
        </p:grpSpPr>
        <p:sp>
          <p:nvSpPr>
            <p:cNvPr id="36" name="Rectangle 35">
              <a:extLst>
                <a:ext uri="{FF2B5EF4-FFF2-40B4-BE49-F238E27FC236}">
                  <a16:creationId xmlns:a16="http://schemas.microsoft.com/office/drawing/2014/main" id="{42F10A0A-7B59-68DD-5B50-9DB700FCB6FE}"/>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000000"/>
                  </a:solidFill>
                  <a:effectLst/>
                  <a:uLnTx/>
                  <a:uFillTx/>
                  <a:ea typeface="Georgia"/>
                  <a:cs typeface="Georgia"/>
                  <a:sym typeface="Georgia"/>
                </a:rPr>
                <a:t>First aid measures</a:t>
              </a:r>
            </a:p>
          </p:txBody>
        </p:sp>
        <p:sp>
          <p:nvSpPr>
            <p:cNvPr id="37" name="Rectangle 36">
              <a:extLst>
                <a:ext uri="{FF2B5EF4-FFF2-40B4-BE49-F238E27FC236}">
                  <a16:creationId xmlns:a16="http://schemas.microsoft.com/office/drawing/2014/main" id="{41FA3FE3-0466-5CEF-4F7D-5A7C22A93AFD}"/>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8" name="Rectangle 37">
              <a:extLst>
                <a:ext uri="{FF2B5EF4-FFF2-40B4-BE49-F238E27FC236}">
                  <a16:creationId xmlns:a16="http://schemas.microsoft.com/office/drawing/2014/main" id="{A4A6DDC8-482C-6A00-A247-FB0FFE612012}"/>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9" name="Rectangle 38">
              <a:extLst>
                <a:ext uri="{FF2B5EF4-FFF2-40B4-BE49-F238E27FC236}">
                  <a16:creationId xmlns:a16="http://schemas.microsoft.com/office/drawing/2014/main" id="{CFBF7985-97DB-8C91-5E9D-2BC067C64486}"/>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54" name="Rectangle 53">
              <a:extLst>
                <a:ext uri="{FF2B5EF4-FFF2-40B4-BE49-F238E27FC236}">
                  <a16:creationId xmlns:a16="http://schemas.microsoft.com/office/drawing/2014/main" id="{A8D6DF6B-56B5-21FF-E211-1DB8960C3ED2}"/>
                </a:ext>
              </a:extLst>
            </p:cNvPr>
            <p:cNvSpPr/>
            <p:nvPr/>
          </p:nvSpPr>
          <p:spPr>
            <a:xfrm>
              <a:off x="9842140"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7</a:t>
              </a:r>
              <a:r>
                <a:rPr lang="en-gb" sz="800" b="1" i="0" u="none" strike="noStrike" kern="0" cap="none" spc="0" normalizeH="0" noProof="0">
                  <a:ln>
                    <a:noFill/>
                  </a:ln>
                  <a:effectLst/>
                  <a:uLnTx/>
                  <a:uFillTx/>
                  <a:ea typeface="Georgia"/>
                  <a:cs typeface="Georgia"/>
                  <a:sym typeface="Georgia"/>
                </a:rPr>
                <a:t>.4</a:t>
              </a:r>
              <a:endParaRPr kumimoji="0" lang="lv-LV" sz="800" b="1" i="0" u="none" strike="noStrike" kern="0" cap="none" spc="0" normalizeH="0" baseline="0" noProof="0" dirty="0">
                <a:ln>
                  <a:noFill/>
                </a:ln>
                <a:effectLst/>
                <a:uLnTx/>
                <a:uFillTx/>
                <a:ea typeface="Georgia"/>
                <a:cs typeface="Georgia"/>
                <a:sym typeface="Georgia"/>
              </a:endParaRPr>
            </a:p>
          </p:txBody>
        </p:sp>
        <p:sp>
          <p:nvSpPr>
            <p:cNvPr id="59" name="Rectangle 58">
              <a:extLst>
                <a:ext uri="{FF2B5EF4-FFF2-40B4-BE49-F238E27FC236}">
                  <a16:creationId xmlns:a16="http://schemas.microsoft.com/office/drawing/2014/main" id="{BB31CF24-FC59-16DB-B5B3-227C95C64065}"/>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7852210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E94DAC8-1E8F-3291-FA16-E6E35EB47422}"/>
              </a:ext>
            </a:extLst>
          </p:cNvPr>
          <p:cNvGraphicFramePr>
            <a:graphicFrameLocks noChangeAspect="1"/>
          </p:cNvGraphicFramePr>
          <p:nvPr>
            <p:custDataLst>
              <p:tags r:id="rId1"/>
            </p:custDataLst>
            <p:extLst>
              <p:ext uri="{D42A27DB-BD31-4B8C-83A1-F6EECF244321}">
                <p14:modId xmlns:p14="http://schemas.microsoft.com/office/powerpoint/2010/main" val="2276178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4E94DAC8-1E8F-3291-FA16-E6E35EB474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rtlCol="0"/>
          <a:lstStyle/>
          <a:p>
            <a:pPr rtl="0"/>
            <a:r>
              <a:rPr lang="en-gb"/>
              <a:t>What to do in case of burns?</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rtlCol="0"/>
          <a:lstStyle/>
          <a:p>
            <a:pPr rtl="0"/>
            <a:fld id="{7870704B-CE94-48CC-AF30-84932A1262A7}" type="slidenum">
              <a:rPr lang="en-GB" smtClean="0"/>
              <a:pPr rtl="0"/>
              <a:t>25</a:t>
            </a:fld>
            <a:endParaRPr lang="en-GB"/>
          </a:p>
        </p:txBody>
      </p:sp>
      <p:sp>
        <p:nvSpPr>
          <p:cNvPr id="20" name="Rectangle 19">
            <a:extLst>
              <a:ext uri="{FF2B5EF4-FFF2-40B4-BE49-F238E27FC236}">
                <a16:creationId xmlns:a16="http://schemas.microsoft.com/office/drawing/2014/main" id="{71A7C7C0-2A0C-7790-FB11-2C935A397516}"/>
              </a:ext>
            </a:extLst>
          </p:cNvPr>
          <p:cNvSpPr/>
          <p:nvPr/>
        </p:nvSpPr>
        <p:spPr>
          <a:xfrm>
            <a:off x="6331926" y="2398554"/>
            <a:ext cx="5417162" cy="402744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rtl="0">
              <a:spcAft>
                <a:spcPts val="600"/>
              </a:spcAft>
              <a:buBlip>
                <a:blip r:embed="rId6"/>
              </a:buBlip>
            </a:pPr>
            <a:r>
              <a:rPr lang="en-gb" sz="1400" dirty="0">
                <a:solidFill>
                  <a:schemeClr val="tx1"/>
                </a:solidFill>
              </a:rPr>
              <a:t>Cooling large areas of the burn can cause the body to cool. In this case, reduce the cooling time or use cool but not cold water.</a:t>
            </a:r>
          </a:p>
          <a:p>
            <a:pPr marL="285750" indent="-285750" rtl="0">
              <a:spcAft>
                <a:spcPts val="600"/>
              </a:spcAft>
              <a:buBlip>
                <a:blip r:embed="rId6"/>
              </a:buBlip>
            </a:pPr>
            <a:r>
              <a:rPr lang="en-gb" sz="1400" dirty="0">
                <a:solidFill>
                  <a:schemeClr val="tx1"/>
                </a:solidFill>
              </a:rPr>
              <a:t>In case of burns to the respiratory tract, always call an ambulance as there is a risk of </a:t>
            </a:r>
            <a:r>
              <a:rPr lang="lv-LV" sz="1400" dirty="0" err="1">
                <a:solidFill>
                  <a:schemeClr val="tx1"/>
                </a:solidFill>
              </a:rPr>
              <a:t>suffocating</a:t>
            </a:r>
            <a:r>
              <a:rPr lang="en-gb" sz="1400" dirty="0">
                <a:solidFill>
                  <a:schemeClr val="tx1"/>
                </a:solidFill>
              </a:rPr>
              <a:t>. Facial burns always burn the airways.</a:t>
            </a:r>
          </a:p>
          <a:p>
            <a:pPr marL="285750" indent="-285750" rtl="0">
              <a:spcAft>
                <a:spcPts val="600"/>
              </a:spcAft>
              <a:buBlip>
                <a:blip r:embed="rId6"/>
              </a:buBlip>
            </a:pPr>
            <a:r>
              <a:rPr lang="en-gb" sz="1400" dirty="0">
                <a:solidFill>
                  <a:schemeClr val="tx1"/>
                </a:solidFill>
              </a:rPr>
              <a:t>If clothing is on fire, the victim should be made to lie down as soon as possible. Extinguish burning clothing by smothering the flames with a blanket, rolling the victim on the ground or pouring water on the victim. You can also use fire extinguishers to extinguish clothing, but be careful of the victim's face when doing so.</a:t>
            </a:r>
          </a:p>
          <a:p>
            <a:pPr marL="285750" indent="-285750" rtl="0">
              <a:spcAft>
                <a:spcPts val="600"/>
              </a:spcAft>
              <a:buBlip>
                <a:blip r:embed="rId6"/>
              </a:buBlip>
            </a:pPr>
            <a:r>
              <a:rPr lang="en-gb" sz="1400" dirty="0">
                <a:solidFill>
                  <a:schemeClr val="tx1"/>
                </a:solidFill>
              </a:rPr>
              <a:t>Do not tear burnt clothing off your body.</a:t>
            </a:r>
          </a:p>
          <a:p>
            <a:pPr marL="285750" indent="-285750" rtl="0">
              <a:spcAft>
                <a:spcPts val="600"/>
              </a:spcAft>
              <a:buBlip>
                <a:blip r:embed="rId6"/>
              </a:buBlip>
            </a:pPr>
            <a:r>
              <a:rPr lang="en-gb" sz="1400" dirty="0">
                <a:solidFill>
                  <a:schemeClr val="tx1"/>
                </a:solidFill>
              </a:rPr>
              <a:t>Do not open blisters caused by a burn.</a:t>
            </a:r>
          </a:p>
          <a:p>
            <a:pPr marL="285750" indent="-285750" rtl="0">
              <a:spcAft>
                <a:spcPts val="600"/>
              </a:spcAft>
              <a:buBlip>
                <a:blip r:embed="rId6"/>
              </a:buBlip>
            </a:pPr>
            <a:r>
              <a:rPr lang="en-gb" sz="1400" dirty="0">
                <a:solidFill>
                  <a:schemeClr val="tx1"/>
                </a:solidFill>
              </a:rPr>
              <a:t>Do not use ointments, powders, disinfectants when giving first aid.</a:t>
            </a:r>
          </a:p>
        </p:txBody>
      </p:sp>
      <p:sp>
        <p:nvSpPr>
          <p:cNvPr id="21" name="Rectangle 20">
            <a:extLst>
              <a:ext uri="{FF2B5EF4-FFF2-40B4-BE49-F238E27FC236}">
                <a16:creationId xmlns:a16="http://schemas.microsoft.com/office/drawing/2014/main" id="{2AE882DB-6A87-19F7-49D2-A2C7AF5D76FD}"/>
              </a:ext>
            </a:extLst>
          </p:cNvPr>
          <p:cNvSpPr/>
          <p:nvPr/>
        </p:nvSpPr>
        <p:spPr>
          <a:xfrm>
            <a:off x="6331926" y="1835254"/>
            <a:ext cx="5417162"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bg1"/>
                </a:solidFill>
              </a:rPr>
              <a:t>Important!</a:t>
            </a:r>
          </a:p>
        </p:txBody>
      </p:sp>
      <p:sp>
        <p:nvSpPr>
          <p:cNvPr id="22" name="Content Placeholder 1">
            <a:extLst>
              <a:ext uri="{FF2B5EF4-FFF2-40B4-BE49-F238E27FC236}">
                <a16:creationId xmlns:a16="http://schemas.microsoft.com/office/drawing/2014/main" id="{D512C8CC-021C-3D02-627D-E9AFCCFA9CAF}"/>
              </a:ext>
            </a:extLst>
          </p:cNvPr>
          <p:cNvSpPr txBox="1">
            <a:spLocks/>
          </p:cNvSpPr>
          <p:nvPr/>
        </p:nvSpPr>
        <p:spPr>
          <a:xfrm>
            <a:off x="11173087" y="18352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23" name="Content Placeholder 1">
            <a:extLst>
              <a:ext uri="{FF2B5EF4-FFF2-40B4-BE49-F238E27FC236}">
                <a16:creationId xmlns:a16="http://schemas.microsoft.com/office/drawing/2014/main" id="{5365EF17-B219-A2D9-E9C0-8D98FAFA07D9}"/>
              </a:ext>
            </a:extLst>
          </p:cNvPr>
          <p:cNvSpPr txBox="1">
            <a:spLocks/>
          </p:cNvSpPr>
          <p:nvPr/>
        </p:nvSpPr>
        <p:spPr>
          <a:xfrm>
            <a:off x="11101699" y="18352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24" name="Google Shape;794;p79">
            <a:extLst>
              <a:ext uri="{FF2B5EF4-FFF2-40B4-BE49-F238E27FC236}">
                <a16:creationId xmlns:a16="http://schemas.microsoft.com/office/drawing/2014/main" id="{EDAAB878-3F85-4CF2-D593-26F5C6B40D68}"/>
              </a:ext>
            </a:extLst>
          </p:cNvPr>
          <p:cNvSpPr/>
          <p:nvPr/>
        </p:nvSpPr>
        <p:spPr>
          <a:xfrm>
            <a:off x="11281087" y="19432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5" name="Rectangle 24">
            <a:extLst>
              <a:ext uri="{FF2B5EF4-FFF2-40B4-BE49-F238E27FC236}">
                <a16:creationId xmlns:a16="http://schemas.microsoft.com/office/drawing/2014/main" id="{F25DA104-C4AB-B1D2-2A0D-66C0FB817D87}"/>
              </a:ext>
            </a:extLst>
          </p:cNvPr>
          <p:cNvSpPr/>
          <p:nvPr/>
        </p:nvSpPr>
        <p:spPr>
          <a:xfrm>
            <a:off x="455061" y="1835254"/>
            <a:ext cx="4901014"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tx1"/>
                </a:solidFill>
              </a:rPr>
              <a:t>How to proceed?</a:t>
            </a:r>
          </a:p>
        </p:txBody>
      </p:sp>
      <p:grpSp>
        <p:nvGrpSpPr>
          <p:cNvPr id="26" name="Group 25">
            <a:extLst>
              <a:ext uri="{FF2B5EF4-FFF2-40B4-BE49-F238E27FC236}">
                <a16:creationId xmlns:a16="http://schemas.microsoft.com/office/drawing/2014/main" id="{E3370077-1573-2794-544A-AE97973345F5}"/>
              </a:ext>
            </a:extLst>
          </p:cNvPr>
          <p:cNvGrpSpPr/>
          <p:nvPr/>
        </p:nvGrpSpPr>
        <p:grpSpPr>
          <a:xfrm>
            <a:off x="5284688" y="1837690"/>
            <a:ext cx="647388" cy="576000"/>
            <a:chOff x="7212125" y="1822554"/>
            <a:chExt cx="647388" cy="576000"/>
          </a:xfrm>
        </p:grpSpPr>
        <p:sp>
          <p:nvSpPr>
            <p:cNvPr id="27" name="Content Placeholder 1">
              <a:extLst>
                <a:ext uri="{FF2B5EF4-FFF2-40B4-BE49-F238E27FC236}">
                  <a16:creationId xmlns:a16="http://schemas.microsoft.com/office/drawing/2014/main" id="{92B45411-117E-3A9B-8D05-A274C276C732}"/>
                </a:ext>
              </a:extLst>
            </p:cNvPr>
            <p:cNvSpPr txBox="1">
              <a:spLocks/>
            </p:cNvSpPr>
            <p:nvPr/>
          </p:nvSpPr>
          <p:spPr>
            <a:xfrm>
              <a:off x="7283513"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28" name="Content Placeholder 1">
              <a:extLst>
                <a:ext uri="{FF2B5EF4-FFF2-40B4-BE49-F238E27FC236}">
                  <a16:creationId xmlns:a16="http://schemas.microsoft.com/office/drawing/2014/main" id="{118C0778-7C73-7259-A140-8702FEA7D408}"/>
                </a:ext>
              </a:extLst>
            </p:cNvPr>
            <p:cNvSpPr txBox="1">
              <a:spLocks/>
            </p:cNvSpPr>
            <p:nvPr/>
          </p:nvSpPr>
          <p:spPr>
            <a:xfrm>
              <a:off x="7212125"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29" name="Google Shape;760;p79">
              <a:extLst>
                <a:ext uri="{FF2B5EF4-FFF2-40B4-BE49-F238E27FC236}">
                  <a16:creationId xmlns:a16="http://schemas.microsoft.com/office/drawing/2014/main" id="{D0BBF4F3-2759-9647-C8BA-1EDB4EBC21E7}"/>
                </a:ext>
              </a:extLst>
            </p:cNvPr>
            <p:cNvSpPr/>
            <p:nvPr/>
          </p:nvSpPr>
          <p:spPr>
            <a:xfrm>
              <a:off x="7391513"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sp>
        <p:nvSpPr>
          <p:cNvPr id="34" name="Content Placeholder 1">
            <a:extLst>
              <a:ext uri="{FF2B5EF4-FFF2-40B4-BE49-F238E27FC236}">
                <a16:creationId xmlns:a16="http://schemas.microsoft.com/office/drawing/2014/main" id="{30F86F50-8DB0-02A8-CC78-51DDA84DE4AD}"/>
              </a:ext>
            </a:extLst>
          </p:cNvPr>
          <p:cNvSpPr txBox="1">
            <a:spLocks/>
          </p:cNvSpPr>
          <p:nvPr/>
        </p:nvSpPr>
        <p:spPr>
          <a:xfrm>
            <a:off x="455062" y="3144673"/>
            <a:ext cx="630238" cy="648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2</a:t>
            </a:r>
          </a:p>
        </p:txBody>
      </p:sp>
      <p:sp>
        <p:nvSpPr>
          <p:cNvPr id="35" name="Content Placeholder 1">
            <a:extLst>
              <a:ext uri="{FF2B5EF4-FFF2-40B4-BE49-F238E27FC236}">
                <a16:creationId xmlns:a16="http://schemas.microsoft.com/office/drawing/2014/main" id="{C2AF3EEF-18F4-C17A-DE3C-2AC17A224682}"/>
              </a:ext>
            </a:extLst>
          </p:cNvPr>
          <p:cNvSpPr txBox="1">
            <a:spLocks/>
          </p:cNvSpPr>
          <p:nvPr/>
        </p:nvSpPr>
        <p:spPr>
          <a:xfrm>
            <a:off x="455062" y="3829555"/>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3</a:t>
            </a:r>
          </a:p>
        </p:txBody>
      </p:sp>
      <p:sp>
        <p:nvSpPr>
          <p:cNvPr id="36" name="Content Placeholder 1">
            <a:extLst>
              <a:ext uri="{FF2B5EF4-FFF2-40B4-BE49-F238E27FC236}">
                <a16:creationId xmlns:a16="http://schemas.microsoft.com/office/drawing/2014/main" id="{204DB6A7-E2DC-AA3D-E581-AA339DD36342}"/>
              </a:ext>
            </a:extLst>
          </p:cNvPr>
          <p:cNvSpPr txBox="1">
            <a:spLocks/>
          </p:cNvSpPr>
          <p:nvPr/>
        </p:nvSpPr>
        <p:spPr>
          <a:xfrm>
            <a:off x="455062" y="4442437"/>
            <a:ext cx="630238"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4</a:t>
            </a:r>
          </a:p>
        </p:txBody>
      </p:sp>
      <p:sp>
        <p:nvSpPr>
          <p:cNvPr id="37" name="Content Placeholder 1">
            <a:extLst>
              <a:ext uri="{FF2B5EF4-FFF2-40B4-BE49-F238E27FC236}">
                <a16:creationId xmlns:a16="http://schemas.microsoft.com/office/drawing/2014/main" id="{26DBADC2-4B76-14EA-99C9-12C38A242436}"/>
              </a:ext>
            </a:extLst>
          </p:cNvPr>
          <p:cNvSpPr txBox="1">
            <a:spLocks/>
          </p:cNvSpPr>
          <p:nvPr/>
        </p:nvSpPr>
        <p:spPr>
          <a:xfrm>
            <a:off x="455062" y="5055319"/>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5</a:t>
            </a:r>
          </a:p>
        </p:txBody>
      </p:sp>
      <p:sp>
        <p:nvSpPr>
          <p:cNvPr id="38" name="Content Placeholder 1">
            <a:extLst>
              <a:ext uri="{FF2B5EF4-FFF2-40B4-BE49-F238E27FC236}">
                <a16:creationId xmlns:a16="http://schemas.microsoft.com/office/drawing/2014/main" id="{FDC03DDD-26FD-DD24-F947-CB586C9EFB29}"/>
              </a:ext>
            </a:extLst>
          </p:cNvPr>
          <p:cNvSpPr txBox="1">
            <a:spLocks/>
          </p:cNvSpPr>
          <p:nvPr/>
        </p:nvSpPr>
        <p:spPr>
          <a:xfrm>
            <a:off x="455062" y="5668201"/>
            <a:ext cx="630238" cy="504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6</a:t>
            </a:r>
          </a:p>
        </p:txBody>
      </p:sp>
      <p:sp>
        <p:nvSpPr>
          <p:cNvPr id="39" name="Content Placeholder 1">
            <a:extLst>
              <a:ext uri="{FF2B5EF4-FFF2-40B4-BE49-F238E27FC236}">
                <a16:creationId xmlns:a16="http://schemas.microsoft.com/office/drawing/2014/main" id="{A60821DC-9E63-C7BD-AA14-946E64DA12AA}"/>
              </a:ext>
            </a:extLst>
          </p:cNvPr>
          <p:cNvSpPr txBox="1">
            <a:spLocks/>
          </p:cNvSpPr>
          <p:nvPr/>
        </p:nvSpPr>
        <p:spPr>
          <a:xfrm>
            <a:off x="455062" y="2531791"/>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1</a:t>
            </a:r>
          </a:p>
        </p:txBody>
      </p:sp>
      <p:cxnSp>
        <p:nvCxnSpPr>
          <p:cNvPr id="40" name="Straight Connector 39">
            <a:extLst>
              <a:ext uri="{FF2B5EF4-FFF2-40B4-BE49-F238E27FC236}">
                <a16:creationId xmlns:a16="http://schemas.microsoft.com/office/drawing/2014/main" id="{AEA46143-65A0-F604-7AFA-8190A092D080}"/>
              </a:ext>
            </a:extLst>
          </p:cNvPr>
          <p:cNvCxnSpPr>
            <a:cxnSpLocks/>
            <a:stCxn id="41" idx="4"/>
            <a:endCxn id="47" idx="3"/>
          </p:cNvCxnSpPr>
          <p:nvPr/>
        </p:nvCxnSpPr>
        <p:spPr>
          <a:xfrm>
            <a:off x="877739" y="2793181"/>
            <a:ext cx="0" cy="3129936"/>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41" name="Oval 40">
            <a:extLst>
              <a:ext uri="{FF2B5EF4-FFF2-40B4-BE49-F238E27FC236}">
                <a16:creationId xmlns:a16="http://schemas.microsoft.com/office/drawing/2014/main" id="{03DE8749-C6D4-08C9-5257-31FFAF66E74C}"/>
              </a:ext>
            </a:extLst>
          </p:cNvPr>
          <p:cNvSpPr/>
          <p:nvPr/>
        </p:nvSpPr>
        <p:spPr>
          <a:xfrm>
            <a:off x="805349" y="2648401"/>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42" name="Isosceles Triangle 41">
            <a:extLst>
              <a:ext uri="{FF2B5EF4-FFF2-40B4-BE49-F238E27FC236}">
                <a16:creationId xmlns:a16="http://schemas.microsoft.com/office/drawing/2014/main" id="{CFB3B2CE-10DB-C325-3DCB-865DCD72D32E}"/>
              </a:ext>
            </a:extLst>
          </p:cNvPr>
          <p:cNvSpPr/>
          <p:nvPr/>
        </p:nvSpPr>
        <p:spPr>
          <a:xfrm flipV="1">
            <a:off x="703908" y="3107459"/>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43" name="Isosceles Triangle 42">
            <a:extLst>
              <a:ext uri="{FF2B5EF4-FFF2-40B4-BE49-F238E27FC236}">
                <a16:creationId xmlns:a16="http://schemas.microsoft.com/office/drawing/2014/main" id="{8D33C578-FD40-5DAA-B6FF-379DD51EC137}"/>
              </a:ext>
            </a:extLst>
          </p:cNvPr>
          <p:cNvSpPr/>
          <p:nvPr/>
        </p:nvSpPr>
        <p:spPr>
          <a:xfrm flipV="1">
            <a:off x="703908" y="5015022"/>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44" name="Isosceles Triangle 43">
            <a:extLst>
              <a:ext uri="{FF2B5EF4-FFF2-40B4-BE49-F238E27FC236}">
                <a16:creationId xmlns:a16="http://schemas.microsoft.com/office/drawing/2014/main" id="{82C87D7B-B0FE-FFE8-F8A9-03FD9DC7F2C5}"/>
              </a:ext>
            </a:extLst>
          </p:cNvPr>
          <p:cNvSpPr/>
          <p:nvPr/>
        </p:nvSpPr>
        <p:spPr>
          <a:xfrm flipV="1">
            <a:off x="703908" y="5631319"/>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45" name="Isosceles Triangle 44">
            <a:extLst>
              <a:ext uri="{FF2B5EF4-FFF2-40B4-BE49-F238E27FC236}">
                <a16:creationId xmlns:a16="http://schemas.microsoft.com/office/drawing/2014/main" id="{FA7526CE-0059-8849-9B87-5C05050F5DDD}"/>
              </a:ext>
            </a:extLst>
          </p:cNvPr>
          <p:cNvSpPr/>
          <p:nvPr/>
        </p:nvSpPr>
        <p:spPr>
          <a:xfrm flipV="1">
            <a:off x="703908" y="4401103"/>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46" name="Isosceles Triangle 45">
            <a:extLst>
              <a:ext uri="{FF2B5EF4-FFF2-40B4-BE49-F238E27FC236}">
                <a16:creationId xmlns:a16="http://schemas.microsoft.com/office/drawing/2014/main" id="{881A65C4-F5CF-91F1-3868-BF33E25C5686}"/>
              </a:ext>
            </a:extLst>
          </p:cNvPr>
          <p:cNvSpPr/>
          <p:nvPr/>
        </p:nvSpPr>
        <p:spPr>
          <a:xfrm flipV="1">
            <a:off x="703908" y="3792673"/>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47" name="Isosceles Triangle 46">
            <a:extLst>
              <a:ext uri="{FF2B5EF4-FFF2-40B4-BE49-F238E27FC236}">
                <a16:creationId xmlns:a16="http://schemas.microsoft.com/office/drawing/2014/main" id="{8954E102-9C1D-455C-0923-C45A01B097F0}"/>
              </a:ext>
            </a:extLst>
          </p:cNvPr>
          <p:cNvSpPr/>
          <p:nvPr/>
        </p:nvSpPr>
        <p:spPr>
          <a:xfrm flipV="1">
            <a:off x="822970" y="5923117"/>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48" name="TextBox 47">
            <a:extLst>
              <a:ext uri="{FF2B5EF4-FFF2-40B4-BE49-F238E27FC236}">
                <a16:creationId xmlns:a16="http://schemas.microsoft.com/office/drawing/2014/main" id="{EBAA83D0-B767-9E96-1B47-C078CEEE614B}"/>
              </a:ext>
            </a:extLst>
          </p:cNvPr>
          <p:cNvSpPr txBox="1"/>
          <p:nvPr/>
        </p:nvSpPr>
        <p:spPr>
          <a:xfrm>
            <a:off x="1311690" y="2532063"/>
            <a:ext cx="4619210" cy="576000"/>
          </a:xfrm>
          <a:prstGeom prst="rect">
            <a:avLst/>
          </a:prstGeom>
          <a:noFill/>
        </p:spPr>
        <p:txBody>
          <a:bodyPr wrap="square" rtlCol="0" anchor="ctr">
            <a:noAutofit/>
          </a:bodyPr>
          <a:lstStyle/>
          <a:p>
            <a:pPr rtl="0">
              <a:spcAft>
                <a:spcPts val="0"/>
              </a:spcAft>
            </a:pPr>
            <a:r>
              <a:rPr lang="en-gb" sz="1400">
                <a:solidFill>
                  <a:schemeClr val="tx1"/>
                </a:solidFill>
              </a:rPr>
              <a:t>If your clothes catch fire, extinguish the flame.</a:t>
            </a:r>
          </a:p>
        </p:txBody>
      </p:sp>
      <p:sp>
        <p:nvSpPr>
          <p:cNvPr id="49" name="TextBox 48">
            <a:extLst>
              <a:ext uri="{FF2B5EF4-FFF2-40B4-BE49-F238E27FC236}">
                <a16:creationId xmlns:a16="http://schemas.microsoft.com/office/drawing/2014/main" id="{61741A74-5C7B-7766-FAC2-162B3E3B5946}"/>
              </a:ext>
            </a:extLst>
          </p:cNvPr>
          <p:cNvSpPr txBox="1"/>
          <p:nvPr/>
        </p:nvSpPr>
        <p:spPr>
          <a:xfrm>
            <a:off x="1311690" y="3144891"/>
            <a:ext cx="4619210" cy="648000"/>
          </a:xfrm>
          <a:prstGeom prst="rect">
            <a:avLst/>
          </a:prstGeom>
          <a:noFill/>
        </p:spPr>
        <p:txBody>
          <a:bodyPr wrap="square" rtlCol="0" anchor="ctr">
            <a:noAutofit/>
          </a:bodyPr>
          <a:lstStyle/>
          <a:p>
            <a:pPr rtl="0">
              <a:spcAft>
                <a:spcPts val="0"/>
              </a:spcAft>
            </a:pPr>
            <a:r>
              <a:rPr lang="en-gb" sz="1400">
                <a:solidFill>
                  <a:schemeClr val="tx1"/>
                </a:solidFill>
              </a:rPr>
              <a:t>Cool the burned area as soon as possible with cool or cold (not ice-cold) water for at least 20 minutes. If possible, pour water between clothing and skin.</a:t>
            </a:r>
          </a:p>
        </p:txBody>
      </p:sp>
      <p:sp>
        <p:nvSpPr>
          <p:cNvPr id="50" name="TextBox 49">
            <a:extLst>
              <a:ext uri="{FF2B5EF4-FFF2-40B4-BE49-F238E27FC236}">
                <a16:creationId xmlns:a16="http://schemas.microsoft.com/office/drawing/2014/main" id="{A0C0290C-4BE9-3776-4546-3DEF56D11991}"/>
              </a:ext>
            </a:extLst>
          </p:cNvPr>
          <p:cNvSpPr txBox="1"/>
          <p:nvPr/>
        </p:nvSpPr>
        <p:spPr>
          <a:xfrm>
            <a:off x="1311690" y="4442547"/>
            <a:ext cx="4619210" cy="576000"/>
          </a:xfrm>
          <a:prstGeom prst="rect">
            <a:avLst/>
          </a:prstGeom>
          <a:noFill/>
        </p:spPr>
        <p:txBody>
          <a:bodyPr wrap="square" rtlCol="0" anchor="ctr">
            <a:noAutofit/>
          </a:bodyPr>
          <a:lstStyle/>
          <a:p>
            <a:pPr rtl="0">
              <a:spcAft>
                <a:spcPts val="0"/>
              </a:spcAft>
            </a:pPr>
            <a:r>
              <a:rPr lang="en-gb" sz="1400">
                <a:solidFill>
                  <a:schemeClr val="tx1"/>
                </a:solidFill>
              </a:rPr>
              <a:t>If the burn is larger than the victim's hand, call an ambulance.</a:t>
            </a:r>
          </a:p>
        </p:txBody>
      </p:sp>
      <p:sp>
        <p:nvSpPr>
          <p:cNvPr id="51" name="TextBox 50">
            <a:extLst>
              <a:ext uri="{FF2B5EF4-FFF2-40B4-BE49-F238E27FC236}">
                <a16:creationId xmlns:a16="http://schemas.microsoft.com/office/drawing/2014/main" id="{BAB0F656-869B-B0AF-322D-5E8BBB041A61}"/>
              </a:ext>
            </a:extLst>
          </p:cNvPr>
          <p:cNvSpPr txBox="1"/>
          <p:nvPr/>
        </p:nvSpPr>
        <p:spPr>
          <a:xfrm>
            <a:off x="1311690" y="5055375"/>
            <a:ext cx="4619210" cy="576000"/>
          </a:xfrm>
          <a:prstGeom prst="rect">
            <a:avLst/>
          </a:prstGeom>
          <a:noFill/>
        </p:spPr>
        <p:txBody>
          <a:bodyPr wrap="square" rtlCol="0" anchor="ctr">
            <a:noAutofit/>
          </a:bodyPr>
          <a:lstStyle/>
          <a:p>
            <a:pPr rtl="0">
              <a:spcAft>
                <a:spcPts val="0"/>
              </a:spcAft>
            </a:pPr>
            <a:r>
              <a:rPr lang="en-gb" sz="1400">
                <a:solidFill>
                  <a:schemeClr val="tx1"/>
                </a:solidFill>
              </a:rPr>
              <a:t>Cover the burn loosely with a gauze pad, cling film or foil blanket.</a:t>
            </a:r>
          </a:p>
        </p:txBody>
      </p:sp>
      <p:sp>
        <p:nvSpPr>
          <p:cNvPr id="52" name="TextBox 51">
            <a:extLst>
              <a:ext uri="{FF2B5EF4-FFF2-40B4-BE49-F238E27FC236}">
                <a16:creationId xmlns:a16="http://schemas.microsoft.com/office/drawing/2014/main" id="{DAED98C7-E0EF-C092-E3F8-D2FBD65700E3}"/>
              </a:ext>
            </a:extLst>
          </p:cNvPr>
          <p:cNvSpPr txBox="1"/>
          <p:nvPr/>
        </p:nvSpPr>
        <p:spPr>
          <a:xfrm>
            <a:off x="1311690" y="3829719"/>
            <a:ext cx="4619210" cy="576000"/>
          </a:xfrm>
          <a:prstGeom prst="rect">
            <a:avLst/>
          </a:prstGeom>
          <a:noFill/>
        </p:spPr>
        <p:txBody>
          <a:bodyPr wrap="square" rtlCol="0" anchor="ctr">
            <a:noAutofit/>
          </a:bodyPr>
          <a:lstStyle/>
          <a:p>
            <a:pPr rtl="0">
              <a:spcAft>
                <a:spcPts val="0"/>
              </a:spcAft>
            </a:pPr>
            <a:r>
              <a:rPr lang="en-gb" sz="1400">
                <a:solidFill>
                  <a:schemeClr val="tx1"/>
                </a:solidFill>
              </a:rPr>
              <a:t>During cooling, carefully remove clothing, shoes and rings from the injured part of the body.</a:t>
            </a:r>
          </a:p>
        </p:txBody>
      </p:sp>
      <p:sp>
        <p:nvSpPr>
          <p:cNvPr id="53" name="TextBox 52">
            <a:extLst>
              <a:ext uri="{FF2B5EF4-FFF2-40B4-BE49-F238E27FC236}">
                <a16:creationId xmlns:a16="http://schemas.microsoft.com/office/drawing/2014/main" id="{18418CB4-C7BA-DDC9-0605-BD3AD04DF988}"/>
              </a:ext>
            </a:extLst>
          </p:cNvPr>
          <p:cNvSpPr txBox="1"/>
          <p:nvPr/>
        </p:nvSpPr>
        <p:spPr>
          <a:xfrm>
            <a:off x="1311690" y="5668201"/>
            <a:ext cx="4619210" cy="504000"/>
          </a:xfrm>
          <a:prstGeom prst="rect">
            <a:avLst/>
          </a:prstGeom>
          <a:noFill/>
        </p:spPr>
        <p:txBody>
          <a:bodyPr wrap="square" rtlCol="0" anchor="ctr">
            <a:noAutofit/>
          </a:bodyPr>
          <a:lstStyle/>
          <a:p>
            <a:pPr rtl="0">
              <a:spcAft>
                <a:spcPts val="0"/>
              </a:spcAft>
            </a:pPr>
            <a:r>
              <a:rPr lang="en-gb" sz="1400">
                <a:solidFill>
                  <a:schemeClr val="tx1"/>
                </a:solidFill>
              </a:rPr>
              <a:t>Care for, reassure the victim.</a:t>
            </a:r>
          </a:p>
        </p:txBody>
      </p:sp>
      <p:cxnSp>
        <p:nvCxnSpPr>
          <p:cNvPr id="54" name="Straight Connector 53">
            <a:extLst>
              <a:ext uri="{FF2B5EF4-FFF2-40B4-BE49-F238E27FC236}">
                <a16:creationId xmlns:a16="http://schemas.microsoft.com/office/drawing/2014/main" id="{4281C6C9-CAE5-FE3D-692E-4632AFDD42D6}"/>
              </a:ext>
            </a:extLst>
          </p:cNvPr>
          <p:cNvCxnSpPr>
            <a:cxnSpLocks/>
          </p:cNvCxnSpPr>
          <p:nvPr/>
        </p:nvCxnSpPr>
        <p:spPr>
          <a:xfrm>
            <a:off x="1311690" y="3122438"/>
            <a:ext cx="4619211" cy="18413"/>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5" name="Straight Connector 54">
            <a:extLst>
              <a:ext uri="{FF2B5EF4-FFF2-40B4-BE49-F238E27FC236}">
                <a16:creationId xmlns:a16="http://schemas.microsoft.com/office/drawing/2014/main" id="{C204DE99-827A-F3C1-EF6A-10E3F0F8DA85}"/>
              </a:ext>
            </a:extLst>
          </p:cNvPr>
          <p:cNvCxnSpPr>
            <a:cxnSpLocks/>
          </p:cNvCxnSpPr>
          <p:nvPr/>
        </p:nvCxnSpPr>
        <p:spPr>
          <a:xfrm>
            <a:off x="1311690" y="3807266"/>
            <a:ext cx="4619211" cy="18413"/>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6" name="Straight Connector 55">
            <a:extLst>
              <a:ext uri="{FF2B5EF4-FFF2-40B4-BE49-F238E27FC236}">
                <a16:creationId xmlns:a16="http://schemas.microsoft.com/office/drawing/2014/main" id="{3747D388-5C9D-8CB8-22C8-4081EA6BC8AE}"/>
              </a:ext>
            </a:extLst>
          </p:cNvPr>
          <p:cNvCxnSpPr>
            <a:cxnSpLocks/>
          </p:cNvCxnSpPr>
          <p:nvPr/>
        </p:nvCxnSpPr>
        <p:spPr>
          <a:xfrm>
            <a:off x="1311690" y="4420094"/>
            <a:ext cx="4619211" cy="18413"/>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7" name="Straight Connector 56">
            <a:extLst>
              <a:ext uri="{FF2B5EF4-FFF2-40B4-BE49-F238E27FC236}">
                <a16:creationId xmlns:a16="http://schemas.microsoft.com/office/drawing/2014/main" id="{3756723B-C315-85E8-1B45-2DA50AA203A1}"/>
              </a:ext>
            </a:extLst>
          </p:cNvPr>
          <p:cNvCxnSpPr>
            <a:cxnSpLocks/>
          </p:cNvCxnSpPr>
          <p:nvPr/>
        </p:nvCxnSpPr>
        <p:spPr>
          <a:xfrm>
            <a:off x="1311690" y="5032922"/>
            <a:ext cx="4619211" cy="18413"/>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8" name="Straight Connector 57">
            <a:extLst>
              <a:ext uri="{FF2B5EF4-FFF2-40B4-BE49-F238E27FC236}">
                <a16:creationId xmlns:a16="http://schemas.microsoft.com/office/drawing/2014/main" id="{BBCE494F-89AF-8E94-59B9-02836329B37E}"/>
              </a:ext>
            </a:extLst>
          </p:cNvPr>
          <p:cNvCxnSpPr>
            <a:cxnSpLocks/>
          </p:cNvCxnSpPr>
          <p:nvPr/>
        </p:nvCxnSpPr>
        <p:spPr>
          <a:xfrm>
            <a:off x="1311690" y="5645750"/>
            <a:ext cx="4619211" cy="18413"/>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2" name="Rectangle 1">
            <a:extLst>
              <a:ext uri="{FF2B5EF4-FFF2-40B4-BE49-F238E27FC236}">
                <a16:creationId xmlns:a16="http://schemas.microsoft.com/office/drawing/2014/main" id="{D7DBFC3E-020C-9EFD-28EB-4631D3580F32}"/>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14" name="Group 13">
            <a:extLst>
              <a:ext uri="{FF2B5EF4-FFF2-40B4-BE49-F238E27FC236}">
                <a16:creationId xmlns:a16="http://schemas.microsoft.com/office/drawing/2014/main" id="{492BA703-F18E-E0E9-9E22-990B6A6F639C}"/>
              </a:ext>
            </a:extLst>
          </p:cNvPr>
          <p:cNvGrpSpPr/>
          <p:nvPr/>
        </p:nvGrpSpPr>
        <p:grpSpPr>
          <a:xfrm>
            <a:off x="9842140" y="372216"/>
            <a:ext cx="1667215" cy="217488"/>
            <a:chOff x="9842140" y="372216"/>
            <a:chExt cx="1667215" cy="217488"/>
          </a:xfrm>
        </p:grpSpPr>
        <p:sp>
          <p:nvSpPr>
            <p:cNvPr id="15" name="TextBox 14">
              <a:extLst>
                <a:ext uri="{FF2B5EF4-FFF2-40B4-BE49-F238E27FC236}">
                  <a16:creationId xmlns:a16="http://schemas.microsoft.com/office/drawing/2014/main" id="{1ADD53FC-C3E5-510D-B989-D67EA029071B}"/>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rtl="0">
                <a:lnSpc>
                  <a:spcPct val="100000"/>
                </a:lnSpc>
                <a:spcAft>
                  <a:spcPts val="600"/>
                </a:spcAft>
                <a:buSzPct val="100000"/>
              </a:pPr>
              <a:r>
                <a:rPr lang="en-gb" sz="800">
                  <a:solidFill>
                    <a:schemeClr val="bg1"/>
                  </a:solidFill>
                </a:rPr>
                <a:t>Thermal damage</a:t>
              </a:r>
            </a:p>
          </p:txBody>
        </p:sp>
        <p:sp>
          <p:nvSpPr>
            <p:cNvPr id="16" name="Freeform 49">
              <a:extLst>
                <a:ext uri="{FF2B5EF4-FFF2-40B4-BE49-F238E27FC236}">
                  <a16:creationId xmlns:a16="http://schemas.microsoft.com/office/drawing/2014/main" id="{1AFD52EE-E601-C14A-822A-FABB12B8A6B9}"/>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p>
          </p:txBody>
        </p:sp>
      </p:grpSp>
      <p:grpSp>
        <p:nvGrpSpPr>
          <p:cNvPr id="13" name="Group 12">
            <a:extLst>
              <a:ext uri="{FF2B5EF4-FFF2-40B4-BE49-F238E27FC236}">
                <a16:creationId xmlns:a16="http://schemas.microsoft.com/office/drawing/2014/main" id="{3AF1940E-1BD7-00C5-86AA-AF152D8A4BFE}"/>
              </a:ext>
            </a:extLst>
          </p:cNvPr>
          <p:cNvGrpSpPr/>
          <p:nvPr/>
        </p:nvGrpSpPr>
        <p:grpSpPr>
          <a:xfrm>
            <a:off x="9122935" y="126781"/>
            <a:ext cx="2626153" cy="217488"/>
            <a:chOff x="9122935" y="126781"/>
            <a:chExt cx="2626153" cy="217488"/>
          </a:xfrm>
        </p:grpSpPr>
        <p:sp>
          <p:nvSpPr>
            <p:cNvPr id="17" name="Rectangle 16">
              <a:extLst>
                <a:ext uri="{FF2B5EF4-FFF2-40B4-BE49-F238E27FC236}">
                  <a16:creationId xmlns:a16="http://schemas.microsoft.com/office/drawing/2014/main" id="{18BCCD71-17D7-53CA-6E4B-B1B2BD886E26}"/>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000000"/>
                  </a:solidFill>
                  <a:effectLst/>
                  <a:uLnTx/>
                  <a:uFillTx/>
                  <a:ea typeface="Georgia"/>
                  <a:cs typeface="Georgia"/>
                  <a:sym typeface="Georgia"/>
                </a:rPr>
                <a:t>First aid measures</a:t>
              </a:r>
            </a:p>
          </p:txBody>
        </p:sp>
        <p:sp>
          <p:nvSpPr>
            <p:cNvPr id="18" name="Rectangle 17">
              <a:extLst>
                <a:ext uri="{FF2B5EF4-FFF2-40B4-BE49-F238E27FC236}">
                  <a16:creationId xmlns:a16="http://schemas.microsoft.com/office/drawing/2014/main" id="{3D062579-4045-835E-F7F1-D66AD090002E}"/>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B9803F70-1BB6-43EF-370C-42AB87319850}"/>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0" name="Rectangle 29">
              <a:extLst>
                <a:ext uri="{FF2B5EF4-FFF2-40B4-BE49-F238E27FC236}">
                  <a16:creationId xmlns:a16="http://schemas.microsoft.com/office/drawing/2014/main" id="{9A4EA780-F963-D72E-14B8-0F2877B7F488}"/>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6BEBA8D5-24BB-0A09-A5BA-5938C943A15E}"/>
                </a:ext>
              </a:extLst>
            </p:cNvPr>
            <p:cNvSpPr/>
            <p:nvPr/>
          </p:nvSpPr>
          <p:spPr>
            <a:xfrm>
              <a:off x="9842140"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7</a:t>
              </a:r>
              <a:r>
                <a:rPr lang="en-gb" sz="800" b="1" i="0" u="none" strike="noStrike" kern="0" cap="none" spc="0" normalizeH="0" noProof="0">
                  <a:ln>
                    <a:noFill/>
                  </a:ln>
                  <a:effectLst/>
                  <a:uLnTx/>
                  <a:uFillTx/>
                  <a:ea typeface="Georgia"/>
                  <a:cs typeface="Georgia"/>
                  <a:sym typeface="Georgia"/>
                </a:rPr>
                <a:t>.4</a:t>
              </a:r>
              <a:endParaRPr kumimoji="0" lang="lv-LV" sz="800" b="1" i="0" u="none" strike="noStrike" kern="0" cap="none" spc="0" normalizeH="0" baseline="0" noProof="0" dirty="0">
                <a:ln>
                  <a:noFill/>
                </a:ln>
                <a:effectLst/>
                <a:uLnTx/>
                <a:uFillTx/>
                <a:ea typeface="Georgia"/>
                <a:cs typeface="Georgia"/>
                <a:sym typeface="Georgia"/>
              </a:endParaRPr>
            </a:p>
          </p:txBody>
        </p:sp>
        <p:sp>
          <p:nvSpPr>
            <p:cNvPr id="32" name="Rectangle 31">
              <a:extLst>
                <a:ext uri="{FF2B5EF4-FFF2-40B4-BE49-F238E27FC236}">
                  <a16:creationId xmlns:a16="http://schemas.microsoft.com/office/drawing/2014/main" id="{D558D00A-70FE-1698-DDC5-DF43C6633F43}"/>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42736395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6CB3FF0-42B4-2144-B8DF-5D9275EFE50B}"/>
              </a:ext>
            </a:extLst>
          </p:cNvPr>
          <p:cNvGraphicFramePr>
            <a:graphicFrameLocks noChangeAspect="1"/>
          </p:cNvGraphicFramePr>
          <p:nvPr>
            <p:custDataLst>
              <p:tags r:id="rId1"/>
            </p:custDataLst>
            <p:extLst>
              <p:ext uri="{D42A27DB-BD31-4B8C-83A1-F6EECF244321}">
                <p14:modId xmlns:p14="http://schemas.microsoft.com/office/powerpoint/2010/main" val="4209475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86CB3FF0-42B4-2144-B8DF-5D9275EFE5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F17E280A-26FF-1631-ADC9-96AE3A637C2C}"/>
              </a:ext>
            </a:extLst>
          </p:cNvPr>
          <p:cNvSpPr/>
          <p:nvPr/>
        </p:nvSpPr>
        <p:spPr>
          <a:xfrm>
            <a:off x="442914" y="2630366"/>
            <a:ext cx="2208847" cy="1659851"/>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rtl="0">
              <a:lnSpc>
                <a:spcPct val="100000"/>
              </a:lnSpc>
            </a:pPr>
            <a:r>
              <a:rPr lang="lv-LV" sz="1400" b="1" dirty="0" err="1"/>
              <a:t>On</a:t>
            </a:r>
            <a:r>
              <a:rPr lang="lv-LV" sz="1400" b="1" dirty="0"/>
              <a:t> skin</a:t>
            </a:r>
            <a:endParaRPr lang="en-GB" sz="1400" b="1" dirty="0"/>
          </a:p>
        </p:txBody>
      </p:sp>
      <p:sp>
        <p:nvSpPr>
          <p:cNvPr id="13" name="Rectangle 12">
            <a:extLst>
              <a:ext uri="{FF2B5EF4-FFF2-40B4-BE49-F238E27FC236}">
                <a16:creationId xmlns:a16="http://schemas.microsoft.com/office/drawing/2014/main" id="{318FD8EE-145C-CF57-FA8A-2208CA63BD22}"/>
              </a:ext>
            </a:extLst>
          </p:cNvPr>
          <p:cNvSpPr/>
          <p:nvPr/>
        </p:nvSpPr>
        <p:spPr>
          <a:xfrm>
            <a:off x="442914" y="4513587"/>
            <a:ext cx="2208847" cy="1658613"/>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rtl="0">
              <a:lnSpc>
                <a:spcPct val="100000"/>
              </a:lnSpc>
            </a:pPr>
            <a:r>
              <a:rPr lang="lv-LV" sz="1400" b="1" dirty="0" err="1"/>
              <a:t>In</a:t>
            </a:r>
            <a:r>
              <a:rPr lang="lv-LV" sz="1400" b="1" dirty="0"/>
              <a:t> </a:t>
            </a:r>
            <a:r>
              <a:rPr lang="lv-LV" sz="1400" b="1" dirty="0" err="1"/>
              <a:t>the</a:t>
            </a:r>
            <a:r>
              <a:rPr lang="lv-LV" sz="1400" b="1" dirty="0"/>
              <a:t> </a:t>
            </a:r>
            <a:r>
              <a:rPr lang="lv-LV" sz="1400" b="1" dirty="0" err="1"/>
              <a:t>eye</a:t>
            </a:r>
            <a:endParaRPr lang="en-GB" sz="1400" b="1" dirty="0"/>
          </a:p>
        </p:txBody>
      </p:sp>
      <p:sp>
        <p:nvSpPr>
          <p:cNvPr id="36" name="Rectangle 35">
            <a:extLst>
              <a:ext uri="{FF2B5EF4-FFF2-40B4-BE49-F238E27FC236}">
                <a16:creationId xmlns:a16="http://schemas.microsoft.com/office/drawing/2014/main" id="{A13A384A-4773-8E59-A5BC-38C350A535AD}"/>
              </a:ext>
            </a:extLst>
          </p:cNvPr>
          <p:cNvSpPr/>
          <p:nvPr/>
        </p:nvSpPr>
        <p:spPr>
          <a:xfrm>
            <a:off x="2651760" y="4513262"/>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400" b="1"/>
          </a:p>
        </p:txBody>
      </p:sp>
      <p:sp>
        <p:nvSpPr>
          <p:cNvPr id="35" name="Rectangle 34">
            <a:extLst>
              <a:ext uri="{FF2B5EF4-FFF2-40B4-BE49-F238E27FC236}">
                <a16:creationId xmlns:a16="http://schemas.microsoft.com/office/drawing/2014/main" id="{D0FFCE22-3355-23A5-C05B-A47142787789}"/>
              </a:ext>
            </a:extLst>
          </p:cNvPr>
          <p:cNvSpPr/>
          <p:nvPr/>
        </p:nvSpPr>
        <p:spPr>
          <a:xfrm>
            <a:off x="2651760" y="2631279"/>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400" b="1"/>
          </a:p>
        </p:txBody>
      </p:sp>
      <p:sp>
        <p:nvSpPr>
          <p:cNvPr id="40" name="Rectangle 39">
            <a:extLst>
              <a:ext uri="{FF2B5EF4-FFF2-40B4-BE49-F238E27FC236}">
                <a16:creationId xmlns:a16="http://schemas.microsoft.com/office/drawing/2014/main" id="{A0A100B2-7EFA-1260-2F90-7D239569594F}"/>
              </a:ext>
            </a:extLst>
          </p:cNvPr>
          <p:cNvSpPr/>
          <p:nvPr/>
        </p:nvSpPr>
        <p:spPr>
          <a:xfrm>
            <a:off x="7396160" y="2418715"/>
            <a:ext cx="4352925" cy="375348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endParaRPr lang="lv-LV" sz="1400" b="1">
              <a:solidFill>
                <a:schemeClr val="tx1"/>
              </a:solidFill>
            </a:endParaRPr>
          </a:p>
        </p:txBody>
      </p:sp>
      <p:sp>
        <p:nvSpPr>
          <p:cNvPr id="27" name="Rectangle 26">
            <a:extLst>
              <a:ext uri="{FF2B5EF4-FFF2-40B4-BE49-F238E27FC236}">
                <a16:creationId xmlns:a16="http://schemas.microsoft.com/office/drawing/2014/main" id="{7534A09C-F780-703E-D29D-E15D964028ED}"/>
              </a:ext>
            </a:extLst>
          </p:cNvPr>
          <p:cNvSpPr/>
          <p:nvPr/>
        </p:nvSpPr>
        <p:spPr>
          <a:xfrm>
            <a:off x="7396160" y="1830995"/>
            <a:ext cx="435292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bg1"/>
                </a:solidFill>
              </a:rPr>
              <a:t>Important!</a:t>
            </a:r>
          </a:p>
        </p:txBody>
      </p:sp>
      <p:sp>
        <p:nvSpPr>
          <p:cNvPr id="30" name="Content Placeholder 1">
            <a:extLst>
              <a:ext uri="{FF2B5EF4-FFF2-40B4-BE49-F238E27FC236}">
                <a16:creationId xmlns:a16="http://schemas.microsoft.com/office/drawing/2014/main" id="{49150277-B275-65B3-4400-351CC3893360}"/>
              </a:ext>
            </a:extLst>
          </p:cNvPr>
          <p:cNvSpPr txBox="1">
            <a:spLocks/>
          </p:cNvSpPr>
          <p:nvPr/>
        </p:nvSpPr>
        <p:spPr>
          <a:xfrm>
            <a:off x="11173087" y="18309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31" name="Content Placeholder 1">
            <a:extLst>
              <a:ext uri="{FF2B5EF4-FFF2-40B4-BE49-F238E27FC236}">
                <a16:creationId xmlns:a16="http://schemas.microsoft.com/office/drawing/2014/main" id="{4DB1E4EC-FA2B-5BDF-CD75-83FF77AC514E}"/>
              </a:ext>
            </a:extLst>
          </p:cNvPr>
          <p:cNvSpPr txBox="1">
            <a:spLocks/>
          </p:cNvSpPr>
          <p:nvPr/>
        </p:nvSpPr>
        <p:spPr>
          <a:xfrm>
            <a:off x="11101699" y="18309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33" name="Google Shape;794;p79">
            <a:extLst>
              <a:ext uri="{FF2B5EF4-FFF2-40B4-BE49-F238E27FC236}">
                <a16:creationId xmlns:a16="http://schemas.microsoft.com/office/drawing/2014/main" id="{17411BF9-B1C6-CBA6-B71F-2D85B6DD58F7}"/>
              </a:ext>
            </a:extLst>
          </p:cNvPr>
          <p:cNvSpPr/>
          <p:nvPr/>
        </p:nvSpPr>
        <p:spPr>
          <a:xfrm>
            <a:off x="11281087" y="19389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334912" y="424387"/>
            <a:ext cx="11306175" cy="1387274"/>
          </a:xfrm>
        </p:spPr>
        <p:txBody>
          <a:bodyPr vert="horz" rtlCol="0"/>
          <a:lstStyle/>
          <a:p>
            <a:pPr rtl="0"/>
            <a:r>
              <a:rPr lang="en-gb" dirty="0"/>
              <a:t>What to do in case of accidents caused by chemicals?</a:t>
            </a:r>
            <a:endParaRPr lang="en-GB" dirty="0"/>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rtlCol="0"/>
          <a:lstStyle/>
          <a:p>
            <a:pPr rtl="0"/>
            <a:fld id="{7870704B-CE94-48CC-AF30-84932A1262A7}" type="slidenum">
              <a:rPr lang="en-GB" smtClean="0"/>
              <a:pPr rtl="0"/>
              <a:t>26</a:t>
            </a:fld>
            <a:endParaRPr lang="en-GB"/>
          </a:p>
        </p:txBody>
      </p:sp>
      <p:sp>
        <p:nvSpPr>
          <p:cNvPr id="22" name="TextBox 21">
            <a:extLst>
              <a:ext uri="{FF2B5EF4-FFF2-40B4-BE49-F238E27FC236}">
                <a16:creationId xmlns:a16="http://schemas.microsoft.com/office/drawing/2014/main" id="{044C1CE5-09D8-63ED-7E23-4A59A70CC41B}"/>
              </a:ext>
            </a:extLst>
          </p:cNvPr>
          <p:cNvSpPr txBox="1"/>
          <p:nvPr/>
        </p:nvSpPr>
        <p:spPr>
          <a:xfrm>
            <a:off x="7396160" y="4513262"/>
            <a:ext cx="4352925" cy="1658938"/>
          </a:xfrm>
          <a:prstGeom prst="rect">
            <a:avLst/>
          </a:prstGeom>
          <a:noFill/>
        </p:spPr>
        <p:txBody>
          <a:bodyPr wrap="square" rtlCol="0" anchor="ctr">
            <a:noAutofit/>
          </a:bodyPr>
          <a:lstStyle/>
          <a:p>
            <a:pPr marL="285750" lvl="0" indent="-285750" rtl="0" hangingPunct="0">
              <a:spcAft>
                <a:spcPts val="200"/>
              </a:spcAft>
              <a:buSzPct val="100000"/>
              <a:buBlip>
                <a:blip r:embed="rId6"/>
              </a:buBlip>
            </a:pPr>
            <a:r>
              <a:rPr lang="en-gb" sz="1400">
                <a:effectLst/>
                <a:ea typeface="Calibri" panose="020F0502020204030204" pitchFamily="34" charset="0"/>
                <a:cs typeface="Times New Roman" panose="02020603050405020304" pitchFamily="18" charset="0"/>
              </a:rPr>
              <a:t>Rinse so that water does not run onto the healthy eye.</a:t>
            </a:r>
            <a:endParaRPr lang="en-GB" sz="1400">
              <a:effectLst/>
              <a:ea typeface="Calibri" panose="020F0502020204030204" pitchFamily="34" charset="0"/>
              <a:cs typeface="Times New Roman" panose="02020603050405020304" pitchFamily="18" charset="0"/>
            </a:endParaRPr>
          </a:p>
          <a:p>
            <a:pPr marL="285750" lvl="0" indent="-285750" rtl="0" hangingPunct="0">
              <a:spcAft>
                <a:spcPts val="200"/>
              </a:spcAft>
              <a:buSzPct val="100000"/>
              <a:buBlip>
                <a:blip r:embed="rId6"/>
              </a:buBlip>
            </a:pPr>
            <a:r>
              <a:rPr lang="en-gb" sz="1400">
                <a:effectLst/>
                <a:ea typeface="Calibri" panose="020F0502020204030204" pitchFamily="34" charset="0"/>
                <a:cs typeface="Times New Roman" panose="02020603050405020304" pitchFamily="18" charset="0"/>
              </a:rPr>
              <a:t>Keep the injured eye open when flushing.</a:t>
            </a:r>
            <a:endParaRPr lang="en-GB" sz="1400">
              <a:effectLst/>
              <a:ea typeface="Calibri" panose="020F0502020204030204" pitchFamily="34" charset="0"/>
              <a:cs typeface="Times New Roman" panose="02020603050405020304" pitchFamily="18" charset="0"/>
            </a:endParaRPr>
          </a:p>
          <a:p>
            <a:pPr marL="285750" lvl="0" indent="-285750" rtl="0" hangingPunct="0">
              <a:spcAft>
                <a:spcPts val="200"/>
              </a:spcAft>
              <a:buSzPct val="100000"/>
              <a:buBlip>
                <a:blip r:embed="rId6"/>
              </a:buBlip>
            </a:pPr>
            <a:r>
              <a:rPr lang="en-gb" sz="1400">
                <a:effectLst/>
                <a:ea typeface="Calibri" panose="020F0502020204030204" pitchFamily="34" charset="0"/>
                <a:cs typeface="Times New Roman" panose="02020603050405020304" pitchFamily="18" charset="0"/>
              </a:rPr>
              <a:t>If the victim wears contact lenses, they should be removed when rinsing the eye.</a:t>
            </a:r>
            <a:endParaRPr lang="en-GB" sz="1400">
              <a:effectLst/>
              <a:ea typeface="Calibri" panose="020F0502020204030204" pitchFamily="34" charset="0"/>
              <a:cs typeface="Times New Roman" panose="02020603050405020304" pitchFamily="18" charset="0"/>
            </a:endParaRPr>
          </a:p>
          <a:p>
            <a:pPr marL="285750" lvl="0" indent="-285750" rtl="0" hangingPunct="0">
              <a:spcAft>
                <a:spcPts val="200"/>
              </a:spcAft>
              <a:buSzPct val="100000"/>
              <a:buBlip>
                <a:blip r:embed="rId6"/>
              </a:buBlip>
            </a:pPr>
            <a:r>
              <a:rPr lang="en-gb" sz="1400">
                <a:effectLst/>
                <a:ea typeface="Calibri" panose="020F0502020204030204" pitchFamily="34" charset="0"/>
                <a:cs typeface="Times New Roman" panose="02020603050405020304" pitchFamily="18" charset="0"/>
              </a:rPr>
              <a:t>It is recommended to apply a bandage to both eyes after flushing.</a:t>
            </a:r>
            <a:endParaRPr lang="en-GB" sz="1400">
              <a:effectLst/>
              <a:ea typeface="Calibri" panose="020F0502020204030204" pitchFamily="34" charset="0"/>
              <a:cs typeface="Times New Roman" panose="02020603050405020304" pitchFamily="18" charset="0"/>
            </a:endParaRPr>
          </a:p>
        </p:txBody>
      </p:sp>
      <p:sp>
        <p:nvSpPr>
          <p:cNvPr id="39" name="Rectangle 38">
            <a:extLst>
              <a:ext uri="{FF2B5EF4-FFF2-40B4-BE49-F238E27FC236}">
                <a16:creationId xmlns:a16="http://schemas.microsoft.com/office/drawing/2014/main" id="{B1C2BD6E-F200-2036-F362-0FBDE1CE31EC}"/>
              </a:ext>
            </a:extLst>
          </p:cNvPr>
          <p:cNvSpPr/>
          <p:nvPr/>
        </p:nvSpPr>
        <p:spPr>
          <a:xfrm>
            <a:off x="2847530" y="2418715"/>
            <a:ext cx="4352861" cy="375348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endParaRPr lang="lv-LV" sz="1400" b="1">
              <a:solidFill>
                <a:schemeClr val="tx1"/>
              </a:solidFill>
            </a:endParaRPr>
          </a:p>
        </p:txBody>
      </p:sp>
      <p:sp>
        <p:nvSpPr>
          <p:cNvPr id="26" name="Rectangle 25">
            <a:extLst>
              <a:ext uri="{FF2B5EF4-FFF2-40B4-BE49-F238E27FC236}">
                <a16:creationId xmlns:a16="http://schemas.microsoft.com/office/drawing/2014/main" id="{F4BD1622-7D50-0F82-F4EA-9B149E2C9337}"/>
              </a:ext>
            </a:extLst>
          </p:cNvPr>
          <p:cNvSpPr/>
          <p:nvPr/>
        </p:nvSpPr>
        <p:spPr>
          <a:xfrm>
            <a:off x="2847530" y="1830995"/>
            <a:ext cx="435286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tx1"/>
                </a:solidFill>
              </a:rPr>
              <a:t>How to proceed?</a:t>
            </a:r>
          </a:p>
        </p:txBody>
      </p:sp>
      <p:sp>
        <p:nvSpPr>
          <p:cNvPr id="28" name="Content Placeholder 1">
            <a:extLst>
              <a:ext uri="{FF2B5EF4-FFF2-40B4-BE49-F238E27FC236}">
                <a16:creationId xmlns:a16="http://schemas.microsoft.com/office/drawing/2014/main" id="{940F388E-486C-4144-FC48-8EC3F5EB8934}"/>
              </a:ext>
            </a:extLst>
          </p:cNvPr>
          <p:cNvSpPr txBox="1">
            <a:spLocks/>
          </p:cNvSpPr>
          <p:nvPr/>
        </p:nvSpPr>
        <p:spPr>
          <a:xfrm>
            <a:off x="6624391" y="183099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29" name="Content Placeholder 1">
            <a:extLst>
              <a:ext uri="{FF2B5EF4-FFF2-40B4-BE49-F238E27FC236}">
                <a16:creationId xmlns:a16="http://schemas.microsoft.com/office/drawing/2014/main" id="{956EC9FA-D79D-EBB6-415B-5CDF58A619D3}"/>
              </a:ext>
            </a:extLst>
          </p:cNvPr>
          <p:cNvSpPr txBox="1">
            <a:spLocks/>
          </p:cNvSpPr>
          <p:nvPr/>
        </p:nvSpPr>
        <p:spPr>
          <a:xfrm>
            <a:off x="6553003" y="183099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32" name="Google Shape;760;p79">
            <a:extLst>
              <a:ext uri="{FF2B5EF4-FFF2-40B4-BE49-F238E27FC236}">
                <a16:creationId xmlns:a16="http://schemas.microsoft.com/office/drawing/2014/main" id="{D158687D-E8E5-64E9-B572-2CDA9BEEEC9E}"/>
              </a:ext>
            </a:extLst>
          </p:cNvPr>
          <p:cNvSpPr/>
          <p:nvPr/>
        </p:nvSpPr>
        <p:spPr>
          <a:xfrm>
            <a:off x="6732391" y="1938995"/>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0" name="TextBox 19">
            <a:extLst>
              <a:ext uri="{FF2B5EF4-FFF2-40B4-BE49-F238E27FC236}">
                <a16:creationId xmlns:a16="http://schemas.microsoft.com/office/drawing/2014/main" id="{BCB0856A-D775-E9B2-A22B-A661D9F8D43C}"/>
              </a:ext>
            </a:extLst>
          </p:cNvPr>
          <p:cNvSpPr txBox="1"/>
          <p:nvPr/>
        </p:nvSpPr>
        <p:spPr>
          <a:xfrm>
            <a:off x="2847530" y="4513262"/>
            <a:ext cx="4352861" cy="1658938"/>
          </a:xfrm>
          <a:prstGeom prst="rect">
            <a:avLst/>
          </a:prstGeom>
          <a:noFill/>
        </p:spPr>
        <p:txBody>
          <a:bodyPr wrap="square" rtlCol="0" anchor="ctr">
            <a:noAutofit/>
          </a:bodyPr>
          <a:lstStyle/>
          <a:p>
            <a:pPr marL="285750" lvl="0" indent="-285750" rtl="0" hangingPunct="0">
              <a:spcAft>
                <a:spcPts val="200"/>
              </a:spcAft>
              <a:buSzPct val="100000"/>
              <a:buBlip>
                <a:blip r:embed="rId6"/>
              </a:buBlip>
              <a:tabLst>
                <a:tab pos="457200" algn="l"/>
              </a:tabLst>
            </a:pPr>
            <a:r>
              <a:rPr lang="en-gb" sz="1400">
                <a:effectLst/>
                <a:ea typeface="Times New Roman" panose="02020603050405020304" pitchFamily="18" charset="0"/>
              </a:rPr>
              <a:t>Flush the injured eye with plenty of cool, running water for 20 minutes.</a:t>
            </a:r>
            <a:endParaRPr lang="en-GB" sz="1400">
              <a:effectLst/>
              <a:ea typeface="Times New Roman" panose="02020603050405020304" pitchFamily="18" charset="0"/>
            </a:endParaRPr>
          </a:p>
          <a:p>
            <a:pPr marL="285750" lvl="0" indent="-285750" rtl="0" hangingPunct="0">
              <a:spcAft>
                <a:spcPts val="200"/>
              </a:spcAft>
              <a:buSzPct val="100000"/>
              <a:buBlip>
                <a:blip r:embed="rId6"/>
              </a:buBlip>
              <a:tabLst>
                <a:tab pos="457200" algn="l"/>
              </a:tabLst>
            </a:pPr>
            <a:r>
              <a:rPr lang="en-gb" sz="1400">
                <a:effectLst/>
                <a:ea typeface="Times New Roman" panose="02020603050405020304" pitchFamily="18" charset="0"/>
              </a:rPr>
              <a:t>Call an ambulance.</a:t>
            </a:r>
            <a:endParaRPr lang="en-GB" sz="1400">
              <a:effectLst/>
              <a:ea typeface="Times New Roman" panose="02020603050405020304" pitchFamily="18" charset="0"/>
            </a:endParaRPr>
          </a:p>
          <a:p>
            <a:pPr marL="285750" lvl="0" indent="-285750" rtl="0" hangingPunct="0">
              <a:spcAft>
                <a:spcPts val="200"/>
              </a:spcAft>
              <a:buSzPct val="100000"/>
              <a:buBlip>
                <a:blip r:embed="rId6"/>
              </a:buBlip>
              <a:tabLst>
                <a:tab pos="457200" algn="l"/>
              </a:tabLst>
            </a:pPr>
            <a:r>
              <a:rPr lang="en-gb" sz="1400">
                <a:effectLst/>
                <a:ea typeface="Times New Roman" panose="02020603050405020304" pitchFamily="18" charset="0"/>
              </a:rPr>
              <a:t>Care for, reassure the victim.</a:t>
            </a:r>
            <a:endParaRPr lang="en-GB" sz="1400">
              <a:effectLst/>
              <a:ea typeface="Times New Roman" panose="02020603050405020304" pitchFamily="18" charset="0"/>
            </a:endParaRPr>
          </a:p>
        </p:txBody>
      </p:sp>
      <p:sp>
        <p:nvSpPr>
          <p:cNvPr id="16" name="TextBox 15">
            <a:extLst>
              <a:ext uri="{FF2B5EF4-FFF2-40B4-BE49-F238E27FC236}">
                <a16:creationId xmlns:a16="http://schemas.microsoft.com/office/drawing/2014/main" id="{30819613-CE74-49B6-0807-44FDBB81D466}"/>
              </a:ext>
            </a:extLst>
          </p:cNvPr>
          <p:cNvSpPr txBox="1"/>
          <p:nvPr/>
        </p:nvSpPr>
        <p:spPr>
          <a:xfrm>
            <a:off x="2847530" y="2631279"/>
            <a:ext cx="4352861" cy="1658938"/>
          </a:xfrm>
          <a:prstGeom prst="rect">
            <a:avLst/>
          </a:prstGeom>
          <a:noFill/>
        </p:spPr>
        <p:txBody>
          <a:bodyPr wrap="square" rtlCol="0" anchor="ctr">
            <a:noAutofit/>
          </a:bodyPr>
          <a:lstStyle/>
          <a:p>
            <a:pPr marL="285750" lvl="0" indent="-285750" rtl="0" hangingPunct="0">
              <a:spcAft>
                <a:spcPts val="200"/>
              </a:spcAft>
              <a:buSzPct val="100000"/>
              <a:buBlip>
                <a:blip r:embed="rId6"/>
              </a:buBlip>
              <a:tabLst>
                <a:tab pos="457200" algn="l"/>
              </a:tabLst>
            </a:pPr>
            <a:r>
              <a:rPr lang="en-gb" sz="1400">
                <a:effectLst/>
                <a:ea typeface="Times New Roman" panose="02020603050405020304" pitchFamily="18" charset="0"/>
              </a:rPr>
              <a:t>Remove clothing contaminated with chemicals.</a:t>
            </a:r>
            <a:endParaRPr lang="en-GB" sz="1400">
              <a:effectLst/>
              <a:ea typeface="Times New Roman" panose="02020603050405020304" pitchFamily="18" charset="0"/>
            </a:endParaRPr>
          </a:p>
          <a:p>
            <a:pPr marL="285750" lvl="0" indent="-285750" rtl="0" hangingPunct="0">
              <a:spcAft>
                <a:spcPts val="200"/>
              </a:spcAft>
              <a:buSzPct val="100000"/>
              <a:buBlip>
                <a:blip r:embed="rId6"/>
              </a:buBlip>
              <a:tabLst>
                <a:tab pos="457200" algn="l"/>
              </a:tabLst>
            </a:pPr>
            <a:r>
              <a:rPr lang="en-gb" sz="1400">
                <a:effectLst/>
                <a:ea typeface="Times New Roman" panose="02020603050405020304" pitchFamily="18" charset="0"/>
              </a:rPr>
              <a:t>Rinse the affected area with plenty of cool, running water for 20 minutes.</a:t>
            </a:r>
            <a:endParaRPr lang="en-GB" sz="1400">
              <a:effectLst/>
              <a:ea typeface="Times New Roman" panose="02020603050405020304" pitchFamily="18" charset="0"/>
            </a:endParaRPr>
          </a:p>
          <a:p>
            <a:pPr marL="285750" lvl="0" indent="-285750" rtl="0" hangingPunct="0">
              <a:spcAft>
                <a:spcPts val="200"/>
              </a:spcAft>
              <a:buSzPct val="100000"/>
              <a:buBlip>
                <a:blip r:embed="rId6"/>
              </a:buBlip>
              <a:tabLst>
                <a:tab pos="457200" algn="l"/>
              </a:tabLst>
            </a:pPr>
            <a:r>
              <a:rPr lang="en-gb" sz="1400">
                <a:effectLst/>
                <a:ea typeface="Times New Roman" panose="02020603050405020304" pitchFamily="18" charset="0"/>
              </a:rPr>
              <a:t>Call an ambulance.</a:t>
            </a:r>
            <a:endParaRPr lang="en-GB" sz="1400">
              <a:effectLst/>
              <a:ea typeface="Times New Roman" panose="02020603050405020304" pitchFamily="18" charset="0"/>
            </a:endParaRPr>
          </a:p>
          <a:p>
            <a:pPr marL="285750" lvl="0" indent="-285750" rtl="0" hangingPunct="0">
              <a:spcAft>
                <a:spcPts val="200"/>
              </a:spcAft>
              <a:buSzPct val="100000"/>
              <a:buBlip>
                <a:blip r:embed="rId6"/>
              </a:buBlip>
              <a:tabLst>
                <a:tab pos="457200" algn="l"/>
              </a:tabLst>
            </a:pPr>
            <a:r>
              <a:rPr lang="en-gb" sz="1400">
                <a:effectLst/>
                <a:ea typeface="Times New Roman" panose="02020603050405020304" pitchFamily="18" charset="0"/>
              </a:rPr>
              <a:t>Care for, reassure the victim.</a:t>
            </a:r>
            <a:endParaRPr lang="en-GB" sz="1400">
              <a:effectLst/>
              <a:ea typeface="Times New Roman" panose="02020603050405020304" pitchFamily="18" charset="0"/>
            </a:endParaRPr>
          </a:p>
        </p:txBody>
      </p:sp>
      <p:sp>
        <p:nvSpPr>
          <p:cNvPr id="18" name="TextBox 17">
            <a:extLst>
              <a:ext uri="{FF2B5EF4-FFF2-40B4-BE49-F238E27FC236}">
                <a16:creationId xmlns:a16="http://schemas.microsoft.com/office/drawing/2014/main" id="{E1D4AC8F-0322-E8A8-E509-5AF71473A8F4}"/>
              </a:ext>
            </a:extLst>
          </p:cNvPr>
          <p:cNvSpPr txBox="1"/>
          <p:nvPr/>
        </p:nvSpPr>
        <p:spPr>
          <a:xfrm>
            <a:off x="7396160" y="2631279"/>
            <a:ext cx="4352925" cy="1658938"/>
          </a:xfrm>
          <a:prstGeom prst="rect">
            <a:avLst/>
          </a:prstGeom>
          <a:noFill/>
        </p:spPr>
        <p:txBody>
          <a:bodyPr wrap="square" rtlCol="0" anchor="ctr">
            <a:noAutofit/>
          </a:bodyPr>
          <a:lstStyle/>
          <a:p>
            <a:pPr marL="285750" lvl="0" indent="-285750" rtl="0" hangingPunct="0">
              <a:spcAft>
                <a:spcPts val="200"/>
              </a:spcAft>
              <a:buSzPct val="100000"/>
              <a:buBlip>
                <a:blip r:embed="rId6"/>
              </a:buBlip>
            </a:pPr>
            <a:r>
              <a:rPr lang="en-gb" sz="1400">
                <a:effectLst/>
                <a:ea typeface="Calibri" panose="020F0502020204030204" pitchFamily="34" charset="0"/>
                <a:cs typeface="Times New Roman" panose="02020603050405020304" pitchFamily="18" charset="0"/>
              </a:rPr>
              <a:t>Before rinsing, remove the dry substance.</a:t>
            </a:r>
            <a:endParaRPr lang="en-GB" sz="1400">
              <a:effectLst/>
              <a:ea typeface="Calibri" panose="020F0502020204030204" pitchFamily="34" charset="0"/>
              <a:cs typeface="Times New Roman" panose="02020603050405020304" pitchFamily="18" charset="0"/>
            </a:endParaRPr>
          </a:p>
          <a:p>
            <a:pPr marL="285750" lvl="0" indent="-285750" rtl="0" hangingPunct="0">
              <a:spcAft>
                <a:spcPts val="200"/>
              </a:spcAft>
              <a:buSzPct val="100000"/>
              <a:buBlip>
                <a:blip r:embed="rId6"/>
              </a:buBlip>
            </a:pPr>
            <a:r>
              <a:rPr lang="en-gb" sz="1400">
                <a:effectLst/>
                <a:ea typeface="Calibri" panose="020F0502020204030204" pitchFamily="34" charset="0"/>
                <a:cs typeface="Times New Roman" panose="02020603050405020304" pitchFamily="18" charset="0"/>
              </a:rPr>
              <a:t>Rinse so that water does not run onto intact skin.</a:t>
            </a:r>
            <a:endParaRPr lang="en-GB" sz="1400">
              <a:effectLst/>
              <a:ea typeface="Calibri" panose="020F0502020204030204" pitchFamily="34" charset="0"/>
              <a:cs typeface="Times New Roman" panose="02020603050405020304" pitchFamily="18" charset="0"/>
            </a:endParaRPr>
          </a:p>
          <a:p>
            <a:pPr marL="285750" lvl="0" indent="-285750" rtl="0" hangingPunct="0">
              <a:spcAft>
                <a:spcPts val="200"/>
              </a:spcAft>
              <a:buSzPct val="100000"/>
              <a:buBlip>
                <a:blip r:embed="rId6"/>
              </a:buBlip>
            </a:pPr>
            <a:r>
              <a:rPr lang="en-gb" sz="1400">
                <a:effectLst/>
                <a:ea typeface="Calibri" panose="020F0502020204030204" pitchFamily="34" charset="0"/>
                <a:cs typeface="Times New Roman" panose="02020603050405020304" pitchFamily="18" charset="0"/>
              </a:rPr>
              <a:t>Do not pull the victim's clothes off over their head.</a:t>
            </a:r>
            <a:endParaRPr lang="en-GB" sz="1400">
              <a:effectLst/>
              <a:ea typeface="Calibri" panose="020F0502020204030204" pitchFamily="34" charset="0"/>
              <a:cs typeface="Times New Roman" panose="02020603050405020304" pitchFamily="18" charset="0"/>
            </a:endParaRPr>
          </a:p>
        </p:txBody>
      </p:sp>
      <p:sp>
        <p:nvSpPr>
          <p:cNvPr id="37" name="Content Placeholder 1">
            <a:extLst>
              <a:ext uri="{FF2B5EF4-FFF2-40B4-BE49-F238E27FC236}">
                <a16:creationId xmlns:a16="http://schemas.microsoft.com/office/drawing/2014/main" id="{FBB83616-D769-3BCE-5CC9-32E44E1D0490}"/>
              </a:ext>
            </a:extLst>
          </p:cNvPr>
          <p:cNvSpPr txBox="1">
            <a:spLocks/>
          </p:cNvSpPr>
          <p:nvPr/>
        </p:nvSpPr>
        <p:spPr>
          <a:xfrm>
            <a:off x="2579759" y="2631279"/>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38" name="Content Placeholder 1">
            <a:extLst>
              <a:ext uri="{FF2B5EF4-FFF2-40B4-BE49-F238E27FC236}">
                <a16:creationId xmlns:a16="http://schemas.microsoft.com/office/drawing/2014/main" id="{8F9FA745-238A-E98E-8CF0-3C76151FB7AE}"/>
              </a:ext>
            </a:extLst>
          </p:cNvPr>
          <p:cNvSpPr txBox="1">
            <a:spLocks/>
          </p:cNvSpPr>
          <p:nvPr/>
        </p:nvSpPr>
        <p:spPr>
          <a:xfrm>
            <a:off x="2579759" y="4513262"/>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43" name="Rectangle 42">
            <a:extLst>
              <a:ext uri="{FF2B5EF4-FFF2-40B4-BE49-F238E27FC236}">
                <a16:creationId xmlns:a16="http://schemas.microsoft.com/office/drawing/2014/main" id="{08672088-BEE3-1A7C-8215-2BB54DC2401B}"/>
              </a:ext>
            </a:extLst>
          </p:cNvPr>
          <p:cNvSpPr/>
          <p:nvPr/>
        </p:nvSpPr>
        <p:spPr>
          <a:xfrm>
            <a:off x="442913" y="963958"/>
            <a:ext cx="11306173" cy="628702"/>
          </a:xfrm>
          <a:prstGeom prst="rect">
            <a:avLst/>
          </a:prstGeom>
          <a:solidFill>
            <a:schemeClr val="bg1"/>
          </a:solidFill>
          <a:ln>
            <a:solidFill>
              <a:schemeClr val="accent2"/>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44" name="Rectangle 43">
            <a:extLst>
              <a:ext uri="{FF2B5EF4-FFF2-40B4-BE49-F238E27FC236}">
                <a16:creationId xmlns:a16="http://schemas.microsoft.com/office/drawing/2014/main" id="{6FF10B2E-1E3F-70CE-7D27-FC202A31080A}"/>
              </a:ext>
            </a:extLst>
          </p:cNvPr>
          <p:cNvSpPr/>
          <p:nvPr/>
        </p:nvSpPr>
        <p:spPr>
          <a:xfrm>
            <a:off x="1454989" y="1062309"/>
            <a:ext cx="10294097"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rIns="0" rtlCol="0" anchor="ctr"/>
          <a:lstStyle/>
          <a:p>
            <a:pPr rtl="0"/>
            <a:r>
              <a:rPr lang="en-gb" sz="1600" b="1">
                <a:solidFill>
                  <a:schemeClr val="tx1"/>
                </a:solidFill>
              </a:rPr>
              <a:t>To reduce the risk of exposure to chemicals, waterproof gloves or other waterproof materials (e.g. plastic bags) are preferable.</a:t>
            </a:r>
          </a:p>
        </p:txBody>
      </p:sp>
      <p:cxnSp>
        <p:nvCxnSpPr>
          <p:cNvPr id="46" name="Straight Connector 45">
            <a:extLst>
              <a:ext uri="{FF2B5EF4-FFF2-40B4-BE49-F238E27FC236}">
                <a16:creationId xmlns:a16="http://schemas.microsoft.com/office/drawing/2014/main" id="{1FC65FCF-FD80-DAC7-1847-F385C385E92B}"/>
              </a:ext>
            </a:extLst>
          </p:cNvPr>
          <p:cNvCxnSpPr>
            <a:cxnSpLocks/>
          </p:cNvCxnSpPr>
          <p:nvPr/>
        </p:nvCxnSpPr>
        <p:spPr>
          <a:xfrm>
            <a:off x="1233531" y="1053973"/>
            <a:ext cx="0" cy="448673"/>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47" name="Google Shape;778;p79">
            <a:extLst>
              <a:ext uri="{FF2B5EF4-FFF2-40B4-BE49-F238E27FC236}">
                <a16:creationId xmlns:a16="http://schemas.microsoft.com/office/drawing/2014/main" id="{C8FD1C37-F5B4-5E7C-A965-521B4DCC5EDC}"/>
              </a:ext>
            </a:extLst>
          </p:cNvPr>
          <p:cNvSpPr/>
          <p:nvPr/>
        </p:nvSpPr>
        <p:spPr>
          <a:xfrm>
            <a:off x="598371" y="1062309"/>
            <a:ext cx="468000" cy="432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8" name="Google Shape;809;p80">
            <a:extLst>
              <a:ext uri="{FF2B5EF4-FFF2-40B4-BE49-F238E27FC236}">
                <a16:creationId xmlns:a16="http://schemas.microsoft.com/office/drawing/2014/main" id="{033F6E87-CC9A-057D-8CE2-3979C0987503}"/>
              </a:ext>
            </a:extLst>
          </p:cNvPr>
          <p:cNvSpPr/>
          <p:nvPr/>
        </p:nvSpPr>
        <p:spPr>
          <a:xfrm>
            <a:off x="2021641" y="5643133"/>
            <a:ext cx="360000" cy="360000"/>
          </a:xfrm>
          <a:custGeom>
            <a:avLst/>
            <a:gdLst/>
            <a:ahLst/>
            <a:cxnLst/>
            <a:rect l="l" t="t" r="r" b="b"/>
            <a:pathLst>
              <a:path w="347" h="346" extrusionOk="0">
                <a:moveTo>
                  <a:pt x="0" y="0"/>
                </a:moveTo>
                <a:cubicBezTo>
                  <a:pt x="0" y="346"/>
                  <a:pt x="0" y="346"/>
                  <a:pt x="0" y="346"/>
                </a:cubicBezTo>
                <a:cubicBezTo>
                  <a:pt x="347" y="346"/>
                  <a:pt x="347" y="346"/>
                  <a:pt x="347" y="346"/>
                </a:cubicBezTo>
                <a:cubicBezTo>
                  <a:pt x="347" y="0"/>
                  <a:pt x="347" y="0"/>
                  <a:pt x="347" y="0"/>
                </a:cubicBezTo>
                <a:lnTo>
                  <a:pt x="0" y="0"/>
                </a:lnTo>
                <a:close/>
                <a:moveTo>
                  <a:pt x="332" y="14"/>
                </a:moveTo>
                <a:cubicBezTo>
                  <a:pt x="332" y="163"/>
                  <a:pt x="332" y="163"/>
                  <a:pt x="332" y="163"/>
                </a:cubicBezTo>
                <a:cubicBezTo>
                  <a:pt x="325" y="154"/>
                  <a:pt x="310" y="137"/>
                  <a:pt x="289" y="120"/>
                </a:cubicBezTo>
                <a:cubicBezTo>
                  <a:pt x="251" y="88"/>
                  <a:pt x="211" y="71"/>
                  <a:pt x="174" y="71"/>
                </a:cubicBezTo>
                <a:cubicBezTo>
                  <a:pt x="136" y="71"/>
                  <a:pt x="96" y="88"/>
                  <a:pt x="58" y="120"/>
                </a:cubicBezTo>
                <a:cubicBezTo>
                  <a:pt x="37" y="137"/>
                  <a:pt x="22" y="154"/>
                  <a:pt x="15" y="163"/>
                </a:cubicBezTo>
                <a:cubicBezTo>
                  <a:pt x="15" y="14"/>
                  <a:pt x="15" y="14"/>
                  <a:pt x="15" y="14"/>
                </a:cubicBezTo>
                <a:lnTo>
                  <a:pt x="332" y="14"/>
                </a:lnTo>
                <a:close/>
                <a:moveTo>
                  <a:pt x="321" y="173"/>
                </a:moveTo>
                <a:cubicBezTo>
                  <a:pt x="306" y="191"/>
                  <a:pt x="245" y="260"/>
                  <a:pt x="174" y="260"/>
                </a:cubicBezTo>
                <a:cubicBezTo>
                  <a:pt x="102" y="260"/>
                  <a:pt x="41" y="191"/>
                  <a:pt x="26" y="173"/>
                </a:cubicBezTo>
                <a:cubicBezTo>
                  <a:pt x="41" y="155"/>
                  <a:pt x="102" y="86"/>
                  <a:pt x="174" y="86"/>
                </a:cubicBezTo>
                <a:cubicBezTo>
                  <a:pt x="245" y="86"/>
                  <a:pt x="306" y="155"/>
                  <a:pt x="321" y="173"/>
                </a:cubicBezTo>
                <a:close/>
                <a:moveTo>
                  <a:pt x="15" y="331"/>
                </a:moveTo>
                <a:cubicBezTo>
                  <a:pt x="15" y="183"/>
                  <a:pt x="15" y="183"/>
                  <a:pt x="15" y="183"/>
                </a:cubicBezTo>
                <a:cubicBezTo>
                  <a:pt x="22" y="191"/>
                  <a:pt x="37" y="208"/>
                  <a:pt x="58" y="226"/>
                </a:cubicBezTo>
                <a:cubicBezTo>
                  <a:pt x="96" y="258"/>
                  <a:pt x="136" y="275"/>
                  <a:pt x="174" y="275"/>
                </a:cubicBezTo>
                <a:cubicBezTo>
                  <a:pt x="211" y="275"/>
                  <a:pt x="251" y="258"/>
                  <a:pt x="289" y="226"/>
                </a:cubicBezTo>
                <a:cubicBezTo>
                  <a:pt x="310" y="208"/>
                  <a:pt x="325" y="191"/>
                  <a:pt x="332" y="183"/>
                </a:cubicBezTo>
                <a:cubicBezTo>
                  <a:pt x="332" y="331"/>
                  <a:pt x="332" y="331"/>
                  <a:pt x="332" y="331"/>
                </a:cubicBezTo>
                <a:lnTo>
                  <a:pt x="15" y="331"/>
                </a:lnTo>
                <a:close/>
                <a:moveTo>
                  <a:pt x="174" y="96"/>
                </a:moveTo>
                <a:cubicBezTo>
                  <a:pt x="131" y="96"/>
                  <a:pt x="96" y="130"/>
                  <a:pt x="96" y="173"/>
                </a:cubicBezTo>
                <a:cubicBezTo>
                  <a:pt x="96" y="215"/>
                  <a:pt x="131" y="250"/>
                  <a:pt x="174" y="250"/>
                </a:cubicBezTo>
                <a:cubicBezTo>
                  <a:pt x="216" y="250"/>
                  <a:pt x="251" y="215"/>
                  <a:pt x="251" y="173"/>
                </a:cubicBezTo>
                <a:cubicBezTo>
                  <a:pt x="251" y="130"/>
                  <a:pt x="216" y="96"/>
                  <a:pt x="174" y="96"/>
                </a:cubicBezTo>
                <a:close/>
                <a:moveTo>
                  <a:pt x="235" y="165"/>
                </a:moveTo>
                <a:cubicBezTo>
                  <a:pt x="181" y="165"/>
                  <a:pt x="181" y="165"/>
                  <a:pt x="181" y="165"/>
                </a:cubicBezTo>
                <a:cubicBezTo>
                  <a:pt x="181" y="111"/>
                  <a:pt x="181" y="111"/>
                  <a:pt x="181" y="111"/>
                </a:cubicBezTo>
                <a:cubicBezTo>
                  <a:pt x="209" y="114"/>
                  <a:pt x="232" y="137"/>
                  <a:pt x="235" y="165"/>
                </a:cubicBezTo>
                <a:close/>
                <a:moveTo>
                  <a:pt x="166" y="111"/>
                </a:moveTo>
                <a:cubicBezTo>
                  <a:pt x="166" y="165"/>
                  <a:pt x="166" y="165"/>
                  <a:pt x="166" y="165"/>
                </a:cubicBezTo>
                <a:cubicBezTo>
                  <a:pt x="112" y="165"/>
                  <a:pt x="112" y="165"/>
                  <a:pt x="112" y="165"/>
                </a:cubicBezTo>
                <a:cubicBezTo>
                  <a:pt x="115" y="137"/>
                  <a:pt x="138" y="114"/>
                  <a:pt x="166" y="111"/>
                </a:cubicBezTo>
                <a:close/>
                <a:moveTo>
                  <a:pt x="112" y="180"/>
                </a:moveTo>
                <a:cubicBezTo>
                  <a:pt x="166" y="180"/>
                  <a:pt x="166" y="180"/>
                  <a:pt x="166" y="180"/>
                </a:cubicBezTo>
                <a:cubicBezTo>
                  <a:pt x="166" y="235"/>
                  <a:pt x="166" y="235"/>
                  <a:pt x="166" y="235"/>
                </a:cubicBezTo>
                <a:cubicBezTo>
                  <a:pt x="138" y="231"/>
                  <a:pt x="115" y="209"/>
                  <a:pt x="112" y="180"/>
                </a:cubicBezTo>
                <a:close/>
                <a:moveTo>
                  <a:pt x="181" y="235"/>
                </a:moveTo>
                <a:cubicBezTo>
                  <a:pt x="181" y="180"/>
                  <a:pt x="181" y="180"/>
                  <a:pt x="181" y="180"/>
                </a:cubicBezTo>
                <a:cubicBezTo>
                  <a:pt x="235" y="180"/>
                  <a:pt x="235" y="180"/>
                  <a:pt x="235" y="180"/>
                </a:cubicBezTo>
                <a:cubicBezTo>
                  <a:pt x="232" y="209"/>
                  <a:pt x="209" y="231"/>
                  <a:pt x="181" y="235"/>
                </a:cubicBezTo>
                <a:close/>
              </a:path>
            </a:pathLst>
          </a:custGeom>
          <a:solidFill>
            <a:schemeClr val="bg1"/>
          </a:solidFill>
          <a:ln>
            <a:noFill/>
          </a:ln>
        </p:spPr>
        <p:txBody>
          <a:bodyPr spcFirstLastPara="1" wrap="square" lIns="68575" tIns="34275" rIns="68575" bIns="34275"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9" name="Google Shape;1386;p89">
            <a:extLst>
              <a:ext uri="{FF2B5EF4-FFF2-40B4-BE49-F238E27FC236}">
                <a16:creationId xmlns:a16="http://schemas.microsoft.com/office/drawing/2014/main" id="{48F28BF5-CEB5-F9B7-B7D3-08B863298812}"/>
              </a:ext>
            </a:extLst>
          </p:cNvPr>
          <p:cNvSpPr/>
          <p:nvPr/>
        </p:nvSpPr>
        <p:spPr>
          <a:xfrm>
            <a:off x="2021641" y="3725090"/>
            <a:ext cx="360000" cy="360000"/>
          </a:xfrm>
          <a:custGeom>
            <a:avLst/>
            <a:gdLst/>
            <a:ahLst/>
            <a:cxnLst/>
            <a:rect l="l" t="t" r="r" b="b"/>
            <a:pathLst>
              <a:path w="456085" h="456341" extrusionOk="0">
                <a:moveTo>
                  <a:pt x="0" y="0"/>
                </a:moveTo>
                <a:lnTo>
                  <a:pt x="0" y="290149"/>
                </a:lnTo>
                <a:lnTo>
                  <a:pt x="9882" y="290149"/>
                </a:lnTo>
                <a:lnTo>
                  <a:pt x="149685" y="300756"/>
                </a:lnTo>
                <a:lnTo>
                  <a:pt x="152440" y="294740"/>
                </a:lnTo>
                <a:cubicBezTo>
                  <a:pt x="161530" y="274951"/>
                  <a:pt x="190036" y="252978"/>
                  <a:pt x="211034" y="249622"/>
                </a:cubicBezTo>
                <a:cubicBezTo>
                  <a:pt x="219048" y="248324"/>
                  <a:pt x="225129" y="249622"/>
                  <a:pt x="229183" y="253991"/>
                </a:cubicBezTo>
                <a:cubicBezTo>
                  <a:pt x="228011" y="257597"/>
                  <a:pt x="225984" y="260862"/>
                  <a:pt x="223260" y="263490"/>
                </a:cubicBezTo>
                <a:lnTo>
                  <a:pt x="216926" y="263331"/>
                </a:lnTo>
                <a:cubicBezTo>
                  <a:pt x="211668" y="263208"/>
                  <a:pt x="207329" y="267362"/>
                  <a:pt x="207202" y="272608"/>
                </a:cubicBezTo>
                <a:cubicBezTo>
                  <a:pt x="207075" y="277854"/>
                  <a:pt x="211225" y="282205"/>
                  <a:pt x="216483" y="282328"/>
                </a:cubicBezTo>
                <a:lnTo>
                  <a:pt x="283597" y="283911"/>
                </a:lnTo>
                <a:cubicBezTo>
                  <a:pt x="286036" y="286511"/>
                  <a:pt x="286986" y="290184"/>
                  <a:pt x="286067" y="293632"/>
                </a:cubicBezTo>
                <a:cubicBezTo>
                  <a:pt x="285465" y="296133"/>
                  <a:pt x="284072" y="298634"/>
                  <a:pt x="278054" y="298159"/>
                </a:cubicBezTo>
                <a:cubicBezTo>
                  <a:pt x="277357" y="298064"/>
                  <a:pt x="276661" y="298064"/>
                  <a:pt x="275963" y="298159"/>
                </a:cubicBezTo>
                <a:lnTo>
                  <a:pt x="273746" y="297969"/>
                </a:lnTo>
                <a:cubicBezTo>
                  <a:pt x="266842" y="297114"/>
                  <a:pt x="259906" y="296757"/>
                  <a:pt x="252970" y="296893"/>
                </a:cubicBezTo>
                <a:cubicBezTo>
                  <a:pt x="247711" y="297156"/>
                  <a:pt x="243689" y="301620"/>
                  <a:pt x="243943" y="306866"/>
                </a:cubicBezTo>
                <a:cubicBezTo>
                  <a:pt x="244196" y="312113"/>
                  <a:pt x="248662" y="316153"/>
                  <a:pt x="253919" y="315890"/>
                </a:cubicBezTo>
                <a:cubicBezTo>
                  <a:pt x="259937" y="315833"/>
                  <a:pt x="265955" y="316172"/>
                  <a:pt x="271941" y="316903"/>
                </a:cubicBezTo>
                <a:cubicBezTo>
                  <a:pt x="276977" y="317514"/>
                  <a:pt x="282013" y="317799"/>
                  <a:pt x="287080" y="317758"/>
                </a:cubicBezTo>
                <a:cubicBezTo>
                  <a:pt x="289171" y="317758"/>
                  <a:pt x="289583" y="318170"/>
                  <a:pt x="290248" y="319531"/>
                </a:cubicBezTo>
                <a:cubicBezTo>
                  <a:pt x="291547" y="323922"/>
                  <a:pt x="291008" y="328650"/>
                  <a:pt x="288759" y="332639"/>
                </a:cubicBezTo>
                <a:lnTo>
                  <a:pt x="287683" y="332639"/>
                </a:lnTo>
                <a:cubicBezTo>
                  <a:pt x="280904" y="332639"/>
                  <a:pt x="260190" y="332037"/>
                  <a:pt x="252526" y="331404"/>
                </a:cubicBezTo>
                <a:cubicBezTo>
                  <a:pt x="247775" y="331027"/>
                  <a:pt x="243499" y="334222"/>
                  <a:pt x="242486" y="338876"/>
                </a:cubicBezTo>
                <a:cubicBezTo>
                  <a:pt x="242169" y="339899"/>
                  <a:pt x="242042" y="340972"/>
                  <a:pt x="242105" y="342042"/>
                </a:cubicBezTo>
                <a:cubicBezTo>
                  <a:pt x="242359" y="347282"/>
                  <a:pt x="246825" y="351322"/>
                  <a:pt x="252051" y="351066"/>
                </a:cubicBezTo>
                <a:cubicBezTo>
                  <a:pt x="252051" y="351066"/>
                  <a:pt x="252083" y="351066"/>
                  <a:pt x="252083" y="351066"/>
                </a:cubicBezTo>
                <a:cubicBezTo>
                  <a:pt x="258100" y="351009"/>
                  <a:pt x="264118" y="351348"/>
                  <a:pt x="270104" y="352079"/>
                </a:cubicBezTo>
                <a:cubicBezTo>
                  <a:pt x="275140" y="352690"/>
                  <a:pt x="280176" y="352975"/>
                  <a:pt x="285244" y="352934"/>
                </a:cubicBezTo>
                <a:cubicBezTo>
                  <a:pt x="287334" y="352934"/>
                  <a:pt x="287746" y="353314"/>
                  <a:pt x="288411" y="354707"/>
                </a:cubicBezTo>
                <a:cubicBezTo>
                  <a:pt x="289678" y="359089"/>
                  <a:pt x="289140" y="363800"/>
                  <a:pt x="286923" y="367784"/>
                </a:cubicBezTo>
                <a:lnTo>
                  <a:pt x="286067" y="367784"/>
                </a:lnTo>
                <a:cubicBezTo>
                  <a:pt x="267729" y="367404"/>
                  <a:pt x="255820" y="366992"/>
                  <a:pt x="250657" y="366580"/>
                </a:cubicBezTo>
                <a:cubicBezTo>
                  <a:pt x="245399" y="366143"/>
                  <a:pt x="240807" y="370041"/>
                  <a:pt x="240363" y="375287"/>
                </a:cubicBezTo>
                <a:cubicBezTo>
                  <a:pt x="239920" y="380534"/>
                  <a:pt x="243816" y="385141"/>
                  <a:pt x="249073" y="385577"/>
                </a:cubicBezTo>
                <a:cubicBezTo>
                  <a:pt x="253508" y="385926"/>
                  <a:pt x="261742" y="386242"/>
                  <a:pt x="269217" y="386464"/>
                </a:cubicBezTo>
                <a:lnTo>
                  <a:pt x="269217" y="388490"/>
                </a:lnTo>
                <a:cubicBezTo>
                  <a:pt x="268806" y="393271"/>
                  <a:pt x="260824" y="401440"/>
                  <a:pt x="257435" y="401440"/>
                </a:cubicBezTo>
                <a:lnTo>
                  <a:pt x="256548" y="401440"/>
                </a:lnTo>
                <a:cubicBezTo>
                  <a:pt x="245938" y="401440"/>
                  <a:pt x="215627" y="400870"/>
                  <a:pt x="204985" y="397957"/>
                </a:cubicBezTo>
                <a:cubicBezTo>
                  <a:pt x="156779" y="384881"/>
                  <a:pt x="111076" y="385799"/>
                  <a:pt x="66924" y="386686"/>
                </a:cubicBezTo>
                <a:cubicBezTo>
                  <a:pt x="50518" y="387002"/>
                  <a:pt x="35030" y="387319"/>
                  <a:pt x="19415" y="386971"/>
                </a:cubicBezTo>
                <a:lnTo>
                  <a:pt x="0" y="386971"/>
                </a:lnTo>
                <a:lnTo>
                  <a:pt x="0" y="456341"/>
                </a:lnTo>
                <a:lnTo>
                  <a:pt x="456086" y="456341"/>
                </a:lnTo>
                <a:lnTo>
                  <a:pt x="456086" y="412"/>
                </a:lnTo>
                <a:close/>
                <a:moveTo>
                  <a:pt x="436576" y="186298"/>
                </a:moveTo>
                <a:lnTo>
                  <a:pt x="90013" y="186298"/>
                </a:lnTo>
                <a:lnTo>
                  <a:pt x="90013" y="19440"/>
                </a:lnTo>
                <a:lnTo>
                  <a:pt x="436576" y="19440"/>
                </a:lnTo>
                <a:close/>
                <a:moveTo>
                  <a:pt x="243373" y="240978"/>
                </a:moveTo>
                <a:cubicBezTo>
                  <a:pt x="234852" y="231891"/>
                  <a:pt x="222659" y="228313"/>
                  <a:pt x="208089" y="230688"/>
                </a:cubicBezTo>
                <a:cubicBezTo>
                  <a:pt x="183036" y="234741"/>
                  <a:pt x="152155" y="257315"/>
                  <a:pt x="138409" y="280714"/>
                </a:cubicBezTo>
                <a:lnTo>
                  <a:pt x="19384" y="271785"/>
                </a:lnTo>
                <a:lnTo>
                  <a:pt x="19384" y="19440"/>
                </a:lnTo>
                <a:lnTo>
                  <a:pt x="71010" y="19440"/>
                </a:lnTo>
                <a:lnTo>
                  <a:pt x="71010" y="205295"/>
                </a:lnTo>
                <a:lnTo>
                  <a:pt x="253856" y="205295"/>
                </a:lnTo>
                <a:lnTo>
                  <a:pt x="253159" y="263965"/>
                </a:lnTo>
                <a:lnTo>
                  <a:pt x="245748" y="263806"/>
                </a:lnTo>
                <a:cubicBezTo>
                  <a:pt x="247173" y="260827"/>
                  <a:pt x="247997" y="257601"/>
                  <a:pt x="248187" y="254308"/>
                </a:cubicBezTo>
                <a:cubicBezTo>
                  <a:pt x="248376" y="249422"/>
                  <a:pt x="246603" y="244667"/>
                  <a:pt x="243246" y="241105"/>
                </a:cubicBezTo>
                <a:close/>
                <a:moveTo>
                  <a:pt x="19384" y="436426"/>
                </a:moveTo>
                <a:lnTo>
                  <a:pt x="19384" y="405556"/>
                </a:lnTo>
                <a:cubicBezTo>
                  <a:pt x="35220" y="405904"/>
                  <a:pt x="51595" y="405556"/>
                  <a:pt x="67336" y="405271"/>
                </a:cubicBezTo>
                <a:cubicBezTo>
                  <a:pt x="110157" y="404416"/>
                  <a:pt x="154467" y="403530"/>
                  <a:pt x="200044" y="415909"/>
                </a:cubicBezTo>
                <a:cubicBezTo>
                  <a:pt x="214645" y="419867"/>
                  <a:pt x="250499" y="420025"/>
                  <a:pt x="256231" y="420025"/>
                </a:cubicBezTo>
                <a:lnTo>
                  <a:pt x="257118" y="420025"/>
                </a:lnTo>
                <a:cubicBezTo>
                  <a:pt x="263960" y="419649"/>
                  <a:pt x="270452" y="416790"/>
                  <a:pt x="275330" y="411983"/>
                </a:cubicBezTo>
                <a:cubicBezTo>
                  <a:pt x="281095" y="406823"/>
                  <a:pt x="287429" y="398084"/>
                  <a:pt x="287999" y="388965"/>
                </a:cubicBezTo>
                <a:lnTo>
                  <a:pt x="287999" y="386496"/>
                </a:lnTo>
                <a:lnTo>
                  <a:pt x="287999" y="386496"/>
                </a:lnTo>
                <a:cubicBezTo>
                  <a:pt x="294365" y="386255"/>
                  <a:pt x="300098" y="382630"/>
                  <a:pt x="303043" y="376997"/>
                </a:cubicBezTo>
                <a:cubicBezTo>
                  <a:pt x="308143" y="368638"/>
                  <a:pt x="310265" y="354169"/>
                  <a:pt x="304089" y="343847"/>
                </a:cubicBezTo>
                <a:lnTo>
                  <a:pt x="303930" y="343626"/>
                </a:lnTo>
                <a:cubicBezTo>
                  <a:pt x="304311" y="343122"/>
                  <a:pt x="304690" y="342593"/>
                  <a:pt x="305008" y="342042"/>
                </a:cubicBezTo>
                <a:cubicBezTo>
                  <a:pt x="310106" y="333652"/>
                  <a:pt x="312229" y="319183"/>
                  <a:pt x="306084" y="308892"/>
                </a:cubicBezTo>
                <a:cubicBezTo>
                  <a:pt x="305008" y="307113"/>
                  <a:pt x="303677" y="305495"/>
                  <a:pt x="302157" y="304080"/>
                </a:cubicBezTo>
                <a:cubicBezTo>
                  <a:pt x="306528" y="295287"/>
                  <a:pt x="306338" y="284909"/>
                  <a:pt x="301650" y="276281"/>
                </a:cubicBezTo>
                <a:cubicBezTo>
                  <a:pt x="298356" y="269439"/>
                  <a:pt x="291547" y="264997"/>
                  <a:pt x="283945" y="264756"/>
                </a:cubicBezTo>
                <a:lnTo>
                  <a:pt x="283945" y="264756"/>
                </a:lnTo>
                <a:lnTo>
                  <a:pt x="272258" y="264503"/>
                </a:lnTo>
                <a:lnTo>
                  <a:pt x="272986" y="205359"/>
                </a:lnTo>
                <a:lnTo>
                  <a:pt x="436702" y="205359"/>
                </a:lnTo>
                <a:lnTo>
                  <a:pt x="436702" y="436490"/>
                </a:lnTo>
                <a:close/>
              </a:path>
            </a:pathLst>
          </a:custGeom>
          <a:solidFill>
            <a:schemeClr val="bg1"/>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 name="Rectangle 1">
            <a:extLst>
              <a:ext uri="{FF2B5EF4-FFF2-40B4-BE49-F238E27FC236}">
                <a16:creationId xmlns:a16="http://schemas.microsoft.com/office/drawing/2014/main" id="{1A11DA6D-DA25-ED8D-5C57-8D2D2452FA26}"/>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17" name="Group 16">
            <a:extLst>
              <a:ext uri="{FF2B5EF4-FFF2-40B4-BE49-F238E27FC236}">
                <a16:creationId xmlns:a16="http://schemas.microsoft.com/office/drawing/2014/main" id="{181D2E81-913A-426F-D928-E7AE90B36605}"/>
              </a:ext>
            </a:extLst>
          </p:cNvPr>
          <p:cNvGrpSpPr/>
          <p:nvPr/>
        </p:nvGrpSpPr>
        <p:grpSpPr>
          <a:xfrm>
            <a:off x="9842140" y="372216"/>
            <a:ext cx="1667215" cy="217488"/>
            <a:chOff x="9842140" y="372216"/>
            <a:chExt cx="1667215" cy="217488"/>
          </a:xfrm>
        </p:grpSpPr>
        <p:sp>
          <p:nvSpPr>
            <p:cNvPr id="19" name="TextBox 18">
              <a:extLst>
                <a:ext uri="{FF2B5EF4-FFF2-40B4-BE49-F238E27FC236}">
                  <a16:creationId xmlns:a16="http://schemas.microsoft.com/office/drawing/2014/main" id="{DA75954D-4EF1-C25C-FD4D-7F2391CE4BC1}"/>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rtl="0">
                <a:lnSpc>
                  <a:spcPct val="100000"/>
                </a:lnSpc>
                <a:spcAft>
                  <a:spcPts val="600"/>
                </a:spcAft>
                <a:buSzPct val="100000"/>
              </a:pPr>
              <a:r>
                <a:rPr lang="en-gb" sz="800">
                  <a:solidFill>
                    <a:schemeClr val="bg1"/>
                  </a:solidFill>
                </a:rPr>
                <a:t>Chemical substances</a:t>
              </a:r>
            </a:p>
          </p:txBody>
        </p:sp>
        <p:sp>
          <p:nvSpPr>
            <p:cNvPr id="21" name="Freeform 49">
              <a:extLst>
                <a:ext uri="{FF2B5EF4-FFF2-40B4-BE49-F238E27FC236}">
                  <a16:creationId xmlns:a16="http://schemas.microsoft.com/office/drawing/2014/main" id="{07F3CB26-4CE3-7AB6-C1A7-5645E59C0132}"/>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p>
          </p:txBody>
        </p:sp>
      </p:grpSp>
      <p:grpSp>
        <p:nvGrpSpPr>
          <p:cNvPr id="15" name="Group 14">
            <a:extLst>
              <a:ext uri="{FF2B5EF4-FFF2-40B4-BE49-F238E27FC236}">
                <a16:creationId xmlns:a16="http://schemas.microsoft.com/office/drawing/2014/main" id="{8F7D8F48-1EA6-5FCA-0986-6333EDB3231E}"/>
              </a:ext>
            </a:extLst>
          </p:cNvPr>
          <p:cNvGrpSpPr/>
          <p:nvPr/>
        </p:nvGrpSpPr>
        <p:grpSpPr>
          <a:xfrm>
            <a:off x="9122935" y="126781"/>
            <a:ext cx="2626153" cy="217488"/>
            <a:chOff x="9122935" y="126781"/>
            <a:chExt cx="2626153" cy="217488"/>
          </a:xfrm>
        </p:grpSpPr>
        <p:sp>
          <p:nvSpPr>
            <p:cNvPr id="23" name="Rectangle 22">
              <a:extLst>
                <a:ext uri="{FF2B5EF4-FFF2-40B4-BE49-F238E27FC236}">
                  <a16:creationId xmlns:a16="http://schemas.microsoft.com/office/drawing/2014/main" id="{D17F2348-553D-3B36-AB93-74F779BDA6EE}"/>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000000"/>
                  </a:solidFill>
                  <a:effectLst/>
                  <a:uLnTx/>
                  <a:uFillTx/>
                  <a:ea typeface="Georgia"/>
                  <a:cs typeface="Georgia"/>
                  <a:sym typeface="Georgia"/>
                </a:rPr>
                <a:t>First aid measures</a:t>
              </a:r>
            </a:p>
          </p:txBody>
        </p:sp>
        <p:sp>
          <p:nvSpPr>
            <p:cNvPr id="24" name="Rectangle 23">
              <a:extLst>
                <a:ext uri="{FF2B5EF4-FFF2-40B4-BE49-F238E27FC236}">
                  <a16:creationId xmlns:a16="http://schemas.microsoft.com/office/drawing/2014/main" id="{AF0C7620-5B15-822C-90C4-A35CB9E0917E}"/>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25" name="Rectangle 24">
              <a:extLst>
                <a:ext uri="{FF2B5EF4-FFF2-40B4-BE49-F238E27FC236}">
                  <a16:creationId xmlns:a16="http://schemas.microsoft.com/office/drawing/2014/main" id="{E48E0221-D8C1-D56A-5064-92C38BE6AA1C}"/>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4" name="Rectangle 33">
              <a:extLst>
                <a:ext uri="{FF2B5EF4-FFF2-40B4-BE49-F238E27FC236}">
                  <a16:creationId xmlns:a16="http://schemas.microsoft.com/office/drawing/2014/main" id="{324BC699-8BBF-8DF2-E263-DBCFC7798B07}"/>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41" name="Rectangle 40">
              <a:extLst>
                <a:ext uri="{FF2B5EF4-FFF2-40B4-BE49-F238E27FC236}">
                  <a16:creationId xmlns:a16="http://schemas.microsoft.com/office/drawing/2014/main" id="{6F218B91-9383-BD7E-BC80-5B4C22BAE23B}"/>
                </a:ext>
              </a:extLst>
            </p:cNvPr>
            <p:cNvSpPr/>
            <p:nvPr/>
          </p:nvSpPr>
          <p:spPr>
            <a:xfrm>
              <a:off x="9842140"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7</a:t>
              </a:r>
              <a:r>
                <a:rPr lang="en-gb" sz="800" b="1" i="0" u="none" strike="noStrike" kern="0" cap="none" spc="0" normalizeH="0" noProof="0">
                  <a:ln>
                    <a:noFill/>
                  </a:ln>
                  <a:effectLst/>
                  <a:uLnTx/>
                  <a:uFillTx/>
                  <a:ea typeface="Georgia"/>
                  <a:cs typeface="Georgia"/>
                  <a:sym typeface="Georgia"/>
                </a:rPr>
                <a:t>.4</a:t>
              </a:r>
              <a:endParaRPr kumimoji="0" lang="lv-LV" sz="800" b="1" i="0" u="none" strike="noStrike" kern="0" cap="none" spc="0" normalizeH="0" baseline="0" noProof="0" dirty="0">
                <a:ln>
                  <a:noFill/>
                </a:ln>
                <a:effectLst/>
                <a:uLnTx/>
                <a:uFillTx/>
                <a:ea typeface="Georgia"/>
                <a:cs typeface="Georgia"/>
                <a:sym typeface="Georgia"/>
              </a:endParaRPr>
            </a:p>
          </p:txBody>
        </p:sp>
        <p:sp>
          <p:nvSpPr>
            <p:cNvPr id="42" name="Rectangle 41">
              <a:extLst>
                <a:ext uri="{FF2B5EF4-FFF2-40B4-BE49-F238E27FC236}">
                  <a16:creationId xmlns:a16="http://schemas.microsoft.com/office/drawing/2014/main" id="{6356538A-15B5-1084-6957-DA785F8D4355}"/>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20082097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1B11D56-80D9-3D1E-3606-F06395515494}"/>
              </a:ext>
            </a:extLst>
          </p:cNvPr>
          <p:cNvGraphicFramePr>
            <a:graphicFrameLocks noChangeAspect="1"/>
          </p:cNvGraphicFramePr>
          <p:nvPr>
            <p:custDataLst>
              <p:tags r:id="rId1"/>
            </p:custDataLst>
            <p:extLst>
              <p:ext uri="{D42A27DB-BD31-4B8C-83A1-F6EECF244321}">
                <p14:modId xmlns:p14="http://schemas.microsoft.com/office/powerpoint/2010/main" val="648164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B1B11D56-80D9-3D1E-3606-F063955154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358102" y="418878"/>
            <a:ext cx="11306175" cy="1387274"/>
          </a:xfrm>
        </p:spPr>
        <p:txBody>
          <a:bodyPr vert="horz" rtlCol="0"/>
          <a:lstStyle/>
          <a:p>
            <a:pPr rtl="0"/>
            <a:r>
              <a:rPr lang="en-gb" dirty="0"/>
              <a:t>What to do in case of accidents caused by chemicals?</a:t>
            </a:r>
            <a:endParaRPr lang="en-GB" dirty="0"/>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rtlCol="0"/>
          <a:lstStyle/>
          <a:p>
            <a:pPr rtl="0"/>
            <a:fld id="{7870704B-CE94-48CC-AF30-84932A1262A7}" type="slidenum">
              <a:rPr lang="en-GB" smtClean="0"/>
              <a:pPr rtl="0"/>
              <a:t>27</a:t>
            </a:fld>
            <a:endParaRPr lang="en-GB"/>
          </a:p>
        </p:txBody>
      </p:sp>
      <p:sp>
        <p:nvSpPr>
          <p:cNvPr id="26" name="Rectangle 25">
            <a:extLst>
              <a:ext uri="{FF2B5EF4-FFF2-40B4-BE49-F238E27FC236}">
                <a16:creationId xmlns:a16="http://schemas.microsoft.com/office/drawing/2014/main" id="{75CE378D-0AD1-9BD1-B80E-BB684E86C908}"/>
              </a:ext>
            </a:extLst>
          </p:cNvPr>
          <p:cNvSpPr/>
          <p:nvPr/>
        </p:nvSpPr>
        <p:spPr>
          <a:xfrm>
            <a:off x="2651760" y="4513587"/>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400" b="1"/>
          </a:p>
        </p:txBody>
      </p:sp>
      <p:sp>
        <p:nvSpPr>
          <p:cNvPr id="27" name="Rectangle 26">
            <a:extLst>
              <a:ext uri="{FF2B5EF4-FFF2-40B4-BE49-F238E27FC236}">
                <a16:creationId xmlns:a16="http://schemas.microsoft.com/office/drawing/2014/main" id="{26BF525F-45B3-C14A-12E8-A83E64EF16FF}"/>
              </a:ext>
            </a:extLst>
          </p:cNvPr>
          <p:cNvSpPr/>
          <p:nvPr/>
        </p:nvSpPr>
        <p:spPr>
          <a:xfrm>
            <a:off x="2651760" y="2630366"/>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400" b="1"/>
          </a:p>
        </p:txBody>
      </p:sp>
      <p:sp>
        <p:nvSpPr>
          <p:cNvPr id="28" name="Rectangle 27">
            <a:extLst>
              <a:ext uri="{FF2B5EF4-FFF2-40B4-BE49-F238E27FC236}">
                <a16:creationId xmlns:a16="http://schemas.microsoft.com/office/drawing/2014/main" id="{18CEB400-BC29-94CA-625A-8B9380FCF3EB}"/>
              </a:ext>
            </a:extLst>
          </p:cNvPr>
          <p:cNvSpPr/>
          <p:nvPr/>
        </p:nvSpPr>
        <p:spPr>
          <a:xfrm>
            <a:off x="2847530" y="2419349"/>
            <a:ext cx="4352925"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endParaRPr lang="lv-LV" sz="1400" b="1">
              <a:solidFill>
                <a:schemeClr val="tx1"/>
              </a:solidFill>
            </a:endParaRPr>
          </a:p>
        </p:txBody>
      </p:sp>
      <p:sp>
        <p:nvSpPr>
          <p:cNvPr id="29" name="Rectangle 28">
            <a:extLst>
              <a:ext uri="{FF2B5EF4-FFF2-40B4-BE49-F238E27FC236}">
                <a16:creationId xmlns:a16="http://schemas.microsoft.com/office/drawing/2014/main" id="{22DB8157-5B10-8AC7-8999-CD47C0BE8FC0}"/>
              </a:ext>
            </a:extLst>
          </p:cNvPr>
          <p:cNvSpPr/>
          <p:nvPr/>
        </p:nvSpPr>
        <p:spPr>
          <a:xfrm>
            <a:off x="7396160" y="2419349"/>
            <a:ext cx="4352925"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endParaRPr lang="lv-LV" sz="1400" b="1">
              <a:solidFill>
                <a:schemeClr val="tx1"/>
              </a:solidFill>
            </a:endParaRPr>
          </a:p>
        </p:txBody>
      </p:sp>
      <p:sp>
        <p:nvSpPr>
          <p:cNvPr id="38" name="Rectangle 37">
            <a:extLst>
              <a:ext uri="{FF2B5EF4-FFF2-40B4-BE49-F238E27FC236}">
                <a16:creationId xmlns:a16="http://schemas.microsoft.com/office/drawing/2014/main" id="{3B47E99D-002C-F019-6092-E26E9521906E}"/>
              </a:ext>
            </a:extLst>
          </p:cNvPr>
          <p:cNvSpPr/>
          <p:nvPr/>
        </p:nvSpPr>
        <p:spPr>
          <a:xfrm>
            <a:off x="442912" y="2630366"/>
            <a:ext cx="2208847" cy="165893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rtl="0">
              <a:lnSpc>
                <a:spcPct val="100000"/>
              </a:lnSpc>
            </a:pPr>
            <a:r>
              <a:rPr lang="en-gb" sz="1400" b="1"/>
              <a:t>In the digestive tract</a:t>
            </a:r>
          </a:p>
        </p:txBody>
      </p:sp>
      <p:sp>
        <p:nvSpPr>
          <p:cNvPr id="39" name="Rectangle 38">
            <a:extLst>
              <a:ext uri="{FF2B5EF4-FFF2-40B4-BE49-F238E27FC236}">
                <a16:creationId xmlns:a16="http://schemas.microsoft.com/office/drawing/2014/main" id="{396FA384-DF9D-8B3C-8EE0-DC36034FD5B1}"/>
              </a:ext>
            </a:extLst>
          </p:cNvPr>
          <p:cNvSpPr/>
          <p:nvPr/>
        </p:nvSpPr>
        <p:spPr>
          <a:xfrm>
            <a:off x="442912" y="4513587"/>
            <a:ext cx="2208847" cy="165893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rtl="0">
              <a:lnSpc>
                <a:spcPct val="100000"/>
              </a:lnSpc>
            </a:pPr>
            <a:r>
              <a:rPr lang="en-gb" sz="1400" b="1"/>
              <a:t>Inhaled chemical</a:t>
            </a:r>
          </a:p>
        </p:txBody>
      </p:sp>
      <p:sp>
        <p:nvSpPr>
          <p:cNvPr id="40" name="TextBox 39">
            <a:extLst>
              <a:ext uri="{FF2B5EF4-FFF2-40B4-BE49-F238E27FC236}">
                <a16:creationId xmlns:a16="http://schemas.microsoft.com/office/drawing/2014/main" id="{3C04D558-6349-59B4-4891-C3B362679252}"/>
              </a:ext>
            </a:extLst>
          </p:cNvPr>
          <p:cNvSpPr txBox="1"/>
          <p:nvPr/>
        </p:nvSpPr>
        <p:spPr>
          <a:xfrm>
            <a:off x="2847530" y="4513587"/>
            <a:ext cx="4352925" cy="1658938"/>
          </a:xfrm>
          <a:prstGeom prst="rect">
            <a:avLst/>
          </a:prstGeom>
          <a:noFill/>
        </p:spPr>
        <p:txBody>
          <a:bodyPr wrap="square" rtlCol="0" anchor="ctr">
            <a:noAutofit/>
          </a:bodyPr>
          <a:lstStyle/>
          <a:p>
            <a:pPr marL="285750" lvl="0" indent="-285750" rtl="0" hangingPunct="0">
              <a:spcAft>
                <a:spcPts val="200"/>
              </a:spcAft>
              <a:buSzPct val="100000"/>
              <a:buBlip>
                <a:blip r:embed="rId6"/>
              </a:buBlip>
              <a:tabLst>
                <a:tab pos="457200" algn="l"/>
              </a:tabLst>
            </a:pPr>
            <a:r>
              <a:rPr lang="en-gb" sz="1400">
                <a:effectLst/>
                <a:ea typeface="Times New Roman" panose="02020603050405020304" pitchFamily="18" charset="0"/>
              </a:rPr>
              <a:t>Call an ambulance.</a:t>
            </a:r>
          </a:p>
          <a:p>
            <a:pPr marL="285750" lvl="0" indent="-285750" rtl="0" hangingPunct="0">
              <a:spcAft>
                <a:spcPts val="200"/>
              </a:spcAft>
              <a:buSzPct val="100000"/>
              <a:buBlip>
                <a:blip r:embed="rId6"/>
              </a:buBlip>
              <a:tabLst>
                <a:tab pos="457200" algn="l"/>
              </a:tabLst>
            </a:pPr>
            <a:r>
              <a:rPr lang="en-gb" sz="1400">
                <a:effectLst/>
                <a:ea typeface="Times New Roman" panose="02020603050405020304" pitchFamily="18" charset="0"/>
              </a:rPr>
              <a:t>Provide the victim with fresh air.</a:t>
            </a:r>
          </a:p>
          <a:p>
            <a:pPr marL="285750" lvl="0" indent="-285750" rtl="0" hangingPunct="0">
              <a:spcAft>
                <a:spcPts val="200"/>
              </a:spcAft>
              <a:buSzPct val="100000"/>
              <a:buBlip>
                <a:blip r:embed="rId6"/>
              </a:buBlip>
              <a:tabLst>
                <a:tab pos="457200" algn="l"/>
              </a:tabLst>
            </a:pPr>
            <a:r>
              <a:rPr lang="en-gb" sz="1400">
                <a:effectLst/>
                <a:ea typeface="Times New Roman" panose="02020603050405020304" pitchFamily="18" charset="0"/>
              </a:rPr>
              <a:t>Care for, reassure the victim.</a:t>
            </a:r>
          </a:p>
          <a:p>
            <a:pPr marL="285750" lvl="0" indent="-285750" rtl="0" hangingPunct="0">
              <a:spcAft>
                <a:spcPts val="200"/>
              </a:spcAft>
              <a:buSzPct val="100000"/>
              <a:buBlip>
                <a:blip r:embed="rId6"/>
              </a:buBlip>
              <a:tabLst>
                <a:tab pos="457200" algn="l"/>
              </a:tabLst>
            </a:pPr>
            <a:r>
              <a:rPr lang="en-gb" sz="1400">
                <a:effectLst/>
                <a:ea typeface="Times New Roman" panose="02020603050405020304" pitchFamily="18" charset="0"/>
              </a:rPr>
              <a:t>Take resuscitation measures if necessary.</a:t>
            </a:r>
          </a:p>
        </p:txBody>
      </p:sp>
      <p:sp>
        <p:nvSpPr>
          <p:cNvPr id="41" name="TextBox 40">
            <a:extLst>
              <a:ext uri="{FF2B5EF4-FFF2-40B4-BE49-F238E27FC236}">
                <a16:creationId xmlns:a16="http://schemas.microsoft.com/office/drawing/2014/main" id="{A5FCE91E-7750-1062-5437-D153B9C8E110}"/>
              </a:ext>
            </a:extLst>
          </p:cNvPr>
          <p:cNvSpPr txBox="1"/>
          <p:nvPr/>
        </p:nvSpPr>
        <p:spPr>
          <a:xfrm>
            <a:off x="7396160" y="4513587"/>
            <a:ext cx="4440240" cy="1658938"/>
          </a:xfrm>
          <a:prstGeom prst="rect">
            <a:avLst/>
          </a:prstGeom>
          <a:noFill/>
        </p:spPr>
        <p:txBody>
          <a:bodyPr wrap="square" rtlCol="0" anchor="ctr">
            <a:noAutofit/>
          </a:bodyPr>
          <a:lstStyle/>
          <a:p>
            <a:pPr marL="285750" lvl="0" indent="-285750" rtl="0" hangingPunct="0">
              <a:spcAft>
                <a:spcPts val="200"/>
              </a:spcAft>
              <a:buSzPct val="100000"/>
              <a:buBlip>
                <a:blip r:embed="rId6"/>
              </a:buBlip>
            </a:pPr>
            <a:r>
              <a:rPr lang="en-gb" sz="1400" spc="-10" dirty="0">
                <a:effectLst/>
                <a:ea typeface="Calibri" panose="020F0502020204030204" pitchFamily="34" charset="0"/>
                <a:cs typeface="Times New Roman" panose="02020603050405020304" pitchFamily="18" charset="0"/>
              </a:rPr>
              <a:t>If the presence of harmful gaseous chemicals in the air is suspected, do not approach the accident site. Move at a safe distance, in the fresh air!</a:t>
            </a:r>
          </a:p>
          <a:p>
            <a:pPr marL="285750" lvl="0" indent="-285750" rtl="0" hangingPunct="0">
              <a:spcAft>
                <a:spcPts val="200"/>
              </a:spcAft>
              <a:buSzPct val="100000"/>
              <a:buBlip>
                <a:blip r:embed="rId6"/>
              </a:buBlip>
            </a:pPr>
            <a:r>
              <a:rPr lang="en-gb" sz="1400" dirty="0">
                <a:effectLst/>
                <a:ea typeface="Calibri" panose="020F0502020204030204" pitchFamily="34" charset="0"/>
                <a:cs typeface="Times New Roman" panose="02020603050405020304" pitchFamily="18" charset="0"/>
              </a:rPr>
              <a:t>It is particularly dangerous if the victim is in a confined space such as a sewer, cellar, tank, etc. </a:t>
            </a:r>
          </a:p>
          <a:p>
            <a:pPr marL="285750" lvl="0" indent="-285750" rtl="0" hangingPunct="0">
              <a:spcAft>
                <a:spcPts val="200"/>
              </a:spcAft>
              <a:buSzPct val="100000"/>
              <a:buBlip>
                <a:blip r:embed="rId6"/>
              </a:buBlip>
            </a:pPr>
            <a:r>
              <a:rPr lang="en-gb" sz="1400" dirty="0">
                <a:effectLst/>
                <a:ea typeface="Calibri" panose="020F0502020204030204" pitchFamily="34" charset="0"/>
                <a:cs typeface="Times New Roman" panose="02020603050405020304" pitchFamily="18" charset="0"/>
              </a:rPr>
              <a:t>Only help the victim if the victim has escaped from the hazardous environment.</a:t>
            </a:r>
          </a:p>
        </p:txBody>
      </p:sp>
      <p:sp>
        <p:nvSpPr>
          <p:cNvPr id="42" name="TextBox 41">
            <a:extLst>
              <a:ext uri="{FF2B5EF4-FFF2-40B4-BE49-F238E27FC236}">
                <a16:creationId xmlns:a16="http://schemas.microsoft.com/office/drawing/2014/main" id="{41F206C0-1514-9A56-1E69-C897346ADB21}"/>
              </a:ext>
            </a:extLst>
          </p:cNvPr>
          <p:cNvSpPr txBox="1"/>
          <p:nvPr/>
        </p:nvSpPr>
        <p:spPr>
          <a:xfrm>
            <a:off x="2847530" y="2630366"/>
            <a:ext cx="4352925" cy="1658938"/>
          </a:xfrm>
          <a:prstGeom prst="rect">
            <a:avLst/>
          </a:prstGeom>
          <a:noFill/>
        </p:spPr>
        <p:txBody>
          <a:bodyPr wrap="square" rtlCol="0" anchor="ctr">
            <a:noAutofit/>
          </a:bodyPr>
          <a:lstStyle/>
          <a:p>
            <a:pPr marL="285750" lvl="0" indent="-285750" rtl="0" hangingPunct="0">
              <a:spcAft>
                <a:spcPts val="200"/>
              </a:spcAft>
              <a:buSzPct val="100000"/>
              <a:buBlip>
                <a:blip r:embed="rId6"/>
              </a:buBlip>
              <a:tabLst>
                <a:tab pos="457200" algn="l"/>
              </a:tabLst>
            </a:pPr>
            <a:r>
              <a:rPr lang="en-gb" sz="1400" dirty="0">
                <a:effectLst/>
                <a:ea typeface="Times New Roman" panose="02020603050405020304" pitchFamily="18" charset="0"/>
              </a:rPr>
              <a:t>Call an ambulance.</a:t>
            </a:r>
          </a:p>
          <a:p>
            <a:pPr marL="285750" lvl="0" indent="-285750" rtl="0" hangingPunct="0">
              <a:spcAft>
                <a:spcPts val="200"/>
              </a:spcAft>
              <a:buSzPct val="100000"/>
              <a:buBlip>
                <a:blip r:embed="rId6"/>
              </a:buBlip>
              <a:tabLst>
                <a:tab pos="457200" algn="l"/>
              </a:tabLst>
            </a:pPr>
            <a:r>
              <a:rPr lang="en-gb" sz="1400" dirty="0">
                <a:effectLst/>
                <a:ea typeface="Times New Roman" panose="02020603050405020304" pitchFamily="18" charset="0"/>
              </a:rPr>
              <a:t>Give </a:t>
            </a:r>
            <a:r>
              <a:rPr lang="lv-LV" sz="1400" dirty="0" err="1">
                <a:effectLst/>
                <a:ea typeface="Times New Roman" panose="02020603050405020304" pitchFamily="18" charset="0"/>
              </a:rPr>
              <a:t>water</a:t>
            </a:r>
            <a:r>
              <a:rPr lang="lv-LV" sz="1400" dirty="0">
                <a:effectLst/>
                <a:ea typeface="Times New Roman" panose="02020603050405020304" pitchFamily="18" charset="0"/>
              </a:rPr>
              <a:t> to </a:t>
            </a:r>
            <a:r>
              <a:rPr lang="lv-LV" sz="1400" dirty="0" err="1">
                <a:effectLst/>
                <a:ea typeface="Times New Roman" panose="02020603050405020304" pitchFamily="18" charset="0"/>
              </a:rPr>
              <a:t>rinse</a:t>
            </a:r>
            <a:r>
              <a:rPr lang="lv-LV" sz="1400" dirty="0">
                <a:effectLst/>
                <a:ea typeface="Times New Roman" panose="02020603050405020304" pitchFamily="18" charset="0"/>
              </a:rPr>
              <a:t> </a:t>
            </a:r>
            <a:r>
              <a:rPr lang="lv-LV" sz="1400" dirty="0" err="1">
                <a:effectLst/>
                <a:ea typeface="Times New Roman" panose="02020603050405020304" pitchFamily="18" charset="0"/>
              </a:rPr>
              <a:t>the</a:t>
            </a:r>
            <a:r>
              <a:rPr lang="lv-LV" sz="1400" dirty="0">
                <a:effectLst/>
                <a:ea typeface="Times New Roman" panose="02020603050405020304" pitchFamily="18" charset="0"/>
              </a:rPr>
              <a:t> </a:t>
            </a:r>
            <a:r>
              <a:rPr lang="lv-LV" sz="1400" dirty="0" err="1">
                <a:effectLst/>
                <a:ea typeface="Times New Roman" panose="02020603050405020304" pitchFamily="18" charset="0"/>
              </a:rPr>
              <a:t>mouth</a:t>
            </a:r>
            <a:r>
              <a:rPr lang="lv-LV" sz="1400" dirty="0">
                <a:effectLst/>
                <a:ea typeface="Times New Roman" panose="02020603050405020304" pitchFamily="18" charset="0"/>
              </a:rPr>
              <a:t>.</a:t>
            </a:r>
            <a:endParaRPr lang="en-gb" sz="1400" dirty="0">
              <a:effectLst/>
              <a:ea typeface="Times New Roman" panose="02020603050405020304" pitchFamily="18" charset="0"/>
            </a:endParaRPr>
          </a:p>
          <a:p>
            <a:pPr marL="285750" lvl="0" indent="-285750" rtl="0" hangingPunct="0">
              <a:spcAft>
                <a:spcPts val="200"/>
              </a:spcAft>
              <a:buSzPct val="100000"/>
              <a:buBlip>
                <a:blip r:embed="rId6"/>
              </a:buBlip>
              <a:tabLst>
                <a:tab pos="457200" algn="l"/>
              </a:tabLst>
            </a:pPr>
            <a:r>
              <a:rPr lang="en-gb" sz="1400" dirty="0">
                <a:effectLst/>
                <a:ea typeface="Times New Roman" panose="02020603050405020304" pitchFamily="18" charset="0"/>
              </a:rPr>
              <a:t>Give cool water to drink, but no more than </a:t>
            </a:r>
            <a:br>
              <a:rPr lang="en-gb" sz="1400" dirty="0">
                <a:effectLst/>
                <a:ea typeface="Times New Roman" panose="02020603050405020304" pitchFamily="18" charset="0"/>
              </a:rPr>
            </a:br>
            <a:r>
              <a:rPr lang="en-gb" sz="1400" dirty="0">
                <a:effectLst/>
                <a:ea typeface="Times New Roman" panose="02020603050405020304" pitchFamily="18" charset="0"/>
              </a:rPr>
              <a:t>200 ml.</a:t>
            </a:r>
          </a:p>
          <a:p>
            <a:pPr marL="285750" lvl="0" indent="-285750" rtl="0" hangingPunct="0">
              <a:spcAft>
                <a:spcPts val="200"/>
              </a:spcAft>
              <a:buSzPct val="100000"/>
              <a:buBlip>
                <a:blip r:embed="rId6"/>
              </a:buBlip>
              <a:tabLst>
                <a:tab pos="457200" algn="l"/>
              </a:tabLst>
            </a:pPr>
            <a:r>
              <a:rPr lang="en-gb" sz="1400" dirty="0">
                <a:effectLst/>
                <a:ea typeface="Times New Roman" panose="02020603050405020304" pitchFamily="18" charset="0"/>
              </a:rPr>
              <a:t>Care for, reassure the victim.</a:t>
            </a:r>
          </a:p>
          <a:p>
            <a:pPr marL="285750" lvl="0" indent="-285750" rtl="0" hangingPunct="0">
              <a:spcAft>
                <a:spcPts val="200"/>
              </a:spcAft>
              <a:buSzPct val="100000"/>
              <a:buBlip>
                <a:blip r:embed="rId6"/>
              </a:buBlip>
              <a:tabLst>
                <a:tab pos="457200" algn="l"/>
              </a:tabLst>
            </a:pPr>
            <a:r>
              <a:rPr lang="en-gb" sz="1400" dirty="0">
                <a:effectLst/>
                <a:ea typeface="Times New Roman" panose="02020603050405020304" pitchFamily="18" charset="0"/>
              </a:rPr>
              <a:t>Take resuscitation measures if necessary.</a:t>
            </a:r>
          </a:p>
        </p:txBody>
      </p:sp>
      <p:sp>
        <p:nvSpPr>
          <p:cNvPr id="43" name="TextBox 42">
            <a:extLst>
              <a:ext uri="{FF2B5EF4-FFF2-40B4-BE49-F238E27FC236}">
                <a16:creationId xmlns:a16="http://schemas.microsoft.com/office/drawing/2014/main" id="{C333C631-7908-BAEB-F79D-7746A92C6B90}"/>
              </a:ext>
            </a:extLst>
          </p:cNvPr>
          <p:cNvSpPr txBox="1"/>
          <p:nvPr/>
        </p:nvSpPr>
        <p:spPr>
          <a:xfrm>
            <a:off x="7396160" y="2630366"/>
            <a:ext cx="4352925" cy="1658938"/>
          </a:xfrm>
          <a:prstGeom prst="rect">
            <a:avLst/>
          </a:prstGeom>
          <a:noFill/>
        </p:spPr>
        <p:txBody>
          <a:bodyPr wrap="square" rtlCol="0" anchor="ctr">
            <a:noAutofit/>
          </a:bodyPr>
          <a:lstStyle/>
          <a:p>
            <a:pPr marL="285750" lvl="0" indent="-285750" rtl="0" hangingPunct="0">
              <a:spcAft>
                <a:spcPts val="200"/>
              </a:spcAft>
              <a:buSzPct val="100000"/>
              <a:buBlip>
                <a:blip r:embed="rId6"/>
              </a:buBlip>
            </a:pPr>
            <a:r>
              <a:rPr lang="en-gb" sz="1400">
                <a:effectLst/>
                <a:ea typeface="Calibri" panose="020F0502020204030204" pitchFamily="34" charset="0"/>
                <a:cs typeface="Times New Roman" panose="02020603050405020304" pitchFamily="18" charset="0"/>
              </a:rPr>
              <a:t>Do not induce vomiting!</a:t>
            </a:r>
          </a:p>
        </p:txBody>
      </p:sp>
      <p:sp>
        <p:nvSpPr>
          <p:cNvPr id="44" name="Content Placeholder 1">
            <a:extLst>
              <a:ext uri="{FF2B5EF4-FFF2-40B4-BE49-F238E27FC236}">
                <a16:creationId xmlns:a16="http://schemas.microsoft.com/office/drawing/2014/main" id="{F7B0A12B-EBED-EB91-D3B9-4B151635FA06}"/>
              </a:ext>
            </a:extLst>
          </p:cNvPr>
          <p:cNvSpPr txBox="1">
            <a:spLocks/>
          </p:cNvSpPr>
          <p:nvPr/>
        </p:nvSpPr>
        <p:spPr>
          <a:xfrm>
            <a:off x="2579759" y="2630366"/>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45" name="Content Placeholder 1">
            <a:extLst>
              <a:ext uri="{FF2B5EF4-FFF2-40B4-BE49-F238E27FC236}">
                <a16:creationId xmlns:a16="http://schemas.microsoft.com/office/drawing/2014/main" id="{1BE28122-DCB8-C4C7-9167-163A091C3810}"/>
              </a:ext>
            </a:extLst>
          </p:cNvPr>
          <p:cNvSpPr txBox="1">
            <a:spLocks/>
          </p:cNvSpPr>
          <p:nvPr/>
        </p:nvSpPr>
        <p:spPr>
          <a:xfrm>
            <a:off x="2579759" y="4513587"/>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57" name="Rectangle 56">
            <a:extLst>
              <a:ext uri="{FF2B5EF4-FFF2-40B4-BE49-F238E27FC236}">
                <a16:creationId xmlns:a16="http://schemas.microsoft.com/office/drawing/2014/main" id="{5289A2E1-8F6D-9610-E7CE-9B7600169B03}"/>
              </a:ext>
            </a:extLst>
          </p:cNvPr>
          <p:cNvSpPr/>
          <p:nvPr/>
        </p:nvSpPr>
        <p:spPr>
          <a:xfrm>
            <a:off x="7396160" y="1830995"/>
            <a:ext cx="435292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bg1"/>
                </a:solidFill>
              </a:rPr>
              <a:t>Important!</a:t>
            </a:r>
          </a:p>
        </p:txBody>
      </p:sp>
      <p:sp>
        <p:nvSpPr>
          <p:cNvPr id="58" name="Content Placeholder 1">
            <a:extLst>
              <a:ext uri="{FF2B5EF4-FFF2-40B4-BE49-F238E27FC236}">
                <a16:creationId xmlns:a16="http://schemas.microsoft.com/office/drawing/2014/main" id="{B43C1AF2-DE1A-E208-918C-6E21E6ECECF0}"/>
              </a:ext>
            </a:extLst>
          </p:cNvPr>
          <p:cNvSpPr txBox="1">
            <a:spLocks/>
          </p:cNvSpPr>
          <p:nvPr/>
        </p:nvSpPr>
        <p:spPr>
          <a:xfrm>
            <a:off x="11173087" y="18309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59" name="Content Placeholder 1">
            <a:extLst>
              <a:ext uri="{FF2B5EF4-FFF2-40B4-BE49-F238E27FC236}">
                <a16:creationId xmlns:a16="http://schemas.microsoft.com/office/drawing/2014/main" id="{6BD4F1BB-8A78-68F3-D3A0-8192F86B0E35}"/>
              </a:ext>
            </a:extLst>
          </p:cNvPr>
          <p:cNvSpPr txBox="1">
            <a:spLocks/>
          </p:cNvSpPr>
          <p:nvPr/>
        </p:nvSpPr>
        <p:spPr>
          <a:xfrm>
            <a:off x="11101699" y="18309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60" name="Google Shape;794;p79">
            <a:extLst>
              <a:ext uri="{FF2B5EF4-FFF2-40B4-BE49-F238E27FC236}">
                <a16:creationId xmlns:a16="http://schemas.microsoft.com/office/drawing/2014/main" id="{988F552D-1F52-271D-E2BA-F2EA7028AE0C}"/>
              </a:ext>
            </a:extLst>
          </p:cNvPr>
          <p:cNvSpPr/>
          <p:nvPr/>
        </p:nvSpPr>
        <p:spPr>
          <a:xfrm>
            <a:off x="11281087" y="19389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61" name="Rectangle 60">
            <a:extLst>
              <a:ext uri="{FF2B5EF4-FFF2-40B4-BE49-F238E27FC236}">
                <a16:creationId xmlns:a16="http://schemas.microsoft.com/office/drawing/2014/main" id="{754CE708-1BDC-782F-9C8A-0F59E276292A}"/>
              </a:ext>
            </a:extLst>
          </p:cNvPr>
          <p:cNvSpPr/>
          <p:nvPr/>
        </p:nvSpPr>
        <p:spPr>
          <a:xfrm>
            <a:off x="2847530" y="1830995"/>
            <a:ext cx="435286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tx1"/>
                </a:solidFill>
              </a:rPr>
              <a:t>How to proceed?</a:t>
            </a:r>
          </a:p>
        </p:txBody>
      </p:sp>
      <p:sp>
        <p:nvSpPr>
          <p:cNvPr id="62" name="Content Placeholder 1">
            <a:extLst>
              <a:ext uri="{FF2B5EF4-FFF2-40B4-BE49-F238E27FC236}">
                <a16:creationId xmlns:a16="http://schemas.microsoft.com/office/drawing/2014/main" id="{E6F89702-5666-40AD-82B9-D38CE70085DA}"/>
              </a:ext>
            </a:extLst>
          </p:cNvPr>
          <p:cNvSpPr txBox="1">
            <a:spLocks/>
          </p:cNvSpPr>
          <p:nvPr/>
        </p:nvSpPr>
        <p:spPr>
          <a:xfrm>
            <a:off x="6624391" y="183099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63" name="Content Placeholder 1">
            <a:extLst>
              <a:ext uri="{FF2B5EF4-FFF2-40B4-BE49-F238E27FC236}">
                <a16:creationId xmlns:a16="http://schemas.microsoft.com/office/drawing/2014/main" id="{51093CB8-6D43-2C06-65C9-248B175E887C}"/>
              </a:ext>
            </a:extLst>
          </p:cNvPr>
          <p:cNvSpPr txBox="1">
            <a:spLocks/>
          </p:cNvSpPr>
          <p:nvPr/>
        </p:nvSpPr>
        <p:spPr>
          <a:xfrm>
            <a:off x="6553003" y="183099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64" name="Google Shape;760;p79">
            <a:extLst>
              <a:ext uri="{FF2B5EF4-FFF2-40B4-BE49-F238E27FC236}">
                <a16:creationId xmlns:a16="http://schemas.microsoft.com/office/drawing/2014/main" id="{08EF3060-4C16-1E7E-8A2E-5716356493F0}"/>
              </a:ext>
            </a:extLst>
          </p:cNvPr>
          <p:cNvSpPr/>
          <p:nvPr/>
        </p:nvSpPr>
        <p:spPr>
          <a:xfrm>
            <a:off x="6732391" y="1938995"/>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 name="Google Shape;1626;p92">
            <a:extLst>
              <a:ext uri="{FF2B5EF4-FFF2-40B4-BE49-F238E27FC236}">
                <a16:creationId xmlns:a16="http://schemas.microsoft.com/office/drawing/2014/main" id="{04E643C0-53EC-4B65-8E60-51723ABD9750}"/>
              </a:ext>
            </a:extLst>
          </p:cNvPr>
          <p:cNvSpPr/>
          <p:nvPr/>
        </p:nvSpPr>
        <p:spPr>
          <a:xfrm>
            <a:off x="2021278" y="3724727"/>
            <a:ext cx="360363" cy="360363"/>
          </a:xfrm>
          <a:custGeom>
            <a:avLst/>
            <a:gdLst/>
            <a:ahLst/>
            <a:cxnLst/>
            <a:rect l="l" t="t" r="r" b="b"/>
            <a:pathLst>
              <a:path w="457200" h="457200" extrusionOk="0">
                <a:moveTo>
                  <a:pt x="0" y="0"/>
                </a:moveTo>
                <a:lnTo>
                  <a:pt x="0" y="457200"/>
                </a:lnTo>
                <a:lnTo>
                  <a:pt x="457200" y="457200"/>
                </a:lnTo>
                <a:lnTo>
                  <a:pt x="457200" y="0"/>
                </a:lnTo>
                <a:close/>
                <a:moveTo>
                  <a:pt x="19526" y="437674"/>
                </a:moveTo>
                <a:lnTo>
                  <a:pt x="19526" y="19526"/>
                </a:lnTo>
                <a:lnTo>
                  <a:pt x="168275" y="19526"/>
                </a:lnTo>
                <a:lnTo>
                  <a:pt x="168275" y="81947"/>
                </a:lnTo>
                <a:lnTo>
                  <a:pt x="136525" y="81947"/>
                </a:lnTo>
                <a:cubicBezTo>
                  <a:pt x="105593" y="81869"/>
                  <a:pt x="80455" y="106882"/>
                  <a:pt x="80378" y="137813"/>
                </a:cubicBezTo>
                <a:cubicBezTo>
                  <a:pt x="80344" y="151609"/>
                  <a:pt x="85402" y="164932"/>
                  <a:pt x="94583" y="175228"/>
                </a:cubicBezTo>
                <a:cubicBezTo>
                  <a:pt x="63978" y="179585"/>
                  <a:pt x="42699" y="207928"/>
                  <a:pt x="47055" y="238534"/>
                </a:cubicBezTo>
                <a:cubicBezTo>
                  <a:pt x="49996" y="259187"/>
                  <a:pt x="64178" y="276492"/>
                  <a:pt x="83852" y="283432"/>
                </a:cubicBezTo>
                <a:cubicBezTo>
                  <a:pt x="86996" y="284572"/>
                  <a:pt x="90237" y="285422"/>
                  <a:pt x="93536" y="285972"/>
                </a:cubicBezTo>
                <a:cubicBezTo>
                  <a:pt x="72827" y="308949"/>
                  <a:pt x="74665" y="344364"/>
                  <a:pt x="97641" y="365071"/>
                </a:cubicBezTo>
                <a:cubicBezTo>
                  <a:pt x="107943" y="374358"/>
                  <a:pt x="121323" y="379489"/>
                  <a:pt x="135192" y="379476"/>
                </a:cubicBezTo>
                <a:lnTo>
                  <a:pt x="225425" y="379476"/>
                </a:lnTo>
                <a:lnTo>
                  <a:pt x="225425" y="437674"/>
                </a:lnTo>
                <a:close/>
                <a:moveTo>
                  <a:pt x="244951" y="437674"/>
                </a:moveTo>
                <a:lnTo>
                  <a:pt x="244951" y="359664"/>
                </a:lnTo>
                <a:cubicBezTo>
                  <a:pt x="243571" y="359839"/>
                  <a:pt x="242183" y="359934"/>
                  <a:pt x="240792" y="359950"/>
                </a:cubicBezTo>
                <a:lnTo>
                  <a:pt x="135192" y="359950"/>
                </a:lnTo>
                <a:cubicBezTo>
                  <a:pt x="115026" y="358759"/>
                  <a:pt x="99644" y="341449"/>
                  <a:pt x="100833" y="321281"/>
                </a:cubicBezTo>
                <a:cubicBezTo>
                  <a:pt x="101925" y="302778"/>
                  <a:pt x="116687" y="288017"/>
                  <a:pt x="135192" y="286925"/>
                </a:cubicBezTo>
                <a:lnTo>
                  <a:pt x="172307" y="286925"/>
                </a:lnTo>
                <a:lnTo>
                  <a:pt x="172307" y="286925"/>
                </a:lnTo>
                <a:lnTo>
                  <a:pt x="309086" y="286925"/>
                </a:lnTo>
                <a:lnTo>
                  <a:pt x="309785" y="286925"/>
                </a:lnTo>
                <a:lnTo>
                  <a:pt x="309785" y="286925"/>
                </a:lnTo>
                <a:lnTo>
                  <a:pt x="344710" y="286925"/>
                </a:lnTo>
                <a:lnTo>
                  <a:pt x="344710" y="267081"/>
                </a:lnTo>
                <a:lnTo>
                  <a:pt x="160274" y="267081"/>
                </a:lnTo>
                <a:lnTo>
                  <a:pt x="160274" y="267081"/>
                </a:lnTo>
                <a:lnTo>
                  <a:pt x="102648" y="267081"/>
                </a:lnTo>
                <a:cubicBezTo>
                  <a:pt x="82482" y="268271"/>
                  <a:pt x="65171" y="252888"/>
                  <a:pt x="63981" y="232723"/>
                </a:cubicBezTo>
                <a:cubicBezTo>
                  <a:pt x="62791" y="212558"/>
                  <a:pt x="78174" y="195246"/>
                  <a:pt x="98339" y="194056"/>
                </a:cubicBezTo>
                <a:cubicBezTo>
                  <a:pt x="99774" y="193971"/>
                  <a:pt x="101213" y="193971"/>
                  <a:pt x="102648" y="194056"/>
                </a:cubicBezTo>
                <a:lnTo>
                  <a:pt x="309785" y="194056"/>
                </a:lnTo>
                <a:lnTo>
                  <a:pt x="309785" y="174625"/>
                </a:lnTo>
                <a:lnTo>
                  <a:pt x="136525" y="174625"/>
                </a:lnTo>
                <a:cubicBezTo>
                  <a:pt x="116360" y="173435"/>
                  <a:pt x="100977" y="156123"/>
                  <a:pt x="102167" y="135958"/>
                </a:cubicBezTo>
                <a:cubicBezTo>
                  <a:pt x="103259" y="117454"/>
                  <a:pt x="118020" y="102692"/>
                  <a:pt x="136525" y="101600"/>
                </a:cubicBezTo>
                <a:lnTo>
                  <a:pt x="171450" y="101600"/>
                </a:lnTo>
                <a:lnTo>
                  <a:pt x="171450" y="101600"/>
                </a:lnTo>
                <a:lnTo>
                  <a:pt x="187801" y="101600"/>
                </a:lnTo>
                <a:lnTo>
                  <a:pt x="187801" y="19526"/>
                </a:lnTo>
                <a:lnTo>
                  <a:pt x="215392" y="19526"/>
                </a:lnTo>
                <a:lnTo>
                  <a:pt x="215392" y="128270"/>
                </a:lnTo>
                <a:lnTo>
                  <a:pt x="134779" y="128270"/>
                </a:lnTo>
                <a:cubicBezTo>
                  <a:pt x="133890" y="128270"/>
                  <a:pt x="133033" y="128270"/>
                  <a:pt x="132144" y="128270"/>
                </a:cubicBezTo>
                <a:lnTo>
                  <a:pt x="132144" y="147796"/>
                </a:lnTo>
                <a:cubicBezTo>
                  <a:pt x="133001" y="147796"/>
                  <a:pt x="133890" y="147796"/>
                  <a:pt x="134779" y="147796"/>
                </a:cubicBezTo>
                <a:lnTo>
                  <a:pt x="307975" y="147796"/>
                </a:lnTo>
                <a:cubicBezTo>
                  <a:pt x="328139" y="147641"/>
                  <a:pt x="344611" y="163861"/>
                  <a:pt x="344767" y="184026"/>
                </a:cubicBezTo>
                <a:cubicBezTo>
                  <a:pt x="344913" y="202639"/>
                  <a:pt x="331032" y="218380"/>
                  <a:pt x="312547" y="220567"/>
                </a:cubicBezTo>
                <a:lnTo>
                  <a:pt x="109919" y="220567"/>
                </a:lnTo>
                <a:lnTo>
                  <a:pt x="109919" y="240094"/>
                </a:lnTo>
                <a:lnTo>
                  <a:pt x="139065" y="240094"/>
                </a:lnTo>
                <a:cubicBezTo>
                  <a:pt x="139193" y="240197"/>
                  <a:pt x="139347" y="240263"/>
                  <a:pt x="139510" y="240284"/>
                </a:cubicBezTo>
                <a:lnTo>
                  <a:pt x="299276" y="240284"/>
                </a:lnTo>
                <a:lnTo>
                  <a:pt x="299276" y="240284"/>
                </a:lnTo>
                <a:lnTo>
                  <a:pt x="345948" y="240284"/>
                </a:lnTo>
                <a:cubicBezTo>
                  <a:pt x="366112" y="241125"/>
                  <a:pt x="381778" y="258154"/>
                  <a:pt x="380937" y="278320"/>
                </a:cubicBezTo>
                <a:cubicBezTo>
                  <a:pt x="380146" y="297306"/>
                  <a:pt x="364935" y="312517"/>
                  <a:pt x="345948" y="313309"/>
                </a:cubicBezTo>
                <a:lnTo>
                  <a:pt x="139573" y="313309"/>
                </a:lnTo>
                <a:cubicBezTo>
                  <a:pt x="137098" y="313299"/>
                  <a:pt x="134631" y="313044"/>
                  <a:pt x="132207" y="312547"/>
                </a:cubicBezTo>
                <a:lnTo>
                  <a:pt x="132207" y="332296"/>
                </a:lnTo>
                <a:cubicBezTo>
                  <a:pt x="134645" y="332664"/>
                  <a:pt x="137107" y="332854"/>
                  <a:pt x="139573" y="332867"/>
                </a:cubicBezTo>
                <a:lnTo>
                  <a:pt x="276098" y="332867"/>
                </a:lnTo>
                <a:cubicBezTo>
                  <a:pt x="276098" y="333121"/>
                  <a:pt x="276098" y="333375"/>
                  <a:pt x="275876" y="333629"/>
                </a:cubicBezTo>
                <a:lnTo>
                  <a:pt x="275876" y="437452"/>
                </a:lnTo>
                <a:close/>
                <a:moveTo>
                  <a:pt x="237554" y="128270"/>
                </a:moveTo>
                <a:lnTo>
                  <a:pt x="237554" y="111411"/>
                </a:lnTo>
                <a:cubicBezTo>
                  <a:pt x="239673" y="99855"/>
                  <a:pt x="250759" y="92205"/>
                  <a:pt x="262315" y="94325"/>
                </a:cubicBezTo>
                <a:cubicBezTo>
                  <a:pt x="272451" y="96184"/>
                  <a:pt x="279798" y="105042"/>
                  <a:pt x="279749" y="115348"/>
                </a:cubicBezTo>
                <a:lnTo>
                  <a:pt x="279749" y="128270"/>
                </a:lnTo>
                <a:lnTo>
                  <a:pt x="237554" y="128270"/>
                </a:lnTo>
                <a:close/>
                <a:moveTo>
                  <a:pt x="335979" y="372745"/>
                </a:moveTo>
                <a:lnTo>
                  <a:pt x="335979" y="332931"/>
                </a:lnTo>
                <a:lnTo>
                  <a:pt x="346075" y="332931"/>
                </a:lnTo>
                <a:cubicBezTo>
                  <a:pt x="349949" y="332918"/>
                  <a:pt x="353809" y="332515"/>
                  <a:pt x="357600" y="331724"/>
                </a:cubicBezTo>
                <a:lnTo>
                  <a:pt x="357600" y="368078"/>
                </a:lnTo>
                <a:cubicBezTo>
                  <a:pt x="357600" y="385226"/>
                  <a:pt x="343697" y="399129"/>
                  <a:pt x="326549" y="399129"/>
                </a:cubicBezTo>
                <a:cubicBezTo>
                  <a:pt x="309400" y="399129"/>
                  <a:pt x="295497" y="385226"/>
                  <a:pt x="295497" y="368078"/>
                </a:cubicBezTo>
                <a:lnTo>
                  <a:pt x="295497" y="332931"/>
                </a:lnTo>
                <a:lnTo>
                  <a:pt x="316548" y="332931"/>
                </a:lnTo>
                <a:lnTo>
                  <a:pt x="316548" y="372745"/>
                </a:lnTo>
                <a:close/>
                <a:moveTo>
                  <a:pt x="437579" y="437674"/>
                </a:moveTo>
                <a:lnTo>
                  <a:pt x="295275" y="437674"/>
                </a:lnTo>
                <a:lnTo>
                  <a:pt x="295275" y="407734"/>
                </a:lnTo>
                <a:cubicBezTo>
                  <a:pt x="317156" y="425040"/>
                  <a:pt x="348923" y="421332"/>
                  <a:pt x="366230" y="399453"/>
                </a:cubicBezTo>
                <a:cubicBezTo>
                  <a:pt x="373294" y="390522"/>
                  <a:pt x="377136" y="379463"/>
                  <a:pt x="377127" y="368078"/>
                </a:cubicBezTo>
                <a:lnTo>
                  <a:pt x="377127" y="323628"/>
                </a:lnTo>
                <a:cubicBezTo>
                  <a:pt x="402860" y="306337"/>
                  <a:pt x="409702" y="271460"/>
                  <a:pt x="392411" y="245728"/>
                </a:cubicBezTo>
                <a:cubicBezTo>
                  <a:pt x="382927" y="231614"/>
                  <a:pt x="367557" y="222560"/>
                  <a:pt x="350615" y="221107"/>
                </a:cubicBezTo>
                <a:cubicBezTo>
                  <a:pt x="353311" y="217977"/>
                  <a:pt x="355654" y="214559"/>
                  <a:pt x="357600" y="210915"/>
                </a:cubicBezTo>
                <a:cubicBezTo>
                  <a:pt x="366576" y="194370"/>
                  <a:pt x="366576" y="174407"/>
                  <a:pt x="357600" y="157861"/>
                </a:cubicBezTo>
                <a:cubicBezTo>
                  <a:pt x="347790" y="139593"/>
                  <a:pt x="328711" y="128217"/>
                  <a:pt x="307975" y="128270"/>
                </a:cubicBezTo>
                <a:lnTo>
                  <a:pt x="299276" y="128270"/>
                </a:lnTo>
                <a:lnTo>
                  <a:pt x="299276" y="115348"/>
                </a:lnTo>
                <a:cubicBezTo>
                  <a:pt x="299282" y="92850"/>
                  <a:pt x="281050" y="74607"/>
                  <a:pt x="258552" y="74600"/>
                </a:cubicBezTo>
                <a:cubicBezTo>
                  <a:pt x="251154" y="74598"/>
                  <a:pt x="243895" y="76611"/>
                  <a:pt x="237554" y="80423"/>
                </a:cubicBezTo>
                <a:cubicBezTo>
                  <a:pt x="236696" y="80931"/>
                  <a:pt x="235871" y="81534"/>
                  <a:pt x="235077" y="82106"/>
                </a:cubicBezTo>
                <a:lnTo>
                  <a:pt x="235077" y="19526"/>
                </a:lnTo>
                <a:lnTo>
                  <a:pt x="437674" y="19526"/>
                </a:lnTo>
                <a:close/>
              </a:path>
            </a:pathLst>
          </a:custGeom>
          <a:solidFill>
            <a:schemeClr val="bg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 name="Google Shape;1918;p95">
            <a:extLst>
              <a:ext uri="{FF2B5EF4-FFF2-40B4-BE49-F238E27FC236}">
                <a16:creationId xmlns:a16="http://schemas.microsoft.com/office/drawing/2014/main" id="{DD727D00-8427-9A93-4DBE-80FB4E223318}"/>
              </a:ext>
            </a:extLst>
          </p:cNvPr>
          <p:cNvSpPr/>
          <p:nvPr/>
        </p:nvSpPr>
        <p:spPr>
          <a:xfrm>
            <a:off x="2021278" y="5642770"/>
            <a:ext cx="360363" cy="360363"/>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161" y="490"/>
                </a:moveTo>
                <a:cubicBezTo>
                  <a:pt x="415" y="490"/>
                  <a:pt x="415" y="490"/>
                  <a:pt x="415" y="490"/>
                </a:cubicBezTo>
                <a:cubicBezTo>
                  <a:pt x="435" y="490"/>
                  <a:pt x="453" y="480"/>
                  <a:pt x="463" y="462"/>
                </a:cubicBezTo>
                <a:cubicBezTo>
                  <a:pt x="473" y="445"/>
                  <a:pt x="473" y="424"/>
                  <a:pt x="463" y="407"/>
                </a:cubicBezTo>
                <a:cubicBezTo>
                  <a:pt x="348" y="207"/>
                  <a:pt x="348" y="207"/>
                  <a:pt x="348" y="207"/>
                </a:cubicBezTo>
                <a:cubicBezTo>
                  <a:pt x="348" y="110"/>
                  <a:pt x="348" y="110"/>
                  <a:pt x="348" y="110"/>
                </a:cubicBezTo>
                <a:cubicBezTo>
                  <a:pt x="363" y="110"/>
                  <a:pt x="363" y="110"/>
                  <a:pt x="363" y="110"/>
                </a:cubicBezTo>
                <a:cubicBezTo>
                  <a:pt x="363" y="85"/>
                  <a:pt x="363" y="85"/>
                  <a:pt x="363" y="85"/>
                </a:cubicBezTo>
                <a:cubicBezTo>
                  <a:pt x="213" y="85"/>
                  <a:pt x="213" y="85"/>
                  <a:pt x="213" y="85"/>
                </a:cubicBezTo>
                <a:cubicBezTo>
                  <a:pt x="213" y="110"/>
                  <a:pt x="213" y="110"/>
                  <a:pt x="213" y="110"/>
                </a:cubicBezTo>
                <a:cubicBezTo>
                  <a:pt x="228" y="110"/>
                  <a:pt x="228" y="110"/>
                  <a:pt x="228" y="110"/>
                </a:cubicBezTo>
                <a:cubicBezTo>
                  <a:pt x="228" y="207"/>
                  <a:pt x="228" y="207"/>
                  <a:pt x="228" y="207"/>
                </a:cubicBezTo>
                <a:cubicBezTo>
                  <a:pt x="113" y="407"/>
                  <a:pt x="113" y="407"/>
                  <a:pt x="113" y="407"/>
                </a:cubicBezTo>
                <a:cubicBezTo>
                  <a:pt x="103" y="424"/>
                  <a:pt x="103" y="445"/>
                  <a:pt x="113" y="462"/>
                </a:cubicBezTo>
                <a:cubicBezTo>
                  <a:pt x="123" y="480"/>
                  <a:pt x="141" y="490"/>
                  <a:pt x="161" y="490"/>
                </a:cubicBezTo>
                <a:close/>
                <a:moveTo>
                  <a:pt x="253" y="214"/>
                </a:moveTo>
                <a:cubicBezTo>
                  <a:pt x="253" y="110"/>
                  <a:pt x="253" y="110"/>
                  <a:pt x="253" y="110"/>
                </a:cubicBezTo>
                <a:cubicBezTo>
                  <a:pt x="323" y="110"/>
                  <a:pt x="323" y="110"/>
                  <a:pt x="323" y="110"/>
                </a:cubicBezTo>
                <a:cubicBezTo>
                  <a:pt x="323" y="214"/>
                  <a:pt x="323" y="214"/>
                  <a:pt x="323" y="214"/>
                </a:cubicBezTo>
                <a:cubicBezTo>
                  <a:pt x="369" y="293"/>
                  <a:pt x="369" y="293"/>
                  <a:pt x="369" y="293"/>
                </a:cubicBezTo>
                <a:cubicBezTo>
                  <a:pt x="321" y="293"/>
                  <a:pt x="321" y="293"/>
                  <a:pt x="321" y="293"/>
                </a:cubicBezTo>
                <a:cubicBezTo>
                  <a:pt x="321" y="271"/>
                  <a:pt x="303" y="252"/>
                  <a:pt x="280" y="252"/>
                </a:cubicBezTo>
                <a:cubicBezTo>
                  <a:pt x="257" y="252"/>
                  <a:pt x="239" y="271"/>
                  <a:pt x="239" y="293"/>
                </a:cubicBezTo>
                <a:cubicBezTo>
                  <a:pt x="207" y="293"/>
                  <a:pt x="207" y="293"/>
                  <a:pt x="207" y="293"/>
                </a:cubicBezTo>
                <a:lnTo>
                  <a:pt x="253" y="214"/>
                </a:lnTo>
                <a:close/>
                <a:moveTo>
                  <a:pt x="296" y="293"/>
                </a:moveTo>
                <a:cubicBezTo>
                  <a:pt x="264" y="293"/>
                  <a:pt x="264" y="293"/>
                  <a:pt x="264" y="293"/>
                </a:cubicBezTo>
                <a:cubicBezTo>
                  <a:pt x="264" y="284"/>
                  <a:pt x="271" y="277"/>
                  <a:pt x="280" y="277"/>
                </a:cubicBezTo>
                <a:cubicBezTo>
                  <a:pt x="289" y="277"/>
                  <a:pt x="296" y="284"/>
                  <a:pt x="296" y="293"/>
                </a:cubicBezTo>
                <a:close/>
                <a:moveTo>
                  <a:pt x="134" y="419"/>
                </a:moveTo>
                <a:cubicBezTo>
                  <a:pt x="193" y="318"/>
                  <a:pt x="193" y="318"/>
                  <a:pt x="193" y="318"/>
                </a:cubicBezTo>
                <a:cubicBezTo>
                  <a:pt x="383" y="318"/>
                  <a:pt x="383" y="318"/>
                  <a:pt x="383" y="318"/>
                </a:cubicBezTo>
                <a:cubicBezTo>
                  <a:pt x="442" y="419"/>
                  <a:pt x="442" y="419"/>
                  <a:pt x="442" y="419"/>
                </a:cubicBezTo>
                <a:cubicBezTo>
                  <a:pt x="447" y="429"/>
                  <a:pt x="447" y="440"/>
                  <a:pt x="442" y="450"/>
                </a:cubicBezTo>
                <a:cubicBezTo>
                  <a:pt x="436" y="460"/>
                  <a:pt x="426" y="466"/>
                  <a:pt x="415" y="466"/>
                </a:cubicBezTo>
                <a:cubicBezTo>
                  <a:pt x="161" y="466"/>
                  <a:pt x="161" y="466"/>
                  <a:pt x="161" y="466"/>
                </a:cubicBezTo>
                <a:cubicBezTo>
                  <a:pt x="150" y="466"/>
                  <a:pt x="140" y="460"/>
                  <a:pt x="134" y="450"/>
                </a:cubicBezTo>
                <a:cubicBezTo>
                  <a:pt x="129" y="440"/>
                  <a:pt x="129" y="429"/>
                  <a:pt x="134" y="419"/>
                </a:cubicBezTo>
                <a:close/>
                <a:moveTo>
                  <a:pt x="344" y="415"/>
                </a:moveTo>
                <a:cubicBezTo>
                  <a:pt x="367" y="415"/>
                  <a:pt x="385" y="397"/>
                  <a:pt x="385" y="374"/>
                </a:cubicBezTo>
                <a:cubicBezTo>
                  <a:pt x="385" y="352"/>
                  <a:pt x="367" y="333"/>
                  <a:pt x="344" y="333"/>
                </a:cubicBezTo>
                <a:cubicBezTo>
                  <a:pt x="321" y="333"/>
                  <a:pt x="303" y="352"/>
                  <a:pt x="303" y="374"/>
                </a:cubicBezTo>
                <a:cubicBezTo>
                  <a:pt x="303" y="397"/>
                  <a:pt x="321" y="415"/>
                  <a:pt x="344" y="415"/>
                </a:cubicBezTo>
                <a:close/>
                <a:moveTo>
                  <a:pt x="344" y="358"/>
                </a:moveTo>
                <a:cubicBezTo>
                  <a:pt x="353" y="358"/>
                  <a:pt x="361" y="365"/>
                  <a:pt x="361" y="374"/>
                </a:cubicBezTo>
                <a:cubicBezTo>
                  <a:pt x="361" y="383"/>
                  <a:pt x="353" y="391"/>
                  <a:pt x="344" y="391"/>
                </a:cubicBezTo>
                <a:cubicBezTo>
                  <a:pt x="335" y="391"/>
                  <a:pt x="328" y="383"/>
                  <a:pt x="328" y="374"/>
                </a:cubicBezTo>
                <a:cubicBezTo>
                  <a:pt x="328" y="365"/>
                  <a:pt x="335" y="358"/>
                  <a:pt x="344" y="358"/>
                </a:cubicBezTo>
                <a:close/>
                <a:moveTo>
                  <a:pt x="236" y="452"/>
                </a:moveTo>
                <a:cubicBezTo>
                  <a:pt x="259" y="452"/>
                  <a:pt x="277" y="433"/>
                  <a:pt x="277" y="411"/>
                </a:cubicBezTo>
                <a:cubicBezTo>
                  <a:pt x="277" y="388"/>
                  <a:pt x="259" y="370"/>
                  <a:pt x="236" y="370"/>
                </a:cubicBezTo>
                <a:cubicBezTo>
                  <a:pt x="213" y="370"/>
                  <a:pt x="195" y="388"/>
                  <a:pt x="195" y="411"/>
                </a:cubicBezTo>
                <a:cubicBezTo>
                  <a:pt x="195" y="433"/>
                  <a:pt x="213" y="452"/>
                  <a:pt x="236" y="452"/>
                </a:cubicBezTo>
                <a:close/>
                <a:moveTo>
                  <a:pt x="236" y="394"/>
                </a:moveTo>
                <a:cubicBezTo>
                  <a:pt x="245" y="394"/>
                  <a:pt x="252" y="402"/>
                  <a:pt x="252" y="411"/>
                </a:cubicBezTo>
                <a:cubicBezTo>
                  <a:pt x="252" y="420"/>
                  <a:pt x="245" y="427"/>
                  <a:pt x="236" y="427"/>
                </a:cubicBezTo>
                <a:cubicBezTo>
                  <a:pt x="227" y="427"/>
                  <a:pt x="219" y="420"/>
                  <a:pt x="219" y="411"/>
                </a:cubicBezTo>
                <a:cubicBezTo>
                  <a:pt x="219" y="402"/>
                  <a:pt x="227" y="394"/>
                  <a:pt x="236" y="394"/>
                </a:cubicBez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6" name="Rectangle 5">
            <a:extLst>
              <a:ext uri="{FF2B5EF4-FFF2-40B4-BE49-F238E27FC236}">
                <a16:creationId xmlns:a16="http://schemas.microsoft.com/office/drawing/2014/main" id="{4C448523-D199-838D-0012-DA39AE2F2FF6}"/>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16" name="Group 15">
            <a:extLst>
              <a:ext uri="{FF2B5EF4-FFF2-40B4-BE49-F238E27FC236}">
                <a16:creationId xmlns:a16="http://schemas.microsoft.com/office/drawing/2014/main" id="{9A77E11D-913A-0EDC-C3A8-93005FF6D85F}"/>
              </a:ext>
            </a:extLst>
          </p:cNvPr>
          <p:cNvGrpSpPr/>
          <p:nvPr/>
        </p:nvGrpSpPr>
        <p:grpSpPr>
          <a:xfrm>
            <a:off x="9842140" y="372216"/>
            <a:ext cx="1667215" cy="217488"/>
            <a:chOff x="9842140" y="372216"/>
            <a:chExt cx="1667215" cy="217488"/>
          </a:xfrm>
        </p:grpSpPr>
        <p:sp>
          <p:nvSpPr>
            <p:cNvPr id="17" name="TextBox 16">
              <a:extLst>
                <a:ext uri="{FF2B5EF4-FFF2-40B4-BE49-F238E27FC236}">
                  <a16:creationId xmlns:a16="http://schemas.microsoft.com/office/drawing/2014/main" id="{A0B62BA7-6592-A092-06F6-328959B263E1}"/>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rtl="0">
                <a:lnSpc>
                  <a:spcPct val="100000"/>
                </a:lnSpc>
                <a:spcAft>
                  <a:spcPts val="600"/>
                </a:spcAft>
                <a:buSzPct val="100000"/>
              </a:pPr>
              <a:r>
                <a:rPr lang="en-gb" sz="800">
                  <a:solidFill>
                    <a:schemeClr val="bg1"/>
                  </a:solidFill>
                </a:rPr>
                <a:t>Chemical substances</a:t>
              </a:r>
            </a:p>
          </p:txBody>
        </p:sp>
        <p:sp>
          <p:nvSpPr>
            <p:cNvPr id="18" name="Freeform 49">
              <a:extLst>
                <a:ext uri="{FF2B5EF4-FFF2-40B4-BE49-F238E27FC236}">
                  <a16:creationId xmlns:a16="http://schemas.microsoft.com/office/drawing/2014/main" id="{1467D8C3-A103-C272-2A6A-E892FE831788}"/>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p>
          </p:txBody>
        </p:sp>
      </p:grpSp>
      <p:grpSp>
        <p:nvGrpSpPr>
          <p:cNvPr id="15" name="Group 14">
            <a:extLst>
              <a:ext uri="{FF2B5EF4-FFF2-40B4-BE49-F238E27FC236}">
                <a16:creationId xmlns:a16="http://schemas.microsoft.com/office/drawing/2014/main" id="{68965794-8979-B64D-006A-977C00378C26}"/>
              </a:ext>
            </a:extLst>
          </p:cNvPr>
          <p:cNvGrpSpPr/>
          <p:nvPr/>
        </p:nvGrpSpPr>
        <p:grpSpPr>
          <a:xfrm>
            <a:off x="9122935" y="126781"/>
            <a:ext cx="2626153" cy="217488"/>
            <a:chOff x="9122935" y="126781"/>
            <a:chExt cx="2626153" cy="217488"/>
          </a:xfrm>
        </p:grpSpPr>
        <p:sp>
          <p:nvSpPr>
            <p:cNvPr id="19" name="Rectangle 18">
              <a:extLst>
                <a:ext uri="{FF2B5EF4-FFF2-40B4-BE49-F238E27FC236}">
                  <a16:creationId xmlns:a16="http://schemas.microsoft.com/office/drawing/2014/main" id="{E7853A7E-BDE3-83FE-C2D8-F1A6E1E7E2BC}"/>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000000"/>
                  </a:solidFill>
                  <a:effectLst/>
                  <a:uLnTx/>
                  <a:uFillTx/>
                  <a:ea typeface="Georgia"/>
                  <a:cs typeface="Georgia"/>
                  <a:sym typeface="Georgia"/>
                </a:rPr>
                <a:t>First aid measures</a:t>
              </a:r>
            </a:p>
          </p:txBody>
        </p:sp>
        <p:sp>
          <p:nvSpPr>
            <p:cNvPr id="20" name="Rectangle 19">
              <a:extLst>
                <a:ext uri="{FF2B5EF4-FFF2-40B4-BE49-F238E27FC236}">
                  <a16:creationId xmlns:a16="http://schemas.microsoft.com/office/drawing/2014/main" id="{34DB2373-6962-966D-2E31-FBDC74A74A26}"/>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F326C066-B176-1789-6317-1FD154AA778B}"/>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22" name="Rectangle 21">
              <a:extLst>
                <a:ext uri="{FF2B5EF4-FFF2-40B4-BE49-F238E27FC236}">
                  <a16:creationId xmlns:a16="http://schemas.microsoft.com/office/drawing/2014/main" id="{ADBA13AA-1181-730D-243C-3E9D0268D3F1}"/>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23" name="Rectangle 22">
              <a:extLst>
                <a:ext uri="{FF2B5EF4-FFF2-40B4-BE49-F238E27FC236}">
                  <a16:creationId xmlns:a16="http://schemas.microsoft.com/office/drawing/2014/main" id="{2BF695FC-594B-DC08-6D11-09E183D4C49C}"/>
                </a:ext>
              </a:extLst>
            </p:cNvPr>
            <p:cNvSpPr/>
            <p:nvPr/>
          </p:nvSpPr>
          <p:spPr>
            <a:xfrm>
              <a:off x="9842140"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7</a:t>
              </a:r>
              <a:r>
                <a:rPr lang="en-gb" sz="800" b="1" i="0" u="none" strike="noStrike" kern="0" cap="none" spc="0" normalizeH="0" noProof="0">
                  <a:ln>
                    <a:noFill/>
                  </a:ln>
                  <a:effectLst/>
                  <a:uLnTx/>
                  <a:uFillTx/>
                  <a:ea typeface="Georgia"/>
                  <a:cs typeface="Georgia"/>
                  <a:sym typeface="Georgia"/>
                </a:rPr>
                <a:t>.4</a:t>
              </a:r>
              <a:endParaRPr kumimoji="0" lang="lv-LV" sz="800" b="1" i="0" u="none" strike="noStrike" kern="0" cap="none" spc="0" normalizeH="0" baseline="0" noProof="0" dirty="0">
                <a:ln>
                  <a:noFill/>
                </a:ln>
                <a:effectLst/>
                <a:uLnTx/>
                <a:uFillTx/>
                <a:ea typeface="Georgia"/>
                <a:cs typeface="Georgia"/>
                <a:sym typeface="Georgia"/>
              </a:endParaRPr>
            </a:p>
          </p:txBody>
        </p:sp>
        <p:sp>
          <p:nvSpPr>
            <p:cNvPr id="24" name="Rectangle 23">
              <a:extLst>
                <a:ext uri="{FF2B5EF4-FFF2-40B4-BE49-F238E27FC236}">
                  <a16:creationId xmlns:a16="http://schemas.microsoft.com/office/drawing/2014/main" id="{529C2E11-11AF-E176-F6EA-036B6343F54A}"/>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16328977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9E6BB6A-4571-FBF8-9A7D-06ADE4374D4D}"/>
              </a:ext>
            </a:extLst>
          </p:cNvPr>
          <p:cNvGraphicFramePr>
            <a:graphicFrameLocks noChangeAspect="1"/>
          </p:cNvGraphicFramePr>
          <p:nvPr>
            <p:custDataLst>
              <p:tags r:id="rId1"/>
            </p:custDataLst>
            <p:extLst>
              <p:ext uri="{D42A27DB-BD31-4B8C-83A1-F6EECF244321}">
                <p14:modId xmlns:p14="http://schemas.microsoft.com/office/powerpoint/2010/main" val="2619657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D9E6BB6A-4571-FBF8-9A7D-06ADE4374D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 name="Rectangle 49">
            <a:extLst>
              <a:ext uri="{FF2B5EF4-FFF2-40B4-BE49-F238E27FC236}">
                <a16:creationId xmlns:a16="http://schemas.microsoft.com/office/drawing/2014/main" id="{1A4BBEAC-6EB5-25F4-811D-DB45F02F0295}"/>
              </a:ext>
            </a:extLst>
          </p:cNvPr>
          <p:cNvSpPr/>
          <p:nvPr/>
        </p:nvSpPr>
        <p:spPr>
          <a:xfrm>
            <a:off x="2651760" y="4513587"/>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400" b="1"/>
          </a:p>
        </p:txBody>
      </p:sp>
      <p:sp>
        <p:nvSpPr>
          <p:cNvPr id="51" name="Rectangle 50">
            <a:extLst>
              <a:ext uri="{FF2B5EF4-FFF2-40B4-BE49-F238E27FC236}">
                <a16:creationId xmlns:a16="http://schemas.microsoft.com/office/drawing/2014/main" id="{0E0F8141-5C16-7EC2-B865-14B3D6B78AD4}"/>
              </a:ext>
            </a:extLst>
          </p:cNvPr>
          <p:cNvSpPr/>
          <p:nvPr/>
        </p:nvSpPr>
        <p:spPr>
          <a:xfrm>
            <a:off x="2651760" y="2630366"/>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400" b="1"/>
          </a:p>
        </p:txBody>
      </p:sp>
      <p:sp>
        <p:nvSpPr>
          <p:cNvPr id="40" name="Rectangle 39">
            <a:extLst>
              <a:ext uri="{FF2B5EF4-FFF2-40B4-BE49-F238E27FC236}">
                <a16:creationId xmlns:a16="http://schemas.microsoft.com/office/drawing/2014/main" id="{20F59D2F-1518-9016-5B9F-D2809CA79C07}"/>
              </a:ext>
            </a:extLst>
          </p:cNvPr>
          <p:cNvSpPr/>
          <p:nvPr/>
        </p:nvSpPr>
        <p:spPr>
          <a:xfrm>
            <a:off x="2847530" y="2419349"/>
            <a:ext cx="4352925"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endParaRPr lang="lv-LV" sz="1400" b="1">
              <a:solidFill>
                <a:schemeClr val="tx1"/>
              </a:solidFill>
            </a:endParaRPr>
          </a:p>
        </p:txBody>
      </p:sp>
      <p:sp>
        <p:nvSpPr>
          <p:cNvPr id="41" name="Rectangle 40">
            <a:extLst>
              <a:ext uri="{FF2B5EF4-FFF2-40B4-BE49-F238E27FC236}">
                <a16:creationId xmlns:a16="http://schemas.microsoft.com/office/drawing/2014/main" id="{0EB00E11-8C1F-B5F4-5905-2A785933B1C2}"/>
              </a:ext>
            </a:extLst>
          </p:cNvPr>
          <p:cNvSpPr/>
          <p:nvPr/>
        </p:nvSpPr>
        <p:spPr>
          <a:xfrm>
            <a:off x="7396160" y="2419349"/>
            <a:ext cx="4352925"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endParaRPr lang="lv-LV" sz="1400" b="1">
              <a:solidFill>
                <a:schemeClr val="tx1"/>
              </a:solidFill>
            </a:endParaRPr>
          </a:p>
        </p:txBody>
      </p:sp>
      <p:sp>
        <p:nvSpPr>
          <p:cNvPr id="42" name="Rectangle 41">
            <a:extLst>
              <a:ext uri="{FF2B5EF4-FFF2-40B4-BE49-F238E27FC236}">
                <a16:creationId xmlns:a16="http://schemas.microsoft.com/office/drawing/2014/main" id="{C5E2FBCB-4C78-8BA6-92C2-113E2A9A0F99}"/>
              </a:ext>
            </a:extLst>
          </p:cNvPr>
          <p:cNvSpPr/>
          <p:nvPr/>
        </p:nvSpPr>
        <p:spPr>
          <a:xfrm>
            <a:off x="7396160" y="1830995"/>
            <a:ext cx="435292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bg1"/>
                </a:solidFill>
              </a:rPr>
              <a:t>Important!</a:t>
            </a:r>
          </a:p>
        </p:txBody>
      </p:sp>
      <p:sp>
        <p:nvSpPr>
          <p:cNvPr id="43" name="Content Placeholder 1">
            <a:extLst>
              <a:ext uri="{FF2B5EF4-FFF2-40B4-BE49-F238E27FC236}">
                <a16:creationId xmlns:a16="http://schemas.microsoft.com/office/drawing/2014/main" id="{E4B9AF95-5B50-0DDD-E36D-06F50BD88F73}"/>
              </a:ext>
            </a:extLst>
          </p:cNvPr>
          <p:cNvSpPr txBox="1">
            <a:spLocks/>
          </p:cNvSpPr>
          <p:nvPr/>
        </p:nvSpPr>
        <p:spPr>
          <a:xfrm>
            <a:off x="11173087" y="18309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44" name="Content Placeholder 1">
            <a:extLst>
              <a:ext uri="{FF2B5EF4-FFF2-40B4-BE49-F238E27FC236}">
                <a16:creationId xmlns:a16="http://schemas.microsoft.com/office/drawing/2014/main" id="{432432F1-3AAF-D466-9140-90195C502BE5}"/>
              </a:ext>
            </a:extLst>
          </p:cNvPr>
          <p:cNvSpPr txBox="1">
            <a:spLocks/>
          </p:cNvSpPr>
          <p:nvPr/>
        </p:nvSpPr>
        <p:spPr>
          <a:xfrm>
            <a:off x="11101699" y="18309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45" name="Google Shape;794;p79">
            <a:extLst>
              <a:ext uri="{FF2B5EF4-FFF2-40B4-BE49-F238E27FC236}">
                <a16:creationId xmlns:a16="http://schemas.microsoft.com/office/drawing/2014/main" id="{BBB618E7-38BE-5D5E-5829-50BF3F885A7A}"/>
              </a:ext>
            </a:extLst>
          </p:cNvPr>
          <p:cNvSpPr/>
          <p:nvPr/>
        </p:nvSpPr>
        <p:spPr>
          <a:xfrm>
            <a:off x="11281087" y="19389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6" name="Rectangle 45">
            <a:extLst>
              <a:ext uri="{FF2B5EF4-FFF2-40B4-BE49-F238E27FC236}">
                <a16:creationId xmlns:a16="http://schemas.microsoft.com/office/drawing/2014/main" id="{CCBFC508-29E6-E18C-F026-338E7CFE8F62}"/>
              </a:ext>
            </a:extLst>
          </p:cNvPr>
          <p:cNvSpPr/>
          <p:nvPr/>
        </p:nvSpPr>
        <p:spPr>
          <a:xfrm>
            <a:off x="2847530" y="1830995"/>
            <a:ext cx="435286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tx1"/>
                </a:solidFill>
              </a:rPr>
              <a:t>How to proceed?</a:t>
            </a:r>
          </a:p>
        </p:txBody>
      </p:sp>
      <p:sp>
        <p:nvSpPr>
          <p:cNvPr id="47" name="Content Placeholder 1">
            <a:extLst>
              <a:ext uri="{FF2B5EF4-FFF2-40B4-BE49-F238E27FC236}">
                <a16:creationId xmlns:a16="http://schemas.microsoft.com/office/drawing/2014/main" id="{2250920E-45D4-FCBD-658A-DADC92648ECC}"/>
              </a:ext>
            </a:extLst>
          </p:cNvPr>
          <p:cNvSpPr txBox="1">
            <a:spLocks/>
          </p:cNvSpPr>
          <p:nvPr/>
        </p:nvSpPr>
        <p:spPr>
          <a:xfrm>
            <a:off x="6624391" y="183099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48" name="Content Placeholder 1">
            <a:extLst>
              <a:ext uri="{FF2B5EF4-FFF2-40B4-BE49-F238E27FC236}">
                <a16:creationId xmlns:a16="http://schemas.microsoft.com/office/drawing/2014/main" id="{E5159085-1D43-0CA9-BCE2-A9337DBD2665}"/>
              </a:ext>
            </a:extLst>
          </p:cNvPr>
          <p:cNvSpPr txBox="1">
            <a:spLocks/>
          </p:cNvSpPr>
          <p:nvPr/>
        </p:nvSpPr>
        <p:spPr>
          <a:xfrm>
            <a:off x="6553003" y="183099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49" name="Google Shape;760;p79">
            <a:extLst>
              <a:ext uri="{FF2B5EF4-FFF2-40B4-BE49-F238E27FC236}">
                <a16:creationId xmlns:a16="http://schemas.microsoft.com/office/drawing/2014/main" id="{94C05F3C-8F40-7D2D-07B6-C191DB36D094}"/>
              </a:ext>
            </a:extLst>
          </p:cNvPr>
          <p:cNvSpPr/>
          <p:nvPr/>
        </p:nvSpPr>
        <p:spPr>
          <a:xfrm>
            <a:off x="6732391" y="1938995"/>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6" name="Rectangle 35">
            <a:extLst>
              <a:ext uri="{FF2B5EF4-FFF2-40B4-BE49-F238E27FC236}">
                <a16:creationId xmlns:a16="http://schemas.microsoft.com/office/drawing/2014/main" id="{A8F39C25-781C-A7DA-387A-D92FCABEE1F5}"/>
              </a:ext>
            </a:extLst>
          </p:cNvPr>
          <p:cNvSpPr/>
          <p:nvPr/>
        </p:nvSpPr>
        <p:spPr>
          <a:xfrm>
            <a:off x="442912" y="2630366"/>
            <a:ext cx="2208847" cy="165893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rtl="0">
              <a:lnSpc>
                <a:spcPct val="100000"/>
              </a:lnSpc>
            </a:pPr>
            <a:r>
              <a:rPr lang="en-gb" sz="1400" b="1"/>
              <a:t>Low Voltage </a:t>
            </a:r>
            <a:endParaRPr lang="en-US" sz="1400" b="1"/>
          </a:p>
          <a:p>
            <a:pPr rtl="0">
              <a:lnSpc>
                <a:spcPct val="100000"/>
              </a:lnSpc>
            </a:pPr>
            <a:r>
              <a:rPr lang="en-gb" sz="1400" b="1"/>
              <a:t>(up to 1000 V)</a:t>
            </a:r>
          </a:p>
        </p:txBody>
      </p:sp>
      <p:sp>
        <p:nvSpPr>
          <p:cNvPr id="37" name="Rectangle 36">
            <a:extLst>
              <a:ext uri="{FF2B5EF4-FFF2-40B4-BE49-F238E27FC236}">
                <a16:creationId xmlns:a16="http://schemas.microsoft.com/office/drawing/2014/main" id="{BD11DB78-D65B-9D3C-EED7-1721F1C9BCF6}"/>
              </a:ext>
            </a:extLst>
          </p:cNvPr>
          <p:cNvSpPr/>
          <p:nvPr/>
        </p:nvSpPr>
        <p:spPr>
          <a:xfrm>
            <a:off x="442912" y="4513587"/>
            <a:ext cx="2208847" cy="165893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rtl="0">
              <a:lnSpc>
                <a:spcPct val="100000"/>
              </a:lnSpc>
            </a:pPr>
            <a:r>
              <a:rPr lang="en-gb" sz="1400" b="1"/>
              <a:t>High Voltage </a:t>
            </a:r>
            <a:endParaRPr lang="en-US" sz="1400" b="1"/>
          </a:p>
          <a:p>
            <a:pPr rtl="0">
              <a:lnSpc>
                <a:spcPct val="100000"/>
              </a:lnSpc>
            </a:pPr>
            <a:r>
              <a:rPr lang="en-gb" sz="1400" b="1"/>
              <a:t>(over 1000 V)</a:t>
            </a:r>
          </a:p>
        </p:txBody>
      </p:sp>
      <p:sp>
        <p:nvSpPr>
          <p:cNvPr id="38" name="Content Placeholder 1">
            <a:extLst>
              <a:ext uri="{FF2B5EF4-FFF2-40B4-BE49-F238E27FC236}">
                <a16:creationId xmlns:a16="http://schemas.microsoft.com/office/drawing/2014/main" id="{7B1F3CCD-2DE1-C2A8-D340-EAF5B3993679}"/>
              </a:ext>
            </a:extLst>
          </p:cNvPr>
          <p:cNvSpPr txBox="1">
            <a:spLocks/>
          </p:cNvSpPr>
          <p:nvPr/>
        </p:nvSpPr>
        <p:spPr>
          <a:xfrm>
            <a:off x="2579759" y="2630366"/>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39" name="Content Placeholder 1">
            <a:extLst>
              <a:ext uri="{FF2B5EF4-FFF2-40B4-BE49-F238E27FC236}">
                <a16:creationId xmlns:a16="http://schemas.microsoft.com/office/drawing/2014/main" id="{DCB78F50-A328-CF00-9A1A-F2F677D9CB38}"/>
              </a:ext>
            </a:extLst>
          </p:cNvPr>
          <p:cNvSpPr txBox="1">
            <a:spLocks/>
          </p:cNvSpPr>
          <p:nvPr/>
        </p:nvSpPr>
        <p:spPr>
          <a:xfrm>
            <a:off x="2579759" y="4513587"/>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2" y="443720"/>
            <a:ext cx="11306175" cy="1387275"/>
          </a:xfrm>
        </p:spPr>
        <p:txBody>
          <a:bodyPr vert="horz" rtlCol="0"/>
          <a:lstStyle/>
          <a:p>
            <a:pPr rtl="0"/>
            <a:r>
              <a:rPr lang="en-gb"/>
              <a:t>What to do in case of electrocution?</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rtlCol="0"/>
          <a:lstStyle/>
          <a:p>
            <a:pPr rtl="0"/>
            <a:fld id="{7870704B-CE94-48CC-AF30-84932A1262A7}" type="slidenum">
              <a:rPr lang="en-GB" smtClean="0"/>
              <a:pPr rtl="0"/>
              <a:t>28</a:t>
            </a:fld>
            <a:endParaRPr lang="en-GB"/>
          </a:p>
        </p:txBody>
      </p:sp>
      <p:sp>
        <p:nvSpPr>
          <p:cNvPr id="16" name="TextBox 15">
            <a:extLst>
              <a:ext uri="{FF2B5EF4-FFF2-40B4-BE49-F238E27FC236}">
                <a16:creationId xmlns:a16="http://schemas.microsoft.com/office/drawing/2014/main" id="{30819613-CE74-49B6-0807-44FDBB81D466}"/>
              </a:ext>
            </a:extLst>
          </p:cNvPr>
          <p:cNvSpPr txBox="1"/>
          <p:nvPr/>
        </p:nvSpPr>
        <p:spPr>
          <a:xfrm>
            <a:off x="2847530" y="2630366"/>
            <a:ext cx="4352925" cy="1658938"/>
          </a:xfrm>
          <a:prstGeom prst="rect">
            <a:avLst/>
          </a:prstGeom>
          <a:noFill/>
        </p:spPr>
        <p:txBody>
          <a:bodyPr wrap="square" lIns="72000" rIns="72000" rtlCol="0" anchor="ctr">
            <a:noAutofit/>
          </a:bodyPr>
          <a:lstStyle/>
          <a:p>
            <a:pPr marL="284400" lvl="1" indent="-284400" rtl="0" hangingPunct="0">
              <a:buBlip>
                <a:blip r:embed="rId6"/>
              </a:buBlip>
              <a:tabLst>
                <a:tab pos="457200" algn="l"/>
                <a:tab pos="1586230" algn="l"/>
              </a:tabLst>
            </a:pPr>
            <a:r>
              <a:rPr lang="lv-LV" sz="1400" dirty="0" err="1">
                <a:effectLst/>
                <a:ea typeface="Times New Roman" panose="02020603050405020304" pitchFamily="18" charset="0"/>
              </a:rPr>
              <a:t>Protect</a:t>
            </a:r>
            <a:r>
              <a:rPr lang="lv-LV" sz="1400" dirty="0">
                <a:effectLst/>
                <a:ea typeface="Times New Roman" panose="02020603050405020304" pitchFamily="18" charset="0"/>
              </a:rPr>
              <a:t> </a:t>
            </a:r>
            <a:r>
              <a:rPr lang="lv-LV" sz="1400" dirty="0" err="1">
                <a:effectLst/>
                <a:ea typeface="Times New Roman" panose="02020603050405020304" pitchFamily="18" charset="0"/>
              </a:rPr>
              <a:t>yourself</a:t>
            </a:r>
            <a:r>
              <a:rPr lang="lv-LV" sz="1400" dirty="0">
                <a:effectLst/>
                <a:ea typeface="Times New Roman" panose="02020603050405020304" pitchFamily="18" charset="0"/>
              </a:rPr>
              <a:t>.</a:t>
            </a:r>
            <a:endParaRPr lang="en-GB" sz="1400" dirty="0">
              <a:effectLst/>
              <a:ea typeface="Times New Roman" panose="02020603050405020304" pitchFamily="18" charset="0"/>
            </a:endParaRPr>
          </a:p>
          <a:p>
            <a:pPr marL="284400" lvl="1" indent="-284400" rtl="0" hangingPunct="0">
              <a:buBlip>
                <a:blip r:embed="rId6"/>
              </a:buBlip>
              <a:tabLst>
                <a:tab pos="457200" algn="l"/>
                <a:tab pos="1586230" algn="l"/>
              </a:tabLst>
            </a:pPr>
            <a:r>
              <a:rPr lang="en-gb" sz="1400" dirty="0">
                <a:effectLst/>
                <a:ea typeface="Times New Roman" panose="02020603050405020304" pitchFamily="18" charset="0"/>
              </a:rPr>
              <a:t>Switch off the power.</a:t>
            </a:r>
            <a:endParaRPr lang="en-GB" sz="1400" dirty="0">
              <a:effectLst/>
              <a:ea typeface="Times New Roman" panose="02020603050405020304" pitchFamily="18" charset="0"/>
            </a:endParaRPr>
          </a:p>
          <a:p>
            <a:pPr marL="284400" lvl="1" indent="-284400" rtl="0" hangingPunct="0">
              <a:buBlip>
                <a:blip r:embed="rId6"/>
              </a:buBlip>
              <a:tabLst>
                <a:tab pos="457200" algn="l"/>
                <a:tab pos="1586230" algn="l"/>
              </a:tabLst>
            </a:pPr>
            <a:r>
              <a:rPr lang="en-gb" sz="1400" dirty="0">
                <a:effectLst/>
                <a:ea typeface="Times New Roman" panose="02020603050405020304" pitchFamily="18" charset="0"/>
              </a:rPr>
              <a:t>Call an ambulance.</a:t>
            </a:r>
            <a:endParaRPr lang="en-GB" sz="1400" dirty="0">
              <a:effectLst/>
              <a:ea typeface="Times New Roman" panose="02020603050405020304" pitchFamily="18" charset="0"/>
            </a:endParaRPr>
          </a:p>
          <a:p>
            <a:pPr marL="284400" lvl="1" indent="-284400" rtl="0" hangingPunct="0">
              <a:buBlip>
                <a:blip r:embed="rId6"/>
              </a:buBlip>
              <a:tabLst>
                <a:tab pos="457200" algn="l"/>
                <a:tab pos="1586230" algn="l"/>
              </a:tabLst>
            </a:pPr>
            <a:r>
              <a:rPr lang="en-gb" sz="1400" dirty="0">
                <a:effectLst/>
                <a:ea typeface="Times New Roman" panose="02020603050405020304" pitchFamily="18" charset="0"/>
              </a:rPr>
              <a:t>Take resuscitation measures if necessary.</a:t>
            </a:r>
            <a:endParaRPr lang="en-GB" sz="1400" dirty="0">
              <a:effectLst/>
              <a:ea typeface="Times New Roman" panose="02020603050405020304" pitchFamily="18" charset="0"/>
            </a:endParaRPr>
          </a:p>
        </p:txBody>
      </p:sp>
      <p:sp>
        <p:nvSpPr>
          <p:cNvPr id="18" name="TextBox 17">
            <a:extLst>
              <a:ext uri="{FF2B5EF4-FFF2-40B4-BE49-F238E27FC236}">
                <a16:creationId xmlns:a16="http://schemas.microsoft.com/office/drawing/2014/main" id="{E1D4AC8F-0322-E8A8-E509-5AF71473A8F4}"/>
              </a:ext>
            </a:extLst>
          </p:cNvPr>
          <p:cNvSpPr txBox="1"/>
          <p:nvPr/>
        </p:nvSpPr>
        <p:spPr>
          <a:xfrm>
            <a:off x="7396160" y="2630366"/>
            <a:ext cx="4352925" cy="1658938"/>
          </a:xfrm>
          <a:prstGeom prst="rect">
            <a:avLst/>
          </a:prstGeom>
          <a:noFill/>
        </p:spPr>
        <p:txBody>
          <a:bodyPr wrap="square" lIns="72000" rIns="72000" rtlCol="0" anchor="ctr">
            <a:noAutofit/>
          </a:bodyPr>
          <a:lstStyle/>
          <a:p>
            <a:pPr marL="284400" lvl="0" indent="-284400" rtl="0" hangingPunct="0">
              <a:buSzPts val="1200"/>
              <a:buBlip>
                <a:blip r:embed="rId6"/>
              </a:buBlip>
            </a:pPr>
            <a:r>
              <a:rPr lang="en-gb" sz="1400">
                <a:effectLst/>
                <a:ea typeface="Calibri" panose="020F0502020204030204" pitchFamily="34" charset="0"/>
                <a:cs typeface="Times New Roman" panose="02020603050405020304" pitchFamily="18" charset="0"/>
              </a:rPr>
              <a:t>Always call an ambulance, because even if things seem to be going well, the victim's condition can deteriorate significantly later. </a:t>
            </a:r>
            <a:endParaRPr lang="en-GB" sz="1400">
              <a:effectLst/>
              <a:ea typeface="Calibri" panose="020F0502020204030204" pitchFamily="34" charset="0"/>
              <a:cs typeface="Times New Roman" panose="02020603050405020304" pitchFamily="18" charset="0"/>
            </a:endParaRPr>
          </a:p>
        </p:txBody>
      </p:sp>
      <p:sp>
        <p:nvSpPr>
          <p:cNvPr id="20" name="TextBox 19">
            <a:extLst>
              <a:ext uri="{FF2B5EF4-FFF2-40B4-BE49-F238E27FC236}">
                <a16:creationId xmlns:a16="http://schemas.microsoft.com/office/drawing/2014/main" id="{BCB0856A-D775-E9B2-A22B-A661D9F8D43C}"/>
              </a:ext>
            </a:extLst>
          </p:cNvPr>
          <p:cNvSpPr txBox="1"/>
          <p:nvPr/>
        </p:nvSpPr>
        <p:spPr>
          <a:xfrm>
            <a:off x="2847530" y="4513587"/>
            <a:ext cx="4352925" cy="1658938"/>
          </a:xfrm>
          <a:prstGeom prst="rect">
            <a:avLst/>
          </a:prstGeom>
          <a:noFill/>
        </p:spPr>
        <p:txBody>
          <a:bodyPr wrap="square" lIns="72000" rIns="72000" rtlCol="0" anchor="ctr">
            <a:noAutofit/>
          </a:bodyPr>
          <a:lstStyle/>
          <a:p>
            <a:pPr marL="284400" lvl="0" indent="-284400" rtl="0" hangingPunct="0">
              <a:buBlip>
                <a:blip r:embed="rId6"/>
              </a:buBlip>
              <a:tabLst>
                <a:tab pos="457200" algn="l"/>
              </a:tabLst>
            </a:pPr>
            <a:r>
              <a:rPr lang="en-gb" sz="1400">
                <a:effectLst/>
                <a:ea typeface="Times New Roman" panose="02020603050405020304" pitchFamily="18" charset="0"/>
              </a:rPr>
              <a:t>Do not approach the scene of the accident, beware of step voltages and electric arcs.</a:t>
            </a:r>
            <a:endParaRPr lang="en-GB" sz="1400">
              <a:effectLst/>
              <a:ea typeface="Times New Roman" panose="02020603050405020304" pitchFamily="18" charset="0"/>
            </a:endParaRPr>
          </a:p>
          <a:p>
            <a:pPr marL="284400" lvl="0" indent="-284400" rtl="0" hangingPunct="0">
              <a:buBlip>
                <a:blip r:embed="rId6"/>
              </a:buBlip>
              <a:tabLst>
                <a:tab pos="457200" algn="l"/>
              </a:tabLst>
            </a:pPr>
            <a:r>
              <a:rPr lang="en-gb" sz="1400">
                <a:effectLst/>
                <a:ea typeface="Times New Roman" panose="02020603050405020304" pitchFamily="18" charset="0"/>
              </a:rPr>
              <a:t>Call an ambulance, inform about the high voltage.</a:t>
            </a:r>
            <a:endParaRPr lang="en-GB" sz="1400">
              <a:effectLst/>
              <a:ea typeface="Times New Roman" panose="02020603050405020304" pitchFamily="18" charset="0"/>
            </a:endParaRPr>
          </a:p>
          <a:p>
            <a:pPr marL="284400" lvl="0" indent="-284400" rtl="0" hangingPunct="0">
              <a:buBlip>
                <a:blip r:embed="rId6"/>
              </a:buBlip>
              <a:tabLst>
                <a:tab pos="457200" algn="l"/>
              </a:tabLst>
            </a:pPr>
            <a:r>
              <a:rPr lang="en-gb" sz="1400">
                <a:effectLst/>
                <a:ea typeface="Times New Roman" panose="02020603050405020304" pitchFamily="18" charset="0"/>
              </a:rPr>
              <a:t>If necessary, only take resuscitation measures when the high-voltage power is switched off.</a:t>
            </a:r>
            <a:endParaRPr lang="en-GB" sz="1400">
              <a:effectLst/>
              <a:ea typeface="Times New Roman" panose="02020603050405020304" pitchFamily="18" charset="0"/>
            </a:endParaRPr>
          </a:p>
        </p:txBody>
      </p:sp>
      <p:sp>
        <p:nvSpPr>
          <p:cNvPr id="22" name="TextBox 21">
            <a:extLst>
              <a:ext uri="{FF2B5EF4-FFF2-40B4-BE49-F238E27FC236}">
                <a16:creationId xmlns:a16="http://schemas.microsoft.com/office/drawing/2014/main" id="{044C1CE5-09D8-63ED-7E23-4A59A70CC41B}"/>
              </a:ext>
            </a:extLst>
          </p:cNvPr>
          <p:cNvSpPr txBox="1"/>
          <p:nvPr/>
        </p:nvSpPr>
        <p:spPr>
          <a:xfrm>
            <a:off x="7396160" y="4513587"/>
            <a:ext cx="4352925" cy="1658938"/>
          </a:xfrm>
          <a:prstGeom prst="rect">
            <a:avLst/>
          </a:prstGeom>
          <a:noFill/>
        </p:spPr>
        <p:txBody>
          <a:bodyPr wrap="square" lIns="72000" rIns="72000" rtlCol="0" anchor="ctr">
            <a:noAutofit/>
          </a:bodyPr>
          <a:lstStyle/>
          <a:p>
            <a:pPr marL="284400" lvl="0" indent="-284400" rtl="0" hangingPunct="0">
              <a:buBlip>
                <a:blip r:embed="rId6"/>
              </a:buBlip>
            </a:pPr>
            <a:r>
              <a:rPr lang="en-gb" sz="1400">
                <a:effectLst/>
                <a:ea typeface="Calibri" panose="020F0502020204030204" pitchFamily="34" charset="0"/>
                <a:cs typeface="Times New Roman" panose="02020603050405020304" pitchFamily="18" charset="0"/>
              </a:rPr>
              <a:t>Lightning is also an electrical injury. If necessary, resuscitate and always call an ambulance.</a:t>
            </a:r>
            <a:endParaRPr lang="en-GB" sz="1400">
              <a:effectLst/>
              <a:ea typeface="Calibri" panose="020F0502020204030204" pitchFamily="34" charset="0"/>
              <a:cs typeface="Times New Roman" panose="02020603050405020304" pitchFamily="18" charset="0"/>
            </a:endParaRPr>
          </a:p>
        </p:txBody>
      </p:sp>
      <p:sp>
        <p:nvSpPr>
          <p:cNvPr id="2" name="Google Shape;679;p78">
            <a:extLst>
              <a:ext uri="{FF2B5EF4-FFF2-40B4-BE49-F238E27FC236}">
                <a16:creationId xmlns:a16="http://schemas.microsoft.com/office/drawing/2014/main" id="{B893D956-176C-11CE-8C57-0284D21830E0}"/>
              </a:ext>
            </a:extLst>
          </p:cNvPr>
          <p:cNvSpPr/>
          <p:nvPr/>
        </p:nvSpPr>
        <p:spPr>
          <a:xfrm>
            <a:off x="2021278" y="3724727"/>
            <a:ext cx="360363" cy="360363"/>
          </a:xfrm>
          <a:custGeom>
            <a:avLst/>
            <a:gdLst/>
            <a:ahLst/>
            <a:cxnLst/>
            <a:rect l="l" t="t" r="r" b="b"/>
            <a:pathLst>
              <a:path w="704" h="706" extrusionOk="0">
                <a:moveTo>
                  <a:pt x="0" y="0"/>
                </a:moveTo>
                <a:lnTo>
                  <a:pt x="0" y="706"/>
                </a:lnTo>
                <a:lnTo>
                  <a:pt x="98" y="706"/>
                </a:lnTo>
                <a:lnTo>
                  <a:pt x="98" y="312"/>
                </a:lnTo>
                <a:lnTo>
                  <a:pt x="208" y="312"/>
                </a:lnTo>
                <a:lnTo>
                  <a:pt x="208" y="706"/>
                </a:lnTo>
                <a:lnTo>
                  <a:pt x="297" y="706"/>
                </a:lnTo>
                <a:lnTo>
                  <a:pt x="297" y="482"/>
                </a:lnTo>
                <a:lnTo>
                  <a:pt x="407" y="482"/>
                </a:lnTo>
                <a:lnTo>
                  <a:pt x="407" y="706"/>
                </a:lnTo>
                <a:lnTo>
                  <a:pt x="496" y="706"/>
                </a:lnTo>
                <a:lnTo>
                  <a:pt x="496" y="608"/>
                </a:lnTo>
                <a:lnTo>
                  <a:pt x="606" y="608"/>
                </a:lnTo>
                <a:lnTo>
                  <a:pt x="606" y="706"/>
                </a:lnTo>
                <a:lnTo>
                  <a:pt x="704" y="706"/>
                </a:lnTo>
                <a:lnTo>
                  <a:pt x="704" y="0"/>
                </a:lnTo>
                <a:lnTo>
                  <a:pt x="0" y="0"/>
                </a:lnTo>
                <a:close/>
                <a:moveTo>
                  <a:pt x="675" y="676"/>
                </a:moveTo>
                <a:lnTo>
                  <a:pt x="635" y="676"/>
                </a:lnTo>
                <a:lnTo>
                  <a:pt x="635" y="578"/>
                </a:lnTo>
                <a:lnTo>
                  <a:pt x="467" y="578"/>
                </a:lnTo>
                <a:lnTo>
                  <a:pt x="467" y="676"/>
                </a:lnTo>
                <a:lnTo>
                  <a:pt x="436" y="676"/>
                </a:lnTo>
                <a:lnTo>
                  <a:pt x="436" y="452"/>
                </a:lnTo>
                <a:lnTo>
                  <a:pt x="268" y="452"/>
                </a:lnTo>
                <a:lnTo>
                  <a:pt x="268" y="676"/>
                </a:lnTo>
                <a:lnTo>
                  <a:pt x="237" y="676"/>
                </a:lnTo>
                <a:lnTo>
                  <a:pt x="237" y="282"/>
                </a:lnTo>
                <a:lnTo>
                  <a:pt x="68" y="282"/>
                </a:lnTo>
                <a:lnTo>
                  <a:pt x="68" y="676"/>
                </a:lnTo>
                <a:lnTo>
                  <a:pt x="30" y="676"/>
                </a:lnTo>
                <a:lnTo>
                  <a:pt x="30" y="31"/>
                </a:lnTo>
                <a:lnTo>
                  <a:pt x="154" y="31"/>
                </a:lnTo>
                <a:lnTo>
                  <a:pt x="385" y="262"/>
                </a:lnTo>
                <a:lnTo>
                  <a:pt x="353" y="295"/>
                </a:lnTo>
                <a:lnTo>
                  <a:pt x="560" y="502"/>
                </a:lnTo>
                <a:lnTo>
                  <a:pt x="490" y="502"/>
                </a:lnTo>
                <a:lnTo>
                  <a:pt x="490" y="533"/>
                </a:lnTo>
                <a:lnTo>
                  <a:pt x="611" y="533"/>
                </a:lnTo>
                <a:lnTo>
                  <a:pt x="611" y="412"/>
                </a:lnTo>
                <a:lnTo>
                  <a:pt x="582" y="412"/>
                </a:lnTo>
                <a:lnTo>
                  <a:pt x="582" y="482"/>
                </a:lnTo>
                <a:lnTo>
                  <a:pt x="396" y="295"/>
                </a:lnTo>
                <a:lnTo>
                  <a:pt x="428" y="262"/>
                </a:lnTo>
                <a:lnTo>
                  <a:pt x="197" y="31"/>
                </a:lnTo>
                <a:lnTo>
                  <a:pt x="675" y="31"/>
                </a:lnTo>
                <a:lnTo>
                  <a:pt x="675" y="676"/>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800" b="1">
              <a:solidFill>
                <a:schemeClr val="accent1"/>
              </a:solidFill>
              <a:latin typeface="Arial"/>
              <a:ea typeface="Arial"/>
              <a:cs typeface="Arial"/>
              <a:sym typeface="Arial"/>
            </a:endParaRPr>
          </a:p>
        </p:txBody>
      </p:sp>
      <p:sp>
        <p:nvSpPr>
          <p:cNvPr id="5" name="Google Shape;747;p79">
            <a:extLst>
              <a:ext uri="{FF2B5EF4-FFF2-40B4-BE49-F238E27FC236}">
                <a16:creationId xmlns:a16="http://schemas.microsoft.com/office/drawing/2014/main" id="{B0E2286B-FF4C-E63E-93B0-B50375ED16F4}"/>
              </a:ext>
            </a:extLst>
          </p:cNvPr>
          <p:cNvSpPr/>
          <p:nvPr/>
        </p:nvSpPr>
        <p:spPr>
          <a:xfrm>
            <a:off x="2021278" y="5642770"/>
            <a:ext cx="360363" cy="360363"/>
          </a:xfrm>
          <a:custGeom>
            <a:avLst/>
            <a:gdLst/>
            <a:ahLst/>
            <a:cxnLst/>
            <a:rect l="l" t="t" r="r" b="b"/>
            <a:pathLst>
              <a:path w="704" h="706" extrusionOk="0">
                <a:moveTo>
                  <a:pt x="0" y="0"/>
                </a:moveTo>
                <a:lnTo>
                  <a:pt x="0" y="706"/>
                </a:lnTo>
                <a:lnTo>
                  <a:pt x="98" y="706"/>
                </a:lnTo>
                <a:lnTo>
                  <a:pt x="98" y="608"/>
                </a:lnTo>
                <a:lnTo>
                  <a:pt x="208" y="608"/>
                </a:lnTo>
                <a:lnTo>
                  <a:pt x="208" y="706"/>
                </a:lnTo>
                <a:lnTo>
                  <a:pt x="297" y="706"/>
                </a:lnTo>
                <a:lnTo>
                  <a:pt x="297" y="482"/>
                </a:lnTo>
                <a:lnTo>
                  <a:pt x="407" y="482"/>
                </a:lnTo>
                <a:lnTo>
                  <a:pt x="407" y="706"/>
                </a:lnTo>
                <a:lnTo>
                  <a:pt x="496" y="706"/>
                </a:lnTo>
                <a:lnTo>
                  <a:pt x="496" y="313"/>
                </a:lnTo>
                <a:lnTo>
                  <a:pt x="606" y="313"/>
                </a:lnTo>
                <a:lnTo>
                  <a:pt x="606" y="706"/>
                </a:lnTo>
                <a:lnTo>
                  <a:pt x="704" y="706"/>
                </a:lnTo>
                <a:lnTo>
                  <a:pt x="704" y="0"/>
                </a:lnTo>
                <a:lnTo>
                  <a:pt x="0" y="0"/>
                </a:lnTo>
                <a:close/>
                <a:moveTo>
                  <a:pt x="673" y="675"/>
                </a:moveTo>
                <a:lnTo>
                  <a:pt x="636" y="675"/>
                </a:lnTo>
                <a:lnTo>
                  <a:pt x="636" y="282"/>
                </a:lnTo>
                <a:lnTo>
                  <a:pt x="467" y="282"/>
                </a:lnTo>
                <a:lnTo>
                  <a:pt x="467" y="675"/>
                </a:lnTo>
                <a:lnTo>
                  <a:pt x="436" y="675"/>
                </a:lnTo>
                <a:lnTo>
                  <a:pt x="436" y="451"/>
                </a:lnTo>
                <a:lnTo>
                  <a:pt x="268" y="451"/>
                </a:lnTo>
                <a:lnTo>
                  <a:pt x="268" y="675"/>
                </a:lnTo>
                <a:lnTo>
                  <a:pt x="237" y="675"/>
                </a:lnTo>
                <a:lnTo>
                  <a:pt x="237" y="577"/>
                </a:lnTo>
                <a:lnTo>
                  <a:pt x="68" y="577"/>
                </a:lnTo>
                <a:lnTo>
                  <a:pt x="68" y="675"/>
                </a:lnTo>
                <a:lnTo>
                  <a:pt x="31" y="675"/>
                </a:lnTo>
                <a:lnTo>
                  <a:pt x="31" y="569"/>
                </a:lnTo>
                <a:lnTo>
                  <a:pt x="259" y="342"/>
                </a:lnTo>
                <a:lnTo>
                  <a:pt x="299" y="381"/>
                </a:lnTo>
                <a:lnTo>
                  <a:pt x="538" y="143"/>
                </a:lnTo>
                <a:lnTo>
                  <a:pt x="538" y="213"/>
                </a:lnTo>
                <a:lnTo>
                  <a:pt x="567" y="213"/>
                </a:lnTo>
                <a:lnTo>
                  <a:pt x="567" y="92"/>
                </a:lnTo>
                <a:lnTo>
                  <a:pt x="446" y="92"/>
                </a:lnTo>
                <a:lnTo>
                  <a:pt x="446" y="123"/>
                </a:lnTo>
                <a:lnTo>
                  <a:pt x="516" y="123"/>
                </a:lnTo>
                <a:lnTo>
                  <a:pt x="299" y="340"/>
                </a:lnTo>
                <a:lnTo>
                  <a:pt x="258" y="299"/>
                </a:lnTo>
                <a:lnTo>
                  <a:pt x="31" y="527"/>
                </a:lnTo>
                <a:lnTo>
                  <a:pt x="31" y="31"/>
                </a:lnTo>
                <a:lnTo>
                  <a:pt x="673" y="31"/>
                </a:lnTo>
                <a:lnTo>
                  <a:pt x="673" y="675"/>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6" name="Rectangle 5">
            <a:extLst>
              <a:ext uri="{FF2B5EF4-FFF2-40B4-BE49-F238E27FC236}">
                <a16:creationId xmlns:a16="http://schemas.microsoft.com/office/drawing/2014/main" id="{B43CD9A4-2C97-7D6A-7A53-C7898F589C28}"/>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17" name="Group 16">
            <a:extLst>
              <a:ext uri="{FF2B5EF4-FFF2-40B4-BE49-F238E27FC236}">
                <a16:creationId xmlns:a16="http://schemas.microsoft.com/office/drawing/2014/main" id="{94004B0E-52BD-56B9-A17A-2417C950F3F8}"/>
              </a:ext>
            </a:extLst>
          </p:cNvPr>
          <p:cNvGrpSpPr/>
          <p:nvPr/>
        </p:nvGrpSpPr>
        <p:grpSpPr>
          <a:xfrm>
            <a:off x="9842140" y="372216"/>
            <a:ext cx="1667215" cy="217488"/>
            <a:chOff x="9842140" y="372216"/>
            <a:chExt cx="1667215" cy="217488"/>
          </a:xfrm>
        </p:grpSpPr>
        <p:sp>
          <p:nvSpPr>
            <p:cNvPr id="19" name="TextBox 18">
              <a:extLst>
                <a:ext uri="{FF2B5EF4-FFF2-40B4-BE49-F238E27FC236}">
                  <a16:creationId xmlns:a16="http://schemas.microsoft.com/office/drawing/2014/main" id="{08D1B730-3E4A-E251-98BF-4207441A6F9C}"/>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rtl="0">
                <a:lnSpc>
                  <a:spcPct val="100000"/>
                </a:lnSpc>
                <a:spcAft>
                  <a:spcPts val="600"/>
                </a:spcAft>
                <a:buSzPct val="100000"/>
              </a:pPr>
              <a:r>
                <a:rPr lang="en-gb" sz="800">
                  <a:solidFill>
                    <a:schemeClr val="bg1"/>
                  </a:solidFill>
                </a:rPr>
                <a:t>Electrocution</a:t>
              </a:r>
            </a:p>
          </p:txBody>
        </p:sp>
        <p:sp>
          <p:nvSpPr>
            <p:cNvPr id="21" name="Freeform 49">
              <a:extLst>
                <a:ext uri="{FF2B5EF4-FFF2-40B4-BE49-F238E27FC236}">
                  <a16:creationId xmlns:a16="http://schemas.microsoft.com/office/drawing/2014/main" id="{76E521C5-7816-ABBC-525A-901979C4185E}"/>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p>
          </p:txBody>
        </p:sp>
      </p:grpSp>
      <p:grpSp>
        <p:nvGrpSpPr>
          <p:cNvPr id="15" name="Group 14">
            <a:extLst>
              <a:ext uri="{FF2B5EF4-FFF2-40B4-BE49-F238E27FC236}">
                <a16:creationId xmlns:a16="http://schemas.microsoft.com/office/drawing/2014/main" id="{B7D6516D-C7D7-0365-5562-E2E5FA6EB832}"/>
              </a:ext>
            </a:extLst>
          </p:cNvPr>
          <p:cNvGrpSpPr/>
          <p:nvPr/>
        </p:nvGrpSpPr>
        <p:grpSpPr>
          <a:xfrm>
            <a:off x="9122935" y="126781"/>
            <a:ext cx="2626153" cy="217488"/>
            <a:chOff x="9122935" y="126781"/>
            <a:chExt cx="2626153" cy="217488"/>
          </a:xfrm>
        </p:grpSpPr>
        <p:sp>
          <p:nvSpPr>
            <p:cNvPr id="23" name="Rectangle 22">
              <a:extLst>
                <a:ext uri="{FF2B5EF4-FFF2-40B4-BE49-F238E27FC236}">
                  <a16:creationId xmlns:a16="http://schemas.microsoft.com/office/drawing/2014/main" id="{04AACD79-FFE2-2A73-959F-170936309D0B}"/>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000000"/>
                  </a:solidFill>
                  <a:effectLst/>
                  <a:uLnTx/>
                  <a:uFillTx/>
                  <a:ea typeface="Georgia"/>
                  <a:cs typeface="Georgia"/>
                  <a:sym typeface="Georgia"/>
                </a:rPr>
                <a:t>First aid measures</a:t>
              </a:r>
            </a:p>
          </p:txBody>
        </p:sp>
        <p:sp>
          <p:nvSpPr>
            <p:cNvPr id="24" name="Rectangle 23">
              <a:extLst>
                <a:ext uri="{FF2B5EF4-FFF2-40B4-BE49-F238E27FC236}">
                  <a16:creationId xmlns:a16="http://schemas.microsoft.com/office/drawing/2014/main" id="{EB9AC966-DF98-B2D1-62F1-2D3B4969C2FD}"/>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25" name="Rectangle 24">
              <a:extLst>
                <a:ext uri="{FF2B5EF4-FFF2-40B4-BE49-F238E27FC236}">
                  <a16:creationId xmlns:a16="http://schemas.microsoft.com/office/drawing/2014/main" id="{7264A36B-4380-867C-68B2-D7B3E1E6D017}"/>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26" name="Rectangle 25">
              <a:extLst>
                <a:ext uri="{FF2B5EF4-FFF2-40B4-BE49-F238E27FC236}">
                  <a16:creationId xmlns:a16="http://schemas.microsoft.com/office/drawing/2014/main" id="{71FF3738-E1CB-298C-AFEF-4B405098F2B2}"/>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27" name="Rectangle 26">
              <a:extLst>
                <a:ext uri="{FF2B5EF4-FFF2-40B4-BE49-F238E27FC236}">
                  <a16:creationId xmlns:a16="http://schemas.microsoft.com/office/drawing/2014/main" id="{8F8A258D-9275-95D4-758B-036F143DC905}"/>
                </a:ext>
              </a:extLst>
            </p:cNvPr>
            <p:cNvSpPr/>
            <p:nvPr/>
          </p:nvSpPr>
          <p:spPr>
            <a:xfrm>
              <a:off x="9842140"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7</a:t>
              </a:r>
              <a:r>
                <a:rPr lang="en-gb" sz="800" b="1" i="0" u="none" strike="noStrike" kern="0" cap="none" spc="0" normalizeH="0" noProof="0">
                  <a:ln>
                    <a:noFill/>
                  </a:ln>
                  <a:effectLst/>
                  <a:uLnTx/>
                  <a:uFillTx/>
                  <a:ea typeface="Georgia"/>
                  <a:cs typeface="Georgia"/>
                  <a:sym typeface="Georgia"/>
                </a:rPr>
                <a:t>.4</a:t>
              </a:r>
              <a:endParaRPr kumimoji="0" lang="lv-LV" sz="800" b="1" i="0" u="none" strike="noStrike" kern="0" cap="none" spc="0" normalizeH="0" baseline="0" noProof="0" dirty="0">
                <a:ln>
                  <a:noFill/>
                </a:ln>
                <a:effectLst/>
                <a:uLnTx/>
                <a:uFillTx/>
                <a:ea typeface="Georgia"/>
                <a:cs typeface="Georgia"/>
                <a:sym typeface="Georgia"/>
              </a:endParaRPr>
            </a:p>
          </p:txBody>
        </p:sp>
        <p:sp>
          <p:nvSpPr>
            <p:cNvPr id="28" name="Rectangle 27">
              <a:extLst>
                <a:ext uri="{FF2B5EF4-FFF2-40B4-BE49-F238E27FC236}">
                  <a16:creationId xmlns:a16="http://schemas.microsoft.com/office/drawing/2014/main" id="{2B08BC66-C00C-A92C-6EBD-5CEBA026389C}"/>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275523118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CFA2E8-0775-D340-DF72-3AC623CD1A2E}"/>
              </a:ext>
            </a:extLst>
          </p:cNvPr>
          <p:cNvGraphicFramePr>
            <a:graphicFrameLocks noChangeAspect="1"/>
          </p:cNvGraphicFramePr>
          <p:nvPr>
            <p:custDataLst>
              <p:tags r:id="rId1"/>
            </p:custDataLst>
            <p:extLst>
              <p:ext uri="{D42A27DB-BD31-4B8C-83A1-F6EECF244321}">
                <p14:modId xmlns:p14="http://schemas.microsoft.com/office/powerpoint/2010/main" val="2728702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0DCFA2E8-0775-D340-DF72-3AC623CD1A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0" name="Picture 69">
            <a:extLst>
              <a:ext uri="{FF2B5EF4-FFF2-40B4-BE49-F238E27FC236}">
                <a16:creationId xmlns:a16="http://schemas.microsoft.com/office/drawing/2014/main" id="{201E7002-41DC-209F-D2DC-9D687999BD7E}"/>
              </a:ext>
            </a:extLst>
          </p:cNvPr>
          <p:cNvPicPr>
            <a:picLocks noChangeAspect="1"/>
          </p:cNvPicPr>
          <p:nvPr/>
        </p:nvPicPr>
        <p:blipFill>
          <a:blip r:embed="rId6"/>
          <a:stretch>
            <a:fillRect/>
          </a:stretch>
        </p:blipFill>
        <p:spPr>
          <a:xfrm>
            <a:off x="7620000" y="0"/>
            <a:ext cx="4572000" cy="6858000"/>
          </a:xfrm>
          <a:prstGeom prst="rect">
            <a:avLst/>
          </a:prstGeom>
        </p:spPr>
      </p:pic>
      <p:sp>
        <p:nvSpPr>
          <p:cNvPr id="65" name="Rectangle 64">
            <a:extLst>
              <a:ext uri="{FF2B5EF4-FFF2-40B4-BE49-F238E27FC236}">
                <a16:creationId xmlns:a16="http://schemas.microsoft.com/office/drawing/2014/main" id="{A66567BC-F479-C8B0-F1F1-1178C47EDF98}"/>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rtlCol="0"/>
          <a:lstStyle/>
          <a:p>
            <a:pPr rtl="0"/>
            <a:r>
              <a:rPr lang="en-gb" dirty="0"/>
              <a:t>How to help a victim</a:t>
            </a:r>
            <a:r>
              <a:rPr lang="lv-LV" dirty="0"/>
              <a:t> </a:t>
            </a:r>
            <a:r>
              <a:rPr lang="en-gb" dirty="0"/>
              <a:t>in case </a:t>
            </a:r>
            <a:br>
              <a:rPr lang="lv-LV" dirty="0"/>
            </a:br>
            <a:r>
              <a:rPr lang="en-gb" dirty="0"/>
              <a:t>of drowning?</a:t>
            </a:r>
            <a:endParaRPr lang="en-GB" dirty="0"/>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rtlCol="0"/>
          <a:lstStyle/>
          <a:p>
            <a:pPr rtl="0"/>
            <a:fld id="{7870704B-CE94-48CC-AF30-84932A1262A7}" type="slidenum">
              <a:rPr lang="en-GB" smtClean="0">
                <a:solidFill>
                  <a:schemeClr val="bg1"/>
                </a:solidFill>
              </a:rPr>
              <a:pPr rtl="0"/>
              <a:t>29</a:t>
            </a:fld>
            <a:endParaRPr lang="en-GB">
              <a:solidFill>
                <a:schemeClr val="bg1"/>
              </a:solidFill>
            </a:endParaRPr>
          </a:p>
        </p:txBody>
      </p:sp>
      <p:sp>
        <p:nvSpPr>
          <p:cNvPr id="17" name="Rectangle 16">
            <a:extLst>
              <a:ext uri="{FF2B5EF4-FFF2-40B4-BE49-F238E27FC236}">
                <a16:creationId xmlns:a16="http://schemas.microsoft.com/office/drawing/2014/main" id="{6FA36F9D-90F9-114F-5453-39394D16CFF6}"/>
              </a:ext>
            </a:extLst>
          </p:cNvPr>
          <p:cNvSpPr/>
          <p:nvPr/>
        </p:nvSpPr>
        <p:spPr>
          <a:xfrm>
            <a:off x="7619998" y="2398554"/>
            <a:ext cx="4129089" cy="377364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rtl="0">
              <a:spcAft>
                <a:spcPts val="600"/>
              </a:spcAft>
              <a:buBlip>
                <a:blip r:embed="rId7"/>
              </a:buBlip>
            </a:pPr>
            <a:r>
              <a:rPr lang="en-gb" sz="1400">
                <a:solidFill>
                  <a:schemeClr val="tx1"/>
                </a:solidFill>
              </a:rPr>
              <a:t>A person with impaired consciousness can also drown in a bath, puddle, garden pool, etc.</a:t>
            </a:r>
          </a:p>
          <a:p>
            <a:pPr marL="285750" indent="-285750" rtl="0">
              <a:spcAft>
                <a:spcPts val="600"/>
              </a:spcAft>
              <a:buBlip>
                <a:blip r:embed="rId7"/>
              </a:buBlip>
            </a:pPr>
            <a:r>
              <a:rPr lang="en-gb" sz="1400">
                <a:solidFill>
                  <a:schemeClr val="tx1"/>
                </a:solidFill>
              </a:rPr>
              <a:t>Always call an ambulance, because even if things seem to be going well, the victim's condition can deteriorate significantly later. </a:t>
            </a:r>
          </a:p>
          <a:p>
            <a:pPr marL="285750" indent="-285750" rtl="0">
              <a:spcAft>
                <a:spcPts val="600"/>
              </a:spcAft>
              <a:buBlip>
                <a:blip r:embed="rId7"/>
              </a:buBlip>
            </a:pPr>
            <a:r>
              <a:rPr lang="en-gb" sz="1400">
                <a:solidFill>
                  <a:schemeClr val="tx1"/>
                </a:solidFill>
              </a:rPr>
              <a:t>If you witness an accident, try to remember the scene as well as possible, using landmarks both on the water and on the shore to give rescuers a better idea of where the accident happened.</a:t>
            </a:r>
          </a:p>
          <a:p>
            <a:pPr marL="285750" indent="-285750" rtl="0">
              <a:spcAft>
                <a:spcPts val="600"/>
              </a:spcAft>
              <a:buBlip>
                <a:blip r:embed="rId7"/>
              </a:buBlip>
            </a:pPr>
            <a:r>
              <a:rPr lang="en-gb" sz="1400">
                <a:solidFill>
                  <a:schemeClr val="tx1"/>
                </a:solidFill>
              </a:rPr>
              <a:t>More information </a:t>
            </a:r>
            <a:r>
              <a:rPr lang="en-gb" sz="1400" b="1" u="sng">
                <a:solidFill>
                  <a:schemeClr val="tx1"/>
                </a:solidFill>
                <a:hlinkClick r:id="rId8"/>
              </a:rPr>
              <a:t>here</a:t>
            </a:r>
            <a:endParaRPr lang="lv-LV" sz="1400" b="1" u="sng">
              <a:solidFill>
                <a:schemeClr val="tx1"/>
              </a:solidFill>
            </a:endParaRPr>
          </a:p>
        </p:txBody>
      </p:sp>
      <p:sp>
        <p:nvSpPr>
          <p:cNvPr id="18" name="TextBox 17">
            <a:extLst>
              <a:ext uri="{FF2B5EF4-FFF2-40B4-BE49-F238E27FC236}">
                <a16:creationId xmlns:a16="http://schemas.microsoft.com/office/drawing/2014/main" id="{D0D5258A-7E40-C195-904C-0D59B96D8721}"/>
              </a:ext>
            </a:extLst>
          </p:cNvPr>
          <p:cNvSpPr txBox="1"/>
          <p:nvPr/>
        </p:nvSpPr>
        <p:spPr>
          <a:xfrm>
            <a:off x="1297953" y="2792791"/>
            <a:ext cx="5879131" cy="360000"/>
          </a:xfrm>
          <a:prstGeom prst="rect">
            <a:avLst/>
          </a:prstGeom>
          <a:noFill/>
        </p:spPr>
        <p:txBody>
          <a:bodyPr wrap="square" rtlCol="0" anchor="ctr">
            <a:noAutofit/>
          </a:bodyPr>
          <a:lstStyle/>
          <a:p>
            <a:pPr rtl="0">
              <a:spcAft>
                <a:spcPts val="0"/>
              </a:spcAft>
            </a:pPr>
            <a:r>
              <a:rPr lang="en-gb" sz="1400">
                <a:solidFill>
                  <a:schemeClr val="tx1"/>
                </a:solidFill>
              </a:rPr>
              <a:t>Only rescue a victim if it does not endanger </a:t>
            </a:r>
            <a:r>
              <a:rPr lang="en-gb" sz="1400"/>
              <a:t>your</a:t>
            </a:r>
            <a:r>
              <a:rPr lang="en-gb" sz="1400">
                <a:solidFill>
                  <a:schemeClr val="tx1"/>
                </a:solidFill>
              </a:rPr>
              <a:t> life.</a:t>
            </a:r>
          </a:p>
        </p:txBody>
      </p:sp>
      <p:sp>
        <p:nvSpPr>
          <p:cNvPr id="25" name="Content Placeholder 1">
            <a:extLst>
              <a:ext uri="{FF2B5EF4-FFF2-40B4-BE49-F238E27FC236}">
                <a16:creationId xmlns:a16="http://schemas.microsoft.com/office/drawing/2014/main" id="{F90FB644-2ECF-579C-968C-E4B723BA5A4A}"/>
              </a:ext>
            </a:extLst>
          </p:cNvPr>
          <p:cNvSpPr txBox="1">
            <a:spLocks/>
          </p:cNvSpPr>
          <p:nvPr/>
        </p:nvSpPr>
        <p:spPr>
          <a:xfrm>
            <a:off x="441325" y="3451261"/>
            <a:ext cx="630238" cy="88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2</a:t>
            </a:r>
          </a:p>
        </p:txBody>
      </p:sp>
      <p:sp>
        <p:nvSpPr>
          <p:cNvPr id="26" name="Content Placeholder 1">
            <a:extLst>
              <a:ext uri="{FF2B5EF4-FFF2-40B4-BE49-F238E27FC236}">
                <a16:creationId xmlns:a16="http://schemas.microsoft.com/office/drawing/2014/main" id="{81B54A20-703E-18F4-F82D-7F7C7C1E55E0}"/>
              </a:ext>
            </a:extLst>
          </p:cNvPr>
          <p:cNvSpPr txBox="1">
            <a:spLocks/>
          </p:cNvSpPr>
          <p:nvPr/>
        </p:nvSpPr>
        <p:spPr>
          <a:xfrm>
            <a:off x="441325" y="4370731"/>
            <a:ext cx="630238" cy="88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3</a:t>
            </a:r>
          </a:p>
        </p:txBody>
      </p:sp>
      <p:sp>
        <p:nvSpPr>
          <p:cNvPr id="27" name="Content Placeholder 1">
            <a:extLst>
              <a:ext uri="{FF2B5EF4-FFF2-40B4-BE49-F238E27FC236}">
                <a16:creationId xmlns:a16="http://schemas.microsoft.com/office/drawing/2014/main" id="{057BA24F-824C-F813-F48B-B72FDA4806E5}"/>
              </a:ext>
            </a:extLst>
          </p:cNvPr>
          <p:cNvSpPr txBox="1">
            <a:spLocks/>
          </p:cNvSpPr>
          <p:nvPr/>
        </p:nvSpPr>
        <p:spPr>
          <a:xfrm>
            <a:off x="441325" y="5290201"/>
            <a:ext cx="630238" cy="88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4</a:t>
            </a:r>
          </a:p>
        </p:txBody>
      </p:sp>
      <p:sp>
        <p:nvSpPr>
          <p:cNvPr id="32" name="TextBox 31">
            <a:extLst>
              <a:ext uri="{FF2B5EF4-FFF2-40B4-BE49-F238E27FC236}">
                <a16:creationId xmlns:a16="http://schemas.microsoft.com/office/drawing/2014/main" id="{4856FA89-D34A-DD8D-457A-FE1983E9ECD3}"/>
              </a:ext>
            </a:extLst>
          </p:cNvPr>
          <p:cNvSpPr txBox="1"/>
          <p:nvPr/>
        </p:nvSpPr>
        <p:spPr>
          <a:xfrm>
            <a:off x="1297953" y="3712261"/>
            <a:ext cx="5879131" cy="360000"/>
          </a:xfrm>
          <a:prstGeom prst="rect">
            <a:avLst/>
          </a:prstGeom>
          <a:noFill/>
        </p:spPr>
        <p:txBody>
          <a:bodyPr wrap="square" rtlCol="0" anchor="ctr">
            <a:noAutofit/>
          </a:bodyPr>
          <a:lstStyle/>
          <a:p>
            <a:pPr rtl="0">
              <a:spcAft>
                <a:spcPts val="0"/>
              </a:spcAft>
            </a:pPr>
            <a:r>
              <a:rPr lang="en-gb" sz="1400" dirty="0">
                <a:solidFill>
                  <a:schemeClr val="tx1"/>
                </a:solidFill>
              </a:rPr>
              <a:t>The safest rescue is from the shore, </a:t>
            </a:r>
            <a:r>
              <a:rPr lang="lv-LV" sz="1400" dirty="0" err="1">
                <a:solidFill>
                  <a:schemeClr val="tx1"/>
                </a:solidFill>
              </a:rPr>
              <a:t>throw</a:t>
            </a:r>
            <a:r>
              <a:rPr lang="en-gb" sz="1400" dirty="0">
                <a:solidFill>
                  <a:schemeClr val="tx1"/>
                </a:solidFill>
              </a:rPr>
              <a:t> the life ring tied in the rope. A ball, an empty plastic bottle or any other floating objects that can help the drowning person stay afloat are also useful.</a:t>
            </a:r>
          </a:p>
        </p:txBody>
      </p:sp>
      <p:sp>
        <p:nvSpPr>
          <p:cNvPr id="33" name="TextBox 32">
            <a:extLst>
              <a:ext uri="{FF2B5EF4-FFF2-40B4-BE49-F238E27FC236}">
                <a16:creationId xmlns:a16="http://schemas.microsoft.com/office/drawing/2014/main" id="{5F20B02B-319A-56A8-B3AD-0245CFA22F57}"/>
              </a:ext>
            </a:extLst>
          </p:cNvPr>
          <p:cNvSpPr txBox="1"/>
          <p:nvPr/>
        </p:nvSpPr>
        <p:spPr>
          <a:xfrm>
            <a:off x="1297953" y="5551201"/>
            <a:ext cx="5879131" cy="360000"/>
          </a:xfrm>
          <a:prstGeom prst="rect">
            <a:avLst/>
          </a:prstGeom>
          <a:noFill/>
        </p:spPr>
        <p:txBody>
          <a:bodyPr wrap="square" rtlCol="0" anchor="ctr">
            <a:noAutofit/>
          </a:bodyPr>
          <a:lstStyle/>
          <a:p>
            <a:pPr rtl="0">
              <a:spcAft>
                <a:spcPts val="0"/>
              </a:spcAft>
            </a:pPr>
            <a:r>
              <a:rPr lang="en-gb" sz="1400">
                <a:solidFill>
                  <a:schemeClr val="tx1"/>
                </a:solidFill>
              </a:rPr>
              <a:t>Take resuscitation measures if necessary.</a:t>
            </a:r>
          </a:p>
        </p:txBody>
      </p:sp>
      <p:sp>
        <p:nvSpPr>
          <p:cNvPr id="37" name="TextBox 36">
            <a:extLst>
              <a:ext uri="{FF2B5EF4-FFF2-40B4-BE49-F238E27FC236}">
                <a16:creationId xmlns:a16="http://schemas.microsoft.com/office/drawing/2014/main" id="{B4A1FCDF-F4EF-2C95-ABB1-CBEA3086D555}"/>
              </a:ext>
            </a:extLst>
          </p:cNvPr>
          <p:cNvSpPr txBox="1"/>
          <p:nvPr/>
        </p:nvSpPr>
        <p:spPr>
          <a:xfrm>
            <a:off x="1297953" y="4631731"/>
            <a:ext cx="5879131" cy="360000"/>
          </a:xfrm>
          <a:prstGeom prst="rect">
            <a:avLst/>
          </a:prstGeom>
          <a:noFill/>
        </p:spPr>
        <p:txBody>
          <a:bodyPr wrap="square" rtlCol="0" anchor="ctr">
            <a:noAutofit/>
          </a:bodyPr>
          <a:lstStyle/>
          <a:p>
            <a:pPr rtl="0">
              <a:spcAft>
                <a:spcPts val="0"/>
              </a:spcAft>
            </a:pPr>
            <a:r>
              <a:rPr lang="en-gb" sz="1400">
                <a:solidFill>
                  <a:schemeClr val="tx1"/>
                </a:solidFill>
              </a:rPr>
              <a:t>Call an ambulance.</a:t>
            </a:r>
          </a:p>
        </p:txBody>
      </p:sp>
      <p:cxnSp>
        <p:nvCxnSpPr>
          <p:cNvPr id="39" name="Straight Connector 38">
            <a:extLst>
              <a:ext uri="{FF2B5EF4-FFF2-40B4-BE49-F238E27FC236}">
                <a16:creationId xmlns:a16="http://schemas.microsoft.com/office/drawing/2014/main" id="{E5B5A8D2-DACA-34DC-E1F9-FFE3A65E4C21}"/>
              </a:ext>
            </a:extLst>
          </p:cNvPr>
          <p:cNvCxnSpPr>
            <a:cxnSpLocks/>
          </p:cNvCxnSpPr>
          <p:nvPr/>
        </p:nvCxnSpPr>
        <p:spPr>
          <a:xfrm>
            <a:off x="1297953" y="3431335"/>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0" name="Straight Connector 39">
            <a:extLst>
              <a:ext uri="{FF2B5EF4-FFF2-40B4-BE49-F238E27FC236}">
                <a16:creationId xmlns:a16="http://schemas.microsoft.com/office/drawing/2014/main" id="{942B66D5-0C09-51A1-421D-3AD9CCF09FAE}"/>
              </a:ext>
            </a:extLst>
          </p:cNvPr>
          <p:cNvCxnSpPr>
            <a:cxnSpLocks/>
          </p:cNvCxnSpPr>
          <p:nvPr/>
        </p:nvCxnSpPr>
        <p:spPr>
          <a:xfrm>
            <a:off x="1297953" y="4350805"/>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1" name="Straight Connector 40">
            <a:extLst>
              <a:ext uri="{FF2B5EF4-FFF2-40B4-BE49-F238E27FC236}">
                <a16:creationId xmlns:a16="http://schemas.microsoft.com/office/drawing/2014/main" id="{64D1A3C3-EF5C-5967-D3FE-A630BE40A6E7}"/>
              </a:ext>
            </a:extLst>
          </p:cNvPr>
          <p:cNvCxnSpPr>
            <a:cxnSpLocks/>
          </p:cNvCxnSpPr>
          <p:nvPr/>
        </p:nvCxnSpPr>
        <p:spPr>
          <a:xfrm>
            <a:off x="1297953" y="5270275"/>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48" name="Content Placeholder 1">
            <a:extLst>
              <a:ext uri="{FF2B5EF4-FFF2-40B4-BE49-F238E27FC236}">
                <a16:creationId xmlns:a16="http://schemas.microsoft.com/office/drawing/2014/main" id="{6AC80282-8A0D-F35B-8056-0432B6772D55}"/>
              </a:ext>
            </a:extLst>
          </p:cNvPr>
          <p:cNvSpPr txBox="1">
            <a:spLocks/>
          </p:cNvSpPr>
          <p:nvPr/>
        </p:nvSpPr>
        <p:spPr>
          <a:xfrm>
            <a:off x="441325" y="2531791"/>
            <a:ext cx="630238" cy="88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1</a:t>
            </a:r>
          </a:p>
        </p:txBody>
      </p:sp>
      <p:cxnSp>
        <p:nvCxnSpPr>
          <p:cNvPr id="49" name="Straight Connector 48">
            <a:extLst>
              <a:ext uri="{FF2B5EF4-FFF2-40B4-BE49-F238E27FC236}">
                <a16:creationId xmlns:a16="http://schemas.microsoft.com/office/drawing/2014/main" id="{6812EC73-51E6-27BB-47B7-1E03B679803C}"/>
              </a:ext>
            </a:extLst>
          </p:cNvPr>
          <p:cNvCxnSpPr>
            <a:cxnSpLocks/>
            <a:stCxn id="50" idx="4"/>
            <a:endCxn id="56" idx="3"/>
          </p:cNvCxnSpPr>
          <p:nvPr/>
        </p:nvCxnSpPr>
        <p:spPr>
          <a:xfrm>
            <a:off x="864002" y="3045181"/>
            <a:ext cx="0" cy="2701823"/>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50" name="Oval 49">
            <a:extLst>
              <a:ext uri="{FF2B5EF4-FFF2-40B4-BE49-F238E27FC236}">
                <a16:creationId xmlns:a16="http://schemas.microsoft.com/office/drawing/2014/main" id="{C7A420F0-5CC5-29EF-B3BB-7D5781CABFC2}"/>
              </a:ext>
            </a:extLst>
          </p:cNvPr>
          <p:cNvSpPr/>
          <p:nvPr/>
        </p:nvSpPr>
        <p:spPr>
          <a:xfrm>
            <a:off x="791612" y="2900401"/>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51" name="Isosceles Triangle 50">
            <a:extLst>
              <a:ext uri="{FF2B5EF4-FFF2-40B4-BE49-F238E27FC236}">
                <a16:creationId xmlns:a16="http://schemas.microsoft.com/office/drawing/2014/main" id="{4BEF1C2A-C650-BD1B-C954-06A60EF7BAB8}"/>
              </a:ext>
            </a:extLst>
          </p:cNvPr>
          <p:cNvSpPr/>
          <p:nvPr/>
        </p:nvSpPr>
        <p:spPr>
          <a:xfrm flipV="1">
            <a:off x="690171" y="5247662"/>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56" name="Isosceles Triangle 55">
            <a:extLst>
              <a:ext uri="{FF2B5EF4-FFF2-40B4-BE49-F238E27FC236}">
                <a16:creationId xmlns:a16="http://schemas.microsoft.com/office/drawing/2014/main" id="{7BF8F9D7-9A9A-877C-A900-4F3857B14B3E}"/>
              </a:ext>
            </a:extLst>
          </p:cNvPr>
          <p:cNvSpPr/>
          <p:nvPr/>
        </p:nvSpPr>
        <p:spPr>
          <a:xfrm flipV="1">
            <a:off x="809233" y="5747004"/>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57" name="Isosceles Triangle 56">
            <a:extLst>
              <a:ext uri="{FF2B5EF4-FFF2-40B4-BE49-F238E27FC236}">
                <a16:creationId xmlns:a16="http://schemas.microsoft.com/office/drawing/2014/main" id="{E6C32A6B-F4F4-20A4-DBFD-E4DD8B7DC32F}"/>
              </a:ext>
            </a:extLst>
          </p:cNvPr>
          <p:cNvSpPr/>
          <p:nvPr/>
        </p:nvSpPr>
        <p:spPr>
          <a:xfrm flipV="1">
            <a:off x="690171" y="3413791"/>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58" name="Isosceles Triangle 57">
            <a:extLst>
              <a:ext uri="{FF2B5EF4-FFF2-40B4-BE49-F238E27FC236}">
                <a16:creationId xmlns:a16="http://schemas.microsoft.com/office/drawing/2014/main" id="{8CFA9846-2872-E7EB-E30B-CC6BA514198E}"/>
              </a:ext>
            </a:extLst>
          </p:cNvPr>
          <p:cNvSpPr/>
          <p:nvPr/>
        </p:nvSpPr>
        <p:spPr>
          <a:xfrm flipV="1">
            <a:off x="690171" y="4333261"/>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71" name="Rectangle 70">
            <a:extLst>
              <a:ext uri="{FF2B5EF4-FFF2-40B4-BE49-F238E27FC236}">
                <a16:creationId xmlns:a16="http://schemas.microsoft.com/office/drawing/2014/main" id="{3E04E0E7-0EC0-D3DB-7FE5-CC0F07D12428}"/>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tx1"/>
                </a:solidFill>
              </a:rPr>
              <a:t>How to proceed?</a:t>
            </a:r>
          </a:p>
        </p:txBody>
      </p:sp>
      <p:sp>
        <p:nvSpPr>
          <p:cNvPr id="72" name="Rectangle 71">
            <a:extLst>
              <a:ext uri="{FF2B5EF4-FFF2-40B4-BE49-F238E27FC236}">
                <a16:creationId xmlns:a16="http://schemas.microsoft.com/office/drawing/2014/main" id="{6ED56BAD-AE11-5901-9D85-F397888A0CC3}"/>
              </a:ext>
            </a:extLst>
          </p:cNvPr>
          <p:cNvSpPr/>
          <p:nvPr/>
        </p:nvSpPr>
        <p:spPr>
          <a:xfrm>
            <a:off x="7619998" y="1822554"/>
            <a:ext cx="4129089"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bg1"/>
                </a:solidFill>
              </a:rPr>
              <a:t>Important!</a:t>
            </a:r>
          </a:p>
        </p:txBody>
      </p:sp>
      <p:sp>
        <p:nvSpPr>
          <p:cNvPr id="73" name="Content Placeholder 1">
            <a:extLst>
              <a:ext uri="{FF2B5EF4-FFF2-40B4-BE49-F238E27FC236}">
                <a16:creationId xmlns:a16="http://schemas.microsoft.com/office/drawing/2014/main" id="{DF3C57B4-60A3-13A2-E235-62DF01A8E0B9}"/>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74" name="Content Placeholder 1">
            <a:extLst>
              <a:ext uri="{FF2B5EF4-FFF2-40B4-BE49-F238E27FC236}">
                <a16:creationId xmlns:a16="http://schemas.microsoft.com/office/drawing/2014/main" id="{38413369-E04F-F149-0D9B-B962C3B0DD33}"/>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75" name="Content Placeholder 1">
            <a:extLst>
              <a:ext uri="{FF2B5EF4-FFF2-40B4-BE49-F238E27FC236}">
                <a16:creationId xmlns:a16="http://schemas.microsoft.com/office/drawing/2014/main" id="{079A215C-D463-B463-2E11-B6BF21F093DD}"/>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76" name="Content Placeholder 1">
            <a:extLst>
              <a:ext uri="{FF2B5EF4-FFF2-40B4-BE49-F238E27FC236}">
                <a16:creationId xmlns:a16="http://schemas.microsoft.com/office/drawing/2014/main" id="{D53CE3FB-D8DB-2493-59AB-E8018BFB7D6C}"/>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77" name="Google Shape;760;p79">
            <a:extLst>
              <a:ext uri="{FF2B5EF4-FFF2-40B4-BE49-F238E27FC236}">
                <a16:creationId xmlns:a16="http://schemas.microsoft.com/office/drawing/2014/main" id="{47AD76CF-BFB9-FA4C-78FC-9ED47D9FA257}"/>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78" name="Google Shape;794;p79">
            <a:extLst>
              <a:ext uri="{FF2B5EF4-FFF2-40B4-BE49-F238E27FC236}">
                <a16:creationId xmlns:a16="http://schemas.microsoft.com/office/drawing/2014/main" id="{20FDFD41-DB71-D9C8-B2A5-805131BA4C05}"/>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 name="Rectangle 4">
            <a:extLst>
              <a:ext uri="{FF2B5EF4-FFF2-40B4-BE49-F238E27FC236}">
                <a16:creationId xmlns:a16="http://schemas.microsoft.com/office/drawing/2014/main" id="{1806521B-FB80-1F07-D596-6A488A95DE31}"/>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16" name="Group 15">
            <a:extLst>
              <a:ext uri="{FF2B5EF4-FFF2-40B4-BE49-F238E27FC236}">
                <a16:creationId xmlns:a16="http://schemas.microsoft.com/office/drawing/2014/main" id="{FB9AF507-3DC6-14DD-C3D8-12994B3D7208}"/>
              </a:ext>
            </a:extLst>
          </p:cNvPr>
          <p:cNvGrpSpPr/>
          <p:nvPr/>
        </p:nvGrpSpPr>
        <p:grpSpPr>
          <a:xfrm>
            <a:off x="9842140" y="372216"/>
            <a:ext cx="1667215" cy="217488"/>
            <a:chOff x="9842140" y="372216"/>
            <a:chExt cx="1667215" cy="217488"/>
          </a:xfrm>
        </p:grpSpPr>
        <p:sp>
          <p:nvSpPr>
            <p:cNvPr id="19" name="TextBox 18">
              <a:extLst>
                <a:ext uri="{FF2B5EF4-FFF2-40B4-BE49-F238E27FC236}">
                  <a16:creationId xmlns:a16="http://schemas.microsoft.com/office/drawing/2014/main" id="{B8D257DE-4209-7234-19FB-BC85EED328CA}"/>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rtl="0">
                <a:lnSpc>
                  <a:spcPct val="100000"/>
                </a:lnSpc>
                <a:spcAft>
                  <a:spcPts val="600"/>
                </a:spcAft>
                <a:buSzPct val="100000"/>
              </a:pPr>
              <a:r>
                <a:rPr lang="en-gb" sz="800">
                  <a:solidFill>
                    <a:schemeClr val="bg1"/>
                  </a:solidFill>
                </a:rPr>
                <a:t>Drowning</a:t>
              </a:r>
            </a:p>
          </p:txBody>
        </p:sp>
        <p:sp>
          <p:nvSpPr>
            <p:cNvPr id="20" name="Freeform 49">
              <a:extLst>
                <a:ext uri="{FF2B5EF4-FFF2-40B4-BE49-F238E27FC236}">
                  <a16:creationId xmlns:a16="http://schemas.microsoft.com/office/drawing/2014/main" id="{0E5C4484-670C-69E1-B82B-46D640643D12}"/>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p>
          </p:txBody>
        </p:sp>
      </p:grpSp>
      <p:grpSp>
        <p:nvGrpSpPr>
          <p:cNvPr id="2" name="Group 1">
            <a:extLst>
              <a:ext uri="{FF2B5EF4-FFF2-40B4-BE49-F238E27FC236}">
                <a16:creationId xmlns:a16="http://schemas.microsoft.com/office/drawing/2014/main" id="{FC907EB6-2D6E-5404-FCE3-B63637740A9A}"/>
              </a:ext>
            </a:extLst>
          </p:cNvPr>
          <p:cNvGrpSpPr/>
          <p:nvPr/>
        </p:nvGrpSpPr>
        <p:grpSpPr>
          <a:xfrm>
            <a:off x="9122935" y="126781"/>
            <a:ext cx="2626153" cy="217488"/>
            <a:chOff x="9122935" y="126781"/>
            <a:chExt cx="2626153" cy="217488"/>
          </a:xfrm>
        </p:grpSpPr>
        <p:sp>
          <p:nvSpPr>
            <p:cNvPr id="14" name="Rectangle 13">
              <a:extLst>
                <a:ext uri="{FF2B5EF4-FFF2-40B4-BE49-F238E27FC236}">
                  <a16:creationId xmlns:a16="http://schemas.microsoft.com/office/drawing/2014/main" id="{D62D9DA4-837D-5F20-8E6A-4B96BCD29AE9}"/>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000000"/>
                  </a:solidFill>
                  <a:effectLst/>
                  <a:uLnTx/>
                  <a:uFillTx/>
                  <a:ea typeface="Georgia"/>
                  <a:cs typeface="Georgia"/>
                  <a:sym typeface="Georgia"/>
                </a:rPr>
                <a:t>First aid measures</a:t>
              </a:r>
            </a:p>
          </p:txBody>
        </p:sp>
        <p:sp>
          <p:nvSpPr>
            <p:cNvPr id="15" name="Rectangle 14">
              <a:extLst>
                <a:ext uri="{FF2B5EF4-FFF2-40B4-BE49-F238E27FC236}">
                  <a16:creationId xmlns:a16="http://schemas.microsoft.com/office/drawing/2014/main" id="{EE16BCCB-510E-28A1-C615-D77891ED4EAD}"/>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652E9F50-7052-761E-8B22-800DB17BBB76}"/>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22" name="Rectangle 21">
              <a:extLst>
                <a:ext uri="{FF2B5EF4-FFF2-40B4-BE49-F238E27FC236}">
                  <a16:creationId xmlns:a16="http://schemas.microsoft.com/office/drawing/2014/main" id="{AB637F11-D195-13E5-BF30-4EA840F544D4}"/>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23" name="Rectangle 22">
              <a:extLst>
                <a:ext uri="{FF2B5EF4-FFF2-40B4-BE49-F238E27FC236}">
                  <a16:creationId xmlns:a16="http://schemas.microsoft.com/office/drawing/2014/main" id="{CC4D1803-A45D-3636-584E-5636AE521710}"/>
                </a:ext>
              </a:extLst>
            </p:cNvPr>
            <p:cNvSpPr/>
            <p:nvPr/>
          </p:nvSpPr>
          <p:spPr>
            <a:xfrm>
              <a:off x="9842140"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7</a:t>
              </a:r>
              <a:r>
                <a:rPr lang="en-gb" sz="800" b="1" i="0" u="none" strike="noStrike" kern="0" cap="none" spc="0" normalizeH="0" noProof="0">
                  <a:ln>
                    <a:noFill/>
                  </a:ln>
                  <a:effectLst/>
                  <a:uLnTx/>
                  <a:uFillTx/>
                  <a:ea typeface="Georgia"/>
                  <a:cs typeface="Georgia"/>
                  <a:sym typeface="Georgia"/>
                </a:rPr>
                <a:t>.4</a:t>
              </a:r>
              <a:endParaRPr kumimoji="0" lang="lv-LV" sz="800" b="1" i="0" u="none" strike="noStrike" kern="0" cap="none" spc="0" normalizeH="0" baseline="0" noProof="0" dirty="0">
                <a:ln>
                  <a:noFill/>
                </a:ln>
                <a:effectLst/>
                <a:uLnTx/>
                <a:uFillTx/>
                <a:ea typeface="Georgia"/>
                <a:cs typeface="Georgia"/>
                <a:sym typeface="Georgia"/>
              </a:endParaRPr>
            </a:p>
          </p:txBody>
        </p:sp>
        <p:sp>
          <p:nvSpPr>
            <p:cNvPr id="24" name="Rectangle 23">
              <a:extLst>
                <a:ext uri="{FF2B5EF4-FFF2-40B4-BE49-F238E27FC236}">
                  <a16:creationId xmlns:a16="http://schemas.microsoft.com/office/drawing/2014/main" id="{5C57F09C-4DB9-1C81-6846-56E4AD89016A}"/>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31835968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DFB9B2E-C1F9-21A3-00BA-9A57ED0111F8}"/>
              </a:ext>
            </a:extLst>
          </p:cNvPr>
          <p:cNvGraphicFramePr>
            <a:graphicFrameLocks noChangeAspect="1"/>
          </p:cNvGraphicFramePr>
          <p:nvPr>
            <p:custDataLst>
              <p:tags r:id="rId1"/>
            </p:custDataLst>
            <p:extLst>
              <p:ext uri="{D42A27DB-BD31-4B8C-83A1-F6EECF244321}">
                <p14:modId xmlns:p14="http://schemas.microsoft.com/office/powerpoint/2010/main" val="1575810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3" name="think-cell data - do not delete" hidden="1">
                        <a:extLst>
                          <a:ext uri="{FF2B5EF4-FFF2-40B4-BE49-F238E27FC236}">
                            <a16:creationId xmlns:a16="http://schemas.microsoft.com/office/drawing/2014/main" id="{8DFB9B2E-C1F9-21A3-00BA-9A57ED0111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FF8B7B11-6660-0BCC-2F16-419ADE3449D2}"/>
              </a:ext>
            </a:extLst>
          </p:cNvPr>
          <p:cNvPicPr>
            <a:picLocks noChangeAspect="1"/>
          </p:cNvPicPr>
          <p:nvPr/>
        </p:nvPicPr>
        <p:blipFill rotWithShape="1">
          <a:blip r:embed="rId5"/>
          <a:srcRect t="49307" b="27210"/>
          <a:stretch/>
        </p:blipFill>
        <p:spPr>
          <a:xfrm>
            <a:off x="442910" y="4402207"/>
            <a:ext cx="11306175" cy="1769992"/>
          </a:xfrm>
          <a:prstGeom prst="rect">
            <a:avLst/>
          </a:prstGeom>
        </p:spPr>
      </p:pic>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4" y="432001"/>
            <a:ext cx="5473700" cy="1387274"/>
          </a:xfrm>
        </p:spPr>
        <p:txBody>
          <a:bodyPr vert="horz" rtlCol="0">
            <a:normAutofit/>
          </a:bodyPr>
          <a:lstStyle/>
          <a:p>
            <a:pPr rtl="0"/>
            <a:r>
              <a:rPr lang="en-gb"/>
              <a:t>Table of contents</a:t>
            </a:r>
          </a:p>
        </p:txBody>
      </p:sp>
      <p:sp>
        <p:nvSpPr>
          <p:cNvPr id="6" name="TextBox 5">
            <a:extLst>
              <a:ext uri="{FF2B5EF4-FFF2-40B4-BE49-F238E27FC236}">
                <a16:creationId xmlns:a16="http://schemas.microsoft.com/office/drawing/2014/main" id="{2CB3F9F5-858C-1D21-4D13-EAEDABE2E74A}"/>
              </a:ext>
            </a:extLst>
          </p:cNvPr>
          <p:cNvSpPr txBox="1"/>
          <p:nvPr/>
        </p:nvSpPr>
        <p:spPr>
          <a:xfrm>
            <a:off x="442909" y="1819275"/>
            <a:ext cx="11306175" cy="2199646"/>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rtl="0">
              <a:spcAft>
                <a:spcPts val="600"/>
              </a:spcAft>
            </a:pPr>
            <a:r>
              <a:rPr lang="en-gb" sz="1600" dirty="0">
                <a:cs typeface="Arial"/>
              </a:rPr>
              <a:t>7.1. Introduction</a:t>
            </a:r>
            <a:endParaRPr lang="lv-LV" dirty="0"/>
          </a:p>
          <a:p>
            <a:pPr rtl="0">
              <a:spcAft>
                <a:spcPts val="600"/>
              </a:spcAft>
            </a:pPr>
            <a:r>
              <a:rPr lang="en-gb" sz="1600" dirty="0">
                <a:cs typeface="Arial"/>
              </a:rPr>
              <a:t>7.2. </a:t>
            </a:r>
            <a:r>
              <a:rPr lang="lv-LV" sz="1600" dirty="0">
                <a:cs typeface="Arial"/>
              </a:rPr>
              <a:t>Steps</a:t>
            </a:r>
            <a:r>
              <a:rPr lang="en-gb" sz="1600" dirty="0">
                <a:cs typeface="Arial"/>
              </a:rPr>
              <a:t> at the scene of an accident</a:t>
            </a:r>
          </a:p>
          <a:p>
            <a:pPr rtl="0">
              <a:spcAft>
                <a:spcPts val="600"/>
              </a:spcAft>
            </a:pPr>
            <a:r>
              <a:rPr lang="en-gb" sz="1600" dirty="0">
                <a:cs typeface="Arial"/>
              </a:rPr>
              <a:t>7.3. </a:t>
            </a:r>
            <a:r>
              <a:rPr lang="en-GB" sz="1600" dirty="0">
                <a:cs typeface="Arial"/>
              </a:rPr>
              <a:t>Resuscitation</a:t>
            </a:r>
            <a:r>
              <a:rPr lang="lv-LV" sz="1600" dirty="0">
                <a:cs typeface="Arial"/>
              </a:rPr>
              <a:t> </a:t>
            </a:r>
            <a:r>
              <a:rPr lang="en-gb" sz="1600" dirty="0">
                <a:cs typeface="Arial"/>
              </a:rPr>
              <a:t>measures</a:t>
            </a:r>
          </a:p>
          <a:p>
            <a:pPr rtl="0">
              <a:spcAft>
                <a:spcPts val="600"/>
              </a:spcAft>
            </a:pPr>
            <a:r>
              <a:rPr lang="en-gb" sz="1600" dirty="0">
                <a:cs typeface="Arial"/>
              </a:rPr>
              <a:t>7.4. First aid measures</a:t>
            </a:r>
          </a:p>
          <a:p>
            <a:pPr rtl="0">
              <a:spcAft>
                <a:spcPts val="600"/>
              </a:spcAft>
            </a:pPr>
            <a:r>
              <a:rPr lang="en-gb" sz="1600" dirty="0">
                <a:cs typeface="Arial"/>
              </a:rPr>
              <a:t>7.5. Contents of the </a:t>
            </a:r>
            <a:r>
              <a:rPr lang="lv-LV" sz="1600" dirty="0">
                <a:cs typeface="Arial"/>
              </a:rPr>
              <a:t>first aid </a:t>
            </a:r>
            <a:r>
              <a:rPr lang="lv-LV" sz="1600" dirty="0" err="1">
                <a:cs typeface="Arial"/>
              </a:rPr>
              <a:t>kit</a:t>
            </a:r>
            <a:endParaRPr lang="en-gb" sz="1600" dirty="0">
              <a:cs typeface="Arial"/>
            </a:endParaRPr>
          </a:p>
          <a:p>
            <a:pPr marL="172720" indent="-172720" rtl="0">
              <a:spcAft>
                <a:spcPts val="600"/>
              </a:spcAft>
              <a:buFont typeface="Arial,Sans-Serif"/>
              <a:buChar char="•"/>
            </a:pPr>
            <a:endParaRPr lang="lv-LV" sz="1600" dirty="0">
              <a:cs typeface="Arial"/>
            </a:endParaRPr>
          </a:p>
        </p:txBody>
      </p:sp>
      <p:sp>
        <p:nvSpPr>
          <p:cNvPr id="8" name="Rectangle 7">
            <a:extLst>
              <a:ext uri="{FF2B5EF4-FFF2-40B4-BE49-F238E27FC236}">
                <a16:creationId xmlns:a16="http://schemas.microsoft.com/office/drawing/2014/main" id="{B6BFA0E2-7135-FFE5-3283-2EDC43146D38}"/>
              </a:ext>
            </a:extLst>
          </p:cNvPr>
          <p:cNvSpPr/>
          <p:nvPr/>
        </p:nvSpPr>
        <p:spPr>
          <a:xfrm>
            <a:off x="442911" y="955542"/>
            <a:ext cx="11306175" cy="608197"/>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5" name="Freeform 106">
            <a:extLst>
              <a:ext uri="{FF2B5EF4-FFF2-40B4-BE49-F238E27FC236}">
                <a16:creationId xmlns:a16="http://schemas.microsoft.com/office/drawing/2014/main" id="{014F40D3-F5E9-404A-8FA7-2C2BFB358B3B}"/>
              </a:ext>
            </a:extLst>
          </p:cNvPr>
          <p:cNvSpPr/>
          <p:nvPr/>
        </p:nvSpPr>
        <p:spPr>
          <a:xfrm>
            <a:off x="514757" y="103167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endParaRPr lang="lv-LV"/>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a:xfrm>
            <a:off x="9983788" y="6492875"/>
            <a:ext cx="1765300" cy="136525"/>
          </a:xfrm>
        </p:spPr>
        <p:txBody>
          <a:bodyPr rtlCol="0"/>
          <a:lstStyle/>
          <a:p>
            <a:pPr rtl="0"/>
            <a:fld id="{7870704B-CE94-48CC-AF30-84932A1262A7}" type="slidenum">
              <a:rPr lang="lv-LV" smtClean="0"/>
              <a:pPr rtl="0"/>
              <a:t>3</a:t>
            </a:fld>
            <a:endParaRPr lang="lv-LV"/>
          </a:p>
        </p:txBody>
      </p:sp>
      <p:sp>
        <p:nvSpPr>
          <p:cNvPr id="18" name="Rectangle 17">
            <a:extLst>
              <a:ext uri="{FF2B5EF4-FFF2-40B4-BE49-F238E27FC236}">
                <a16:creationId xmlns:a16="http://schemas.microsoft.com/office/drawing/2014/main" id="{31F5B033-E36B-F124-637C-AF0345D3C1E2}"/>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spTree>
    <p:extLst>
      <p:ext uri="{BB962C8B-B14F-4D97-AF65-F5344CB8AC3E}">
        <p14:creationId xmlns:p14="http://schemas.microsoft.com/office/powerpoint/2010/main" val="1920980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9E6BB6A-4571-FBF8-9A7D-06ADE4374D4D}"/>
              </a:ext>
            </a:extLst>
          </p:cNvPr>
          <p:cNvGraphicFramePr>
            <a:graphicFrameLocks noChangeAspect="1"/>
          </p:cNvGraphicFramePr>
          <p:nvPr>
            <p:custDataLst>
              <p:tags r:id="rId1"/>
            </p:custDataLst>
            <p:extLst>
              <p:ext uri="{D42A27DB-BD31-4B8C-83A1-F6EECF244321}">
                <p14:modId xmlns:p14="http://schemas.microsoft.com/office/powerpoint/2010/main" val="1210207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D9E6BB6A-4571-FBF8-9A7D-06ADE4374D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C358ECA5-580C-4D30-BF72-626041BBD184}"/>
              </a:ext>
            </a:extLst>
          </p:cNvPr>
          <p:cNvSpPr/>
          <p:nvPr/>
        </p:nvSpPr>
        <p:spPr>
          <a:xfrm>
            <a:off x="2651760" y="4513587"/>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400" b="1"/>
          </a:p>
        </p:txBody>
      </p:sp>
      <p:sp>
        <p:nvSpPr>
          <p:cNvPr id="19" name="Rectangle 18">
            <a:extLst>
              <a:ext uri="{FF2B5EF4-FFF2-40B4-BE49-F238E27FC236}">
                <a16:creationId xmlns:a16="http://schemas.microsoft.com/office/drawing/2014/main" id="{C2CAF418-662D-647B-4968-27F9C89FEFAA}"/>
              </a:ext>
            </a:extLst>
          </p:cNvPr>
          <p:cNvSpPr/>
          <p:nvPr/>
        </p:nvSpPr>
        <p:spPr>
          <a:xfrm>
            <a:off x="2651760" y="2630366"/>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400" b="1"/>
          </a:p>
        </p:txBody>
      </p:sp>
      <p:sp>
        <p:nvSpPr>
          <p:cNvPr id="5" name="Rectangle 4">
            <a:extLst>
              <a:ext uri="{FF2B5EF4-FFF2-40B4-BE49-F238E27FC236}">
                <a16:creationId xmlns:a16="http://schemas.microsoft.com/office/drawing/2014/main" id="{A6348025-BDE2-3284-C987-59428C8223D8}"/>
              </a:ext>
            </a:extLst>
          </p:cNvPr>
          <p:cNvSpPr/>
          <p:nvPr/>
        </p:nvSpPr>
        <p:spPr>
          <a:xfrm>
            <a:off x="2847530" y="2419349"/>
            <a:ext cx="4352925"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endParaRPr lang="lv-LV" sz="1400" b="1">
              <a:solidFill>
                <a:schemeClr val="tx1"/>
              </a:solidFill>
            </a:endParaRPr>
          </a:p>
        </p:txBody>
      </p:sp>
      <p:sp>
        <p:nvSpPr>
          <p:cNvPr id="6" name="Rectangle 5">
            <a:extLst>
              <a:ext uri="{FF2B5EF4-FFF2-40B4-BE49-F238E27FC236}">
                <a16:creationId xmlns:a16="http://schemas.microsoft.com/office/drawing/2014/main" id="{5627C378-61D8-9614-828E-3783B2D838FA}"/>
              </a:ext>
            </a:extLst>
          </p:cNvPr>
          <p:cNvSpPr/>
          <p:nvPr/>
        </p:nvSpPr>
        <p:spPr>
          <a:xfrm>
            <a:off x="7396160" y="2419349"/>
            <a:ext cx="4352925"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endParaRPr lang="lv-LV" sz="1400" b="1">
              <a:solidFill>
                <a:schemeClr val="tx1"/>
              </a:solidFill>
            </a:endParaRPr>
          </a:p>
        </p:txBody>
      </p:sp>
      <p:sp>
        <p:nvSpPr>
          <p:cNvPr id="37" name="Rectangle 36">
            <a:extLst>
              <a:ext uri="{FF2B5EF4-FFF2-40B4-BE49-F238E27FC236}">
                <a16:creationId xmlns:a16="http://schemas.microsoft.com/office/drawing/2014/main" id="{BD11DB78-D65B-9D3C-EED7-1721F1C9BCF6}"/>
              </a:ext>
            </a:extLst>
          </p:cNvPr>
          <p:cNvSpPr/>
          <p:nvPr/>
        </p:nvSpPr>
        <p:spPr>
          <a:xfrm>
            <a:off x="442912" y="4513587"/>
            <a:ext cx="2208847" cy="165893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rtl="0">
              <a:lnSpc>
                <a:spcPct val="100000"/>
              </a:lnSpc>
            </a:pPr>
            <a:r>
              <a:rPr lang="en-gb" sz="1400" b="1"/>
              <a:t>Injuries of the spine</a:t>
            </a:r>
          </a:p>
          <a:p>
            <a:pPr rtl="0">
              <a:lnSpc>
                <a:spcPct val="100000"/>
              </a:lnSpc>
            </a:pPr>
            <a:r>
              <a:rPr lang="en-gb" sz="1200"/>
              <a:t>(road accident,</a:t>
            </a:r>
          </a:p>
          <a:p>
            <a:pPr rtl="0">
              <a:lnSpc>
                <a:spcPct val="100000"/>
              </a:lnSpc>
            </a:pPr>
            <a:r>
              <a:rPr lang="en-gb" sz="1200"/>
              <a:t>falling from a height,</a:t>
            </a:r>
          </a:p>
          <a:p>
            <a:pPr rtl="0">
              <a:lnSpc>
                <a:spcPct val="100000"/>
              </a:lnSpc>
            </a:pPr>
            <a:r>
              <a:rPr lang="en-gb" sz="1200"/>
              <a:t>water jump)</a:t>
            </a:r>
          </a:p>
          <a:p>
            <a:pPr rtl="0">
              <a:lnSpc>
                <a:spcPct val="100000"/>
              </a:lnSpc>
            </a:pPr>
            <a:endParaRPr lang="lv-LV" sz="1400" b="1"/>
          </a:p>
        </p:txBody>
      </p:sp>
      <p:sp>
        <p:nvSpPr>
          <p:cNvPr id="39" name="Content Placeholder 1">
            <a:extLst>
              <a:ext uri="{FF2B5EF4-FFF2-40B4-BE49-F238E27FC236}">
                <a16:creationId xmlns:a16="http://schemas.microsoft.com/office/drawing/2014/main" id="{DCB78F50-A328-CF00-9A1A-F2F677D9CB38}"/>
              </a:ext>
            </a:extLst>
          </p:cNvPr>
          <p:cNvSpPr txBox="1">
            <a:spLocks/>
          </p:cNvSpPr>
          <p:nvPr/>
        </p:nvSpPr>
        <p:spPr>
          <a:xfrm>
            <a:off x="2579759" y="4513587"/>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36" name="Rectangle 35">
            <a:extLst>
              <a:ext uri="{FF2B5EF4-FFF2-40B4-BE49-F238E27FC236}">
                <a16:creationId xmlns:a16="http://schemas.microsoft.com/office/drawing/2014/main" id="{A8F39C25-781C-A7DA-387A-D92FCABEE1F5}"/>
              </a:ext>
            </a:extLst>
          </p:cNvPr>
          <p:cNvSpPr/>
          <p:nvPr/>
        </p:nvSpPr>
        <p:spPr>
          <a:xfrm>
            <a:off x="442912" y="2630366"/>
            <a:ext cx="2208847" cy="165893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rtl="0">
              <a:lnSpc>
                <a:spcPct val="100000"/>
              </a:lnSpc>
            </a:pPr>
            <a:r>
              <a:rPr lang="en-gb" sz="1400" b="1" dirty="0"/>
              <a:t>Hand and leg injuries </a:t>
            </a:r>
            <a:r>
              <a:rPr lang="en-gb" sz="1200" dirty="0"/>
              <a:t>(</a:t>
            </a:r>
            <a:r>
              <a:rPr lang="lv-LV" sz="1200" dirty="0"/>
              <a:t>v</a:t>
            </a:r>
            <a:r>
              <a:rPr lang="en-gb" sz="1200" dirty="0" err="1"/>
              <a:t>ictim</a:t>
            </a:r>
            <a:r>
              <a:rPr lang="en-gb" sz="1200" dirty="0"/>
              <a:t> complains of pain, possible deformity, swelling, difficulty moving)</a:t>
            </a:r>
          </a:p>
          <a:p>
            <a:pPr rtl="0">
              <a:lnSpc>
                <a:spcPct val="100000"/>
              </a:lnSpc>
            </a:pPr>
            <a:endParaRPr lang="lv-LV" sz="1400" b="1" dirty="0"/>
          </a:p>
        </p:txBody>
      </p:sp>
      <p:sp>
        <p:nvSpPr>
          <p:cNvPr id="38" name="Content Placeholder 1">
            <a:extLst>
              <a:ext uri="{FF2B5EF4-FFF2-40B4-BE49-F238E27FC236}">
                <a16:creationId xmlns:a16="http://schemas.microsoft.com/office/drawing/2014/main" id="{7B1F3CCD-2DE1-C2A8-D340-EAF5B3993679}"/>
              </a:ext>
            </a:extLst>
          </p:cNvPr>
          <p:cNvSpPr txBox="1">
            <a:spLocks/>
          </p:cNvSpPr>
          <p:nvPr/>
        </p:nvSpPr>
        <p:spPr>
          <a:xfrm>
            <a:off x="2579759" y="2630366"/>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rtlCol="0"/>
          <a:lstStyle/>
          <a:p>
            <a:pPr rtl="0"/>
            <a:r>
              <a:rPr lang="en-gb"/>
              <a:t>What to do in case of injury?</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rtlCol="0"/>
          <a:lstStyle/>
          <a:p>
            <a:pPr rtl="0"/>
            <a:fld id="{7870704B-CE94-48CC-AF30-84932A1262A7}" type="slidenum">
              <a:rPr lang="en-GB" smtClean="0"/>
              <a:pPr rtl="0"/>
              <a:t>30</a:t>
            </a:fld>
            <a:endParaRPr lang="en-GB"/>
          </a:p>
        </p:txBody>
      </p:sp>
      <p:sp>
        <p:nvSpPr>
          <p:cNvPr id="16" name="TextBox 15">
            <a:extLst>
              <a:ext uri="{FF2B5EF4-FFF2-40B4-BE49-F238E27FC236}">
                <a16:creationId xmlns:a16="http://schemas.microsoft.com/office/drawing/2014/main" id="{30819613-CE74-49B6-0807-44FDBB81D466}"/>
              </a:ext>
            </a:extLst>
          </p:cNvPr>
          <p:cNvSpPr txBox="1"/>
          <p:nvPr/>
        </p:nvSpPr>
        <p:spPr>
          <a:xfrm>
            <a:off x="2847530" y="2630366"/>
            <a:ext cx="4352925" cy="1658938"/>
          </a:xfrm>
          <a:prstGeom prst="rect">
            <a:avLst/>
          </a:prstGeom>
          <a:noFill/>
        </p:spPr>
        <p:txBody>
          <a:bodyPr wrap="square" lIns="72000" rIns="72000" rtlCol="0" anchor="ctr">
            <a:noAutofit/>
          </a:bodyPr>
          <a:lstStyle/>
          <a:p>
            <a:pPr marL="284400" lvl="1" indent="-284400" rtl="0" hangingPunct="0">
              <a:buBlip>
                <a:blip r:embed="rId6"/>
              </a:buBlip>
              <a:tabLst>
                <a:tab pos="457200" algn="l"/>
                <a:tab pos="1586230" algn="l"/>
              </a:tabLst>
            </a:pPr>
            <a:r>
              <a:rPr lang="en-gb" sz="1400" dirty="0">
                <a:effectLst/>
                <a:ea typeface="Times New Roman" panose="02020603050405020304" pitchFamily="18" charset="0"/>
              </a:rPr>
              <a:t>Do not move the victim.</a:t>
            </a:r>
          </a:p>
          <a:p>
            <a:pPr marL="284400" lvl="1" indent="-284400" rtl="0" hangingPunct="0">
              <a:buBlip>
                <a:blip r:embed="rId6"/>
              </a:buBlip>
              <a:tabLst>
                <a:tab pos="457200" algn="l"/>
                <a:tab pos="1586230" algn="l"/>
              </a:tabLst>
            </a:pPr>
            <a:r>
              <a:rPr lang="lv-LV" sz="1400" dirty="0" err="1">
                <a:effectLst/>
                <a:ea typeface="Times New Roman" panose="02020603050405020304" pitchFamily="18" charset="0"/>
              </a:rPr>
              <a:t>Keep</a:t>
            </a:r>
            <a:r>
              <a:rPr lang="en-gb" sz="1400" dirty="0">
                <a:effectLst/>
                <a:ea typeface="Times New Roman" panose="02020603050405020304" pitchFamily="18" charset="0"/>
              </a:rPr>
              <a:t> the deformation caused by the injury.</a:t>
            </a:r>
          </a:p>
          <a:p>
            <a:pPr marL="284400" lvl="1" indent="-284400" rtl="0" hangingPunct="0">
              <a:buBlip>
                <a:blip r:embed="rId6"/>
              </a:buBlip>
              <a:tabLst>
                <a:tab pos="457200" algn="l"/>
                <a:tab pos="1586230" algn="l"/>
              </a:tabLst>
            </a:pPr>
            <a:r>
              <a:rPr lang="en-gb" sz="1400" dirty="0">
                <a:effectLst/>
                <a:ea typeface="Times New Roman" panose="02020603050405020304" pitchFamily="18" charset="0"/>
              </a:rPr>
              <a:t>Call an ambulance.</a:t>
            </a:r>
          </a:p>
          <a:p>
            <a:pPr marL="284400" lvl="1" indent="-284400" rtl="0" hangingPunct="0">
              <a:buBlip>
                <a:blip r:embed="rId6"/>
              </a:buBlip>
              <a:tabLst>
                <a:tab pos="457200" algn="l"/>
                <a:tab pos="1586230" algn="l"/>
              </a:tabLst>
            </a:pPr>
            <a:r>
              <a:rPr lang="en-gb" sz="1400" dirty="0">
                <a:effectLst/>
                <a:ea typeface="Times New Roman" panose="02020603050405020304" pitchFamily="18" charset="0"/>
              </a:rPr>
              <a:t>Care for, reassure the victim.</a:t>
            </a:r>
          </a:p>
        </p:txBody>
      </p:sp>
      <p:sp>
        <p:nvSpPr>
          <p:cNvPr id="18" name="TextBox 17">
            <a:extLst>
              <a:ext uri="{FF2B5EF4-FFF2-40B4-BE49-F238E27FC236}">
                <a16:creationId xmlns:a16="http://schemas.microsoft.com/office/drawing/2014/main" id="{E1D4AC8F-0322-E8A8-E509-5AF71473A8F4}"/>
              </a:ext>
            </a:extLst>
          </p:cNvPr>
          <p:cNvSpPr txBox="1"/>
          <p:nvPr/>
        </p:nvSpPr>
        <p:spPr>
          <a:xfrm>
            <a:off x="7396160" y="2630366"/>
            <a:ext cx="4352925" cy="1658938"/>
          </a:xfrm>
          <a:prstGeom prst="rect">
            <a:avLst/>
          </a:prstGeom>
          <a:noFill/>
        </p:spPr>
        <p:txBody>
          <a:bodyPr wrap="square" lIns="72000" rIns="72000" rtlCol="0" anchor="ctr">
            <a:noAutofit/>
          </a:bodyPr>
          <a:lstStyle/>
          <a:p>
            <a:pPr marL="284400" lvl="0" indent="-284400" rtl="0" hangingPunct="0">
              <a:buSzPts val="1200"/>
              <a:buBlip>
                <a:blip r:embed="rId6"/>
              </a:buBlip>
            </a:pPr>
            <a:r>
              <a:rPr lang="en-gb" sz="1400">
                <a:effectLst/>
                <a:ea typeface="Calibri" panose="020F0502020204030204" pitchFamily="34" charset="0"/>
                <a:cs typeface="Times New Roman" panose="02020603050405020304" pitchFamily="18" charset="0"/>
              </a:rPr>
              <a:t>Don't try to distinguish between different types of injury. Assume that the injury may be a fracture.</a:t>
            </a:r>
          </a:p>
          <a:p>
            <a:pPr marL="284400" lvl="0" indent="-284400" rtl="0" hangingPunct="0">
              <a:buSzPts val="1200"/>
              <a:buBlip>
                <a:blip r:embed="rId6"/>
              </a:buBlip>
            </a:pPr>
            <a:r>
              <a:rPr lang="en-gb" sz="1400">
                <a:effectLst/>
                <a:ea typeface="Calibri" panose="020F0502020204030204" pitchFamily="34" charset="0"/>
                <a:cs typeface="Times New Roman" panose="02020603050405020304" pitchFamily="18" charset="0"/>
              </a:rPr>
              <a:t>Only move the victim if there is a risk to life. Do it gently.</a:t>
            </a:r>
          </a:p>
        </p:txBody>
      </p:sp>
      <p:sp>
        <p:nvSpPr>
          <p:cNvPr id="20" name="TextBox 19">
            <a:extLst>
              <a:ext uri="{FF2B5EF4-FFF2-40B4-BE49-F238E27FC236}">
                <a16:creationId xmlns:a16="http://schemas.microsoft.com/office/drawing/2014/main" id="{BCB0856A-D775-E9B2-A22B-A661D9F8D43C}"/>
              </a:ext>
            </a:extLst>
          </p:cNvPr>
          <p:cNvSpPr txBox="1"/>
          <p:nvPr/>
        </p:nvSpPr>
        <p:spPr>
          <a:xfrm>
            <a:off x="2847530" y="4513587"/>
            <a:ext cx="4352925" cy="1658938"/>
          </a:xfrm>
          <a:prstGeom prst="rect">
            <a:avLst/>
          </a:prstGeom>
          <a:noFill/>
        </p:spPr>
        <p:txBody>
          <a:bodyPr wrap="square" lIns="72000" rIns="72000" rtlCol="0" anchor="ctr">
            <a:noAutofit/>
          </a:bodyPr>
          <a:lstStyle/>
          <a:p>
            <a:pPr marL="284400" lvl="0" indent="-284400" rtl="0" hangingPunct="0">
              <a:buBlip>
                <a:blip r:embed="rId6"/>
              </a:buBlip>
              <a:tabLst>
                <a:tab pos="457200" algn="l"/>
              </a:tabLst>
            </a:pPr>
            <a:r>
              <a:rPr lang="en-gb" sz="1400" dirty="0">
                <a:effectLst/>
                <a:ea typeface="Times New Roman" panose="02020603050405020304" pitchFamily="18" charset="0"/>
              </a:rPr>
              <a:t>Ask the victim not to move or shake his head.</a:t>
            </a:r>
          </a:p>
          <a:p>
            <a:pPr marL="284400" lvl="0" indent="-284400" rtl="0" hangingPunct="0">
              <a:buBlip>
                <a:blip r:embed="rId6"/>
              </a:buBlip>
              <a:tabLst>
                <a:tab pos="457200" algn="l"/>
              </a:tabLst>
            </a:pPr>
            <a:r>
              <a:rPr lang="en-gb" sz="1400" dirty="0">
                <a:effectLst/>
                <a:ea typeface="Times New Roman" panose="02020603050405020304" pitchFamily="18" charset="0"/>
              </a:rPr>
              <a:t>Do not move the victim yourself!</a:t>
            </a:r>
            <a:r>
              <a:rPr lang="en-gb" sz="1400" dirty="0">
                <a:ea typeface="Times New Roman" panose="02020603050405020304" pitchFamily="18" charset="0"/>
              </a:rPr>
              <a:t> Do not let</a:t>
            </a:r>
            <a:r>
              <a:rPr lang="lv-LV" sz="1400" dirty="0">
                <a:ea typeface="Times New Roman" panose="02020603050405020304" pitchFamily="18" charset="0"/>
              </a:rPr>
              <a:t> </a:t>
            </a:r>
            <a:r>
              <a:rPr lang="en-gb" sz="1400" dirty="0">
                <a:effectLst/>
                <a:ea typeface="Times New Roman" panose="02020603050405020304" pitchFamily="18" charset="0"/>
              </a:rPr>
              <a:t>others move the victim!</a:t>
            </a:r>
          </a:p>
          <a:p>
            <a:pPr marL="284400" lvl="0" indent="-284400" rtl="0" hangingPunct="0">
              <a:buBlip>
                <a:blip r:embed="rId6"/>
              </a:buBlip>
              <a:tabLst>
                <a:tab pos="457200" algn="l"/>
              </a:tabLst>
            </a:pPr>
            <a:r>
              <a:rPr lang="en-gb" sz="1400" dirty="0">
                <a:effectLst/>
                <a:ea typeface="Times New Roman" panose="02020603050405020304" pitchFamily="18" charset="0"/>
              </a:rPr>
              <a:t>Call an ambulance.</a:t>
            </a:r>
          </a:p>
          <a:p>
            <a:pPr marL="284400" lvl="0" indent="-284400" rtl="0" hangingPunct="0">
              <a:buBlip>
                <a:blip r:embed="rId6"/>
              </a:buBlip>
              <a:tabLst>
                <a:tab pos="457200" algn="l"/>
              </a:tabLst>
            </a:pPr>
            <a:r>
              <a:rPr lang="en-gb" sz="1400" dirty="0">
                <a:effectLst/>
                <a:ea typeface="Times New Roman" panose="02020603050405020304" pitchFamily="18" charset="0"/>
              </a:rPr>
              <a:t>Care for, reassure the victim.</a:t>
            </a:r>
          </a:p>
          <a:p>
            <a:pPr marL="284400" lvl="0" indent="-284400" rtl="0" hangingPunct="0">
              <a:buBlip>
                <a:blip r:embed="rId6"/>
              </a:buBlip>
              <a:tabLst>
                <a:tab pos="457200" algn="l"/>
              </a:tabLst>
            </a:pPr>
            <a:r>
              <a:rPr lang="en-gb" sz="1400" dirty="0">
                <a:effectLst/>
                <a:ea typeface="Times New Roman" panose="02020603050405020304" pitchFamily="18" charset="0"/>
              </a:rPr>
              <a:t>Take resuscitation measures if necessary.</a:t>
            </a:r>
          </a:p>
        </p:txBody>
      </p:sp>
      <p:sp>
        <p:nvSpPr>
          <p:cNvPr id="22" name="TextBox 21">
            <a:extLst>
              <a:ext uri="{FF2B5EF4-FFF2-40B4-BE49-F238E27FC236}">
                <a16:creationId xmlns:a16="http://schemas.microsoft.com/office/drawing/2014/main" id="{044C1CE5-09D8-63ED-7E23-4A59A70CC41B}"/>
              </a:ext>
            </a:extLst>
          </p:cNvPr>
          <p:cNvSpPr txBox="1"/>
          <p:nvPr/>
        </p:nvSpPr>
        <p:spPr>
          <a:xfrm>
            <a:off x="7396160" y="4513587"/>
            <a:ext cx="4352925" cy="1658938"/>
          </a:xfrm>
          <a:prstGeom prst="rect">
            <a:avLst/>
          </a:prstGeom>
          <a:noFill/>
        </p:spPr>
        <p:txBody>
          <a:bodyPr wrap="square" lIns="72000" rIns="72000" rtlCol="0" anchor="ctr">
            <a:noAutofit/>
          </a:bodyPr>
          <a:lstStyle/>
          <a:p>
            <a:pPr marL="284400" lvl="0" indent="-284400" rtl="0" hangingPunct="0">
              <a:buBlip>
                <a:blip r:embed="rId6"/>
              </a:buBlip>
            </a:pPr>
            <a:r>
              <a:rPr lang="en-gb" sz="1400" dirty="0">
                <a:effectLst/>
                <a:ea typeface="Calibri" panose="020F0502020204030204" pitchFamily="34" charset="0"/>
                <a:cs typeface="Times New Roman" panose="02020603050405020304" pitchFamily="18" charset="0"/>
              </a:rPr>
              <a:t>A pedestrian, cyclist, etc. is also considered a road accident.</a:t>
            </a:r>
          </a:p>
          <a:p>
            <a:pPr marL="284400" lvl="0" indent="-284400" rtl="0" hangingPunct="0">
              <a:buBlip>
                <a:blip r:embed="rId6"/>
              </a:buBlip>
            </a:pPr>
            <a:r>
              <a:rPr lang="en-gb" sz="1400" dirty="0">
                <a:effectLst/>
                <a:ea typeface="Calibri" panose="020F0502020204030204" pitchFamily="34" charset="0"/>
                <a:cs typeface="Times New Roman" panose="02020603050405020304" pitchFamily="18" charset="0"/>
              </a:rPr>
              <a:t>Only move the victim if there is a risk to life.</a:t>
            </a:r>
          </a:p>
          <a:p>
            <a:pPr marL="284400" lvl="0" indent="-284400" rtl="0" hangingPunct="0">
              <a:buBlip>
                <a:blip r:embed="rId6"/>
              </a:buBlip>
            </a:pPr>
            <a:r>
              <a:rPr lang="lv-LV" sz="1400" dirty="0" err="1">
                <a:effectLst/>
                <a:ea typeface="Calibri" panose="020F0502020204030204" pitchFamily="34" charset="0"/>
                <a:cs typeface="Times New Roman" panose="02020603050405020304" pitchFamily="18" charset="0"/>
              </a:rPr>
              <a:t>Be</a:t>
            </a:r>
            <a:r>
              <a:rPr lang="lv-LV" sz="1400" dirty="0">
                <a:effectLst/>
                <a:ea typeface="Calibri" panose="020F0502020204030204" pitchFamily="34" charset="0"/>
                <a:cs typeface="Times New Roman" panose="02020603050405020304" pitchFamily="18" charset="0"/>
              </a:rPr>
              <a:t> </a:t>
            </a:r>
            <a:r>
              <a:rPr lang="lv-LV" sz="1400" dirty="0" err="1">
                <a:effectLst/>
                <a:ea typeface="Calibri" panose="020F0502020204030204" pitchFamily="34" charset="0"/>
                <a:cs typeface="Times New Roman" panose="02020603050405020304" pitchFamily="18" charset="0"/>
              </a:rPr>
              <a:t>careful</a:t>
            </a:r>
            <a:r>
              <a:rPr lang="lv-LV" sz="1400" dirty="0">
                <a:effectLst/>
                <a:ea typeface="Calibri" panose="020F0502020204030204" pitchFamily="34" charset="0"/>
                <a:cs typeface="Times New Roman" panose="02020603050405020304" pitchFamily="18" charset="0"/>
              </a:rPr>
              <a:t> </a:t>
            </a:r>
            <a:r>
              <a:rPr lang="lv-LV" sz="1400" dirty="0" err="1">
                <a:effectLst/>
                <a:ea typeface="Calibri" panose="020F0502020204030204" pitchFamily="34" charset="0"/>
                <a:cs typeface="Times New Roman" panose="02020603050405020304" pitchFamily="18" charset="0"/>
              </a:rPr>
              <a:t>with</a:t>
            </a:r>
            <a:r>
              <a:rPr lang="en-gb" sz="1400" dirty="0">
                <a:effectLst/>
                <a:ea typeface="Calibri" panose="020F0502020204030204" pitchFamily="34" charset="0"/>
                <a:cs typeface="Times New Roman" panose="02020603050405020304" pitchFamily="18" charset="0"/>
              </a:rPr>
              <a:t> the victim's spine when moving.</a:t>
            </a:r>
          </a:p>
        </p:txBody>
      </p:sp>
      <p:sp>
        <p:nvSpPr>
          <p:cNvPr id="7" name="Rectangle 6">
            <a:extLst>
              <a:ext uri="{FF2B5EF4-FFF2-40B4-BE49-F238E27FC236}">
                <a16:creationId xmlns:a16="http://schemas.microsoft.com/office/drawing/2014/main" id="{86696790-9AF2-90F5-9181-2D41BE60EB49}"/>
              </a:ext>
            </a:extLst>
          </p:cNvPr>
          <p:cNvSpPr/>
          <p:nvPr/>
        </p:nvSpPr>
        <p:spPr>
          <a:xfrm>
            <a:off x="7396160" y="1830995"/>
            <a:ext cx="435292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bg1"/>
                </a:solidFill>
              </a:rPr>
              <a:t>Important!</a:t>
            </a:r>
          </a:p>
        </p:txBody>
      </p:sp>
      <p:sp>
        <p:nvSpPr>
          <p:cNvPr id="8" name="Content Placeholder 1">
            <a:extLst>
              <a:ext uri="{FF2B5EF4-FFF2-40B4-BE49-F238E27FC236}">
                <a16:creationId xmlns:a16="http://schemas.microsoft.com/office/drawing/2014/main" id="{6D829F90-6705-E69A-21A5-90476098A43C}"/>
              </a:ext>
            </a:extLst>
          </p:cNvPr>
          <p:cNvSpPr txBox="1">
            <a:spLocks/>
          </p:cNvSpPr>
          <p:nvPr/>
        </p:nvSpPr>
        <p:spPr>
          <a:xfrm>
            <a:off x="11173087" y="18309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0" name="Content Placeholder 1">
            <a:extLst>
              <a:ext uri="{FF2B5EF4-FFF2-40B4-BE49-F238E27FC236}">
                <a16:creationId xmlns:a16="http://schemas.microsoft.com/office/drawing/2014/main" id="{286A557C-8709-63A2-4121-A57CE2733DB1}"/>
              </a:ext>
            </a:extLst>
          </p:cNvPr>
          <p:cNvSpPr txBox="1">
            <a:spLocks/>
          </p:cNvSpPr>
          <p:nvPr/>
        </p:nvSpPr>
        <p:spPr>
          <a:xfrm>
            <a:off x="11101699" y="18309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1" name="Google Shape;794;p79">
            <a:extLst>
              <a:ext uri="{FF2B5EF4-FFF2-40B4-BE49-F238E27FC236}">
                <a16:creationId xmlns:a16="http://schemas.microsoft.com/office/drawing/2014/main" id="{D2A8BC78-A9E1-D6DD-60C1-C2973B2EAC78}"/>
              </a:ext>
            </a:extLst>
          </p:cNvPr>
          <p:cNvSpPr/>
          <p:nvPr/>
        </p:nvSpPr>
        <p:spPr>
          <a:xfrm>
            <a:off x="11281087" y="19389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2" name="Rectangle 11">
            <a:extLst>
              <a:ext uri="{FF2B5EF4-FFF2-40B4-BE49-F238E27FC236}">
                <a16:creationId xmlns:a16="http://schemas.microsoft.com/office/drawing/2014/main" id="{2FDDF60C-37C1-6CF7-C1D0-493FE821D2A6}"/>
              </a:ext>
            </a:extLst>
          </p:cNvPr>
          <p:cNvSpPr/>
          <p:nvPr/>
        </p:nvSpPr>
        <p:spPr>
          <a:xfrm>
            <a:off x="2847530" y="1830995"/>
            <a:ext cx="435286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tx1"/>
                </a:solidFill>
              </a:rPr>
              <a:t>How to proceed?</a:t>
            </a:r>
          </a:p>
        </p:txBody>
      </p:sp>
      <p:sp>
        <p:nvSpPr>
          <p:cNvPr id="13" name="Content Placeholder 1">
            <a:extLst>
              <a:ext uri="{FF2B5EF4-FFF2-40B4-BE49-F238E27FC236}">
                <a16:creationId xmlns:a16="http://schemas.microsoft.com/office/drawing/2014/main" id="{E8384D8D-0F30-F782-8C4C-3A886A9E470F}"/>
              </a:ext>
            </a:extLst>
          </p:cNvPr>
          <p:cNvSpPr txBox="1">
            <a:spLocks/>
          </p:cNvSpPr>
          <p:nvPr/>
        </p:nvSpPr>
        <p:spPr>
          <a:xfrm>
            <a:off x="6624391" y="183099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4" name="Content Placeholder 1">
            <a:extLst>
              <a:ext uri="{FF2B5EF4-FFF2-40B4-BE49-F238E27FC236}">
                <a16:creationId xmlns:a16="http://schemas.microsoft.com/office/drawing/2014/main" id="{F608F83C-ACC0-64A4-5EB7-0ED67D40858A}"/>
              </a:ext>
            </a:extLst>
          </p:cNvPr>
          <p:cNvSpPr txBox="1">
            <a:spLocks/>
          </p:cNvSpPr>
          <p:nvPr/>
        </p:nvSpPr>
        <p:spPr>
          <a:xfrm>
            <a:off x="6553003" y="183099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5" name="Google Shape;760;p79">
            <a:extLst>
              <a:ext uri="{FF2B5EF4-FFF2-40B4-BE49-F238E27FC236}">
                <a16:creationId xmlns:a16="http://schemas.microsoft.com/office/drawing/2014/main" id="{41752F61-58C1-707D-9CA8-6885DB40EDE2}"/>
              </a:ext>
            </a:extLst>
          </p:cNvPr>
          <p:cNvSpPr/>
          <p:nvPr/>
        </p:nvSpPr>
        <p:spPr>
          <a:xfrm>
            <a:off x="6732391" y="1938995"/>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42" name="Google Shape;1646;p92">
            <a:extLst>
              <a:ext uri="{FF2B5EF4-FFF2-40B4-BE49-F238E27FC236}">
                <a16:creationId xmlns:a16="http://schemas.microsoft.com/office/drawing/2014/main" id="{9983B4C6-2A5E-EDE9-F2A8-E4730B664094}"/>
              </a:ext>
            </a:extLst>
          </p:cNvPr>
          <p:cNvGrpSpPr/>
          <p:nvPr/>
        </p:nvGrpSpPr>
        <p:grpSpPr>
          <a:xfrm>
            <a:off x="2021278" y="3724727"/>
            <a:ext cx="360363" cy="360363"/>
            <a:chOff x="9433602" y="4634724"/>
            <a:chExt cx="457200" cy="457200"/>
          </a:xfrm>
          <a:solidFill>
            <a:schemeClr val="bg1"/>
          </a:solidFill>
        </p:grpSpPr>
        <p:sp>
          <p:nvSpPr>
            <p:cNvPr id="43" name="Google Shape;1647;p92">
              <a:extLst>
                <a:ext uri="{FF2B5EF4-FFF2-40B4-BE49-F238E27FC236}">
                  <a16:creationId xmlns:a16="http://schemas.microsoft.com/office/drawing/2014/main" id="{DDCF7E12-93FA-263B-9031-ADE10BE80E06}"/>
                </a:ext>
              </a:extLst>
            </p:cNvPr>
            <p:cNvSpPr/>
            <p:nvPr/>
          </p:nvSpPr>
          <p:spPr>
            <a:xfrm>
              <a:off x="9433602" y="4634724"/>
              <a:ext cx="457200" cy="457200"/>
            </a:xfrm>
            <a:custGeom>
              <a:avLst/>
              <a:gdLst/>
              <a:ahLst/>
              <a:cxnLst/>
              <a:rect l="l" t="t" r="r" b="b"/>
              <a:pathLst>
                <a:path w="457200" h="457200" extrusionOk="0">
                  <a:moveTo>
                    <a:pt x="335883" y="318"/>
                  </a:moveTo>
                  <a:lnTo>
                    <a:pt x="335725" y="0"/>
                  </a:lnTo>
                  <a:lnTo>
                    <a:pt x="334963" y="318"/>
                  </a:lnTo>
                  <a:lnTo>
                    <a:pt x="0" y="318"/>
                  </a:lnTo>
                  <a:lnTo>
                    <a:pt x="0" y="457200"/>
                  </a:lnTo>
                  <a:lnTo>
                    <a:pt x="457200" y="457200"/>
                  </a:lnTo>
                  <a:lnTo>
                    <a:pt x="457200" y="318"/>
                  </a:lnTo>
                  <a:close/>
                  <a:moveTo>
                    <a:pt x="437674" y="90678"/>
                  </a:moveTo>
                  <a:lnTo>
                    <a:pt x="253016" y="148685"/>
                  </a:lnTo>
                  <a:cubicBezTo>
                    <a:pt x="236442" y="153892"/>
                    <a:pt x="215360" y="166307"/>
                    <a:pt x="208979" y="179007"/>
                  </a:cubicBezTo>
                  <a:cubicBezTo>
                    <a:pt x="207345" y="182590"/>
                    <a:pt x="204623" y="185567"/>
                    <a:pt x="201200" y="187516"/>
                  </a:cubicBezTo>
                  <a:cubicBezTo>
                    <a:pt x="199405" y="186001"/>
                    <a:pt x="198267" y="183850"/>
                    <a:pt x="198025" y="181515"/>
                  </a:cubicBezTo>
                  <a:cubicBezTo>
                    <a:pt x="196775" y="170265"/>
                    <a:pt x="188591" y="161014"/>
                    <a:pt x="177578" y="158401"/>
                  </a:cubicBezTo>
                  <a:cubicBezTo>
                    <a:pt x="171838" y="156258"/>
                    <a:pt x="166819" y="152538"/>
                    <a:pt x="163100" y="147669"/>
                  </a:cubicBezTo>
                  <a:cubicBezTo>
                    <a:pt x="162264" y="146588"/>
                    <a:pt x="161918" y="145206"/>
                    <a:pt x="162147" y="143859"/>
                  </a:cubicBezTo>
                  <a:cubicBezTo>
                    <a:pt x="162423" y="142180"/>
                    <a:pt x="163361" y="140682"/>
                    <a:pt x="164751" y="139700"/>
                  </a:cubicBezTo>
                  <a:cubicBezTo>
                    <a:pt x="169132" y="136525"/>
                    <a:pt x="180340" y="134906"/>
                    <a:pt x="188214" y="137382"/>
                  </a:cubicBezTo>
                  <a:cubicBezTo>
                    <a:pt x="202375" y="141859"/>
                    <a:pt x="226981" y="137954"/>
                    <a:pt x="242919" y="132048"/>
                  </a:cubicBezTo>
                  <a:lnTo>
                    <a:pt x="437674" y="59944"/>
                  </a:lnTo>
                  <a:close/>
                  <a:moveTo>
                    <a:pt x="437674" y="39053"/>
                  </a:moveTo>
                  <a:lnTo>
                    <a:pt x="236125" y="113665"/>
                  </a:lnTo>
                  <a:cubicBezTo>
                    <a:pt x="220885" y="119317"/>
                    <a:pt x="201200" y="120967"/>
                    <a:pt x="194088" y="118682"/>
                  </a:cubicBezTo>
                  <a:cubicBezTo>
                    <a:pt x="180975" y="114522"/>
                    <a:pt x="163354" y="116650"/>
                    <a:pt x="153448" y="123825"/>
                  </a:cubicBezTo>
                  <a:cubicBezTo>
                    <a:pt x="147675" y="127879"/>
                    <a:pt x="143792" y="134099"/>
                    <a:pt x="142685" y="141065"/>
                  </a:cubicBezTo>
                  <a:cubicBezTo>
                    <a:pt x="141651" y="147653"/>
                    <a:pt x="143361" y="154377"/>
                    <a:pt x="147415" y="159671"/>
                  </a:cubicBezTo>
                  <a:cubicBezTo>
                    <a:pt x="153321" y="167354"/>
                    <a:pt x="164306" y="176022"/>
                    <a:pt x="173990" y="177737"/>
                  </a:cubicBezTo>
                  <a:cubicBezTo>
                    <a:pt x="176422" y="178907"/>
                    <a:pt x="178104" y="181221"/>
                    <a:pt x="178467" y="183896"/>
                  </a:cubicBezTo>
                  <a:cubicBezTo>
                    <a:pt x="179769" y="195167"/>
                    <a:pt x="187992" y="205105"/>
                    <a:pt x="197834" y="206978"/>
                  </a:cubicBezTo>
                  <a:cubicBezTo>
                    <a:pt x="198879" y="207194"/>
                    <a:pt x="199943" y="207300"/>
                    <a:pt x="201009" y="207296"/>
                  </a:cubicBezTo>
                  <a:cubicBezTo>
                    <a:pt x="211328" y="207296"/>
                    <a:pt x="221361" y="197993"/>
                    <a:pt x="226409" y="187865"/>
                  </a:cubicBezTo>
                  <a:cubicBezTo>
                    <a:pt x="228886" y="182912"/>
                    <a:pt x="242761" y="172498"/>
                    <a:pt x="258858" y="167450"/>
                  </a:cubicBezTo>
                  <a:lnTo>
                    <a:pt x="437674" y="111125"/>
                  </a:lnTo>
                  <a:lnTo>
                    <a:pt x="437674" y="168561"/>
                  </a:lnTo>
                  <a:lnTo>
                    <a:pt x="248444" y="207677"/>
                  </a:lnTo>
                  <a:cubicBezTo>
                    <a:pt x="228573" y="211309"/>
                    <a:pt x="215408" y="230362"/>
                    <a:pt x="219040" y="250233"/>
                  </a:cubicBezTo>
                  <a:cubicBezTo>
                    <a:pt x="219449" y="252473"/>
                    <a:pt x="220067" y="254669"/>
                    <a:pt x="220885" y="256794"/>
                  </a:cubicBezTo>
                  <a:lnTo>
                    <a:pt x="230664" y="283972"/>
                  </a:lnTo>
                  <a:cubicBezTo>
                    <a:pt x="236369" y="302252"/>
                    <a:pt x="238324" y="321497"/>
                    <a:pt x="236411" y="340551"/>
                  </a:cubicBezTo>
                  <a:lnTo>
                    <a:pt x="222536" y="437674"/>
                  </a:lnTo>
                  <a:lnTo>
                    <a:pt x="182785" y="437674"/>
                  </a:lnTo>
                  <a:lnTo>
                    <a:pt x="182785" y="309563"/>
                  </a:lnTo>
                  <a:cubicBezTo>
                    <a:pt x="182785" y="292767"/>
                    <a:pt x="188182" y="273812"/>
                    <a:pt x="193040" y="267303"/>
                  </a:cubicBezTo>
                  <a:cubicBezTo>
                    <a:pt x="201359" y="256191"/>
                    <a:pt x="205740" y="239967"/>
                    <a:pt x="198215" y="230473"/>
                  </a:cubicBezTo>
                  <a:cubicBezTo>
                    <a:pt x="191611" y="222250"/>
                    <a:pt x="177387" y="220218"/>
                    <a:pt x="165100" y="225743"/>
                  </a:cubicBezTo>
                  <a:cubicBezTo>
                    <a:pt x="157319" y="228512"/>
                    <a:pt x="148898" y="228942"/>
                    <a:pt x="140875" y="226981"/>
                  </a:cubicBezTo>
                  <a:cubicBezTo>
                    <a:pt x="127032" y="222853"/>
                    <a:pt x="112300" y="228663"/>
                    <a:pt x="107347" y="240221"/>
                  </a:cubicBezTo>
                  <a:cubicBezTo>
                    <a:pt x="102394" y="251778"/>
                    <a:pt x="109633" y="267208"/>
                    <a:pt x="124365" y="275685"/>
                  </a:cubicBezTo>
                  <a:cubicBezTo>
                    <a:pt x="130715" y="279368"/>
                    <a:pt x="137859" y="294735"/>
                    <a:pt x="137859" y="309563"/>
                  </a:cubicBezTo>
                  <a:lnTo>
                    <a:pt x="137859" y="437674"/>
                  </a:lnTo>
                  <a:lnTo>
                    <a:pt x="100203" y="437674"/>
                  </a:lnTo>
                  <a:lnTo>
                    <a:pt x="79375" y="162782"/>
                  </a:lnTo>
                  <a:cubicBezTo>
                    <a:pt x="79281" y="148173"/>
                    <a:pt x="87305" y="134719"/>
                    <a:pt x="100203" y="127857"/>
                  </a:cubicBezTo>
                  <a:lnTo>
                    <a:pt x="339344" y="19907"/>
                  </a:lnTo>
                  <a:lnTo>
                    <a:pt x="437769" y="19907"/>
                  </a:lnTo>
                  <a:close/>
                  <a:moveTo>
                    <a:pt x="134144" y="258794"/>
                  </a:moveTo>
                  <a:cubicBezTo>
                    <a:pt x="127540" y="254984"/>
                    <a:pt x="124968" y="249269"/>
                    <a:pt x="125286" y="247904"/>
                  </a:cubicBezTo>
                  <a:cubicBezTo>
                    <a:pt x="125603" y="246539"/>
                    <a:pt x="130302" y="244221"/>
                    <a:pt x="135287" y="245681"/>
                  </a:cubicBezTo>
                  <a:cubicBezTo>
                    <a:pt x="147801" y="249000"/>
                    <a:pt x="161046" y="248243"/>
                    <a:pt x="173101" y="243522"/>
                  </a:cubicBezTo>
                  <a:cubicBezTo>
                    <a:pt x="176081" y="242155"/>
                    <a:pt x="179425" y="241799"/>
                    <a:pt x="182626" y="242506"/>
                  </a:cubicBezTo>
                  <a:cubicBezTo>
                    <a:pt x="182254" y="247318"/>
                    <a:pt x="180427" y="251903"/>
                    <a:pt x="177387" y="255651"/>
                  </a:cubicBezTo>
                  <a:cubicBezTo>
                    <a:pt x="168529" y="267494"/>
                    <a:pt x="163259" y="292354"/>
                    <a:pt x="163259" y="309626"/>
                  </a:cubicBezTo>
                  <a:lnTo>
                    <a:pt x="163259" y="437737"/>
                  </a:lnTo>
                  <a:lnTo>
                    <a:pt x="157385" y="437737"/>
                  </a:lnTo>
                  <a:lnTo>
                    <a:pt x="157385" y="309563"/>
                  </a:lnTo>
                  <a:cubicBezTo>
                    <a:pt x="157385" y="288258"/>
                    <a:pt x="147384" y="266446"/>
                    <a:pt x="134144" y="258794"/>
                  </a:cubicBezTo>
                  <a:close/>
                  <a:moveTo>
                    <a:pt x="19526" y="19844"/>
                  </a:moveTo>
                  <a:lnTo>
                    <a:pt x="291719" y="19844"/>
                  </a:lnTo>
                  <a:lnTo>
                    <a:pt x="92075" y="109950"/>
                  </a:lnTo>
                  <a:cubicBezTo>
                    <a:pt x="71538" y="120107"/>
                    <a:pt x="58881" y="141379"/>
                    <a:pt x="59754" y="164275"/>
                  </a:cubicBezTo>
                  <a:lnTo>
                    <a:pt x="80613" y="437674"/>
                  </a:lnTo>
                  <a:lnTo>
                    <a:pt x="19526" y="437674"/>
                  </a:lnTo>
                  <a:close/>
                  <a:moveTo>
                    <a:pt x="242253" y="437674"/>
                  </a:moveTo>
                  <a:lnTo>
                    <a:pt x="255746" y="343313"/>
                  </a:lnTo>
                  <a:cubicBezTo>
                    <a:pt x="258146" y="321104"/>
                    <a:pt x="255853" y="298635"/>
                    <a:pt x="249015" y="277368"/>
                  </a:cubicBezTo>
                  <a:lnTo>
                    <a:pt x="239236" y="250190"/>
                  </a:lnTo>
                  <a:cubicBezTo>
                    <a:pt x="235633" y="241471"/>
                    <a:pt x="239780" y="231483"/>
                    <a:pt x="248499" y="227880"/>
                  </a:cubicBezTo>
                  <a:cubicBezTo>
                    <a:pt x="249746" y="227365"/>
                    <a:pt x="251049" y="226999"/>
                    <a:pt x="252381" y="226790"/>
                  </a:cubicBezTo>
                  <a:lnTo>
                    <a:pt x="437674" y="188500"/>
                  </a:lnTo>
                  <a:lnTo>
                    <a:pt x="437674" y="437674"/>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4" name="Google Shape;1648;p92">
              <a:extLst>
                <a:ext uri="{FF2B5EF4-FFF2-40B4-BE49-F238E27FC236}">
                  <a16:creationId xmlns:a16="http://schemas.microsoft.com/office/drawing/2014/main" id="{DC7C1083-EC91-872C-7493-DADB72E816DE}"/>
                </a:ext>
              </a:extLst>
            </p:cNvPr>
            <p:cNvSpPr/>
            <p:nvPr/>
          </p:nvSpPr>
          <p:spPr>
            <a:xfrm>
              <a:off x="9534725" y="4792489"/>
              <a:ext cx="57277" cy="60198"/>
            </a:xfrm>
            <a:custGeom>
              <a:avLst/>
              <a:gdLst/>
              <a:ahLst/>
              <a:cxnLst/>
              <a:rect l="l" t="t" r="r" b="b"/>
              <a:pathLst>
                <a:path w="57277" h="60198" extrusionOk="0">
                  <a:moveTo>
                    <a:pt x="19113" y="32"/>
                  </a:moveTo>
                  <a:cubicBezTo>
                    <a:pt x="14969" y="-22"/>
                    <a:pt x="11032" y="1841"/>
                    <a:pt x="8445" y="5080"/>
                  </a:cubicBezTo>
                  <a:cubicBezTo>
                    <a:pt x="2921" y="12128"/>
                    <a:pt x="0" y="25368"/>
                    <a:pt x="0" y="34798"/>
                  </a:cubicBezTo>
                  <a:cubicBezTo>
                    <a:pt x="0" y="49022"/>
                    <a:pt x="15335" y="60198"/>
                    <a:pt x="34925" y="60198"/>
                  </a:cubicBezTo>
                  <a:cubicBezTo>
                    <a:pt x="44450" y="60198"/>
                    <a:pt x="52038" y="56198"/>
                    <a:pt x="55404" y="49213"/>
                  </a:cubicBezTo>
                  <a:cubicBezTo>
                    <a:pt x="57690" y="44514"/>
                    <a:pt x="59880" y="34512"/>
                    <a:pt x="49054" y="20638"/>
                  </a:cubicBezTo>
                  <a:cubicBezTo>
                    <a:pt x="44133" y="14288"/>
                    <a:pt x="31337" y="0"/>
                    <a:pt x="19272" y="0"/>
                  </a:cubicBezTo>
                  <a:close/>
                  <a:moveTo>
                    <a:pt x="21876" y="21273"/>
                  </a:moveTo>
                  <a:cubicBezTo>
                    <a:pt x="26310" y="24523"/>
                    <a:pt x="30265" y="28381"/>
                    <a:pt x="33623" y="32734"/>
                  </a:cubicBezTo>
                  <a:cubicBezTo>
                    <a:pt x="35563" y="34892"/>
                    <a:pt x="36957" y="37483"/>
                    <a:pt x="37687" y="40291"/>
                  </a:cubicBezTo>
                  <a:cubicBezTo>
                    <a:pt x="36786" y="40525"/>
                    <a:pt x="35856" y="40632"/>
                    <a:pt x="34925" y="40608"/>
                  </a:cubicBezTo>
                  <a:cubicBezTo>
                    <a:pt x="25400" y="40608"/>
                    <a:pt x="19653" y="36195"/>
                    <a:pt x="19526" y="34735"/>
                  </a:cubicBezTo>
                  <a:cubicBezTo>
                    <a:pt x="19608" y="30153"/>
                    <a:pt x="20400" y="25611"/>
                    <a:pt x="21876" y="21273"/>
                  </a:cubicBez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grpSp>
        <p:nvGrpSpPr>
          <p:cNvPr id="45" name="Google Shape;1582;p92">
            <a:extLst>
              <a:ext uri="{FF2B5EF4-FFF2-40B4-BE49-F238E27FC236}">
                <a16:creationId xmlns:a16="http://schemas.microsoft.com/office/drawing/2014/main" id="{46B9523D-B1A2-DFB9-CE6B-DBB65D7141F1}"/>
              </a:ext>
            </a:extLst>
          </p:cNvPr>
          <p:cNvGrpSpPr/>
          <p:nvPr/>
        </p:nvGrpSpPr>
        <p:grpSpPr>
          <a:xfrm>
            <a:off x="2021278" y="5642770"/>
            <a:ext cx="360363" cy="360363"/>
            <a:chOff x="5493778" y="3895566"/>
            <a:chExt cx="457200" cy="457200"/>
          </a:xfrm>
          <a:solidFill>
            <a:schemeClr val="bg1"/>
          </a:solidFill>
        </p:grpSpPr>
        <p:sp>
          <p:nvSpPr>
            <p:cNvPr id="46" name="Google Shape;1583;p92">
              <a:extLst>
                <a:ext uri="{FF2B5EF4-FFF2-40B4-BE49-F238E27FC236}">
                  <a16:creationId xmlns:a16="http://schemas.microsoft.com/office/drawing/2014/main" id="{CD2B455F-A780-2503-AC7D-743CC8FD7AD0}"/>
                </a:ext>
              </a:extLst>
            </p:cNvPr>
            <p:cNvSpPr/>
            <p:nvPr/>
          </p:nvSpPr>
          <p:spPr>
            <a:xfrm>
              <a:off x="5493778" y="3895566"/>
              <a:ext cx="457200" cy="457200"/>
            </a:xfrm>
            <a:custGeom>
              <a:avLst/>
              <a:gdLst/>
              <a:ahLst/>
              <a:cxnLst/>
              <a:rect l="l" t="t" r="r" b="b"/>
              <a:pathLst>
                <a:path w="457200" h="457200" extrusionOk="0">
                  <a:moveTo>
                    <a:pt x="0" y="0"/>
                  </a:moveTo>
                  <a:lnTo>
                    <a:pt x="0" y="457200"/>
                  </a:lnTo>
                  <a:lnTo>
                    <a:pt x="457200" y="457200"/>
                  </a:lnTo>
                  <a:lnTo>
                    <a:pt x="457200" y="0"/>
                  </a:lnTo>
                  <a:close/>
                  <a:moveTo>
                    <a:pt x="256159" y="437674"/>
                  </a:moveTo>
                  <a:lnTo>
                    <a:pt x="201041" y="437674"/>
                  </a:lnTo>
                  <a:lnTo>
                    <a:pt x="201041" y="405479"/>
                  </a:lnTo>
                  <a:lnTo>
                    <a:pt x="256159" y="405479"/>
                  </a:lnTo>
                  <a:close/>
                  <a:moveTo>
                    <a:pt x="256159" y="385953"/>
                  </a:moveTo>
                  <a:lnTo>
                    <a:pt x="201041" y="385953"/>
                  </a:lnTo>
                  <a:lnTo>
                    <a:pt x="201041" y="354743"/>
                  </a:lnTo>
                  <a:lnTo>
                    <a:pt x="256159" y="354743"/>
                  </a:lnTo>
                  <a:close/>
                  <a:moveTo>
                    <a:pt x="256159" y="335153"/>
                  </a:moveTo>
                  <a:lnTo>
                    <a:pt x="201041" y="335153"/>
                  </a:lnTo>
                  <a:lnTo>
                    <a:pt x="201041" y="297688"/>
                  </a:lnTo>
                  <a:lnTo>
                    <a:pt x="256159" y="297688"/>
                  </a:lnTo>
                  <a:close/>
                  <a:moveTo>
                    <a:pt x="274098" y="288195"/>
                  </a:moveTo>
                  <a:cubicBezTo>
                    <a:pt x="271299" y="282047"/>
                    <a:pt x="265168" y="278100"/>
                    <a:pt x="258413" y="278098"/>
                  </a:cubicBezTo>
                  <a:lnTo>
                    <a:pt x="198787" y="278098"/>
                  </a:lnTo>
                  <a:cubicBezTo>
                    <a:pt x="191958" y="278039"/>
                    <a:pt x="185736" y="282009"/>
                    <a:pt x="182912" y="288227"/>
                  </a:cubicBezTo>
                  <a:lnTo>
                    <a:pt x="145764" y="332994"/>
                  </a:lnTo>
                  <a:cubicBezTo>
                    <a:pt x="143544" y="335137"/>
                    <a:pt x="140673" y="336477"/>
                    <a:pt x="137605" y="336804"/>
                  </a:cubicBezTo>
                  <a:lnTo>
                    <a:pt x="124905" y="336804"/>
                  </a:lnTo>
                  <a:cubicBezTo>
                    <a:pt x="122932" y="336464"/>
                    <a:pt x="121193" y="335312"/>
                    <a:pt x="120110" y="333629"/>
                  </a:cubicBezTo>
                  <a:lnTo>
                    <a:pt x="73406" y="235712"/>
                  </a:lnTo>
                  <a:cubicBezTo>
                    <a:pt x="71545" y="231286"/>
                    <a:pt x="70471" y="226569"/>
                    <a:pt x="70231" y="221774"/>
                  </a:cubicBezTo>
                  <a:lnTo>
                    <a:pt x="70231" y="117475"/>
                  </a:lnTo>
                  <a:cubicBezTo>
                    <a:pt x="70511" y="115747"/>
                    <a:pt x="71532" y="114229"/>
                    <a:pt x="73025" y="113316"/>
                  </a:cubicBezTo>
                  <a:lnTo>
                    <a:pt x="90678" y="105982"/>
                  </a:lnTo>
                  <a:cubicBezTo>
                    <a:pt x="91652" y="105811"/>
                    <a:pt x="92650" y="106105"/>
                    <a:pt x="93377" y="106775"/>
                  </a:cubicBezTo>
                  <a:lnTo>
                    <a:pt x="166402" y="208185"/>
                  </a:lnTo>
                  <a:cubicBezTo>
                    <a:pt x="171931" y="215335"/>
                    <a:pt x="180356" y="219652"/>
                    <a:pt x="189389" y="219964"/>
                  </a:cubicBezTo>
                  <a:lnTo>
                    <a:pt x="267780" y="219964"/>
                  </a:lnTo>
                  <a:cubicBezTo>
                    <a:pt x="276812" y="219652"/>
                    <a:pt x="285238" y="215335"/>
                    <a:pt x="290767" y="208185"/>
                  </a:cubicBezTo>
                  <a:lnTo>
                    <a:pt x="363792" y="106775"/>
                  </a:lnTo>
                  <a:cubicBezTo>
                    <a:pt x="364519" y="106105"/>
                    <a:pt x="365516" y="105811"/>
                    <a:pt x="366490" y="105982"/>
                  </a:cubicBezTo>
                  <a:lnTo>
                    <a:pt x="384175" y="113316"/>
                  </a:lnTo>
                  <a:cubicBezTo>
                    <a:pt x="385667" y="114228"/>
                    <a:pt x="386690" y="115747"/>
                    <a:pt x="386969" y="117475"/>
                  </a:cubicBezTo>
                  <a:lnTo>
                    <a:pt x="386969" y="221774"/>
                  </a:lnTo>
                  <a:cubicBezTo>
                    <a:pt x="386731" y="226569"/>
                    <a:pt x="385655" y="231286"/>
                    <a:pt x="383794" y="235712"/>
                  </a:cubicBezTo>
                  <a:lnTo>
                    <a:pt x="337185" y="333756"/>
                  </a:lnTo>
                  <a:cubicBezTo>
                    <a:pt x="336109" y="335445"/>
                    <a:pt x="334366" y="336598"/>
                    <a:pt x="332391" y="336931"/>
                  </a:cubicBezTo>
                  <a:lnTo>
                    <a:pt x="319691" y="336931"/>
                  </a:lnTo>
                  <a:cubicBezTo>
                    <a:pt x="316623" y="336604"/>
                    <a:pt x="313752" y="335264"/>
                    <a:pt x="311531" y="333121"/>
                  </a:cubicBezTo>
                  <a:close/>
                  <a:moveTo>
                    <a:pt x="437674" y="437610"/>
                  </a:moveTo>
                  <a:lnTo>
                    <a:pt x="275749" y="437610"/>
                  </a:lnTo>
                  <a:lnTo>
                    <a:pt x="275749" y="320675"/>
                  </a:lnTo>
                  <a:lnTo>
                    <a:pt x="296513" y="345567"/>
                  </a:lnTo>
                  <a:cubicBezTo>
                    <a:pt x="302437" y="352171"/>
                    <a:pt x="310793" y="356079"/>
                    <a:pt x="319659" y="356394"/>
                  </a:cubicBezTo>
                  <a:lnTo>
                    <a:pt x="332359" y="356394"/>
                  </a:lnTo>
                  <a:cubicBezTo>
                    <a:pt x="341852" y="356054"/>
                    <a:pt x="350428" y="350631"/>
                    <a:pt x="354806" y="342202"/>
                  </a:cubicBezTo>
                  <a:lnTo>
                    <a:pt x="401384" y="244158"/>
                  </a:lnTo>
                  <a:cubicBezTo>
                    <a:pt x="404470" y="237139"/>
                    <a:pt x="406184" y="229595"/>
                    <a:pt x="406432" y="221933"/>
                  </a:cubicBezTo>
                  <a:lnTo>
                    <a:pt x="406432" y="117475"/>
                  </a:lnTo>
                  <a:cubicBezTo>
                    <a:pt x="406098" y="107856"/>
                    <a:pt x="400358" y="99251"/>
                    <a:pt x="391605" y="95250"/>
                  </a:cubicBezTo>
                  <a:lnTo>
                    <a:pt x="373952" y="87916"/>
                  </a:lnTo>
                  <a:cubicBezTo>
                    <a:pt x="364598" y="84204"/>
                    <a:pt x="353920" y="87239"/>
                    <a:pt x="347917" y="95314"/>
                  </a:cubicBezTo>
                  <a:lnTo>
                    <a:pt x="274923" y="196850"/>
                  </a:lnTo>
                  <a:cubicBezTo>
                    <a:pt x="273060" y="198888"/>
                    <a:pt x="270523" y="200184"/>
                    <a:pt x="267780" y="200501"/>
                  </a:cubicBezTo>
                  <a:lnTo>
                    <a:pt x="189421" y="200501"/>
                  </a:lnTo>
                  <a:cubicBezTo>
                    <a:pt x="186677" y="200184"/>
                    <a:pt x="184140" y="198888"/>
                    <a:pt x="182277" y="196850"/>
                  </a:cubicBezTo>
                  <a:lnTo>
                    <a:pt x="109252" y="95250"/>
                  </a:lnTo>
                  <a:cubicBezTo>
                    <a:pt x="103248" y="87175"/>
                    <a:pt x="92569" y="84140"/>
                    <a:pt x="83217" y="87852"/>
                  </a:cubicBezTo>
                  <a:lnTo>
                    <a:pt x="65564" y="95250"/>
                  </a:lnTo>
                  <a:cubicBezTo>
                    <a:pt x="56834" y="99269"/>
                    <a:pt x="51121" y="107870"/>
                    <a:pt x="50800" y="117475"/>
                  </a:cubicBezTo>
                  <a:lnTo>
                    <a:pt x="50800" y="221774"/>
                  </a:lnTo>
                  <a:cubicBezTo>
                    <a:pt x="51033" y="229439"/>
                    <a:pt x="52748" y="236985"/>
                    <a:pt x="55848" y="243999"/>
                  </a:cubicBezTo>
                  <a:lnTo>
                    <a:pt x="102457" y="342043"/>
                  </a:lnTo>
                  <a:cubicBezTo>
                    <a:pt x="106819" y="350472"/>
                    <a:pt x="115387" y="355898"/>
                    <a:pt x="124873" y="356235"/>
                  </a:cubicBezTo>
                  <a:lnTo>
                    <a:pt x="137573" y="356235"/>
                  </a:lnTo>
                  <a:cubicBezTo>
                    <a:pt x="146439" y="355921"/>
                    <a:pt x="154795" y="352012"/>
                    <a:pt x="160719" y="345408"/>
                  </a:cubicBezTo>
                  <a:lnTo>
                    <a:pt x="181515" y="320675"/>
                  </a:lnTo>
                  <a:lnTo>
                    <a:pt x="181515" y="437737"/>
                  </a:lnTo>
                  <a:lnTo>
                    <a:pt x="19590" y="437737"/>
                  </a:lnTo>
                  <a:lnTo>
                    <a:pt x="19590" y="19526"/>
                  </a:lnTo>
                  <a:lnTo>
                    <a:pt x="437737" y="19526"/>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7" name="Google Shape;1584;p92">
              <a:extLst>
                <a:ext uri="{FF2B5EF4-FFF2-40B4-BE49-F238E27FC236}">
                  <a16:creationId xmlns:a16="http://schemas.microsoft.com/office/drawing/2014/main" id="{3D790F82-3547-EF9A-7C8B-74D7CF2F700B}"/>
                </a:ext>
              </a:extLst>
            </p:cNvPr>
            <p:cNvSpPr/>
            <p:nvPr/>
          </p:nvSpPr>
          <p:spPr>
            <a:xfrm>
              <a:off x="5610141" y="4133659"/>
              <a:ext cx="28701" cy="28701"/>
            </a:xfrm>
            <a:custGeom>
              <a:avLst/>
              <a:gdLst/>
              <a:ahLst/>
              <a:cxnLst/>
              <a:rect l="l" t="t" r="r" b="b"/>
              <a:pathLst>
                <a:path w="28701" h="28701" extrusionOk="0">
                  <a:moveTo>
                    <a:pt x="28702" y="14351"/>
                  </a:moveTo>
                  <a:cubicBezTo>
                    <a:pt x="28702" y="22277"/>
                    <a:pt x="22277" y="28702"/>
                    <a:pt x="14351" y="28702"/>
                  </a:cubicBezTo>
                  <a:cubicBezTo>
                    <a:pt x="6425" y="28702"/>
                    <a:pt x="0" y="22277"/>
                    <a:pt x="0" y="14351"/>
                  </a:cubicBezTo>
                  <a:cubicBezTo>
                    <a:pt x="0" y="6425"/>
                    <a:pt x="6425" y="0"/>
                    <a:pt x="14351" y="0"/>
                  </a:cubicBezTo>
                  <a:cubicBezTo>
                    <a:pt x="22277" y="0"/>
                    <a:pt x="28702" y="6425"/>
                    <a:pt x="28702" y="14351"/>
                  </a:cubicBez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8" name="Google Shape;1585;p92">
              <a:extLst>
                <a:ext uri="{FF2B5EF4-FFF2-40B4-BE49-F238E27FC236}">
                  <a16:creationId xmlns:a16="http://schemas.microsoft.com/office/drawing/2014/main" id="{D5B76281-7D96-4E19-A4FF-B4C20BF4729A}"/>
                </a:ext>
              </a:extLst>
            </p:cNvPr>
            <p:cNvSpPr/>
            <p:nvPr/>
          </p:nvSpPr>
          <p:spPr>
            <a:xfrm>
              <a:off x="5588742" y="4097750"/>
              <a:ext cx="28702" cy="28701"/>
            </a:xfrm>
            <a:custGeom>
              <a:avLst/>
              <a:gdLst/>
              <a:ahLst/>
              <a:cxnLst/>
              <a:rect l="l" t="t" r="r" b="b"/>
              <a:pathLst>
                <a:path w="28702" h="28701" extrusionOk="0">
                  <a:moveTo>
                    <a:pt x="28702" y="14351"/>
                  </a:moveTo>
                  <a:cubicBezTo>
                    <a:pt x="28702" y="22277"/>
                    <a:pt x="22277" y="28702"/>
                    <a:pt x="14351" y="28702"/>
                  </a:cubicBezTo>
                  <a:cubicBezTo>
                    <a:pt x="6425" y="28702"/>
                    <a:pt x="0" y="22277"/>
                    <a:pt x="0" y="14351"/>
                  </a:cubicBezTo>
                  <a:cubicBezTo>
                    <a:pt x="0" y="6425"/>
                    <a:pt x="6425" y="0"/>
                    <a:pt x="14351" y="0"/>
                  </a:cubicBezTo>
                  <a:cubicBezTo>
                    <a:pt x="22277" y="0"/>
                    <a:pt x="28702" y="6425"/>
                    <a:pt x="28702" y="14351"/>
                  </a:cubicBez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9" name="Google Shape;1586;p92">
              <a:extLst>
                <a:ext uri="{FF2B5EF4-FFF2-40B4-BE49-F238E27FC236}">
                  <a16:creationId xmlns:a16="http://schemas.microsoft.com/office/drawing/2014/main" id="{24362322-A3F3-FF69-8DDF-1FEE575B8E04}"/>
                </a:ext>
              </a:extLst>
            </p:cNvPr>
            <p:cNvSpPr/>
            <p:nvPr/>
          </p:nvSpPr>
          <p:spPr>
            <a:xfrm>
              <a:off x="5799594" y="4133659"/>
              <a:ext cx="28701" cy="28701"/>
            </a:xfrm>
            <a:custGeom>
              <a:avLst/>
              <a:gdLst/>
              <a:ahLst/>
              <a:cxnLst/>
              <a:rect l="l" t="t" r="r" b="b"/>
              <a:pathLst>
                <a:path w="28701" h="28701" extrusionOk="0">
                  <a:moveTo>
                    <a:pt x="28702" y="14351"/>
                  </a:moveTo>
                  <a:cubicBezTo>
                    <a:pt x="28702" y="22277"/>
                    <a:pt x="22277" y="28702"/>
                    <a:pt x="14351" y="28702"/>
                  </a:cubicBezTo>
                  <a:cubicBezTo>
                    <a:pt x="6425" y="28702"/>
                    <a:pt x="0" y="22277"/>
                    <a:pt x="0" y="14351"/>
                  </a:cubicBezTo>
                  <a:cubicBezTo>
                    <a:pt x="0" y="6425"/>
                    <a:pt x="6425" y="0"/>
                    <a:pt x="14351" y="0"/>
                  </a:cubicBezTo>
                  <a:cubicBezTo>
                    <a:pt x="22277" y="0"/>
                    <a:pt x="28702" y="6425"/>
                    <a:pt x="28702" y="14351"/>
                  </a:cubicBez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0" name="Google Shape;1587;p92">
              <a:extLst>
                <a:ext uri="{FF2B5EF4-FFF2-40B4-BE49-F238E27FC236}">
                  <a16:creationId xmlns:a16="http://schemas.microsoft.com/office/drawing/2014/main" id="{1BE8142D-74E9-D6AF-D449-1F0C63E9D113}"/>
                </a:ext>
              </a:extLst>
            </p:cNvPr>
            <p:cNvSpPr/>
            <p:nvPr/>
          </p:nvSpPr>
          <p:spPr>
            <a:xfrm>
              <a:off x="5820993" y="4097750"/>
              <a:ext cx="28701" cy="28701"/>
            </a:xfrm>
            <a:custGeom>
              <a:avLst/>
              <a:gdLst/>
              <a:ahLst/>
              <a:cxnLst/>
              <a:rect l="l" t="t" r="r" b="b"/>
              <a:pathLst>
                <a:path w="28701" h="28701" extrusionOk="0">
                  <a:moveTo>
                    <a:pt x="28702" y="14351"/>
                  </a:moveTo>
                  <a:cubicBezTo>
                    <a:pt x="28702" y="22277"/>
                    <a:pt x="22277" y="28702"/>
                    <a:pt x="14351" y="28702"/>
                  </a:cubicBezTo>
                  <a:cubicBezTo>
                    <a:pt x="6425" y="28702"/>
                    <a:pt x="0" y="22277"/>
                    <a:pt x="0" y="14351"/>
                  </a:cubicBezTo>
                  <a:cubicBezTo>
                    <a:pt x="0" y="6425"/>
                    <a:pt x="6425" y="0"/>
                    <a:pt x="14351" y="0"/>
                  </a:cubicBezTo>
                  <a:cubicBezTo>
                    <a:pt x="22277" y="0"/>
                    <a:pt x="28702" y="6425"/>
                    <a:pt x="28702" y="14351"/>
                  </a:cubicBez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sp>
        <p:nvSpPr>
          <p:cNvPr id="2" name="Rectangle 1">
            <a:extLst>
              <a:ext uri="{FF2B5EF4-FFF2-40B4-BE49-F238E27FC236}">
                <a16:creationId xmlns:a16="http://schemas.microsoft.com/office/drawing/2014/main" id="{68CC9B95-24B4-F548-79EA-0FC37F46459D}"/>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32" name="Group 31">
            <a:extLst>
              <a:ext uri="{FF2B5EF4-FFF2-40B4-BE49-F238E27FC236}">
                <a16:creationId xmlns:a16="http://schemas.microsoft.com/office/drawing/2014/main" id="{5A407E46-3D4F-F074-EB86-6DE17D8F3CCD}"/>
              </a:ext>
            </a:extLst>
          </p:cNvPr>
          <p:cNvGrpSpPr/>
          <p:nvPr/>
        </p:nvGrpSpPr>
        <p:grpSpPr>
          <a:xfrm>
            <a:off x="9842140" y="372216"/>
            <a:ext cx="1667215" cy="217488"/>
            <a:chOff x="9842140" y="372216"/>
            <a:chExt cx="1667215" cy="217488"/>
          </a:xfrm>
        </p:grpSpPr>
        <p:sp>
          <p:nvSpPr>
            <p:cNvPr id="33" name="TextBox 32">
              <a:extLst>
                <a:ext uri="{FF2B5EF4-FFF2-40B4-BE49-F238E27FC236}">
                  <a16:creationId xmlns:a16="http://schemas.microsoft.com/office/drawing/2014/main" id="{4343A1D4-278C-9976-9B7F-C63811EF9DC9}"/>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rtl="0">
                <a:lnSpc>
                  <a:spcPct val="100000"/>
                </a:lnSpc>
                <a:spcAft>
                  <a:spcPts val="600"/>
                </a:spcAft>
                <a:buSzPct val="100000"/>
              </a:pPr>
              <a:r>
                <a:rPr lang="en-gb" sz="800">
                  <a:solidFill>
                    <a:schemeClr val="bg1"/>
                  </a:solidFill>
                </a:rPr>
                <a:t>Injuries</a:t>
              </a:r>
            </a:p>
          </p:txBody>
        </p:sp>
        <p:sp>
          <p:nvSpPr>
            <p:cNvPr id="34" name="Freeform 49">
              <a:extLst>
                <a:ext uri="{FF2B5EF4-FFF2-40B4-BE49-F238E27FC236}">
                  <a16:creationId xmlns:a16="http://schemas.microsoft.com/office/drawing/2014/main" id="{CA8E062C-8775-CB06-C7C0-2EF0A1AFC4EB}"/>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p>
          </p:txBody>
        </p:sp>
      </p:grpSp>
      <p:grpSp>
        <p:nvGrpSpPr>
          <p:cNvPr id="23" name="Group 22">
            <a:extLst>
              <a:ext uri="{FF2B5EF4-FFF2-40B4-BE49-F238E27FC236}">
                <a16:creationId xmlns:a16="http://schemas.microsoft.com/office/drawing/2014/main" id="{CB62257A-DFA7-C5AC-81EB-42FA29E186E1}"/>
              </a:ext>
            </a:extLst>
          </p:cNvPr>
          <p:cNvGrpSpPr/>
          <p:nvPr/>
        </p:nvGrpSpPr>
        <p:grpSpPr>
          <a:xfrm>
            <a:off x="9122935" y="126781"/>
            <a:ext cx="2626153" cy="217488"/>
            <a:chOff x="9122935" y="126781"/>
            <a:chExt cx="2626153" cy="217488"/>
          </a:xfrm>
        </p:grpSpPr>
        <p:sp>
          <p:nvSpPr>
            <p:cNvPr id="30" name="Rectangle 29">
              <a:extLst>
                <a:ext uri="{FF2B5EF4-FFF2-40B4-BE49-F238E27FC236}">
                  <a16:creationId xmlns:a16="http://schemas.microsoft.com/office/drawing/2014/main" id="{0ACE784C-9643-4E34-2C76-AB0B91BBD56A}"/>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000000"/>
                  </a:solidFill>
                  <a:effectLst/>
                  <a:uLnTx/>
                  <a:uFillTx/>
                  <a:ea typeface="Georgia"/>
                  <a:cs typeface="Georgia"/>
                  <a:sym typeface="Georgia"/>
                </a:rPr>
                <a:t>First aid measures</a:t>
              </a:r>
            </a:p>
          </p:txBody>
        </p:sp>
        <p:sp>
          <p:nvSpPr>
            <p:cNvPr id="31" name="Rectangle 30">
              <a:extLst>
                <a:ext uri="{FF2B5EF4-FFF2-40B4-BE49-F238E27FC236}">
                  <a16:creationId xmlns:a16="http://schemas.microsoft.com/office/drawing/2014/main" id="{EFD13C4D-4450-F771-E774-94B59D7D0BAB}"/>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5" name="Rectangle 34">
              <a:extLst>
                <a:ext uri="{FF2B5EF4-FFF2-40B4-BE49-F238E27FC236}">
                  <a16:creationId xmlns:a16="http://schemas.microsoft.com/office/drawing/2014/main" id="{0F48C417-784C-0034-A5B2-CE742ADC1FB5}"/>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40" name="Rectangle 39">
              <a:extLst>
                <a:ext uri="{FF2B5EF4-FFF2-40B4-BE49-F238E27FC236}">
                  <a16:creationId xmlns:a16="http://schemas.microsoft.com/office/drawing/2014/main" id="{7A2A40D2-701B-C463-7D2C-EA911A2E890C}"/>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41" name="Rectangle 40">
              <a:extLst>
                <a:ext uri="{FF2B5EF4-FFF2-40B4-BE49-F238E27FC236}">
                  <a16:creationId xmlns:a16="http://schemas.microsoft.com/office/drawing/2014/main" id="{232A0F99-25A5-7805-5CDC-762BE5A433F5}"/>
                </a:ext>
              </a:extLst>
            </p:cNvPr>
            <p:cNvSpPr/>
            <p:nvPr/>
          </p:nvSpPr>
          <p:spPr>
            <a:xfrm>
              <a:off x="9842140"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7</a:t>
              </a:r>
              <a:r>
                <a:rPr lang="en-gb" sz="800" b="1" i="0" u="none" strike="noStrike" kern="0" cap="none" spc="0" normalizeH="0" noProof="0">
                  <a:ln>
                    <a:noFill/>
                  </a:ln>
                  <a:effectLst/>
                  <a:uLnTx/>
                  <a:uFillTx/>
                  <a:ea typeface="Georgia"/>
                  <a:cs typeface="Georgia"/>
                  <a:sym typeface="Georgia"/>
                </a:rPr>
                <a:t>.4</a:t>
              </a:r>
              <a:endParaRPr kumimoji="0" lang="lv-LV" sz="800" b="1" i="0" u="none" strike="noStrike" kern="0" cap="none" spc="0" normalizeH="0" baseline="0" noProof="0" dirty="0">
                <a:ln>
                  <a:noFill/>
                </a:ln>
                <a:effectLst/>
                <a:uLnTx/>
                <a:uFillTx/>
                <a:ea typeface="Georgia"/>
                <a:cs typeface="Georgia"/>
                <a:sym typeface="Georgia"/>
              </a:endParaRPr>
            </a:p>
          </p:txBody>
        </p:sp>
        <p:sp>
          <p:nvSpPr>
            <p:cNvPr id="51" name="Rectangle 50">
              <a:extLst>
                <a:ext uri="{FF2B5EF4-FFF2-40B4-BE49-F238E27FC236}">
                  <a16:creationId xmlns:a16="http://schemas.microsoft.com/office/drawing/2014/main" id="{60918515-4152-10AE-F7B4-27C77C1F3DE5}"/>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26300996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9E6BB6A-4571-FBF8-9A7D-06ADE4374D4D}"/>
              </a:ext>
            </a:extLst>
          </p:cNvPr>
          <p:cNvGraphicFramePr>
            <a:graphicFrameLocks noChangeAspect="1"/>
          </p:cNvGraphicFramePr>
          <p:nvPr>
            <p:custDataLst>
              <p:tags r:id="rId1"/>
            </p:custDataLst>
            <p:extLst>
              <p:ext uri="{D42A27DB-BD31-4B8C-83A1-F6EECF244321}">
                <p14:modId xmlns:p14="http://schemas.microsoft.com/office/powerpoint/2010/main" val="4215085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D9E6BB6A-4571-FBF8-9A7D-06ADE4374D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C5CAEA48-B979-EC6F-981E-261068A25315}"/>
              </a:ext>
            </a:extLst>
          </p:cNvPr>
          <p:cNvSpPr/>
          <p:nvPr/>
        </p:nvSpPr>
        <p:spPr>
          <a:xfrm>
            <a:off x="2651760" y="4513587"/>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400" b="1"/>
          </a:p>
        </p:txBody>
      </p:sp>
      <p:sp>
        <p:nvSpPr>
          <p:cNvPr id="6" name="Rectangle 5">
            <a:extLst>
              <a:ext uri="{FF2B5EF4-FFF2-40B4-BE49-F238E27FC236}">
                <a16:creationId xmlns:a16="http://schemas.microsoft.com/office/drawing/2014/main" id="{184C075A-DD9A-7A1D-015C-2F785FEDF36B}"/>
              </a:ext>
            </a:extLst>
          </p:cNvPr>
          <p:cNvSpPr/>
          <p:nvPr/>
        </p:nvSpPr>
        <p:spPr>
          <a:xfrm>
            <a:off x="2651760" y="2630366"/>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400" b="1"/>
          </a:p>
        </p:txBody>
      </p:sp>
      <p:sp>
        <p:nvSpPr>
          <p:cNvPr id="7" name="Rectangle 6">
            <a:extLst>
              <a:ext uri="{FF2B5EF4-FFF2-40B4-BE49-F238E27FC236}">
                <a16:creationId xmlns:a16="http://schemas.microsoft.com/office/drawing/2014/main" id="{B480EC34-640F-A759-BC1B-46090E9E4985}"/>
              </a:ext>
            </a:extLst>
          </p:cNvPr>
          <p:cNvSpPr/>
          <p:nvPr/>
        </p:nvSpPr>
        <p:spPr>
          <a:xfrm>
            <a:off x="2847530" y="2419349"/>
            <a:ext cx="4352925"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endParaRPr lang="lv-LV" sz="1400" b="1">
              <a:solidFill>
                <a:schemeClr val="tx1"/>
              </a:solidFill>
            </a:endParaRPr>
          </a:p>
        </p:txBody>
      </p:sp>
      <p:sp>
        <p:nvSpPr>
          <p:cNvPr id="8" name="Rectangle 7">
            <a:extLst>
              <a:ext uri="{FF2B5EF4-FFF2-40B4-BE49-F238E27FC236}">
                <a16:creationId xmlns:a16="http://schemas.microsoft.com/office/drawing/2014/main" id="{AFB34B36-403F-ED4C-6EF1-55C1DBB36EA3}"/>
              </a:ext>
            </a:extLst>
          </p:cNvPr>
          <p:cNvSpPr/>
          <p:nvPr/>
        </p:nvSpPr>
        <p:spPr>
          <a:xfrm>
            <a:off x="7396160" y="2419349"/>
            <a:ext cx="4352925"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endParaRPr lang="lv-LV" sz="1400" b="1">
              <a:solidFill>
                <a:schemeClr val="tx1"/>
              </a:solidFill>
            </a:endParaRPr>
          </a:p>
        </p:txBody>
      </p:sp>
      <p:sp>
        <p:nvSpPr>
          <p:cNvPr id="10" name="Rectangle 9">
            <a:extLst>
              <a:ext uri="{FF2B5EF4-FFF2-40B4-BE49-F238E27FC236}">
                <a16:creationId xmlns:a16="http://schemas.microsoft.com/office/drawing/2014/main" id="{05DE4226-7C1B-B38B-5004-5E77F23CE44D}"/>
              </a:ext>
            </a:extLst>
          </p:cNvPr>
          <p:cNvSpPr/>
          <p:nvPr/>
        </p:nvSpPr>
        <p:spPr>
          <a:xfrm>
            <a:off x="7396160" y="1830995"/>
            <a:ext cx="435292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bg1"/>
                </a:solidFill>
              </a:rPr>
              <a:t>Important!</a:t>
            </a:r>
          </a:p>
        </p:txBody>
      </p:sp>
      <p:sp>
        <p:nvSpPr>
          <p:cNvPr id="11" name="Content Placeholder 1">
            <a:extLst>
              <a:ext uri="{FF2B5EF4-FFF2-40B4-BE49-F238E27FC236}">
                <a16:creationId xmlns:a16="http://schemas.microsoft.com/office/drawing/2014/main" id="{47EBD6B7-CBD3-6D96-E822-C13AFE2A15AD}"/>
              </a:ext>
            </a:extLst>
          </p:cNvPr>
          <p:cNvSpPr txBox="1">
            <a:spLocks/>
          </p:cNvSpPr>
          <p:nvPr/>
        </p:nvSpPr>
        <p:spPr>
          <a:xfrm>
            <a:off x="11173087" y="18309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2" name="Content Placeholder 1">
            <a:extLst>
              <a:ext uri="{FF2B5EF4-FFF2-40B4-BE49-F238E27FC236}">
                <a16:creationId xmlns:a16="http://schemas.microsoft.com/office/drawing/2014/main" id="{3ABDDA66-98A9-A8E6-63B6-B02C77AC084E}"/>
              </a:ext>
            </a:extLst>
          </p:cNvPr>
          <p:cNvSpPr txBox="1">
            <a:spLocks/>
          </p:cNvSpPr>
          <p:nvPr/>
        </p:nvSpPr>
        <p:spPr>
          <a:xfrm>
            <a:off x="11101699" y="18309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3" name="Google Shape;794;p79">
            <a:extLst>
              <a:ext uri="{FF2B5EF4-FFF2-40B4-BE49-F238E27FC236}">
                <a16:creationId xmlns:a16="http://schemas.microsoft.com/office/drawing/2014/main" id="{EE63BB20-3EF9-9EF1-9D68-A5E2FD06303C}"/>
              </a:ext>
            </a:extLst>
          </p:cNvPr>
          <p:cNvSpPr/>
          <p:nvPr/>
        </p:nvSpPr>
        <p:spPr>
          <a:xfrm>
            <a:off x="11281087" y="19389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4" name="Rectangle 13">
            <a:extLst>
              <a:ext uri="{FF2B5EF4-FFF2-40B4-BE49-F238E27FC236}">
                <a16:creationId xmlns:a16="http://schemas.microsoft.com/office/drawing/2014/main" id="{CD9216D1-EF98-9672-ACDE-4EEE135E44BB}"/>
              </a:ext>
            </a:extLst>
          </p:cNvPr>
          <p:cNvSpPr/>
          <p:nvPr/>
        </p:nvSpPr>
        <p:spPr>
          <a:xfrm>
            <a:off x="2847530" y="1830995"/>
            <a:ext cx="435286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tx1"/>
                </a:solidFill>
              </a:rPr>
              <a:t>How to proceed?</a:t>
            </a:r>
          </a:p>
        </p:txBody>
      </p:sp>
      <p:sp>
        <p:nvSpPr>
          <p:cNvPr id="15" name="Content Placeholder 1">
            <a:extLst>
              <a:ext uri="{FF2B5EF4-FFF2-40B4-BE49-F238E27FC236}">
                <a16:creationId xmlns:a16="http://schemas.microsoft.com/office/drawing/2014/main" id="{A59FD308-3084-7A9B-3D8B-6B2666B11ED4}"/>
              </a:ext>
            </a:extLst>
          </p:cNvPr>
          <p:cNvSpPr txBox="1">
            <a:spLocks/>
          </p:cNvSpPr>
          <p:nvPr/>
        </p:nvSpPr>
        <p:spPr>
          <a:xfrm>
            <a:off x="6624391" y="183099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7" name="Content Placeholder 1">
            <a:extLst>
              <a:ext uri="{FF2B5EF4-FFF2-40B4-BE49-F238E27FC236}">
                <a16:creationId xmlns:a16="http://schemas.microsoft.com/office/drawing/2014/main" id="{ED43572E-9BCA-81C8-D35A-43B7B450EB3B}"/>
              </a:ext>
            </a:extLst>
          </p:cNvPr>
          <p:cNvSpPr txBox="1">
            <a:spLocks/>
          </p:cNvSpPr>
          <p:nvPr/>
        </p:nvSpPr>
        <p:spPr>
          <a:xfrm>
            <a:off x="6553003" y="183099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9" name="Google Shape;760;p79">
            <a:extLst>
              <a:ext uri="{FF2B5EF4-FFF2-40B4-BE49-F238E27FC236}">
                <a16:creationId xmlns:a16="http://schemas.microsoft.com/office/drawing/2014/main" id="{0A93DE12-D9B5-3489-10B2-18CCAC67A954}"/>
              </a:ext>
            </a:extLst>
          </p:cNvPr>
          <p:cNvSpPr/>
          <p:nvPr/>
        </p:nvSpPr>
        <p:spPr>
          <a:xfrm>
            <a:off x="6732391" y="1938995"/>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6" name="Rectangle 35">
            <a:extLst>
              <a:ext uri="{FF2B5EF4-FFF2-40B4-BE49-F238E27FC236}">
                <a16:creationId xmlns:a16="http://schemas.microsoft.com/office/drawing/2014/main" id="{A8F39C25-781C-A7DA-387A-D92FCABEE1F5}"/>
              </a:ext>
            </a:extLst>
          </p:cNvPr>
          <p:cNvSpPr/>
          <p:nvPr/>
        </p:nvSpPr>
        <p:spPr>
          <a:xfrm>
            <a:off x="442912" y="2630366"/>
            <a:ext cx="2208847" cy="165893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rtl="0">
              <a:lnSpc>
                <a:spcPct val="100000"/>
              </a:lnSpc>
            </a:pPr>
            <a:r>
              <a:rPr lang="en-gb" sz="1400" b="1"/>
              <a:t>Abdominal injuries</a:t>
            </a:r>
          </a:p>
        </p:txBody>
      </p:sp>
      <p:sp>
        <p:nvSpPr>
          <p:cNvPr id="37" name="Rectangle 36">
            <a:extLst>
              <a:ext uri="{FF2B5EF4-FFF2-40B4-BE49-F238E27FC236}">
                <a16:creationId xmlns:a16="http://schemas.microsoft.com/office/drawing/2014/main" id="{BD11DB78-D65B-9D3C-EED7-1721F1C9BCF6}"/>
              </a:ext>
            </a:extLst>
          </p:cNvPr>
          <p:cNvSpPr/>
          <p:nvPr/>
        </p:nvSpPr>
        <p:spPr>
          <a:xfrm>
            <a:off x="442912" y="4513587"/>
            <a:ext cx="2208847" cy="165893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rtl="0">
              <a:lnSpc>
                <a:spcPct val="100000"/>
              </a:lnSpc>
            </a:pPr>
            <a:r>
              <a:rPr lang="en-gb" sz="1400" b="1"/>
              <a:t>Chest injuries</a:t>
            </a:r>
          </a:p>
        </p:txBody>
      </p:sp>
      <p:sp>
        <p:nvSpPr>
          <p:cNvPr id="38" name="Content Placeholder 1">
            <a:extLst>
              <a:ext uri="{FF2B5EF4-FFF2-40B4-BE49-F238E27FC236}">
                <a16:creationId xmlns:a16="http://schemas.microsoft.com/office/drawing/2014/main" id="{7B1F3CCD-2DE1-C2A8-D340-EAF5B3993679}"/>
              </a:ext>
            </a:extLst>
          </p:cNvPr>
          <p:cNvSpPr txBox="1">
            <a:spLocks/>
          </p:cNvSpPr>
          <p:nvPr/>
        </p:nvSpPr>
        <p:spPr>
          <a:xfrm>
            <a:off x="2579759" y="2630366"/>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39" name="Content Placeholder 1">
            <a:extLst>
              <a:ext uri="{FF2B5EF4-FFF2-40B4-BE49-F238E27FC236}">
                <a16:creationId xmlns:a16="http://schemas.microsoft.com/office/drawing/2014/main" id="{DCB78F50-A328-CF00-9A1A-F2F677D9CB38}"/>
              </a:ext>
            </a:extLst>
          </p:cNvPr>
          <p:cNvSpPr txBox="1">
            <a:spLocks/>
          </p:cNvSpPr>
          <p:nvPr/>
        </p:nvSpPr>
        <p:spPr>
          <a:xfrm>
            <a:off x="2579759" y="4513587"/>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rtlCol="0"/>
          <a:lstStyle/>
          <a:p>
            <a:pPr rtl="0"/>
            <a:r>
              <a:rPr lang="en-gb"/>
              <a:t>What to do in case of injury?</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rtlCol="0"/>
          <a:lstStyle/>
          <a:p>
            <a:pPr rtl="0"/>
            <a:fld id="{7870704B-CE94-48CC-AF30-84932A1262A7}" type="slidenum">
              <a:rPr lang="en-GB" smtClean="0"/>
              <a:pPr rtl="0"/>
              <a:t>31</a:t>
            </a:fld>
            <a:endParaRPr lang="en-GB"/>
          </a:p>
        </p:txBody>
      </p:sp>
      <p:sp>
        <p:nvSpPr>
          <p:cNvPr id="16" name="TextBox 15">
            <a:extLst>
              <a:ext uri="{FF2B5EF4-FFF2-40B4-BE49-F238E27FC236}">
                <a16:creationId xmlns:a16="http://schemas.microsoft.com/office/drawing/2014/main" id="{30819613-CE74-49B6-0807-44FDBB81D466}"/>
              </a:ext>
            </a:extLst>
          </p:cNvPr>
          <p:cNvSpPr txBox="1"/>
          <p:nvPr/>
        </p:nvSpPr>
        <p:spPr>
          <a:xfrm>
            <a:off x="2847530" y="2630366"/>
            <a:ext cx="4129088" cy="1658938"/>
          </a:xfrm>
          <a:prstGeom prst="rect">
            <a:avLst/>
          </a:prstGeom>
          <a:noFill/>
        </p:spPr>
        <p:txBody>
          <a:bodyPr wrap="square" lIns="72000" rIns="72000" rtlCol="0" anchor="ctr">
            <a:noAutofit/>
          </a:bodyPr>
          <a:lstStyle/>
          <a:p>
            <a:pPr marL="284400" lvl="1" indent="-284400" rtl="0" hangingPunct="0">
              <a:buBlip>
                <a:blip r:embed="rId6"/>
              </a:buBlip>
              <a:tabLst>
                <a:tab pos="457200" algn="l"/>
                <a:tab pos="1586230" algn="l"/>
              </a:tabLst>
            </a:pPr>
            <a:r>
              <a:rPr lang="en-gb" sz="1400">
                <a:effectLst/>
                <a:ea typeface="Times New Roman" panose="02020603050405020304" pitchFamily="18" charset="0"/>
              </a:rPr>
              <a:t>Help/allow the victim to get into the most comfortable body position.</a:t>
            </a:r>
          </a:p>
          <a:p>
            <a:pPr marL="284400" lvl="1" indent="-284400" rtl="0" hangingPunct="0">
              <a:buBlip>
                <a:blip r:embed="rId6"/>
              </a:buBlip>
              <a:tabLst>
                <a:tab pos="457200" algn="l"/>
                <a:tab pos="1586230" algn="l"/>
              </a:tabLst>
            </a:pPr>
            <a:r>
              <a:rPr lang="en-gb" sz="1400">
                <a:effectLst/>
                <a:ea typeface="Times New Roman" panose="02020603050405020304" pitchFamily="18" charset="0"/>
              </a:rPr>
              <a:t>Call an ambulance.</a:t>
            </a:r>
          </a:p>
          <a:p>
            <a:pPr marL="284400" lvl="1" indent="-284400" rtl="0" hangingPunct="0">
              <a:buBlip>
                <a:blip r:embed="rId6"/>
              </a:buBlip>
              <a:tabLst>
                <a:tab pos="457200" algn="l"/>
                <a:tab pos="1586230" algn="l"/>
              </a:tabLst>
            </a:pPr>
            <a:r>
              <a:rPr lang="en-gb" sz="1400">
                <a:effectLst/>
                <a:ea typeface="Times New Roman" panose="02020603050405020304" pitchFamily="18" charset="0"/>
              </a:rPr>
              <a:t>If there is a wound, cover with a gauze pad.</a:t>
            </a:r>
          </a:p>
          <a:p>
            <a:pPr marL="284400" lvl="1" indent="-284400" rtl="0" hangingPunct="0">
              <a:buBlip>
                <a:blip r:embed="rId6"/>
              </a:buBlip>
              <a:tabLst>
                <a:tab pos="457200" algn="l"/>
                <a:tab pos="1586230" algn="l"/>
              </a:tabLst>
            </a:pPr>
            <a:r>
              <a:rPr lang="en-gb" sz="1400">
                <a:effectLst/>
                <a:ea typeface="Times New Roman" panose="02020603050405020304" pitchFamily="18" charset="0"/>
              </a:rPr>
              <a:t>Care for, reassure the victim.</a:t>
            </a:r>
          </a:p>
          <a:p>
            <a:pPr marL="284400" lvl="1" indent="-284400" rtl="0" hangingPunct="0">
              <a:buBlip>
                <a:blip r:embed="rId6"/>
              </a:buBlip>
              <a:tabLst>
                <a:tab pos="457200" algn="l"/>
                <a:tab pos="1586230" algn="l"/>
              </a:tabLst>
            </a:pPr>
            <a:r>
              <a:rPr lang="en-gb" sz="1400">
                <a:effectLst/>
                <a:ea typeface="Times New Roman" panose="02020603050405020304" pitchFamily="18" charset="0"/>
              </a:rPr>
              <a:t>Take resuscitation measures if necessary.</a:t>
            </a:r>
          </a:p>
        </p:txBody>
      </p:sp>
      <p:sp>
        <p:nvSpPr>
          <p:cNvPr id="18" name="TextBox 17">
            <a:extLst>
              <a:ext uri="{FF2B5EF4-FFF2-40B4-BE49-F238E27FC236}">
                <a16:creationId xmlns:a16="http://schemas.microsoft.com/office/drawing/2014/main" id="{E1D4AC8F-0322-E8A8-E509-5AF71473A8F4}"/>
              </a:ext>
            </a:extLst>
          </p:cNvPr>
          <p:cNvSpPr txBox="1"/>
          <p:nvPr/>
        </p:nvSpPr>
        <p:spPr>
          <a:xfrm>
            <a:off x="7396160" y="2630366"/>
            <a:ext cx="4129088" cy="1658938"/>
          </a:xfrm>
          <a:prstGeom prst="rect">
            <a:avLst/>
          </a:prstGeom>
          <a:noFill/>
        </p:spPr>
        <p:txBody>
          <a:bodyPr wrap="square" lIns="72000" rIns="72000" rtlCol="0" anchor="ctr">
            <a:noAutofit/>
          </a:bodyPr>
          <a:lstStyle/>
          <a:p>
            <a:pPr marL="284400" lvl="0" indent="-284400" rtl="0" hangingPunct="0">
              <a:buSzPts val="1200"/>
              <a:buBlip>
                <a:blip r:embed="rId6"/>
              </a:buBlip>
            </a:pPr>
            <a:r>
              <a:rPr lang="en-gb" sz="1400">
                <a:effectLst/>
                <a:ea typeface="Calibri" panose="020F0502020204030204" pitchFamily="34" charset="0"/>
                <a:cs typeface="Times New Roman" panose="02020603050405020304" pitchFamily="18" charset="0"/>
              </a:rPr>
              <a:t>The most comfortable positions for the victim might be lying on their back with the roll under their knees or lying on their side with their knees bent.</a:t>
            </a:r>
          </a:p>
          <a:p>
            <a:pPr marL="284400" lvl="0" indent="-284400" rtl="0" hangingPunct="0">
              <a:buSzPts val="1200"/>
              <a:buBlip>
                <a:blip r:embed="rId6"/>
              </a:buBlip>
            </a:pPr>
            <a:r>
              <a:rPr lang="en-gb" sz="1400">
                <a:effectLst/>
                <a:ea typeface="Calibri" panose="020F0502020204030204" pitchFamily="34" charset="0"/>
                <a:cs typeface="Times New Roman" panose="02020603050405020304" pitchFamily="18" charset="0"/>
              </a:rPr>
              <a:t>Do not give medication, food or drink.</a:t>
            </a:r>
          </a:p>
        </p:txBody>
      </p:sp>
      <p:sp>
        <p:nvSpPr>
          <p:cNvPr id="20" name="TextBox 19">
            <a:extLst>
              <a:ext uri="{FF2B5EF4-FFF2-40B4-BE49-F238E27FC236}">
                <a16:creationId xmlns:a16="http://schemas.microsoft.com/office/drawing/2014/main" id="{BCB0856A-D775-E9B2-A22B-A661D9F8D43C}"/>
              </a:ext>
            </a:extLst>
          </p:cNvPr>
          <p:cNvSpPr txBox="1"/>
          <p:nvPr/>
        </p:nvSpPr>
        <p:spPr>
          <a:xfrm>
            <a:off x="2847530" y="4513587"/>
            <a:ext cx="4129088" cy="1658938"/>
          </a:xfrm>
          <a:prstGeom prst="rect">
            <a:avLst/>
          </a:prstGeom>
          <a:noFill/>
        </p:spPr>
        <p:txBody>
          <a:bodyPr wrap="square" lIns="72000" rIns="72000" rtlCol="0" anchor="ctr">
            <a:noAutofit/>
          </a:bodyPr>
          <a:lstStyle/>
          <a:p>
            <a:pPr marL="284400" lvl="0" indent="-284400" rtl="0" hangingPunct="0">
              <a:buBlip>
                <a:blip r:embed="rId6"/>
              </a:buBlip>
              <a:tabLst>
                <a:tab pos="457200" algn="l"/>
              </a:tabLst>
            </a:pPr>
            <a:r>
              <a:rPr lang="en-gb" sz="1400">
                <a:effectLst/>
                <a:ea typeface="Times New Roman" panose="02020603050405020304" pitchFamily="18" charset="0"/>
              </a:rPr>
              <a:t>Help/allow the victim to get into the most comfortable body position.</a:t>
            </a:r>
          </a:p>
          <a:p>
            <a:pPr marL="284400" lvl="0" indent="-284400" rtl="0" hangingPunct="0">
              <a:buBlip>
                <a:blip r:embed="rId6"/>
              </a:buBlip>
              <a:tabLst>
                <a:tab pos="457200" algn="l"/>
              </a:tabLst>
            </a:pPr>
            <a:r>
              <a:rPr lang="en-gb" sz="1400">
                <a:effectLst/>
                <a:ea typeface="Times New Roman" panose="02020603050405020304" pitchFamily="18" charset="0"/>
              </a:rPr>
              <a:t>Call an ambulance.</a:t>
            </a:r>
          </a:p>
          <a:p>
            <a:pPr marL="284400" lvl="0" indent="-284400" rtl="0" hangingPunct="0">
              <a:buBlip>
                <a:blip r:embed="rId6"/>
              </a:buBlip>
              <a:tabLst>
                <a:tab pos="457200" algn="l"/>
              </a:tabLst>
            </a:pPr>
            <a:r>
              <a:rPr lang="en-gb" sz="1400">
                <a:effectLst/>
                <a:ea typeface="Times New Roman" panose="02020603050405020304" pitchFamily="18" charset="0"/>
              </a:rPr>
              <a:t>If there is a wound, cover with a gauze pad.</a:t>
            </a:r>
          </a:p>
          <a:p>
            <a:pPr marL="284400" lvl="0" indent="-284400" rtl="0" hangingPunct="0">
              <a:buBlip>
                <a:blip r:embed="rId6"/>
              </a:buBlip>
              <a:tabLst>
                <a:tab pos="457200" algn="l"/>
              </a:tabLst>
            </a:pPr>
            <a:r>
              <a:rPr lang="en-gb" sz="1400">
                <a:effectLst/>
                <a:ea typeface="Times New Roman" panose="02020603050405020304" pitchFamily="18" charset="0"/>
              </a:rPr>
              <a:t>Care for, reassure the victim.</a:t>
            </a:r>
          </a:p>
          <a:p>
            <a:pPr marL="284400" lvl="0" indent="-284400" rtl="0" hangingPunct="0">
              <a:buBlip>
                <a:blip r:embed="rId6"/>
              </a:buBlip>
              <a:tabLst>
                <a:tab pos="457200" algn="l"/>
              </a:tabLst>
            </a:pPr>
            <a:r>
              <a:rPr lang="en-gb" sz="1400">
                <a:effectLst/>
                <a:ea typeface="Times New Roman" panose="02020603050405020304" pitchFamily="18" charset="0"/>
              </a:rPr>
              <a:t>Take resuscitation measures if necessary.</a:t>
            </a:r>
          </a:p>
        </p:txBody>
      </p:sp>
      <p:sp>
        <p:nvSpPr>
          <p:cNvPr id="22" name="TextBox 21">
            <a:extLst>
              <a:ext uri="{FF2B5EF4-FFF2-40B4-BE49-F238E27FC236}">
                <a16:creationId xmlns:a16="http://schemas.microsoft.com/office/drawing/2014/main" id="{044C1CE5-09D8-63ED-7E23-4A59A70CC41B}"/>
              </a:ext>
            </a:extLst>
          </p:cNvPr>
          <p:cNvSpPr txBox="1"/>
          <p:nvPr/>
        </p:nvSpPr>
        <p:spPr>
          <a:xfrm>
            <a:off x="7396160" y="4513587"/>
            <a:ext cx="4129088" cy="1658938"/>
          </a:xfrm>
          <a:prstGeom prst="rect">
            <a:avLst/>
          </a:prstGeom>
          <a:noFill/>
        </p:spPr>
        <p:txBody>
          <a:bodyPr wrap="square" lIns="72000" rIns="72000" rtlCol="0" anchor="ctr">
            <a:noAutofit/>
          </a:bodyPr>
          <a:lstStyle/>
          <a:p>
            <a:pPr marL="284400" lvl="0" indent="-284400" rtl="0" hangingPunct="0">
              <a:buBlip>
                <a:blip r:embed="rId6"/>
              </a:buBlip>
            </a:pPr>
            <a:r>
              <a:rPr lang="en-gb" sz="1400">
                <a:effectLst/>
                <a:ea typeface="Calibri" panose="020F0502020204030204" pitchFamily="34" charset="0"/>
                <a:cs typeface="Times New Roman" panose="02020603050405020304" pitchFamily="18" charset="0"/>
              </a:rPr>
              <a:t>The most comfortable posture for the victim might be lying down.</a:t>
            </a:r>
          </a:p>
        </p:txBody>
      </p:sp>
      <p:grpSp>
        <p:nvGrpSpPr>
          <p:cNvPr id="49" name="Google Shape;1622;p92">
            <a:extLst>
              <a:ext uri="{FF2B5EF4-FFF2-40B4-BE49-F238E27FC236}">
                <a16:creationId xmlns:a16="http://schemas.microsoft.com/office/drawing/2014/main" id="{9D9605C7-C39E-9047-42DC-7227ED31A182}"/>
              </a:ext>
            </a:extLst>
          </p:cNvPr>
          <p:cNvGrpSpPr/>
          <p:nvPr/>
        </p:nvGrpSpPr>
        <p:grpSpPr>
          <a:xfrm>
            <a:off x="2021278" y="3724727"/>
            <a:ext cx="360363" cy="360363"/>
            <a:chOff x="4508822" y="3895566"/>
            <a:chExt cx="457200" cy="457200"/>
          </a:xfrm>
          <a:solidFill>
            <a:schemeClr val="bg1"/>
          </a:solidFill>
        </p:grpSpPr>
        <p:sp>
          <p:nvSpPr>
            <p:cNvPr id="50" name="Google Shape;1623;p92">
              <a:extLst>
                <a:ext uri="{FF2B5EF4-FFF2-40B4-BE49-F238E27FC236}">
                  <a16:creationId xmlns:a16="http://schemas.microsoft.com/office/drawing/2014/main" id="{882403BF-7120-276B-2F13-F5707C75AC33}"/>
                </a:ext>
              </a:extLst>
            </p:cNvPr>
            <p:cNvSpPr/>
            <p:nvPr/>
          </p:nvSpPr>
          <p:spPr>
            <a:xfrm>
              <a:off x="4508822" y="3895566"/>
              <a:ext cx="457200" cy="457200"/>
            </a:xfrm>
            <a:custGeom>
              <a:avLst/>
              <a:gdLst/>
              <a:ahLst/>
              <a:cxnLst/>
              <a:rect l="l" t="t" r="r" b="b"/>
              <a:pathLst>
                <a:path w="457200" h="457200" extrusionOk="0">
                  <a:moveTo>
                    <a:pt x="0" y="0"/>
                  </a:moveTo>
                  <a:lnTo>
                    <a:pt x="0" y="457200"/>
                  </a:lnTo>
                  <a:lnTo>
                    <a:pt x="457200" y="457200"/>
                  </a:lnTo>
                  <a:lnTo>
                    <a:pt x="457200" y="0"/>
                  </a:lnTo>
                  <a:close/>
                  <a:moveTo>
                    <a:pt x="247333" y="135731"/>
                  </a:moveTo>
                  <a:lnTo>
                    <a:pt x="261874" y="127508"/>
                  </a:lnTo>
                  <a:cubicBezTo>
                    <a:pt x="267748" y="124333"/>
                    <a:pt x="274066" y="120682"/>
                    <a:pt x="280638" y="117316"/>
                  </a:cubicBezTo>
                  <a:cubicBezTo>
                    <a:pt x="287973" y="113570"/>
                    <a:pt x="294481" y="110585"/>
                    <a:pt x="300514" y="108204"/>
                  </a:cubicBezTo>
                  <a:lnTo>
                    <a:pt x="301784" y="107601"/>
                  </a:lnTo>
                  <a:cubicBezTo>
                    <a:pt x="317849" y="98457"/>
                    <a:pt x="336264" y="98616"/>
                    <a:pt x="349790" y="108014"/>
                  </a:cubicBezTo>
                  <a:cubicBezTo>
                    <a:pt x="351723" y="109362"/>
                    <a:pt x="353539" y="110870"/>
                    <a:pt x="355219" y="112522"/>
                  </a:cubicBezTo>
                  <a:cubicBezTo>
                    <a:pt x="373221" y="129984"/>
                    <a:pt x="373063" y="151162"/>
                    <a:pt x="372904" y="175705"/>
                  </a:cubicBezTo>
                  <a:cubicBezTo>
                    <a:pt x="372904" y="181578"/>
                    <a:pt x="372904" y="187674"/>
                    <a:pt x="372904" y="193739"/>
                  </a:cubicBezTo>
                  <a:cubicBezTo>
                    <a:pt x="372904" y="197104"/>
                    <a:pt x="372904" y="200470"/>
                    <a:pt x="372904" y="203803"/>
                  </a:cubicBezTo>
                  <a:cubicBezTo>
                    <a:pt x="371843" y="237082"/>
                    <a:pt x="365509" y="269982"/>
                    <a:pt x="354140" y="301276"/>
                  </a:cubicBezTo>
                  <a:cubicBezTo>
                    <a:pt x="351206" y="308642"/>
                    <a:pt x="347758" y="315793"/>
                    <a:pt x="343821" y="322675"/>
                  </a:cubicBezTo>
                  <a:cubicBezTo>
                    <a:pt x="328136" y="351022"/>
                    <a:pt x="302038" y="372154"/>
                    <a:pt x="271050" y="381603"/>
                  </a:cubicBezTo>
                  <a:cubicBezTo>
                    <a:pt x="240951" y="389033"/>
                    <a:pt x="203581" y="379063"/>
                    <a:pt x="168339" y="354267"/>
                  </a:cubicBezTo>
                  <a:cubicBezTo>
                    <a:pt x="165164" y="351092"/>
                    <a:pt x="152908" y="339344"/>
                    <a:pt x="139986" y="334582"/>
                  </a:cubicBezTo>
                  <a:cubicBezTo>
                    <a:pt x="128270" y="330264"/>
                    <a:pt x="120428" y="333248"/>
                    <a:pt x="115951" y="336550"/>
                  </a:cubicBezTo>
                  <a:cubicBezTo>
                    <a:pt x="106807" y="343186"/>
                    <a:pt x="102807" y="356870"/>
                    <a:pt x="103696" y="378397"/>
                  </a:cubicBezTo>
                  <a:lnTo>
                    <a:pt x="103696" y="437674"/>
                  </a:lnTo>
                  <a:lnTo>
                    <a:pt x="82550" y="437674"/>
                  </a:lnTo>
                  <a:lnTo>
                    <a:pt x="82550" y="289497"/>
                  </a:lnTo>
                  <a:cubicBezTo>
                    <a:pt x="80836" y="247650"/>
                    <a:pt x="140399" y="244475"/>
                    <a:pt x="142875" y="244285"/>
                  </a:cubicBezTo>
                  <a:lnTo>
                    <a:pt x="144082" y="244285"/>
                  </a:lnTo>
                  <a:cubicBezTo>
                    <a:pt x="205931" y="233966"/>
                    <a:pt x="220281" y="178880"/>
                    <a:pt x="219202" y="151003"/>
                  </a:cubicBezTo>
                  <a:lnTo>
                    <a:pt x="219202" y="19526"/>
                  </a:lnTo>
                  <a:lnTo>
                    <a:pt x="247237" y="19526"/>
                  </a:lnTo>
                  <a:close/>
                  <a:moveTo>
                    <a:pt x="19526" y="19526"/>
                  </a:moveTo>
                  <a:lnTo>
                    <a:pt x="199739" y="19526"/>
                  </a:lnTo>
                  <a:lnTo>
                    <a:pt x="199739" y="151448"/>
                  </a:lnTo>
                  <a:cubicBezTo>
                    <a:pt x="199739" y="154019"/>
                    <a:pt x="201581" y="214408"/>
                    <a:pt x="141478" y="224790"/>
                  </a:cubicBezTo>
                  <a:cubicBezTo>
                    <a:pt x="113189" y="226155"/>
                    <a:pt x="61214" y="241300"/>
                    <a:pt x="62865" y="290036"/>
                  </a:cubicBezTo>
                  <a:lnTo>
                    <a:pt x="62865" y="437674"/>
                  </a:lnTo>
                  <a:lnTo>
                    <a:pt x="19526" y="437674"/>
                  </a:lnTo>
                  <a:close/>
                  <a:moveTo>
                    <a:pt x="437674" y="437674"/>
                  </a:moveTo>
                  <a:lnTo>
                    <a:pt x="123349" y="437674"/>
                  </a:lnTo>
                  <a:lnTo>
                    <a:pt x="123349" y="377825"/>
                  </a:lnTo>
                  <a:cubicBezTo>
                    <a:pt x="122492" y="356711"/>
                    <a:pt x="127064" y="352743"/>
                    <a:pt x="127603" y="352425"/>
                  </a:cubicBezTo>
                  <a:cubicBezTo>
                    <a:pt x="128143" y="352108"/>
                    <a:pt x="130778" y="351981"/>
                    <a:pt x="133414" y="352997"/>
                  </a:cubicBezTo>
                  <a:cubicBezTo>
                    <a:pt x="141859" y="356172"/>
                    <a:pt x="151956" y="365316"/>
                    <a:pt x="155131" y="368586"/>
                  </a:cubicBezTo>
                  <a:lnTo>
                    <a:pt x="155766" y="369253"/>
                  </a:lnTo>
                  <a:lnTo>
                    <a:pt x="156496" y="369792"/>
                  </a:lnTo>
                  <a:cubicBezTo>
                    <a:pt x="180118" y="386556"/>
                    <a:pt x="227076" y="412845"/>
                    <a:pt x="276193" y="400590"/>
                  </a:cubicBezTo>
                  <a:lnTo>
                    <a:pt x="276733" y="400590"/>
                  </a:lnTo>
                  <a:cubicBezTo>
                    <a:pt x="312556" y="389763"/>
                    <a:pt x="342751" y="365401"/>
                    <a:pt x="360902" y="332677"/>
                  </a:cubicBezTo>
                  <a:cubicBezTo>
                    <a:pt x="365360" y="324907"/>
                    <a:pt x="369246" y="316820"/>
                    <a:pt x="372523" y="308483"/>
                  </a:cubicBezTo>
                  <a:cubicBezTo>
                    <a:pt x="384680" y="275171"/>
                    <a:pt x="391452" y="240135"/>
                    <a:pt x="392589" y="204692"/>
                  </a:cubicBezTo>
                  <a:cubicBezTo>
                    <a:pt x="392589" y="201073"/>
                    <a:pt x="392589" y="197453"/>
                    <a:pt x="392589" y="193834"/>
                  </a:cubicBezTo>
                  <a:lnTo>
                    <a:pt x="392589" y="193453"/>
                  </a:lnTo>
                  <a:cubicBezTo>
                    <a:pt x="392367" y="187738"/>
                    <a:pt x="392589" y="181832"/>
                    <a:pt x="392589" y="176086"/>
                  </a:cubicBezTo>
                  <a:cubicBezTo>
                    <a:pt x="392748" y="150686"/>
                    <a:pt x="392970" y="122111"/>
                    <a:pt x="368999" y="98774"/>
                  </a:cubicBezTo>
                  <a:cubicBezTo>
                    <a:pt x="366541" y="96376"/>
                    <a:pt x="363884" y="94189"/>
                    <a:pt x="361061" y="92234"/>
                  </a:cubicBezTo>
                  <a:cubicBezTo>
                    <a:pt x="341503" y="78613"/>
                    <a:pt x="315436" y="78010"/>
                    <a:pt x="292894" y="90551"/>
                  </a:cubicBezTo>
                  <a:cubicBezTo>
                    <a:pt x="286544" y="93123"/>
                    <a:pt x="279559" y="96266"/>
                    <a:pt x="271907" y="100076"/>
                  </a:cubicBezTo>
                  <a:lnTo>
                    <a:pt x="267018" y="102616"/>
                  </a:lnTo>
                  <a:lnTo>
                    <a:pt x="267018" y="19526"/>
                  </a:lnTo>
                  <a:lnTo>
                    <a:pt x="437864" y="19526"/>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1" name="Google Shape;1624;p92">
              <a:extLst>
                <a:ext uri="{FF2B5EF4-FFF2-40B4-BE49-F238E27FC236}">
                  <a16:creationId xmlns:a16="http://schemas.microsoft.com/office/drawing/2014/main" id="{DB9474BC-A3DA-259F-37B3-620DAC058BCF}"/>
                </a:ext>
              </a:extLst>
            </p:cNvPr>
            <p:cNvSpPr/>
            <p:nvPr/>
          </p:nvSpPr>
          <p:spPr>
            <a:xfrm>
              <a:off x="4678493" y="4202461"/>
              <a:ext cx="142430" cy="47116"/>
            </a:xfrm>
            <a:custGeom>
              <a:avLst/>
              <a:gdLst/>
              <a:ahLst/>
              <a:cxnLst/>
              <a:rect l="l" t="t" r="r" b="b"/>
              <a:pathLst>
                <a:path w="142430" h="47116" extrusionOk="0">
                  <a:moveTo>
                    <a:pt x="14192" y="0"/>
                  </a:moveTo>
                  <a:lnTo>
                    <a:pt x="0" y="13430"/>
                  </a:lnTo>
                  <a:cubicBezTo>
                    <a:pt x="1302" y="14827"/>
                    <a:pt x="32258" y="47117"/>
                    <a:pt x="73978" y="47117"/>
                  </a:cubicBezTo>
                  <a:lnTo>
                    <a:pt x="74581" y="47117"/>
                  </a:lnTo>
                  <a:cubicBezTo>
                    <a:pt x="99250" y="46926"/>
                    <a:pt x="122206" y="35560"/>
                    <a:pt x="142431" y="13335"/>
                  </a:cubicBezTo>
                  <a:lnTo>
                    <a:pt x="128016" y="127"/>
                  </a:lnTo>
                  <a:cubicBezTo>
                    <a:pt x="111506" y="18161"/>
                    <a:pt x="93536" y="27400"/>
                    <a:pt x="74549" y="27591"/>
                  </a:cubicBezTo>
                  <a:lnTo>
                    <a:pt x="73978" y="27591"/>
                  </a:lnTo>
                  <a:cubicBezTo>
                    <a:pt x="40831" y="27591"/>
                    <a:pt x="14478" y="286"/>
                    <a:pt x="14192" y="0"/>
                  </a:cubicBez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grpSp>
        <p:nvGrpSpPr>
          <p:cNvPr id="52" name="Google Shape;1696;p92">
            <a:extLst>
              <a:ext uri="{FF2B5EF4-FFF2-40B4-BE49-F238E27FC236}">
                <a16:creationId xmlns:a16="http://schemas.microsoft.com/office/drawing/2014/main" id="{1E565628-D9DC-F695-17A2-02933C2B5EB6}"/>
              </a:ext>
            </a:extLst>
          </p:cNvPr>
          <p:cNvGrpSpPr/>
          <p:nvPr/>
        </p:nvGrpSpPr>
        <p:grpSpPr>
          <a:xfrm>
            <a:off x="2021278" y="5642770"/>
            <a:ext cx="360363" cy="360363"/>
            <a:chOff x="6478734" y="4634724"/>
            <a:chExt cx="457200" cy="457200"/>
          </a:xfrm>
          <a:solidFill>
            <a:schemeClr val="bg1"/>
          </a:solidFill>
        </p:grpSpPr>
        <p:sp>
          <p:nvSpPr>
            <p:cNvPr id="53" name="Google Shape;1697;p92">
              <a:extLst>
                <a:ext uri="{FF2B5EF4-FFF2-40B4-BE49-F238E27FC236}">
                  <a16:creationId xmlns:a16="http://schemas.microsoft.com/office/drawing/2014/main" id="{A4947BD2-EC32-C8A0-6FA6-08FF86A2D127}"/>
                </a:ext>
              </a:extLst>
            </p:cNvPr>
            <p:cNvSpPr/>
            <p:nvPr/>
          </p:nvSpPr>
          <p:spPr>
            <a:xfrm>
              <a:off x="6478734" y="4634724"/>
              <a:ext cx="457200" cy="457200"/>
            </a:xfrm>
            <a:custGeom>
              <a:avLst/>
              <a:gdLst/>
              <a:ahLst/>
              <a:cxnLst/>
              <a:rect l="l" t="t" r="r" b="b"/>
              <a:pathLst>
                <a:path w="457200" h="457200" extrusionOk="0">
                  <a:moveTo>
                    <a:pt x="0" y="0"/>
                  </a:moveTo>
                  <a:lnTo>
                    <a:pt x="0" y="457200"/>
                  </a:lnTo>
                  <a:lnTo>
                    <a:pt x="457200" y="457200"/>
                  </a:lnTo>
                  <a:lnTo>
                    <a:pt x="457200" y="0"/>
                  </a:lnTo>
                  <a:close/>
                  <a:moveTo>
                    <a:pt x="236569" y="19526"/>
                  </a:moveTo>
                  <a:lnTo>
                    <a:pt x="236569" y="105029"/>
                  </a:lnTo>
                  <a:cubicBezTo>
                    <a:pt x="236542" y="123542"/>
                    <a:pt x="244930" y="141064"/>
                    <a:pt x="259366" y="152654"/>
                  </a:cubicBezTo>
                  <a:lnTo>
                    <a:pt x="261906" y="155226"/>
                  </a:lnTo>
                  <a:lnTo>
                    <a:pt x="276225" y="169482"/>
                  </a:lnTo>
                  <a:lnTo>
                    <a:pt x="321151" y="214376"/>
                  </a:lnTo>
                  <a:lnTo>
                    <a:pt x="334963" y="200565"/>
                  </a:lnTo>
                  <a:lnTo>
                    <a:pt x="301847" y="167418"/>
                  </a:lnTo>
                  <a:lnTo>
                    <a:pt x="300355" y="165894"/>
                  </a:lnTo>
                  <a:lnTo>
                    <a:pt x="287655" y="153194"/>
                  </a:lnTo>
                  <a:cubicBezTo>
                    <a:pt x="296450" y="144494"/>
                    <a:pt x="309372" y="137859"/>
                    <a:pt x="318802" y="137859"/>
                  </a:cubicBezTo>
                  <a:cubicBezTo>
                    <a:pt x="330073" y="137859"/>
                    <a:pt x="345059" y="148685"/>
                    <a:pt x="350838" y="161004"/>
                  </a:cubicBezTo>
                  <a:lnTo>
                    <a:pt x="370840" y="203200"/>
                  </a:lnTo>
                  <a:cubicBezTo>
                    <a:pt x="378450" y="221050"/>
                    <a:pt x="382753" y="240135"/>
                    <a:pt x="383540" y="259525"/>
                  </a:cubicBezTo>
                  <a:lnTo>
                    <a:pt x="383540" y="366014"/>
                  </a:lnTo>
                  <a:cubicBezTo>
                    <a:pt x="383540" y="370935"/>
                    <a:pt x="382143" y="374618"/>
                    <a:pt x="379698" y="376142"/>
                  </a:cubicBezTo>
                  <a:cubicBezTo>
                    <a:pt x="377254" y="377666"/>
                    <a:pt x="373348" y="377381"/>
                    <a:pt x="368903" y="375253"/>
                  </a:cubicBezTo>
                  <a:lnTo>
                    <a:pt x="287306" y="336074"/>
                  </a:lnTo>
                  <a:cubicBezTo>
                    <a:pt x="275019" y="330200"/>
                    <a:pt x="264224" y="313055"/>
                    <a:pt x="264224" y="299434"/>
                  </a:cubicBezTo>
                  <a:lnTo>
                    <a:pt x="264224" y="215424"/>
                  </a:lnTo>
                  <a:cubicBezTo>
                    <a:pt x="264224" y="214979"/>
                    <a:pt x="264224" y="214535"/>
                    <a:pt x="264224" y="214090"/>
                  </a:cubicBezTo>
                  <a:lnTo>
                    <a:pt x="291783" y="241618"/>
                  </a:lnTo>
                  <a:lnTo>
                    <a:pt x="292862" y="242729"/>
                  </a:lnTo>
                  <a:lnTo>
                    <a:pt x="306673" y="228918"/>
                  </a:lnTo>
                  <a:lnTo>
                    <a:pt x="274003" y="196247"/>
                  </a:lnTo>
                  <a:lnTo>
                    <a:pt x="271113" y="193326"/>
                  </a:lnTo>
                  <a:cubicBezTo>
                    <a:pt x="270161" y="192437"/>
                    <a:pt x="269177" y="191643"/>
                    <a:pt x="268161" y="190818"/>
                  </a:cubicBezTo>
                  <a:cubicBezTo>
                    <a:pt x="256606" y="181065"/>
                    <a:pt x="242005" y="175663"/>
                    <a:pt x="226886" y="175546"/>
                  </a:cubicBezTo>
                  <a:lnTo>
                    <a:pt x="226314" y="176149"/>
                  </a:lnTo>
                  <a:lnTo>
                    <a:pt x="225711" y="175546"/>
                  </a:lnTo>
                  <a:cubicBezTo>
                    <a:pt x="210964" y="175722"/>
                    <a:pt x="196705" y="180855"/>
                    <a:pt x="185230" y="190119"/>
                  </a:cubicBezTo>
                  <a:cubicBezTo>
                    <a:pt x="183960" y="191135"/>
                    <a:pt x="182690" y="192215"/>
                    <a:pt x="181483" y="193294"/>
                  </a:cubicBezTo>
                  <a:lnTo>
                    <a:pt x="178594" y="196215"/>
                  </a:lnTo>
                  <a:lnTo>
                    <a:pt x="145637" y="229203"/>
                  </a:lnTo>
                  <a:lnTo>
                    <a:pt x="159417" y="243015"/>
                  </a:lnTo>
                  <a:lnTo>
                    <a:pt x="160814" y="241618"/>
                  </a:lnTo>
                  <a:lnTo>
                    <a:pt x="189389" y="213043"/>
                  </a:lnTo>
                  <a:cubicBezTo>
                    <a:pt x="189389" y="213836"/>
                    <a:pt x="189389" y="214598"/>
                    <a:pt x="189389" y="215360"/>
                  </a:cubicBezTo>
                  <a:lnTo>
                    <a:pt x="189389" y="299434"/>
                  </a:lnTo>
                  <a:cubicBezTo>
                    <a:pt x="189389" y="313055"/>
                    <a:pt x="178594" y="330200"/>
                    <a:pt x="166275" y="336074"/>
                  </a:cubicBezTo>
                  <a:lnTo>
                    <a:pt x="84836" y="375095"/>
                  </a:lnTo>
                  <a:cubicBezTo>
                    <a:pt x="80423" y="377222"/>
                    <a:pt x="76486" y="377539"/>
                    <a:pt x="74041" y="375984"/>
                  </a:cubicBezTo>
                  <a:cubicBezTo>
                    <a:pt x="71596" y="374428"/>
                    <a:pt x="70199" y="370777"/>
                    <a:pt x="70199" y="365855"/>
                  </a:cubicBezTo>
                  <a:lnTo>
                    <a:pt x="70199" y="259366"/>
                  </a:lnTo>
                  <a:cubicBezTo>
                    <a:pt x="70986" y="239977"/>
                    <a:pt x="75289" y="220892"/>
                    <a:pt x="82899" y="203041"/>
                  </a:cubicBezTo>
                  <a:lnTo>
                    <a:pt x="102743" y="160877"/>
                  </a:lnTo>
                  <a:cubicBezTo>
                    <a:pt x="108553" y="148558"/>
                    <a:pt x="123539" y="137732"/>
                    <a:pt x="134779" y="137732"/>
                  </a:cubicBezTo>
                  <a:cubicBezTo>
                    <a:pt x="144082" y="137732"/>
                    <a:pt x="156718" y="144082"/>
                    <a:pt x="165481" y="152591"/>
                  </a:cubicBezTo>
                  <a:lnTo>
                    <a:pt x="152400" y="165894"/>
                  </a:lnTo>
                  <a:lnTo>
                    <a:pt x="150876" y="167450"/>
                  </a:lnTo>
                  <a:lnTo>
                    <a:pt x="117284" y="200851"/>
                  </a:lnTo>
                  <a:lnTo>
                    <a:pt x="131096" y="214662"/>
                  </a:lnTo>
                  <a:lnTo>
                    <a:pt x="176975" y="168783"/>
                  </a:lnTo>
                  <a:lnTo>
                    <a:pt x="191326" y="154464"/>
                  </a:lnTo>
                  <a:lnTo>
                    <a:pt x="193231" y="152527"/>
                  </a:lnTo>
                  <a:cubicBezTo>
                    <a:pt x="207667" y="140937"/>
                    <a:pt x="216054" y="123415"/>
                    <a:pt x="216027" y="104902"/>
                  </a:cubicBezTo>
                  <a:lnTo>
                    <a:pt x="216027" y="19526"/>
                  </a:lnTo>
                  <a:close/>
                  <a:moveTo>
                    <a:pt x="437674" y="437674"/>
                  </a:moveTo>
                  <a:lnTo>
                    <a:pt x="19526" y="437674"/>
                  </a:lnTo>
                  <a:lnTo>
                    <a:pt x="19526" y="19526"/>
                  </a:lnTo>
                  <a:lnTo>
                    <a:pt x="196501" y="19526"/>
                  </a:lnTo>
                  <a:lnTo>
                    <a:pt x="196501" y="97187"/>
                  </a:lnTo>
                  <a:cubicBezTo>
                    <a:pt x="196844" y="100353"/>
                    <a:pt x="196844" y="103546"/>
                    <a:pt x="196501" y="106712"/>
                  </a:cubicBezTo>
                  <a:cubicBezTo>
                    <a:pt x="196501" y="106966"/>
                    <a:pt x="196501" y="107252"/>
                    <a:pt x="196501" y="107537"/>
                  </a:cubicBezTo>
                  <a:cubicBezTo>
                    <a:pt x="195751" y="120023"/>
                    <a:pt x="189404" y="131503"/>
                    <a:pt x="179229" y="138779"/>
                  </a:cubicBezTo>
                  <a:cubicBezTo>
                    <a:pt x="166783" y="126746"/>
                    <a:pt x="149225" y="118269"/>
                    <a:pt x="134779" y="118269"/>
                  </a:cubicBezTo>
                  <a:cubicBezTo>
                    <a:pt x="115983" y="118269"/>
                    <a:pt x="94139" y="133350"/>
                    <a:pt x="85090" y="152622"/>
                  </a:cubicBezTo>
                  <a:lnTo>
                    <a:pt x="65119" y="194755"/>
                  </a:lnTo>
                  <a:cubicBezTo>
                    <a:pt x="56328" y="215200"/>
                    <a:pt x="51470" y="237120"/>
                    <a:pt x="50800" y="259366"/>
                  </a:cubicBezTo>
                  <a:lnTo>
                    <a:pt x="50800" y="365855"/>
                  </a:lnTo>
                  <a:cubicBezTo>
                    <a:pt x="50800" y="377603"/>
                    <a:pt x="55531" y="387318"/>
                    <a:pt x="63786" y="392525"/>
                  </a:cubicBezTo>
                  <a:cubicBezTo>
                    <a:pt x="68026" y="395154"/>
                    <a:pt x="72927" y="396519"/>
                    <a:pt x="77915" y="396462"/>
                  </a:cubicBezTo>
                  <a:cubicBezTo>
                    <a:pt x="83305" y="396389"/>
                    <a:pt x="88610" y="395110"/>
                    <a:pt x="93440" y="392716"/>
                  </a:cubicBezTo>
                  <a:lnTo>
                    <a:pt x="174625" y="353695"/>
                  </a:lnTo>
                  <a:cubicBezTo>
                    <a:pt x="193675" y="344519"/>
                    <a:pt x="208820" y="320675"/>
                    <a:pt x="208820" y="299434"/>
                  </a:cubicBezTo>
                  <a:lnTo>
                    <a:pt x="208820" y="215424"/>
                  </a:lnTo>
                  <a:cubicBezTo>
                    <a:pt x="208754" y="209992"/>
                    <a:pt x="208234" y="204576"/>
                    <a:pt x="207264" y="199231"/>
                  </a:cubicBezTo>
                  <a:cubicBezTo>
                    <a:pt x="219596" y="193503"/>
                    <a:pt x="233856" y="193655"/>
                    <a:pt x="246063" y="199644"/>
                  </a:cubicBezTo>
                  <a:cubicBezTo>
                    <a:pt x="245147" y="204888"/>
                    <a:pt x="244659" y="210196"/>
                    <a:pt x="244602" y="215519"/>
                  </a:cubicBezTo>
                  <a:lnTo>
                    <a:pt x="244602" y="299434"/>
                  </a:lnTo>
                  <a:cubicBezTo>
                    <a:pt x="244602" y="320675"/>
                    <a:pt x="259620" y="344519"/>
                    <a:pt x="278797" y="353695"/>
                  </a:cubicBezTo>
                  <a:lnTo>
                    <a:pt x="360236" y="392716"/>
                  </a:lnTo>
                  <a:cubicBezTo>
                    <a:pt x="365065" y="395110"/>
                    <a:pt x="370370" y="396389"/>
                    <a:pt x="375761" y="396462"/>
                  </a:cubicBezTo>
                  <a:cubicBezTo>
                    <a:pt x="380749" y="396519"/>
                    <a:pt x="385651" y="395154"/>
                    <a:pt x="389890" y="392525"/>
                  </a:cubicBezTo>
                  <a:cubicBezTo>
                    <a:pt x="398113" y="387318"/>
                    <a:pt x="402844" y="377603"/>
                    <a:pt x="402844" y="365855"/>
                  </a:cubicBezTo>
                  <a:lnTo>
                    <a:pt x="402844" y="259366"/>
                  </a:lnTo>
                  <a:cubicBezTo>
                    <a:pt x="402117" y="237114"/>
                    <a:pt x="397215" y="215197"/>
                    <a:pt x="388398" y="194755"/>
                  </a:cubicBezTo>
                  <a:lnTo>
                    <a:pt x="368554" y="152559"/>
                  </a:lnTo>
                  <a:cubicBezTo>
                    <a:pt x="359505" y="133287"/>
                    <a:pt x="337661" y="118205"/>
                    <a:pt x="318834" y="118205"/>
                  </a:cubicBezTo>
                  <a:cubicBezTo>
                    <a:pt x="304229" y="118205"/>
                    <a:pt x="286417" y="126873"/>
                    <a:pt x="274003" y="139129"/>
                  </a:cubicBezTo>
                  <a:cubicBezTo>
                    <a:pt x="262735" y="131436"/>
                    <a:pt x="255996" y="118672"/>
                    <a:pt x="256000" y="105029"/>
                  </a:cubicBezTo>
                  <a:cubicBezTo>
                    <a:pt x="256000" y="104204"/>
                    <a:pt x="256000" y="103442"/>
                    <a:pt x="256000" y="102648"/>
                  </a:cubicBezTo>
                  <a:cubicBezTo>
                    <a:pt x="256000" y="102394"/>
                    <a:pt x="256000" y="102172"/>
                    <a:pt x="256000" y="101917"/>
                  </a:cubicBezTo>
                  <a:lnTo>
                    <a:pt x="256000" y="101917"/>
                  </a:lnTo>
                  <a:lnTo>
                    <a:pt x="256000" y="19526"/>
                  </a:lnTo>
                  <a:lnTo>
                    <a:pt x="437579" y="19526"/>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sp>
          <p:nvSpPr>
            <p:cNvPr id="54" name="Google Shape;1698;p92">
              <a:extLst>
                <a:ext uri="{FF2B5EF4-FFF2-40B4-BE49-F238E27FC236}">
                  <a16:creationId xmlns:a16="http://schemas.microsoft.com/office/drawing/2014/main" id="{7FC17974-286E-6EF3-A2F5-F2252864A004}"/>
                </a:ext>
              </a:extLst>
            </p:cNvPr>
            <p:cNvSpPr/>
            <p:nvPr/>
          </p:nvSpPr>
          <p:spPr>
            <a:xfrm>
              <a:off x="6791979" y="4881739"/>
              <a:ext cx="49150" cy="94838"/>
            </a:xfrm>
            <a:custGeom>
              <a:avLst/>
              <a:gdLst/>
              <a:ahLst/>
              <a:cxnLst/>
              <a:rect l="l" t="t" r="r" b="b"/>
              <a:pathLst>
                <a:path w="49150" h="94838" extrusionOk="0">
                  <a:moveTo>
                    <a:pt x="37497" y="94837"/>
                  </a:moveTo>
                  <a:cubicBezTo>
                    <a:pt x="39745" y="94869"/>
                    <a:pt x="41951" y="94240"/>
                    <a:pt x="43847" y="93027"/>
                  </a:cubicBezTo>
                  <a:cubicBezTo>
                    <a:pt x="47215" y="90795"/>
                    <a:pt x="49216" y="87001"/>
                    <a:pt x="49149" y="82963"/>
                  </a:cubicBezTo>
                  <a:lnTo>
                    <a:pt x="49149" y="0"/>
                  </a:lnTo>
                  <a:lnTo>
                    <a:pt x="29654" y="0"/>
                  </a:lnTo>
                  <a:lnTo>
                    <a:pt x="29654" y="70993"/>
                  </a:lnTo>
                  <a:lnTo>
                    <a:pt x="8033" y="61182"/>
                  </a:lnTo>
                  <a:lnTo>
                    <a:pt x="0" y="78994"/>
                  </a:lnTo>
                  <a:lnTo>
                    <a:pt x="32512" y="93726"/>
                  </a:lnTo>
                  <a:cubicBezTo>
                    <a:pt x="34080" y="94431"/>
                    <a:pt x="35776" y="94809"/>
                    <a:pt x="37497" y="94837"/>
                  </a:cubicBez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sp>
          <p:nvSpPr>
            <p:cNvPr id="55" name="Google Shape;1699;p92">
              <a:extLst>
                <a:ext uri="{FF2B5EF4-FFF2-40B4-BE49-F238E27FC236}">
                  <a16:creationId xmlns:a16="http://schemas.microsoft.com/office/drawing/2014/main" id="{6CC5BE16-A0F7-904D-47E4-53C9647CC8FD}"/>
                </a:ext>
              </a:extLst>
            </p:cNvPr>
            <p:cNvSpPr/>
            <p:nvPr/>
          </p:nvSpPr>
          <p:spPr>
            <a:xfrm>
              <a:off x="6569696" y="4881739"/>
              <a:ext cx="49309" cy="94838"/>
            </a:xfrm>
            <a:custGeom>
              <a:avLst/>
              <a:gdLst/>
              <a:ahLst/>
              <a:cxnLst/>
              <a:rect l="l" t="t" r="r" b="b"/>
              <a:pathLst>
                <a:path w="49309" h="94838" extrusionOk="0">
                  <a:moveTo>
                    <a:pt x="19528" y="70993"/>
                  </a:moveTo>
                  <a:lnTo>
                    <a:pt x="19528" y="0"/>
                  </a:lnTo>
                  <a:lnTo>
                    <a:pt x="2" y="0"/>
                  </a:lnTo>
                  <a:lnTo>
                    <a:pt x="2" y="82963"/>
                  </a:lnTo>
                  <a:cubicBezTo>
                    <a:pt x="-64" y="87001"/>
                    <a:pt x="1935" y="90795"/>
                    <a:pt x="5304" y="93027"/>
                  </a:cubicBezTo>
                  <a:cubicBezTo>
                    <a:pt x="7198" y="94240"/>
                    <a:pt x="9406" y="94869"/>
                    <a:pt x="11654" y="94837"/>
                  </a:cubicBezTo>
                  <a:cubicBezTo>
                    <a:pt x="13416" y="94825"/>
                    <a:pt x="15157" y="94447"/>
                    <a:pt x="16766" y="93726"/>
                  </a:cubicBezTo>
                  <a:lnTo>
                    <a:pt x="49309" y="78994"/>
                  </a:lnTo>
                  <a:lnTo>
                    <a:pt x="41245" y="61182"/>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grpSp>
      <p:sp>
        <p:nvSpPr>
          <p:cNvPr id="2" name="Rectangle 1">
            <a:extLst>
              <a:ext uri="{FF2B5EF4-FFF2-40B4-BE49-F238E27FC236}">
                <a16:creationId xmlns:a16="http://schemas.microsoft.com/office/drawing/2014/main" id="{D1D6AC03-28D5-6F25-B774-213412140BFB}"/>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23" name="Group 22">
            <a:extLst>
              <a:ext uri="{FF2B5EF4-FFF2-40B4-BE49-F238E27FC236}">
                <a16:creationId xmlns:a16="http://schemas.microsoft.com/office/drawing/2014/main" id="{2212D7A8-04E3-121E-8A55-82CEFDF779DF}"/>
              </a:ext>
            </a:extLst>
          </p:cNvPr>
          <p:cNvGrpSpPr/>
          <p:nvPr/>
        </p:nvGrpSpPr>
        <p:grpSpPr>
          <a:xfrm>
            <a:off x="9842140" y="372216"/>
            <a:ext cx="1667215" cy="217488"/>
            <a:chOff x="9842140" y="372216"/>
            <a:chExt cx="1667215" cy="217488"/>
          </a:xfrm>
        </p:grpSpPr>
        <p:sp>
          <p:nvSpPr>
            <p:cNvPr id="31" name="TextBox 30">
              <a:extLst>
                <a:ext uri="{FF2B5EF4-FFF2-40B4-BE49-F238E27FC236}">
                  <a16:creationId xmlns:a16="http://schemas.microsoft.com/office/drawing/2014/main" id="{4AA8C989-94BD-8BD9-560F-3B2617F2772F}"/>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rtl="0">
                <a:lnSpc>
                  <a:spcPct val="100000"/>
                </a:lnSpc>
                <a:spcAft>
                  <a:spcPts val="600"/>
                </a:spcAft>
                <a:buSzPct val="100000"/>
              </a:pPr>
              <a:r>
                <a:rPr lang="en-gb" sz="800">
                  <a:solidFill>
                    <a:schemeClr val="bg1"/>
                  </a:solidFill>
                </a:rPr>
                <a:t>Injuries</a:t>
              </a:r>
            </a:p>
          </p:txBody>
        </p:sp>
        <p:sp>
          <p:nvSpPr>
            <p:cNvPr id="32" name="Freeform 49">
              <a:extLst>
                <a:ext uri="{FF2B5EF4-FFF2-40B4-BE49-F238E27FC236}">
                  <a16:creationId xmlns:a16="http://schemas.microsoft.com/office/drawing/2014/main" id="{B6766F76-46FE-25AC-24EA-2AEA2F66950A}"/>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p>
          </p:txBody>
        </p:sp>
      </p:grpSp>
      <p:grpSp>
        <p:nvGrpSpPr>
          <p:cNvPr id="30" name="Group 29">
            <a:extLst>
              <a:ext uri="{FF2B5EF4-FFF2-40B4-BE49-F238E27FC236}">
                <a16:creationId xmlns:a16="http://schemas.microsoft.com/office/drawing/2014/main" id="{2E04678C-E2CD-36D9-1DAA-A4A61AD37794}"/>
              </a:ext>
            </a:extLst>
          </p:cNvPr>
          <p:cNvGrpSpPr/>
          <p:nvPr/>
        </p:nvGrpSpPr>
        <p:grpSpPr>
          <a:xfrm>
            <a:off x="9122935" y="126781"/>
            <a:ext cx="2626153" cy="217488"/>
            <a:chOff x="9122935" y="126781"/>
            <a:chExt cx="2626153" cy="217488"/>
          </a:xfrm>
        </p:grpSpPr>
        <p:sp>
          <p:nvSpPr>
            <p:cNvPr id="33" name="Rectangle 32">
              <a:extLst>
                <a:ext uri="{FF2B5EF4-FFF2-40B4-BE49-F238E27FC236}">
                  <a16:creationId xmlns:a16="http://schemas.microsoft.com/office/drawing/2014/main" id="{5C2874F9-D8C6-887C-E1EA-11F77DA653D6}"/>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000000"/>
                  </a:solidFill>
                  <a:effectLst/>
                  <a:uLnTx/>
                  <a:uFillTx/>
                  <a:ea typeface="Georgia"/>
                  <a:cs typeface="Georgia"/>
                  <a:sym typeface="Georgia"/>
                </a:rPr>
                <a:t>First aid measures</a:t>
              </a:r>
            </a:p>
          </p:txBody>
        </p:sp>
        <p:sp>
          <p:nvSpPr>
            <p:cNvPr id="34" name="Rectangle 33">
              <a:extLst>
                <a:ext uri="{FF2B5EF4-FFF2-40B4-BE49-F238E27FC236}">
                  <a16:creationId xmlns:a16="http://schemas.microsoft.com/office/drawing/2014/main" id="{5223CBAF-7A63-BCAC-510F-10D5585B9BB3}"/>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5" name="Rectangle 34">
              <a:extLst>
                <a:ext uri="{FF2B5EF4-FFF2-40B4-BE49-F238E27FC236}">
                  <a16:creationId xmlns:a16="http://schemas.microsoft.com/office/drawing/2014/main" id="{F08F99D6-421A-10B7-0530-A21AA7636244}"/>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40" name="Rectangle 39">
              <a:extLst>
                <a:ext uri="{FF2B5EF4-FFF2-40B4-BE49-F238E27FC236}">
                  <a16:creationId xmlns:a16="http://schemas.microsoft.com/office/drawing/2014/main" id="{806B46B4-806A-3701-D59F-2019028C52E0}"/>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41" name="Rectangle 40">
              <a:extLst>
                <a:ext uri="{FF2B5EF4-FFF2-40B4-BE49-F238E27FC236}">
                  <a16:creationId xmlns:a16="http://schemas.microsoft.com/office/drawing/2014/main" id="{31E79E96-A186-A7B3-914A-AB85A56D63B1}"/>
                </a:ext>
              </a:extLst>
            </p:cNvPr>
            <p:cNvSpPr/>
            <p:nvPr/>
          </p:nvSpPr>
          <p:spPr>
            <a:xfrm>
              <a:off x="9842140"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7</a:t>
              </a:r>
              <a:r>
                <a:rPr lang="en-gb" sz="800" b="1" i="0" u="none" strike="noStrike" kern="0" cap="none" spc="0" normalizeH="0" noProof="0">
                  <a:ln>
                    <a:noFill/>
                  </a:ln>
                  <a:effectLst/>
                  <a:uLnTx/>
                  <a:uFillTx/>
                  <a:ea typeface="Georgia"/>
                  <a:cs typeface="Georgia"/>
                  <a:sym typeface="Georgia"/>
                </a:rPr>
                <a:t>.4</a:t>
              </a:r>
              <a:endParaRPr kumimoji="0" lang="lv-LV" sz="800" b="1" i="0" u="none" strike="noStrike" kern="0" cap="none" spc="0" normalizeH="0" baseline="0" noProof="0" dirty="0">
                <a:ln>
                  <a:noFill/>
                </a:ln>
                <a:effectLst/>
                <a:uLnTx/>
                <a:uFillTx/>
                <a:ea typeface="Georgia"/>
                <a:cs typeface="Georgia"/>
                <a:sym typeface="Georgia"/>
              </a:endParaRPr>
            </a:p>
          </p:txBody>
        </p:sp>
        <p:sp>
          <p:nvSpPr>
            <p:cNvPr id="42" name="Rectangle 41">
              <a:extLst>
                <a:ext uri="{FF2B5EF4-FFF2-40B4-BE49-F238E27FC236}">
                  <a16:creationId xmlns:a16="http://schemas.microsoft.com/office/drawing/2014/main" id="{818B4649-1B8B-DF2A-AE4C-A046164ECF62}"/>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15618290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descr="a rack filled with lots of yellow hard hats">
            <a:extLst>
              <a:ext uri="{FF2B5EF4-FFF2-40B4-BE49-F238E27FC236}">
                <a16:creationId xmlns:a16="http://schemas.microsoft.com/office/drawing/2014/main" id="{D8119A36-804E-F47B-8A01-4636EC10088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469" b="60444"/>
          <a:stretch/>
        </p:blipFill>
        <p:spPr bwMode="auto">
          <a:xfrm>
            <a:off x="1" y="4843199"/>
            <a:ext cx="12222480" cy="201480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9" name="think-cell data - do not delete" hidden="1">
            <a:extLst>
              <a:ext uri="{FF2B5EF4-FFF2-40B4-BE49-F238E27FC236}">
                <a16:creationId xmlns:a16="http://schemas.microsoft.com/office/drawing/2014/main" id="{D9E6BB6A-4571-FBF8-9A7D-06ADE4374D4D}"/>
              </a:ext>
            </a:extLst>
          </p:cNvPr>
          <p:cNvGraphicFramePr>
            <a:graphicFrameLocks noChangeAspect="1"/>
          </p:cNvGraphicFramePr>
          <p:nvPr>
            <p:custDataLst>
              <p:tags r:id="rId1"/>
            </p:custDataLst>
            <p:extLst>
              <p:ext uri="{D42A27DB-BD31-4B8C-83A1-F6EECF244321}">
                <p14:modId xmlns:p14="http://schemas.microsoft.com/office/powerpoint/2010/main" val="1655054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9" name="think-cell data - do not delete" hidden="1">
                        <a:extLst>
                          <a:ext uri="{FF2B5EF4-FFF2-40B4-BE49-F238E27FC236}">
                            <a16:creationId xmlns:a16="http://schemas.microsoft.com/office/drawing/2014/main" id="{D9E6BB6A-4571-FBF8-9A7D-06ADE4374D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3C13FF64-7107-E400-47C3-F95CE48F674D}"/>
              </a:ext>
            </a:extLst>
          </p:cNvPr>
          <p:cNvSpPr/>
          <p:nvPr/>
        </p:nvSpPr>
        <p:spPr>
          <a:xfrm>
            <a:off x="2651760" y="2630366"/>
            <a:ext cx="9097328" cy="182576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400" b="1"/>
          </a:p>
        </p:txBody>
      </p:sp>
      <p:sp>
        <p:nvSpPr>
          <p:cNvPr id="15" name="Rectangle 14">
            <a:extLst>
              <a:ext uri="{FF2B5EF4-FFF2-40B4-BE49-F238E27FC236}">
                <a16:creationId xmlns:a16="http://schemas.microsoft.com/office/drawing/2014/main" id="{6FF324E6-AF46-409C-599B-E1C9ECC94CF9}"/>
              </a:ext>
            </a:extLst>
          </p:cNvPr>
          <p:cNvSpPr/>
          <p:nvPr/>
        </p:nvSpPr>
        <p:spPr>
          <a:xfrm>
            <a:off x="2847530" y="2419349"/>
            <a:ext cx="4352925" cy="2031657"/>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endParaRPr lang="lv-LV" sz="1400" b="1">
              <a:solidFill>
                <a:schemeClr val="tx1"/>
              </a:solidFill>
            </a:endParaRPr>
          </a:p>
        </p:txBody>
      </p:sp>
      <p:sp>
        <p:nvSpPr>
          <p:cNvPr id="17" name="Rectangle 16">
            <a:extLst>
              <a:ext uri="{FF2B5EF4-FFF2-40B4-BE49-F238E27FC236}">
                <a16:creationId xmlns:a16="http://schemas.microsoft.com/office/drawing/2014/main" id="{2D5601AF-A39D-8CD4-7B2A-0E35C1C67F64}"/>
              </a:ext>
            </a:extLst>
          </p:cNvPr>
          <p:cNvSpPr/>
          <p:nvPr/>
        </p:nvSpPr>
        <p:spPr>
          <a:xfrm>
            <a:off x="7396160" y="2419349"/>
            <a:ext cx="4352925" cy="2031657"/>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endParaRPr lang="lv-LV" sz="1400" b="1">
              <a:solidFill>
                <a:schemeClr val="tx1"/>
              </a:solidFill>
            </a:endParaRPr>
          </a:p>
        </p:txBody>
      </p:sp>
      <p:sp>
        <p:nvSpPr>
          <p:cNvPr id="36" name="Rectangle 35">
            <a:extLst>
              <a:ext uri="{FF2B5EF4-FFF2-40B4-BE49-F238E27FC236}">
                <a16:creationId xmlns:a16="http://schemas.microsoft.com/office/drawing/2014/main" id="{A8F39C25-781C-A7DA-387A-D92FCABEE1F5}"/>
              </a:ext>
            </a:extLst>
          </p:cNvPr>
          <p:cNvSpPr/>
          <p:nvPr/>
        </p:nvSpPr>
        <p:spPr>
          <a:xfrm>
            <a:off x="442912" y="2630488"/>
            <a:ext cx="2208847" cy="1825764"/>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rtl="0">
              <a:lnSpc>
                <a:spcPct val="100000"/>
              </a:lnSpc>
            </a:pPr>
            <a:r>
              <a:rPr lang="en-gb" sz="1400" b="1"/>
              <a:t>Head injuries</a:t>
            </a:r>
          </a:p>
        </p:txBody>
      </p:sp>
      <p:sp>
        <p:nvSpPr>
          <p:cNvPr id="38" name="Content Placeholder 1">
            <a:extLst>
              <a:ext uri="{FF2B5EF4-FFF2-40B4-BE49-F238E27FC236}">
                <a16:creationId xmlns:a16="http://schemas.microsoft.com/office/drawing/2014/main" id="{7B1F3CCD-2DE1-C2A8-D340-EAF5B3993679}"/>
              </a:ext>
            </a:extLst>
          </p:cNvPr>
          <p:cNvSpPr txBox="1">
            <a:spLocks/>
          </p:cNvSpPr>
          <p:nvPr/>
        </p:nvSpPr>
        <p:spPr>
          <a:xfrm>
            <a:off x="2579759" y="2630488"/>
            <a:ext cx="72000" cy="1825764"/>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rtlCol="0"/>
          <a:lstStyle/>
          <a:p>
            <a:pPr rtl="0"/>
            <a:r>
              <a:rPr lang="en-gb"/>
              <a:t>What to do in case of injury?</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rtlCol="0"/>
          <a:lstStyle/>
          <a:p>
            <a:pPr rtl="0"/>
            <a:fld id="{7870704B-CE94-48CC-AF30-84932A1262A7}" type="slidenum">
              <a:rPr lang="en-GB" smtClean="0"/>
              <a:pPr rtl="0"/>
              <a:t>32</a:t>
            </a:fld>
            <a:endParaRPr lang="en-GB"/>
          </a:p>
        </p:txBody>
      </p:sp>
      <p:sp>
        <p:nvSpPr>
          <p:cNvPr id="16" name="TextBox 15">
            <a:extLst>
              <a:ext uri="{FF2B5EF4-FFF2-40B4-BE49-F238E27FC236}">
                <a16:creationId xmlns:a16="http://schemas.microsoft.com/office/drawing/2014/main" id="{30819613-CE74-49B6-0807-44FDBB81D466}"/>
              </a:ext>
            </a:extLst>
          </p:cNvPr>
          <p:cNvSpPr txBox="1"/>
          <p:nvPr/>
        </p:nvSpPr>
        <p:spPr>
          <a:xfrm>
            <a:off x="2847530" y="2630488"/>
            <a:ext cx="4352925" cy="1825765"/>
          </a:xfrm>
          <a:prstGeom prst="rect">
            <a:avLst/>
          </a:prstGeom>
          <a:noFill/>
        </p:spPr>
        <p:txBody>
          <a:bodyPr wrap="square" lIns="72000" rIns="72000" rtlCol="0" anchor="ctr">
            <a:noAutofit/>
          </a:bodyPr>
          <a:lstStyle/>
          <a:p>
            <a:pPr marL="284400" lvl="1" indent="-284400" rtl="0" hangingPunct="0">
              <a:buBlip>
                <a:blip r:embed="rId7"/>
              </a:buBlip>
              <a:tabLst>
                <a:tab pos="457200" algn="l"/>
                <a:tab pos="1586230" algn="l"/>
              </a:tabLst>
            </a:pPr>
            <a:r>
              <a:rPr lang="en-gb" sz="1400" dirty="0">
                <a:effectLst/>
                <a:ea typeface="Times New Roman" panose="02020603050405020304" pitchFamily="18" charset="0"/>
              </a:rPr>
              <a:t>Help/allow the victim to get into the most comfortable body position.</a:t>
            </a:r>
          </a:p>
          <a:p>
            <a:pPr marL="284400" lvl="1" indent="-284400" rtl="0" hangingPunct="0">
              <a:buBlip>
                <a:blip r:embed="rId7"/>
              </a:buBlip>
              <a:tabLst>
                <a:tab pos="457200" algn="l"/>
                <a:tab pos="1586230" algn="l"/>
              </a:tabLst>
            </a:pPr>
            <a:r>
              <a:rPr lang="en-gb" sz="1400" dirty="0">
                <a:effectLst/>
                <a:ea typeface="Times New Roman" panose="02020603050405020304" pitchFamily="18" charset="0"/>
              </a:rPr>
              <a:t>Call an ambulance.</a:t>
            </a:r>
          </a:p>
          <a:p>
            <a:pPr marL="284400" lvl="1" indent="-284400" rtl="0" hangingPunct="0">
              <a:buBlip>
                <a:blip r:embed="rId7"/>
              </a:buBlip>
              <a:tabLst>
                <a:tab pos="457200" algn="l"/>
                <a:tab pos="1586230" algn="l"/>
              </a:tabLst>
            </a:pPr>
            <a:r>
              <a:rPr lang="en-gb" sz="1400" dirty="0">
                <a:effectLst/>
                <a:ea typeface="Times New Roman" panose="02020603050405020304" pitchFamily="18" charset="0"/>
              </a:rPr>
              <a:t>If the victim vomits, turn </a:t>
            </a:r>
            <a:r>
              <a:rPr lang="lv-LV" sz="1400" dirty="0" err="1">
                <a:effectLst/>
                <a:ea typeface="Times New Roman" panose="02020603050405020304" pitchFamily="18" charset="0"/>
              </a:rPr>
              <a:t>them</a:t>
            </a:r>
            <a:r>
              <a:rPr lang="lv-LV" sz="1400" dirty="0">
                <a:effectLst/>
                <a:ea typeface="Times New Roman" panose="02020603050405020304" pitchFamily="18" charset="0"/>
              </a:rPr>
              <a:t> </a:t>
            </a:r>
            <a:r>
              <a:rPr lang="lv-LV" sz="1400" dirty="0" err="1">
                <a:effectLst/>
                <a:ea typeface="Times New Roman" panose="02020603050405020304" pitchFamily="18" charset="0"/>
              </a:rPr>
              <a:t>on</a:t>
            </a:r>
            <a:r>
              <a:rPr lang="lv-LV" sz="1400" dirty="0">
                <a:effectLst/>
                <a:ea typeface="Times New Roman" panose="02020603050405020304" pitchFamily="18" charset="0"/>
              </a:rPr>
              <a:t> </a:t>
            </a:r>
            <a:r>
              <a:rPr lang="lv-LV" sz="1400" dirty="0" err="1">
                <a:effectLst/>
                <a:ea typeface="Times New Roman" panose="02020603050405020304" pitchFamily="18" charset="0"/>
              </a:rPr>
              <a:t>their</a:t>
            </a:r>
            <a:r>
              <a:rPr lang="lv-LV" sz="1400" dirty="0">
                <a:effectLst/>
                <a:ea typeface="Times New Roman" panose="02020603050405020304" pitchFamily="18" charset="0"/>
              </a:rPr>
              <a:t> </a:t>
            </a:r>
            <a:r>
              <a:rPr lang="en-gb" sz="1400" dirty="0">
                <a:effectLst/>
                <a:ea typeface="Times New Roman" panose="02020603050405020304" pitchFamily="18" charset="0"/>
              </a:rPr>
              <a:t>side.</a:t>
            </a:r>
          </a:p>
          <a:p>
            <a:pPr marL="284400" lvl="1" indent="-284400" rtl="0" hangingPunct="0">
              <a:buBlip>
                <a:blip r:embed="rId7"/>
              </a:buBlip>
              <a:tabLst>
                <a:tab pos="457200" algn="l"/>
                <a:tab pos="1586230" algn="l"/>
              </a:tabLst>
            </a:pPr>
            <a:r>
              <a:rPr lang="en-gb" sz="1400" dirty="0">
                <a:effectLst/>
                <a:ea typeface="Times New Roman" panose="02020603050405020304" pitchFamily="18" charset="0"/>
              </a:rPr>
              <a:t>If there is a wound, cover with a gauze pad.</a:t>
            </a:r>
          </a:p>
          <a:p>
            <a:pPr marL="284400" lvl="1" indent="-284400" rtl="0" hangingPunct="0">
              <a:buBlip>
                <a:blip r:embed="rId7"/>
              </a:buBlip>
              <a:tabLst>
                <a:tab pos="457200" algn="l"/>
                <a:tab pos="1586230" algn="l"/>
              </a:tabLst>
            </a:pPr>
            <a:r>
              <a:rPr lang="en-gb" sz="1400" dirty="0">
                <a:effectLst/>
                <a:ea typeface="Times New Roman" panose="02020603050405020304" pitchFamily="18" charset="0"/>
              </a:rPr>
              <a:t>Care for, reassure the victim.</a:t>
            </a:r>
          </a:p>
          <a:p>
            <a:pPr marL="284400" lvl="1" indent="-284400" rtl="0" hangingPunct="0">
              <a:buBlip>
                <a:blip r:embed="rId7"/>
              </a:buBlip>
              <a:tabLst>
                <a:tab pos="457200" algn="l"/>
                <a:tab pos="1586230" algn="l"/>
              </a:tabLst>
            </a:pPr>
            <a:r>
              <a:rPr lang="en-gb" sz="1400" dirty="0">
                <a:effectLst/>
                <a:ea typeface="Times New Roman" panose="02020603050405020304" pitchFamily="18" charset="0"/>
              </a:rPr>
              <a:t>Take resuscitation measures if necessary.</a:t>
            </a:r>
          </a:p>
        </p:txBody>
      </p:sp>
      <p:sp>
        <p:nvSpPr>
          <p:cNvPr id="18" name="TextBox 17">
            <a:extLst>
              <a:ext uri="{FF2B5EF4-FFF2-40B4-BE49-F238E27FC236}">
                <a16:creationId xmlns:a16="http://schemas.microsoft.com/office/drawing/2014/main" id="{E1D4AC8F-0322-E8A8-E509-5AF71473A8F4}"/>
              </a:ext>
            </a:extLst>
          </p:cNvPr>
          <p:cNvSpPr txBox="1"/>
          <p:nvPr/>
        </p:nvSpPr>
        <p:spPr>
          <a:xfrm>
            <a:off x="7396160" y="2630488"/>
            <a:ext cx="4352925" cy="1825765"/>
          </a:xfrm>
          <a:prstGeom prst="rect">
            <a:avLst/>
          </a:prstGeom>
          <a:noFill/>
        </p:spPr>
        <p:txBody>
          <a:bodyPr wrap="square" lIns="72000" rIns="72000" rtlCol="0" anchor="ctr">
            <a:noAutofit/>
          </a:bodyPr>
          <a:lstStyle/>
          <a:p>
            <a:pPr marL="284400" lvl="0" indent="-284400" rtl="0" hangingPunct="0">
              <a:buSzPts val="1200"/>
              <a:buBlip>
                <a:blip r:embed="rId7"/>
              </a:buBlip>
            </a:pPr>
            <a:r>
              <a:rPr lang="en-gb" sz="1400">
                <a:effectLst/>
                <a:ea typeface="Calibri" panose="020F0502020204030204" pitchFamily="34" charset="0"/>
                <a:cs typeface="Times New Roman" panose="02020603050405020304" pitchFamily="18" charset="0"/>
              </a:rPr>
              <a:t>The most comfortable posture for the victim might be lying down.</a:t>
            </a:r>
          </a:p>
          <a:p>
            <a:pPr marL="284400" lvl="0" indent="-284400" rtl="0" hangingPunct="0">
              <a:buSzPts val="1200"/>
              <a:buBlip>
                <a:blip r:embed="rId7"/>
              </a:buBlip>
            </a:pPr>
            <a:r>
              <a:rPr lang="en-gb" sz="1400">
                <a:effectLst/>
                <a:ea typeface="Calibri" panose="020F0502020204030204" pitchFamily="34" charset="0"/>
                <a:cs typeface="Times New Roman" panose="02020603050405020304" pitchFamily="18" charset="0"/>
              </a:rPr>
              <a:t>Always call an ambulance, because even if things seem to be going well, the victim's condition can deteriorate significantly later. </a:t>
            </a:r>
          </a:p>
        </p:txBody>
      </p:sp>
      <p:sp>
        <p:nvSpPr>
          <p:cNvPr id="5" name="Rectangle 4">
            <a:extLst>
              <a:ext uri="{FF2B5EF4-FFF2-40B4-BE49-F238E27FC236}">
                <a16:creationId xmlns:a16="http://schemas.microsoft.com/office/drawing/2014/main" id="{83943DC5-755B-83CF-2267-D47114310827}"/>
              </a:ext>
            </a:extLst>
          </p:cNvPr>
          <p:cNvSpPr/>
          <p:nvPr/>
        </p:nvSpPr>
        <p:spPr>
          <a:xfrm>
            <a:off x="7396160" y="1830995"/>
            <a:ext cx="435292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bg1"/>
                </a:solidFill>
              </a:rPr>
              <a:t>Important!</a:t>
            </a:r>
          </a:p>
        </p:txBody>
      </p:sp>
      <p:sp>
        <p:nvSpPr>
          <p:cNvPr id="6" name="Content Placeholder 1">
            <a:extLst>
              <a:ext uri="{FF2B5EF4-FFF2-40B4-BE49-F238E27FC236}">
                <a16:creationId xmlns:a16="http://schemas.microsoft.com/office/drawing/2014/main" id="{055319BD-345C-14A4-0FFD-495D53480B46}"/>
              </a:ext>
            </a:extLst>
          </p:cNvPr>
          <p:cNvSpPr txBox="1">
            <a:spLocks/>
          </p:cNvSpPr>
          <p:nvPr/>
        </p:nvSpPr>
        <p:spPr>
          <a:xfrm>
            <a:off x="11173087" y="18309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7" name="Content Placeholder 1">
            <a:extLst>
              <a:ext uri="{FF2B5EF4-FFF2-40B4-BE49-F238E27FC236}">
                <a16:creationId xmlns:a16="http://schemas.microsoft.com/office/drawing/2014/main" id="{E4253512-3E4F-6500-EFE9-96171B9047A0}"/>
              </a:ext>
            </a:extLst>
          </p:cNvPr>
          <p:cNvSpPr txBox="1">
            <a:spLocks/>
          </p:cNvSpPr>
          <p:nvPr/>
        </p:nvSpPr>
        <p:spPr>
          <a:xfrm>
            <a:off x="11101699" y="18309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8" name="Google Shape;794;p79">
            <a:extLst>
              <a:ext uri="{FF2B5EF4-FFF2-40B4-BE49-F238E27FC236}">
                <a16:creationId xmlns:a16="http://schemas.microsoft.com/office/drawing/2014/main" id="{2561F30E-3361-A8CE-EEA2-061CBACD6E9E}"/>
              </a:ext>
            </a:extLst>
          </p:cNvPr>
          <p:cNvSpPr/>
          <p:nvPr/>
        </p:nvSpPr>
        <p:spPr>
          <a:xfrm>
            <a:off x="11281087" y="19389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0" name="Rectangle 9">
            <a:extLst>
              <a:ext uri="{FF2B5EF4-FFF2-40B4-BE49-F238E27FC236}">
                <a16:creationId xmlns:a16="http://schemas.microsoft.com/office/drawing/2014/main" id="{1CC3353C-42FA-10BE-ABF0-005A75FDF7CA}"/>
              </a:ext>
            </a:extLst>
          </p:cNvPr>
          <p:cNvSpPr/>
          <p:nvPr/>
        </p:nvSpPr>
        <p:spPr>
          <a:xfrm>
            <a:off x="2847530" y="1830995"/>
            <a:ext cx="435286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tx1"/>
                </a:solidFill>
              </a:rPr>
              <a:t>How to proceed?</a:t>
            </a:r>
          </a:p>
        </p:txBody>
      </p:sp>
      <p:sp>
        <p:nvSpPr>
          <p:cNvPr id="11" name="Content Placeholder 1">
            <a:extLst>
              <a:ext uri="{FF2B5EF4-FFF2-40B4-BE49-F238E27FC236}">
                <a16:creationId xmlns:a16="http://schemas.microsoft.com/office/drawing/2014/main" id="{4892A7B9-5704-F3C9-DB3D-C181CB3B4019}"/>
              </a:ext>
            </a:extLst>
          </p:cNvPr>
          <p:cNvSpPr txBox="1">
            <a:spLocks/>
          </p:cNvSpPr>
          <p:nvPr/>
        </p:nvSpPr>
        <p:spPr>
          <a:xfrm>
            <a:off x="6624391" y="183099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2" name="Content Placeholder 1">
            <a:extLst>
              <a:ext uri="{FF2B5EF4-FFF2-40B4-BE49-F238E27FC236}">
                <a16:creationId xmlns:a16="http://schemas.microsoft.com/office/drawing/2014/main" id="{22D1CF2B-C5CF-CFF2-97D0-1610F7F5D9A7}"/>
              </a:ext>
            </a:extLst>
          </p:cNvPr>
          <p:cNvSpPr txBox="1">
            <a:spLocks/>
          </p:cNvSpPr>
          <p:nvPr/>
        </p:nvSpPr>
        <p:spPr>
          <a:xfrm>
            <a:off x="6553003" y="183099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3" name="Google Shape;760;p79">
            <a:extLst>
              <a:ext uri="{FF2B5EF4-FFF2-40B4-BE49-F238E27FC236}">
                <a16:creationId xmlns:a16="http://schemas.microsoft.com/office/drawing/2014/main" id="{EE9C66FF-977E-2D46-F3DD-32321D3722EF}"/>
              </a:ext>
            </a:extLst>
          </p:cNvPr>
          <p:cNvSpPr/>
          <p:nvPr/>
        </p:nvSpPr>
        <p:spPr>
          <a:xfrm>
            <a:off x="6732391" y="1938995"/>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20" name="Google Shape;1736;p92">
            <a:extLst>
              <a:ext uri="{FF2B5EF4-FFF2-40B4-BE49-F238E27FC236}">
                <a16:creationId xmlns:a16="http://schemas.microsoft.com/office/drawing/2014/main" id="{EBC5E9B0-7CA9-6B3F-FE3E-C10FD733E24C}"/>
              </a:ext>
            </a:extLst>
          </p:cNvPr>
          <p:cNvGrpSpPr/>
          <p:nvPr/>
        </p:nvGrpSpPr>
        <p:grpSpPr>
          <a:xfrm>
            <a:off x="2021278" y="3915708"/>
            <a:ext cx="360363" cy="360363"/>
            <a:chOff x="2003977" y="1464394"/>
            <a:chExt cx="459607" cy="459296"/>
          </a:xfrm>
          <a:solidFill>
            <a:schemeClr val="bg1"/>
          </a:solidFill>
        </p:grpSpPr>
        <p:sp>
          <p:nvSpPr>
            <p:cNvPr id="21" name="Google Shape;1737;p92">
              <a:extLst>
                <a:ext uri="{FF2B5EF4-FFF2-40B4-BE49-F238E27FC236}">
                  <a16:creationId xmlns:a16="http://schemas.microsoft.com/office/drawing/2014/main" id="{4E92F591-2159-3A2F-55D2-E780D989C687}"/>
                </a:ext>
              </a:extLst>
            </p:cNvPr>
            <p:cNvSpPr/>
            <p:nvPr/>
          </p:nvSpPr>
          <p:spPr>
            <a:xfrm>
              <a:off x="2003977" y="1464394"/>
              <a:ext cx="459607" cy="459296"/>
            </a:xfrm>
            <a:custGeom>
              <a:avLst/>
              <a:gdLst/>
              <a:ahLst/>
              <a:cxnLst/>
              <a:rect l="l" t="t" r="r" b="b"/>
              <a:pathLst>
                <a:path w="459607" h="459296" extrusionOk="0">
                  <a:moveTo>
                    <a:pt x="262200" y="83758"/>
                  </a:moveTo>
                  <a:cubicBezTo>
                    <a:pt x="335386" y="100726"/>
                    <a:pt x="357951" y="172396"/>
                    <a:pt x="381538" y="248116"/>
                  </a:cubicBezTo>
                  <a:cubicBezTo>
                    <a:pt x="383667" y="255133"/>
                    <a:pt x="385879" y="262141"/>
                    <a:pt x="388177" y="269135"/>
                  </a:cubicBezTo>
                  <a:lnTo>
                    <a:pt x="347100" y="269135"/>
                  </a:lnTo>
                  <a:lnTo>
                    <a:pt x="347100" y="323677"/>
                  </a:lnTo>
                  <a:cubicBezTo>
                    <a:pt x="347100" y="343053"/>
                    <a:pt x="331380" y="358762"/>
                    <a:pt x="311991" y="358762"/>
                  </a:cubicBezTo>
                  <a:lnTo>
                    <a:pt x="272477" y="358762"/>
                  </a:lnTo>
                  <a:lnTo>
                    <a:pt x="272477" y="459297"/>
                  </a:lnTo>
                  <a:lnTo>
                    <a:pt x="459608" y="459297"/>
                  </a:lnTo>
                  <a:lnTo>
                    <a:pt x="459608" y="0"/>
                  </a:lnTo>
                  <a:lnTo>
                    <a:pt x="0" y="0"/>
                  </a:lnTo>
                  <a:lnTo>
                    <a:pt x="0" y="459297"/>
                  </a:lnTo>
                  <a:lnTo>
                    <a:pt x="142766" y="459297"/>
                  </a:lnTo>
                  <a:lnTo>
                    <a:pt x="142766" y="327728"/>
                  </a:lnTo>
                  <a:lnTo>
                    <a:pt x="138744" y="324825"/>
                  </a:lnTo>
                  <a:cubicBezTo>
                    <a:pt x="103862" y="299251"/>
                    <a:pt x="83195" y="258654"/>
                    <a:pt x="83049" y="215423"/>
                  </a:cubicBezTo>
                  <a:cubicBezTo>
                    <a:pt x="83049" y="152333"/>
                    <a:pt x="132648" y="96006"/>
                    <a:pt x="197951" y="82737"/>
                  </a:cubicBezTo>
                  <a:cubicBezTo>
                    <a:pt x="219220" y="78449"/>
                    <a:pt x="241160" y="78764"/>
                    <a:pt x="262296" y="83662"/>
                  </a:cubicBezTo>
                  <a:close/>
                  <a:moveTo>
                    <a:pt x="231049" y="59964"/>
                  </a:moveTo>
                  <a:cubicBezTo>
                    <a:pt x="219926" y="60113"/>
                    <a:pt x="208831" y="61094"/>
                    <a:pt x="197855" y="62898"/>
                  </a:cubicBezTo>
                  <a:cubicBezTo>
                    <a:pt x="121860" y="76486"/>
                    <a:pt x="63515" y="141967"/>
                    <a:pt x="63515" y="215519"/>
                  </a:cubicBezTo>
                  <a:cubicBezTo>
                    <a:pt x="63707" y="263196"/>
                    <a:pt x="85733" y="308160"/>
                    <a:pt x="123296" y="337551"/>
                  </a:cubicBezTo>
                  <a:lnTo>
                    <a:pt x="123296" y="439617"/>
                  </a:lnTo>
                  <a:lnTo>
                    <a:pt x="19597" y="439617"/>
                  </a:lnTo>
                  <a:lnTo>
                    <a:pt x="19597" y="19329"/>
                  </a:lnTo>
                  <a:lnTo>
                    <a:pt x="440074" y="19329"/>
                  </a:lnTo>
                  <a:lnTo>
                    <a:pt x="440074" y="439490"/>
                  </a:lnTo>
                  <a:lnTo>
                    <a:pt x="292074" y="439490"/>
                  </a:lnTo>
                  <a:lnTo>
                    <a:pt x="292074" y="378091"/>
                  </a:lnTo>
                  <a:lnTo>
                    <a:pt x="312150" y="378091"/>
                  </a:lnTo>
                  <a:cubicBezTo>
                    <a:pt x="342267" y="378072"/>
                    <a:pt x="366678" y="353678"/>
                    <a:pt x="366697" y="323581"/>
                  </a:cubicBezTo>
                  <a:lnTo>
                    <a:pt x="366697" y="288496"/>
                  </a:lnTo>
                  <a:lnTo>
                    <a:pt x="391401" y="288496"/>
                  </a:lnTo>
                  <a:cubicBezTo>
                    <a:pt x="400918" y="288486"/>
                    <a:pt x="408630" y="280768"/>
                    <a:pt x="408620" y="271256"/>
                  </a:cubicBezTo>
                  <a:cubicBezTo>
                    <a:pt x="408617" y="269451"/>
                    <a:pt x="408333" y="267662"/>
                    <a:pt x="407774" y="265946"/>
                  </a:cubicBezTo>
                  <a:cubicBezTo>
                    <a:pt x="405221" y="258004"/>
                    <a:pt x="402731" y="249998"/>
                    <a:pt x="400210" y="242056"/>
                  </a:cubicBezTo>
                  <a:cubicBezTo>
                    <a:pt x="375410" y="162795"/>
                    <a:pt x="349812" y="80919"/>
                    <a:pt x="262200" y="63440"/>
                  </a:cubicBezTo>
                  <a:cubicBezTo>
                    <a:pt x="251977" y="61121"/>
                    <a:pt x="241530" y="59924"/>
                    <a:pt x="231049" y="59868"/>
                  </a:cubicBez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2" name="Google Shape;1738;p92">
              <a:extLst>
                <a:ext uri="{FF2B5EF4-FFF2-40B4-BE49-F238E27FC236}">
                  <a16:creationId xmlns:a16="http://schemas.microsoft.com/office/drawing/2014/main" id="{1748EE48-7E9C-A35E-C455-9FA5460BFED0}"/>
                </a:ext>
              </a:extLst>
            </p:cNvPr>
            <p:cNvSpPr/>
            <p:nvPr/>
          </p:nvSpPr>
          <p:spPr>
            <a:xfrm>
              <a:off x="2170010" y="1572137"/>
              <a:ext cx="135584" cy="228978"/>
            </a:xfrm>
            <a:custGeom>
              <a:avLst/>
              <a:gdLst/>
              <a:ahLst/>
              <a:cxnLst/>
              <a:rect l="l" t="t" r="r" b="b"/>
              <a:pathLst>
                <a:path w="135584" h="228978" extrusionOk="0">
                  <a:moveTo>
                    <a:pt x="3032" y="228979"/>
                  </a:moveTo>
                  <a:lnTo>
                    <a:pt x="36737" y="126402"/>
                  </a:lnTo>
                  <a:lnTo>
                    <a:pt x="0" y="126402"/>
                  </a:lnTo>
                  <a:lnTo>
                    <a:pt x="43439" y="0"/>
                  </a:lnTo>
                  <a:lnTo>
                    <a:pt x="109157" y="0"/>
                  </a:lnTo>
                  <a:lnTo>
                    <a:pt x="80878" y="76964"/>
                  </a:lnTo>
                  <a:lnTo>
                    <a:pt x="135584" y="76964"/>
                  </a:lnTo>
                  <a:close/>
                  <a:moveTo>
                    <a:pt x="27481" y="106787"/>
                  </a:moveTo>
                  <a:lnTo>
                    <a:pt x="63866" y="106787"/>
                  </a:lnTo>
                  <a:lnTo>
                    <a:pt x="51993" y="142860"/>
                  </a:lnTo>
                  <a:lnTo>
                    <a:pt x="92304" y="96580"/>
                  </a:lnTo>
                  <a:lnTo>
                    <a:pt x="52599" y="96580"/>
                  </a:lnTo>
                  <a:lnTo>
                    <a:pt x="80878" y="19616"/>
                  </a:lnTo>
                  <a:lnTo>
                    <a:pt x="57323" y="19616"/>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32" name="Rectangle 31">
            <a:extLst>
              <a:ext uri="{FF2B5EF4-FFF2-40B4-BE49-F238E27FC236}">
                <a16:creationId xmlns:a16="http://schemas.microsoft.com/office/drawing/2014/main" id="{6741534F-AD2B-D1F2-AC91-19476BE24A77}"/>
              </a:ext>
            </a:extLst>
          </p:cNvPr>
          <p:cNvSpPr/>
          <p:nvPr/>
        </p:nvSpPr>
        <p:spPr>
          <a:xfrm>
            <a:off x="15241" y="4837952"/>
            <a:ext cx="12192000" cy="2009553"/>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 name="Rectangle 1">
            <a:extLst>
              <a:ext uri="{FF2B5EF4-FFF2-40B4-BE49-F238E27FC236}">
                <a16:creationId xmlns:a16="http://schemas.microsoft.com/office/drawing/2014/main" id="{CFDF6535-C156-7ADE-BFD5-5D34028DCE11}"/>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23" name="Group 22">
            <a:extLst>
              <a:ext uri="{FF2B5EF4-FFF2-40B4-BE49-F238E27FC236}">
                <a16:creationId xmlns:a16="http://schemas.microsoft.com/office/drawing/2014/main" id="{096455D1-C7FC-68A6-50AB-47A060BA669E}"/>
              </a:ext>
            </a:extLst>
          </p:cNvPr>
          <p:cNvGrpSpPr/>
          <p:nvPr/>
        </p:nvGrpSpPr>
        <p:grpSpPr>
          <a:xfrm>
            <a:off x="9842140" y="372216"/>
            <a:ext cx="1667215" cy="217488"/>
            <a:chOff x="9842140" y="372216"/>
            <a:chExt cx="1667215" cy="217488"/>
          </a:xfrm>
        </p:grpSpPr>
        <p:sp>
          <p:nvSpPr>
            <p:cNvPr id="31" name="TextBox 30">
              <a:extLst>
                <a:ext uri="{FF2B5EF4-FFF2-40B4-BE49-F238E27FC236}">
                  <a16:creationId xmlns:a16="http://schemas.microsoft.com/office/drawing/2014/main" id="{C8263305-B919-3DC6-F882-1E737C5B2AED}"/>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rtl="0">
                <a:lnSpc>
                  <a:spcPct val="100000"/>
                </a:lnSpc>
                <a:spcAft>
                  <a:spcPts val="600"/>
                </a:spcAft>
                <a:buSzPct val="100000"/>
              </a:pPr>
              <a:r>
                <a:rPr lang="en-gb" sz="800">
                  <a:solidFill>
                    <a:schemeClr val="bg1"/>
                  </a:solidFill>
                </a:rPr>
                <a:t>Injuries</a:t>
              </a:r>
            </a:p>
          </p:txBody>
        </p:sp>
        <p:sp>
          <p:nvSpPr>
            <p:cNvPr id="33" name="Freeform 49">
              <a:extLst>
                <a:ext uri="{FF2B5EF4-FFF2-40B4-BE49-F238E27FC236}">
                  <a16:creationId xmlns:a16="http://schemas.microsoft.com/office/drawing/2014/main" id="{052A78D0-A332-7F92-B18D-368CC62F7024}"/>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p>
          </p:txBody>
        </p:sp>
      </p:grpSp>
      <p:grpSp>
        <p:nvGrpSpPr>
          <p:cNvPr id="30" name="Group 29">
            <a:extLst>
              <a:ext uri="{FF2B5EF4-FFF2-40B4-BE49-F238E27FC236}">
                <a16:creationId xmlns:a16="http://schemas.microsoft.com/office/drawing/2014/main" id="{E04BE93A-A62B-318B-CB18-2704A57A9BED}"/>
              </a:ext>
            </a:extLst>
          </p:cNvPr>
          <p:cNvGrpSpPr/>
          <p:nvPr/>
        </p:nvGrpSpPr>
        <p:grpSpPr>
          <a:xfrm>
            <a:off x="9122935" y="126781"/>
            <a:ext cx="2626153" cy="217488"/>
            <a:chOff x="9122935" y="126781"/>
            <a:chExt cx="2626153" cy="217488"/>
          </a:xfrm>
        </p:grpSpPr>
        <p:sp>
          <p:nvSpPr>
            <p:cNvPr id="34" name="Rectangle 33">
              <a:extLst>
                <a:ext uri="{FF2B5EF4-FFF2-40B4-BE49-F238E27FC236}">
                  <a16:creationId xmlns:a16="http://schemas.microsoft.com/office/drawing/2014/main" id="{9D77A928-D2F5-965A-FD2A-227FA38B2A07}"/>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000000"/>
                  </a:solidFill>
                  <a:effectLst/>
                  <a:uLnTx/>
                  <a:uFillTx/>
                  <a:ea typeface="Georgia"/>
                  <a:cs typeface="Georgia"/>
                  <a:sym typeface="Georgia"/>
                </a:rPr>
                <a:t>First aid measures</a:t>
              </a:r>
            </a:p>
          </p:txBody>
        </p:sp>
        <p:sp>
          <p:nvSpPr>
            <p:cNvPr id="35" name="Rectangle 34">
              <a:extLst>
                <a:ext uri="{FF2B5EF4-FFF2-40B4-BE49-F238E27FC236}">
                  <a16:creationId xmlns:a16="http://schemas.microsoft.com/office/drawing/2014/main" id="{4B64B090-1266-864E-76E9-FD4A9A5919DB}"/>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7" name="Rectangle 36">
              <a:extLst>
                <a:ext uri="{FF2B5EF4-FFF2-40B4-BE49-F238E27FC236}">
                  <a16:creationId xmlns:a16="http://schemas.microsoft.com/office/drawing/2014/main" id="{03ABC941-F115-184E-FF84-D19F0E5859F8}"/>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9" name="Rectangle 38">
              <a:extLst>
                <a:ext uri="{FF2B5EF4-FFF2-40B4-BE49-F238E27FC236}">
                  <a16:creationId xmlns:a16="http://schemas.microsoft.com/office/drawing/2014/main" id="{465C949B-20EE-4625-D64A-C83F8F2CD0A1}"/>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40" name="Rectangle 39">
              <a:extLst>
                <a:ext uri="{FF2B5EF4-FFF2-40B4-BE49-F238E27FC236}">
                  <a16:creationId xmlns:a16="http://schemas.microsoft.com/office/drawing/2014/main" id="{92F5BE1F-C615-E500-B43F-A8B038A2EB7E}"/>
                </a:ext>
              </a:extLst>
            </p:cNvPr>
            <p:cNvSpPr/>
            <p:nvPr/>
          </p:nvSpPr>
          <p:spPr>
            <a:xfrm>
              <a:off x="9842140"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7</a:t>
              </a:r>
              <a:r>
                <a:rPr lang="en-gb" sz="800" b="1" i="0" u="none" strike="noStrike" kern="0" cap="none" spc="0" normalizeH="0" noProof="0">
                  <a:ln>
                    <a:noFill/>
                  </a:ln>
                  <a:effectLst/>
                  <a:uLnTx/>
                  <a:uFillTx/>
                  <a:ea typeface="Georgia"/>
                  <a:cs typeface="Georgia"/>
                  <a:sym typeface="Georgia"/>
                </a:rPr>
                <a:t>.4</a:t>
              </a:r>
              <a:endParaRPr kumimoji="0" lang="lv-LV" sz="800" b="1" i="0" u="none" strike="noStrike" kern="0" cap="none" spc="0" normalizeH="0" baseline="0" noProof="0" dirty="0">
                <a:ln>
                  <a:noFill/>
                </a:ln>
                <a:effectLst/>
                <a:uLnTx/>
                <a:uFillTx/>
                <a:ea typeface="Georgia"/>
                <a:cs typeface="Georgia"/>
                <a:sym typeface="Georgia"/>
              </a:endParaRPr>
            </a:p>
          </p:txBody>
        </p:sp>
        <p:sp>
          <p:nvSpPr>
            <p:cNvPr id="41" name="Rectangle 40">
              <a:extLst>
                <a:ext uri="{FF2B5EF4-FFF2-40B4-BE49-F238E27FC236}">
                  <a16:creationId xmlns:a16="http://schemas.microsoft.com/office/drawing/2014/main" id="{627BD7FD-87D7-5EFA-E978-6B2B92D650DB}"/>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28032390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2A03EDD-F030-291B-BE81-BF9DE321CA50}"/>
              </a:ext>
            </a:extLst>
          </p:cNvPr>
          <p:cNvGraphicFramePr>
            <a:graphicFrameLocks noChangeAspect="1"/>
          </p:cNvGraphicFramePr>
          <p:nvPr>
            <p:custDataLst>
              <p:tags r:id="rId1"/>
            </p:custDataLst>
            <p:extLst>
              <p:ext uri="{D42A27DB-BD31-4B8C-83A1-F6EECF244321}">
                <p14:modId xmlns:p14="http://schemas.microsoft.com/office/powerpoint/2010/main" val="1515605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think-cell data - do not delete" hidden="1">
                        <a:extLst>
                          <a:ext uri="{FF2B5EF4-FFF2-40B4-BE49-F238E27FC236}">
                            <a16:creationId xmlns:a16="http://schemas.microsoft.com/office/drawing/2014/main" id="{32A03EDD-F030-291B-BE81-BF9DE321CA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0" name="Picture 29">
            <a:extLst>
              <a:ext uri="{FF2B5EF4-FFF2-40B4-BE49-F238E27FC236}">
                <a16:creationId xmlns:a16="http://schemas.microsoft.com/office/drawing/2014/main" id="{AB4C9FDB-076F-0336-F777-BCEDB4421830}"/>
              </a:ext>
            </a:extLst>
          </p:cNvPr>
          <p:cNvPicPr>
            <a:picLocks noChangeAspect="1"/>
          </p:cNvPicPr>
          <p:nvPr/>
        </p:nvPicPr>
        <p:blipFill rotWithShape="1">
          <a:blip r:embed="rId6"/>
          <a:srcRect l="1" t="57154" r="1" b="11872"/>
          <a:stretch/>
        </p:blipFill>
        <p:spPr>
          <a:xfrm>
            <a:off x="0" y="4340506"/>
            <a:ext cx="12192000" cy="2517494"/>
          </a:xfrm>
          <a:prstGeom prst="rect">
            <a:avLst/>
          </a:prstGeom>
        </p:spPr>
      </p:pic>
      <p:sp>
        <p:nvSpPr>
          <p:cNvPr id="14" name="Rectangle 13">
            <a:extLst>
              <a:ext uri="{FF2B5EF4-FFF2-40B4-BE49-F238E27FC236}">
                <a16:creationId xmlns:a16="http://schemas.microsoft.com/office/drawing/2014/main" id="{A8A8DD37-9B73-46FB-C75B-2CEFA6483C22}"/>
              </a:ext>
            </a:extLst>
          </p:cNvPr>
          <p:cNvSpPr/>
          <p:nvPr/>
        </p:nvSpPr>
        <p:spPr>
          <a:xfrm>
            <a:off x="0" y="4340225"/>
            <a:ext cx="12192000" cy="2517775"/>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6" name="Rectangle 15">
            <a:extLst>
              <a:ext uri="{FF2B5EF4-FFF2-40B4-BE49-F238E27FC236}">
                <a16:creationId xmlns:a16="http://schemas.microsoft.com/office/drawing/2014/main" id="{25A25F16-3DF9-5BEF-8F70-42FAB50A6BCE}"/>
              </a:ext>
            </a:extLst>
          </p:cNvPr>
          <p:cNvSpPr/>
          <p:nvPr/>
        </p:nvSpPr>
        <p:spPr>
          <a:xfrm>
            <a:off x="7619998" y="2398554"/>
            <a:ext cx="4129089" cy="158313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rtl="0">
              <a:spcAft>
                <a:spcPts val="600"/>
              </a:spcAft>
              <a:buBlip>
                <a:blip r:embed="rId7"/>
              </a:buBlip>
            </a:pPr>
            <a:r>
              <a:rPr lang="en-gb" sz="1400">
                <a:solidFill>
                  <a:schemeClr val="tx1"/>
                </a:solidFill>
              </a:rPr>
              <a:t>In any road accident, assume that the victim may have a spinal injury.</a:t>
            </a:r>
          </a:p>
          <a:p>
            <a:pPr marL="285750" indent="-285750" rtl="0">
              <a:spcAft>
                <a:spcPts val="600"/>
              </a:spcAft>
              <a:buBlip>
                <a:blip r:embed="rId7"/>
              </a:buBlip>
            </a:pPr>
            <a:r>
              <a:rPr lang="en-gb" sz="1400">
                <a:solidFill>
                  <a:schemeClr val="tx1"/>
                </a:solidFill>
              </a:rPr>
              <a:t>Watch out for passing vehicles!</a:t>
            </a: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7689033" cy="1387274"/>
          </a:xfrm>
        </p:spPr>
        <p:txBody>
          <a:bodyPr vert="horz" rtlCol="0"/>
          <a:lstStyle/>
          <a:p>
            <a:pPr rtl="0"/>
            <a:r>
              <a:rPr lang="en-gb" dirty="0"/>
              <a:t>How to help a victim in a traffic</a:t>
            </a:r>
            <a:r>
              <a:rPr lang="lv-LV" dirty="0"/>
              <a:t> </a:t>
            </a:r>
            <a:r>
              <a:rPr lang="en-gb" dirty="0"/>
              <a:t>accident?</a:t>
            </a:r>
            <a:endParaRPr lang="en-GB" dirty="0"/>
          </a:p>
        </p:txBody>
      </p:sp>
      <p:sp>
        <p:nvSpPr>
          <p:cNvPr id="11" name="TextBox 10">
            <a:extLst>
              <a:ext uri="{FF2B5EF4-FFF2-40B4-BE49-F238E27FC236}">
                <a16:creationId xmlns:a16="http://schemas.microsoft.com/office/drawing/2014/main" id="{ECEF24F5-E26D-2531-E4A1-337E326AC9CB}"/>
              </a:ext>
            </a:extLst>
          </p:cNvPr>
          <p:cNvSpPr txBox="1"/>
          <p:nvPr/>
        </p:nvSpPr>
        <p:spPr>
          <a:xfrm>
            <a:off x="442913" y="2398555"/>
            <a:ext cx="6734171" cy="1583136"/>
          </a:xfrm>
          <a:prstGeom prst="rect">
            <a:avLst/>
          </a:prstGeom>
          <a:solidFill>
            <a:schemeClr val="bg1">
              <a:lumMod val="95000"/>
            </a:schemeClr>
          </a:solidFill>
        </p:spPr>
        <p:txBody>
          <a:bodyPr wrap="square" lIns="72000" tIns="72000" rIns="72000" bIns="72000" rtlCol="0" anchor="t">
            <a:noAutofit/>
          </a:bodyPr>
          <a:lstStyle/>
          <a:p>
            <a:pPr marL="284400" lvl="1" indent="-284400" rtl="0" hangingPunct="0">
              <a:spcAft>
                <a:spcPts val="600"/>
              </a:spcAft>
              <a:buBlip>
                <a:blip r:embed="rId7"/>
              </a:buBlip>
              <a:tabLst>
                <a:tab pos="457200" algn="l"/>
                <a:tab pos="1586230" algn="l"/>
              </a:tabLst>
            </a:pPr>
            <a:r>
              <a:rPr lang="en-gb" sz="1400">
                <a:effectLst/>
                <a:ea typeface="Times New Roman" panose="02020603050405020304" pitchFamily="18" charset="0"/>
              </a:rPr>
              <a:t>Stop your car at a safe distance from the accident.</a:t>
            </a:r>
          </a:p>
          <a:p>
            <a:pPr marL="284400" lvl="1" indent="-284400" rtl="0" hangingPunct="0">
              <a:spcAft>
                <a:spcPts val="600"/>
              </a:spcAft>
              <a:buBlip>
                <a:blip r:embed="rId7"/>
              </a:buBlip>
              <a:tabLst>
                <a:tab pos="457200" algn="l"/>
                <a:tab pos="1586230" algn="l"/>
              </a:tabLst>
            </a:pPr>
            <a:r>
              <a:rPr lang="en-gb" sz="1400">
                <a:effectLst/>
                <a:ea typeface="Times New Roman" panose="02020603050405020304" pitchFamily="18" charset="0"/>
              </a:rPr>
              <a:t>Switch on your car's hazard lights.</a:t>
            </a:r>
          </a:p>
          <a:p>
            <a:pPr marL="284400" lvl="1" indent="-284400" rtl="0" hangingPunct="0">
              <a:spcAft>
                <a:spcPts val="600"/>
              </a:spcAft>
              <a:buBlip>
                <a:blip r:embed="rId7"/>
              </a:buBlip>
              <a:tabLst>
                <a:tab pos="457200" algn="l"/>
                <a:tab pos="1586230" algn="l"/>
              </a:tabLst>
            </a:pPr>
            <a:r>
              <a:rPr lang="en-gb" sz="1400">
                <a:effectLst/>
                <a:ea typeface="Times New Roman" panose="02020603050405020304" pitchFamily="18" charset="0"/>
              </a:rPr>
              <a:t>Wear a reflective vest, take a first aid kit, emergency sign.</a:t>
            </a:r>
          </a:p>
          <a:p>
            <a:pPr marL="284400" lvl="1" indent="-284400" rtl="0" hangingPunct="0">
              <a:spcAft>
                <a:spcPts val="600"/>
              </a:spcAft>
              <a:buBlip>
                <a:blip r:embed="rId7"/>
              </a:buBlip>
              <a:tabLst>
                <a:tab pos="457200" algn="l"/>
                <a:tab pos="1586230" algn="l"/>
              </a:tabLst>
            </a:pPr>
            <a:r>
              <a:rPr lang="en-gb" sz="1400">
                <a:effectLst/>
                <a:ea typeface="Times New Roman" panose="02020603050405020304" pitchFamily="18" charset="0"/>
              </a:rPr>
              <a:t>Place the emergency sign at the required distance from the accident scene.</a:t>
            </a:r>
          </a:p>
          <a:p>
            <a:pPr marL="284400" lvl="1" indent="-284400" rtl="0" hangingPunct="0">
              <a:spcAft>
                <a:spcPts val="600"/>
              </a:spcAft>
              <a:buBlip>
                <a:blip r:embed="rId7"/>
              </a:buBlip>
              <a:tabLst>
                <a:tab pos="457200" algn="l"/>
                <a:tab pos="1586230" algn="l"/>
              </a:tabLst>
            </a:pPr>
            <a:r>
              <a:rPr lang="en-gb" sz="1400">
                <a:effectLst/>
                <a:ea typeface="Times New Roman" panose="02020603050405020304" pitchFamily="18" charset="0"/>
              </a:rPr>
              <a:t>Go to the scene of the accident.</a:t>
            </a:r>
          </a:p>
        </p:txBody>
      </p:sp>
      <p:sp>
        <p:nvSpPr>
          <p:cNvPr id="5" name="Rectangle 4">
            <a:extLst>
              <a:ext uri="{FF2B5EF4-FFF2-40B4-BE49-F238E27FC236}">
                <a16:creationId xmlns:a16="http://schemas.microsoft.com/office/drawing/2014/main" id="{B84E4DE4-C567-9AA2-9EA6-FF63AC8010C1}"/>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tx1"/>
                </a:solidFill>
              </a:rPr>
              <a:t>How to proceed?</a:t>
            </a:r>
          </a:p>
        </p:txBody>
      </p:sp>
      <p:sp>
        <p:nvSpPr>
          <p:cNvPr id="6" name="Rectangle 5">
            <a:extLst>
              <a:ext uri="{FF2B5EF4-FFF2-40B4-BE49-F238E27FC236}">
                <a16:creationId xmlns:a16="http://schemas.microsoft.com/office/drawing/2014/main" id="{6BDFFD0F-D669-CBFC-F79D-1F7CE72AB8C2}"/>
              </a:ext>
            </a:extLst>
          </p:cNvPr>
          <p:cNvSpPr/>
          <p:nvPr/>
        </p:nvSpPr>
        <p:spPr>
          <a:xfrm>
            <a:off x="7619998" y="1822554"/>
            <a:ext cx="4129089"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bg1"/>
                </a:solidFill>
              </a:rPr>
              <a:t>Important!</a:t>
            </a:r>
          </a:p>
        </p:txBody>
      </p:sp>
      <p:sp>
        <p:nvSpPr>
          <p:cNvPr id="7" name="Content Placeholder 1">
            <a:extLst>
              <a:ext uri="{FF2B5EF4-FFF2-40B4-BE49-F238E27FC236}">
                <a16:creationId xmlns:a16="http://schemas.microsoft.com/office/drawing/2014/main" id="{291128ED-10A5-5D71-7FD0-2940E91156C5}"/>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9" name="Content Placeholder 1">
            <a:extLst>
              <a:ext uri="{FF2B5EF4-FFF2-40B4-BE49-F238E27FC236}">
                <a16:creationId xmlns:a16="http://schemas.microsoft.com/office/drawing/2014/main" id="{40119071-6F0C-7DBF-8B52-8247B7B38480}"/>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0" name="Content Placeholder 1">
            <a:extLst>
              <a:ext uri="{FF2B5EF4-FFF2-40B4-BE49-F238E27FC236}">
                <a16:creationId xmlns:a16="http://schemas.microsoft.com/office/drawing/2014/main" id="{BC9E057D-3C62-CB02-6C02-90AAC7B6CD99}"/>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2" name="Content Placeholder 1">
            <a:extLst>
              <a:ext uri="{FF2B5EF4-FFF2-40B4-BE49-F238E27FC236}">
                <a16:creationId xmlns:a16="http://schemas.microsoft.com/office/drawing/2014/main" id="{5DEF950D-8557-A15F-4AC0-CC2EC189B5DF}"/>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7" name="Google Shape;760;p79">
            <a:extLst>
              <a:ext uri="{FF2B5EF4-FFF2-40B4-BE49-F238E27FC236}">
                <a16:creationId xmlns:a16="http://schemas.microsoft.com/office/drawing/2014/main" id="{9376B17C-E1F0-0C98-C153-DD16C3ED4496}"/>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4" name="Google Shape;794;p79">
            <a:extLst>
              <a:ext uri="{FF2B5EF4-FFF2-40B4-BE49-F238E27FC236}">
                <a16:creationId xmlns:a16="http://schemas.microsoft.com/office/drawing/2014/main" id="{3753E256-6408-1146-E160-33565302DAED}"/>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rtlCol="0"/>
          <a:lstStyle/>
          <a:p>
            <a:pPr rtl="0"/>
            <a:fld id="{7870704B-CE94-48CC-AF30-84932A1262A7}" type="slidenum">
              <a:rPr lang="en-GB" smtClean="0">
                <a:solidFill>
                  <a:schemeClr val="bg1"/>
                </a:solidFill>
              </a:rPr>
              <a:pPr rtl="0"/>
              <a:t>33</a:t>
            </a:fld>
            <a:endParaRPr lang="en-GB">
              <a:solidFill>
                <a:schemeClr val="bg1"/>
              </a:solidFill>
            </a:endParaRPr>
          </a:p>
        </p:txBody>
      </p:sp>
      <p:sp>
        <p:nvSpPr>
          <p:cNvPr id="2" name="Rectangle 1">
            <a:extLst>
              <a:ext uri="{FF2B5EF4-FFF2-40B4-BE49-F238E27FC236}">
                <a16:creationId xmlns:a16="http://schemas.microsoft.com/office/drawing/2014/main" id="{ED2943CD-16EE-91FE-30AA-1E91969505A6}"/>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25" name="Group 24">
            <a:extLst>
              <a:ext uri="{FF2B5EF4-FFF2-40B4-BE49-F238E27FC236}">
                <a16:creationId xmlns:a16="http://schemas.microsoft.com/office/drawing/2014/main" id="{5426D644-7CFD-72FF-3126-536E033DF25C}"/>
              </a:ext>
            </a:extLst>
          </p:cNvPr>
          <p:cNvGrpSpPr/>
          <p:nvPr/>
        </p:nvGrpSpPr>
        <p:grpSpPr>
          <a:xfrm>
            <a:off x="9842140" y="372216"/>
            <a:ext cx="1667215" cy="217488"/>
            <a:chOff x="9842140" y="372216"/>
            <a:chExt cx="1667215" cy="217488"/>
          </a:xfrm>
        </p:grpSpPr>
        <p:sp>
          <p:nvSpPr>
            <p:cNvPr id="26" name="TextBox 25">
              <a:extLst>
                <a:ext uri="{FF2B5EF4-FFF2-40B4-BE49-F238E27FC236}">
                  <a16:creationId xmlns:a16="http://schemas.microsoft.com/office/drawing/2014/main" id="{93CC1AF4-5735-FAF5-28CE-FDE084412226}"/>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rtl="0">
                <a:lnSpc>
                  <a:spcPct val="100000"/>
                </a:lnSpc>
                <a:spcAft>
                  <a:spcPts val="600"/>
                </a:spcAft>
                <a:buSzPct val="100000"/>
              </a:pPr>
              <a:r>
                <a:rPr lang="en-gb" sz="800">
                  <a:solidFill>
                    <a:schemeClr val="bg1"/>
                  </a:solidFill>
                </a:rPr>
                <a:t>Road traffic accident</a:t>
              </a:r>
            </a:p>
          </p:txBody>
        </p:sp>
        <p:sp>
          <p:nvSpPr>
            <p:cNvPr id="27" name="Freeform 49">
              <a:extLst>
                <a:ext uri="{FF2B5EF4-FFF2-40B4-BE49-F238E27FC236}">
                  <a16:creationId xmlns:a16="http://schemas.microsoft.com/office/drawing/2014/main" id="{1CFCD6D0-F1EF-88E9-3615-98FAF8A8B978}"/>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p>
          </p:txBody>
        </p:sp>
      </p:grpSp>
      <p:grpSp>
        <p:nvGrpSpPr>
          <p:cNvPr id="23" name="Group 22">
            <a:extLst>
              <a:ext uri="{FF2B5EF4-FFF2-40B4-BE49-F238E27FC236}">
                <a16:creationId xmlns:a16="http://schemas.microsoft.com/office/drawing/2014/main" id="{6F4A342F-833F-BCE6-2FA2-C36CFED03E35}"/>
              </a:ext>
            </a:extLst>
          </p:cNvPr>
          <p:cNvGrpSpPr/>
          <p:nvPr/>
        </p:nvGrpSpPr>
        <p:grpSpPr>
          <a:xfrm>
            <a:off x="9122935" y="126781"/>
            <a:ext cx="2626153" cy="217488"/>
            <a:chOff x="9122935" y="126781"/>
            <a:chExt cx="2626153" cy="217488"/>
          </a:xfrm>
        </p:grpSpPr>
        <p:sp>
          <p:nvSpPr>
            <p:cNvPr id="28" name="Rectangle 27">
              <a:extLst>
                <a:ext uri="{FF2B5EF4-FFF2-40B4-BE49-F238E27FC236}">
                  <a16:creationId xmlns:a16="http://schemas.microsoft.com/office/drawing/2014/main" id="{A582EB2B-3A9D-10BC-C47B-27C4515FE590}"/>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000000"/>
                  </a:solidFill>
                  <a:effectLst/>
                  <a:uLnTx/>
                  <a:uFillTx/>
                  <a:ea typeface="Georgia"/>
                  <a:cs typeface="Georgia"/>
                  <a:sym typeface="Georgia"/>
                </a:rPr>
                <a:t>First aid measures</a:t>
              </a:r>
            </a:p>
          </p:txBody>
        </p:sp>
        <p:sp>
          <p:nvSpPr>
            <p:cNvPr id="29" name="Rectangle 28">
              <a:extLst>
                <a:ext uri="{FF2B5EF4-FFF2-40B4-BE49-F238E27FC236}">
                  <a16:creationId xmlns:a16="http://schemas.microsoft.com/office/drawing/2014/main" id="{7EE8127F-9B99-BFB3-312E-B358FAC3DAA8}"/>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D8045CAE-425A-DE7A-000A-ED6C47CD5D0E}"/>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2" name="Rectangle 31">
              <a:extLst>
                <a:ext uri="{FF2B5EF4-FFF2-40B4-BE49-F238E27FC236}">
                  <a16:creationId xmlns:a16="http://schemas.microsoft.com/office/drawing/2014/main" id="{D726BE2B-DEF3-01BE-7B5A-7286072FF61C}"/>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3" name="Rectangle 32">
              <a:extLst>
                <a:ext uri="{FF2B5EF4-FFF2-40B4-BE49-F238E27FC236}">
                  <a16:creationId xmlns:a16="http://schemas.microsoft.com/office/drawing/2014/main" id="{278C7383-9023-E105-A0F7-36688B28E577}"/>
                </a:ext>
              </a:extLst>
            </p:cNvPr>
            <p:cNvSpPr/>
            <p:nvPr/>
          </p:nvSpPr>
          <p:spPr>
            <a:xfrm>
              <a:off x="9842140"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7</a:t>
              </a:r>
              <a:r>
                <a:rPr lang="en-gb" sz="800" b="1" i="0" u="none" strike="noStrike" kern="0" cap="none" spc="0" normalizeH="0" noProof="0">
                  <a:ln>
                    <a:noFill/>
                  </a:ln>
                  <a:effectLst/>
                  <a:uLnTx/>
                  <a:uFillTx/>
                  <a:ea typeface="Georgia"/>
                  <a:cs typeface="Georgia"/>
                  <a:sym typeface="Georgia"/>
                </a:rPr>
                <a:t>.4</a:t>
              </a:r>
              <a:endParaRPr kumimoji="0" lang="lv-LV" sz="800" b="1" i="0" u="none" strike="noStrike" kern="0" cap="none" spc="0" normalizeH="0" baseline="0" noProof="0" dirty="0">
                <a:ln>
                  <a:noFill/>
                </a:ln>
                <a:effectLst/>
                <a:uLnTx/>
                <a:uFillTx/>
                <a:ea typeface="Georgia"/>
                <a:cs typeface="Georgia"/>
                <a:sym typeface="Georgia"/>
              </a:endParaRPr>
            </a:p>
          </p:txBody>
        </p:sp>
        <p:sp>
          <p:nvSpPr>
            <p:cNvPr id="34" name="Rectangle 33">
              <a:extLst>
                <a:ext uri="{FF2B5EF4-FFF2-40B4-BE49-F238E27FC236}">
                  <a16:creationId xmlns:a16="http://schemas.microsoft.com/office/drawing/2014/main" id="{5BCED1B1-0937-900F-EF67-BC0723945E82}"/>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12633757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2A03EDD-F030-291B-BE81-BF9DE321CA50}"/>
              </a:ext>
            </a:extLst>
          </p:cNvPr>
          <p:cNvGraphicFramePr>
            <a:graphicFrameLocks noChangeAspect="1"/>
          </p:cNvGraphicFramePr>
          <p:nvPr>
            <p:custDataLst>
              <p:tags r:id="rId1"/>
            </p:custDataLst>
            <p:extLst>
              <p:ext uri="{D42A27DB-BD31-4B8C-83A1-F6EECF244321}">
                <p14:modId xmlns:p14="http://schemas.microsoft.com/office/powerpoint/2010/main" val="4111684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think-cell data - do not delete" hidden="1">
                        <a:extLst>
                          <a:ext uri="{FF2B5EF4-FFF2-40B4-BE49-F238E27FC236}">
                            <a16:creationId xmlns:a16="http://schemas.microsoft.com/office/drawing/2014/main" id="{32A03EDD-F030-291B-BE81-BF9DE321CA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74DDB8D3-0D3E-4998-DA26-3080B29564A0}"/>
              </a:ext>
            </a:extLst>
          </p:cNvPr>
          <p:cNvPicPr>
            <a:picLocks noChangeAspect="1"/>
          </p:cNvPicPr>
          <p:nvPr/>
        </p:nvPicPr>
        <p:blipFill>
          <a:blip r:embed="rId6"/>
          <a:stretch>
            <a:fillRect/>
          </a:stretch>
        </p:blipFill>
        <p:spPr>
          <a:xfrm>
            <a:off x="7620000" y="0"/>
            <a:ext cx="4572000" cy="6858000"/>
          </a:xfrm>
          <a:prstGeom prst="rect">
            <a:avLst/>
          </a:prstGeom>
        </p:spPr>
      </p:pic>
      <p:sp>
        <p:nvSpPr>
          <p:cNvPr id="14" name="Rectangle 13">
            <a:extLst>
              <a:ext uri="{FF2B5EF4-FFF2-40B4-BE49-F238E27FC236}">
                <a16:creationId xmlns:a16="http://schemas.microsoft.com/office/drawing/2014/main" id="{A8A8DD37-9B73-46FB-C75B-2CEFA6483C22}"/>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9" name="Rectangle 18">
            <a:extLst>
              <a:ext uri="{FF2B5EF4-FFF2-40B4-BE49-F238E27FC236}">
                <a16:creationId xmlns:a16="http://schemas.microsoft.com/office/drawing/2014/main" id="{44282A17-2D47-C3D0-8E97-8DAEAA96CA33}"/>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6" name="Rectangle 15">
            <a:extLst>
              <a:ext uri="{FF2B5EF4-FFF2-40B4-BE49-F238E27FC236}">
                <a16:creationId xmlns:a16="http://schemas.microsoft.com/office/drawing/2014/main" id="{25A25F16-3DF9-5BEF-8F70-42FAB50A6BCE}"/>
              </a:ext>
            </a:extLst>
          </p:cNvPr>
          <p:cNvSpPr/>
          <p:nvPr/>
        </p:nvSpPr>
        <p:spPr>
          <a:xfrm>
            <a:off x="7619998" y="2398554"/>
            <a:ext cx="4129089" cy="287757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rtl="0">
              <a:spcAft>
                <a:spcPts val="600"/>
              </a:spcAft>
              <a:buBlip>
                <a:blip r:embed="rId7"/>
              </a:buBlip>
            </a:pPr>
            <a:r>
              <a:rPr lang="en-gb" sz="1400" dirty="0">
                <a:solidFill>
                  <a:schemeClr val="tx1"/>
                </a:solidFill>
              </a:rPr>
              <a:t>The </a:t>
            </a:r>
            <a:r>
              <a:rPr lang="en-gb" sz="1400" dirty="0" err="1">
                <a:solidFill>
                  <a:schemeClr val="tx1"/>
                </a:solidFill>
              </a:rPr>
              <a:t>Rautec</a:t>
            </a:r>
            <a:r>
              <a:rPr lang="en-gb" sz="1400" dirty="0">
                <a:solidFill>
                  <a:schemeClr val="tx1"/>
                </a:solidFill>
              </a:rPr>
              <a:t> technique is recommended for extricating the victim.</a:t>
            </a:r>
          </a:p>
          <a:p>
            <a:pPr marL="285750" indent="-285750" rtl="0">
              <a:spcAft>
                <a:spcPts val="600"/>
              </a:spcAft>
              <a:buBlip>
                <a:blip r:embed="rId7"/>
              </a:buBlip>
            </a:pPr>
            <a:r>
              <a:rPr lang="en-gb" sz="1400" dirty="0">
                <a:solidFill>
                  <a:schemeClr val="tx1"/>
                </a:solidFill>
              </a:rPr>
              <a:t>Airbags that </a:t>
            </a:r>
            <a:r>
              <a:rPr lang="lv-LV" sz="1400" dirty="0" err="1">
                <a:solidFill>
                  <a:schemeClr val="tx1"/>
                </a:solidFill>
              </a:rPr>
              <a:t>have</a:t>
            </a:r>
            <a:r>
              <a:rPr lang="lv-LV" sz="1400" dirty="0">
                <a:solidFill>
                  <a:schemeClr val="tx1"/>
                </a:solidFill>
              </a:rPr>
              <a:t> </a:t>
            </a:r>
            <a:r>
              <a:rPr lang="lv-LV" sz="1400" dirty="0" err="1">
                <a:solidFill>
                  <a:schemeClr val="tx1"/>
                </a:solidFill>
              </a:rPr>
              <a:t>deployed</a:t>
            </a:r>
            <a:r>
              <a:rPr lang="en-gb" sz="1400" dirty="0">
                <a:solidFill>
                  <a:schemeClr val="tx1"/>
                </a:solidFill>
              </a:rPr>
              <a:t> are not dangerous for you or the victim.</a:t>
            </a:r>
          </a:p>
          <a:p>
            <a:pPr marL="285750" indent="-285750" rtl="0">
              <a:spcAft>
                <a:spcPts val="600"/>
              </a:spcAft>
              <a:buBlip>
                <a:blip r:embed="rId7"/>
              </a:buBlip>
            </a:pPr>
            <a:r>
              <a:rPr lang="en-gb" sz="1400" dirty="0">
                <a:solidFill>
                  <a:schemeClr val="tx1"/>
                </a:solidFill>
              </a:rPr>
              <a:t>Beware of airbags </a:t>
            </a:r>
            <a:r>
              <a:rPr lang="lv-LV" sz="1400" dirty="0" err="1">
                <a:solidFill>
                  <a:schemeClr val="tx1"/>
                </a:solidFill>
              </a:rPr>
              <a:t>that</a:t>
            </a:r>
            <a:r>
              <a:rPr lang="lv-LV" sz="1400" dirty="0">
                <a:solidFill>
                  <a:schemeClr val="tx1"/>
                </a:solidFill>
              </a:rPr>
              <a:t> </a:t>
            </a:r>
            <a:r>
              <a:rPr lang="lv-LV" sz="1400" dirty="0" err="1">
                <a:solidFill>
                  <a:schemeClr val="tx1"/>
                </a:solidFill>
              </a:rPr>
              <a:t>have</a:t>
            </a:r>
            <a:r>
              <a:rPr lang="lv-LV" sz="1400" dirty="0">
                <a:solidFill>
                  <a:schemeClr val="tx1"/>
                </a:solidFill>
              </a:rPr>
              <a:t> </a:t>
            </a:r>
            <a:r>
              <a:rPr lang="lv-LV" sz="1400" dirty="0" err="1">
                <a:solidFill>
                  <a:schemeClr val="tx1"/>
                </a:solidFill>
              </a:rPr>
              <a:t>not</a:t>
            </a:r>
            <a:r>
              <a:rPr lang="lv-LV" sz="1400" dirty="0">
                <a:solidFill>
                  <a:schemeClr val="tx1"/>
                </a:solidFill>
              </a:rPr>
              <a:t> </a:t>
            </a:r>
            <a:r>
              <a:rPr lang="lv-LV" sz="1400" dirty="0" err="1">
                <a:solidFill>
                  <a:schemeClr val="tx1"/>
                </a:solidFill>
              </a:rPr>
              <a:t>been</a:t>
            </a:r>
            <a:r>
              <a:rPr lang="lv-LV" sz="1400" dirty="0">
                <a:solidFill>
                  <a:schemeClr val="tx1"/>
                </a:solidFill>
              </a:rPr>
              <a:t> </a:t>
            </a:r>
            <a:r>
              <a:rPr lang="lv-LV" sz="1400" dirty="0" err="1">
                <a:solidFill>
                  <a:schemeClr val="tx1"/>
                </a:solidFill>
              </a:rPr>
              <a:t>deployed</a:t>
            </a:r>
            <a:r>
              <a:rPr lang="lv-LV" sz="1400" dirty="0">
                <a:solidFill>
                  <a:schemeClr val="tx1"/>
                </a:solidFill>
              </a:rPr>
              <a:t>.</a:t>
            </a:r>
            <a:endParaRPr lang="en-gb" sz="1400" dirty="0">
              <a:solidFill>
                <a:schemeClr val="tx1"/>
              </a:solidFill>
            </a:endParaRP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7177085" cy="1387274"/>
          </a:xfrm>
        </p:spPr>
        <p:txBody>
          <a:bodyPr vert="horz" rtlCol="0"/>
          <a:lstStyle/>
          <a:p>
            <a:pPr rtl="0"/>
            <a:r>
              <a:rPr lang="en-gb" dirty="0"/>
              <a:t>How to help </a:t>
            </a:r>
            <a:r>
              <a:rPr lang="lv-LV" dirty="0"/>
              <a:t>a </a:t>
            </a:r>
            <a:r>
              <a:rPr lang="en-gb" dirty="0"/>
              <a:t>victim</a:t>
            </a:r>
            <a:r>
              <a:rPr lang="lv-LV" dirty="0"/>
              <a:t> </a:t>
            </a:r>
            <a:r>
              <a:rPr lang="lv-LV" dirty="0" err="1"/>
              <a:t>in</a:t>
            </a:r>
            <a:r>
              <a:rPr lang="lv-LV" dirty="0"/>
              <a:t> a car </a:t>
            </a:r>
            <a:r>
              <a:rPr lang="lv-LV" dirty="0" err="1"/>
              <a:t>accident</a:t>
            </a:r>
            <a:r>
              <a:rPr lang="en-gb" dirty="0"/>
              <a:t>?</a:t>
            </a:r>
            <a:endParaRPr lang="en-GB" dirty="0"/>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rtlCol="0"/>
          <a:lstStyle/>
          <a:p>
            <a:pPr rtl="0"/>
            <a:fld id="{7870704B-CE94-48CC-AF30-84932A1262A7}" type="slidenum">
              <a:rPr lang="en-GB" smtClean="0">
                <a:solidFill>
                  <a:schemeClr val="bg1"/>
                </a:solidFill>
              </a:rPr>
              <a:pPr rtl="0"/>
              <a:t>34</a:t>
            </a:fld>
            <a:endParaRPr lang="en-GB">
              <a:solidFill>
                <a:schemeClr val="bg1"/>
              </a:solidFill>
            </a:endParaRPr>
          </a:p>
        </p:txBody>
      </p:sp>
      <p:sp>
        <p:nvSpPr>
          <p:cNvPr id="11" name="TextBox 10">
            <a:extLst>
              <a:ext uri="{FF2B5EF4-FFF2-40B4-BE49-F238E27FC236}">
                <a16:creationId xmlns:a16="http://schemas.microsoft.com/office/drawing/2014/main" id="{ECEF24F5-E26D-2531-E4A1-337E326AC9CB}"/>
              </a:ext>
            </a:extLst>
          </p:cNvPr>
          <p:cNvSpPr txBox="1"/>
          <p:nvPr/>
        </p:nvSpPr>
        <p:spPr>
          <a:xfrm>
            <a:off x="442913" y="2398712"/>
            <a:ext cx="6734171" cy="2877450"/>
          </a:xfrm>
          <a:prstGeom prst="rect">
            <a:avLst/>
          </a:prstGeom>
          <a:solidFill>
            <a:schemeClr val="bg1">
              <a:lumMod val="95000"/>
            </a:schemeClr>
          </a:solidFill>
        </p:spPr>
        <p:txBody>
          <a:bodyPr wrap="square" lIns="72000" tIns="72000" rIns="72000" bIns="72000" rtlCol="0" anchor="t">
            <a:noAutofit/>
          </a:bodyPr>
          <a:lstStyle/>
          <a:p>
            <a:pPr marL="284400" lvl="1" indent="-284400" rtl="0" hangingPunct="0">
              <a:spcAft>
                <a:spcPts val="600"/>
              </a:spcAft>
              <a:buBlip>
                <a:blip r:embed="rId7"/>
              </a:buBlip>
              <a:tabLst>
                <a:tab pos="457200" algn="l"/>
                <a:tab pos="1586230" algn="l"/>
              </a:tabLst>
            </a:pPr>
            <a:r>
              <a:rPr lang="en-gb" sz="1400" dirty="0">
                <a:effectLst/>
                <a:ea typeface="Times New Roman" panose="02020603050405020304" pitchFamily="18" charset="0"/>
              </a:rPr>
              <a:t>If necessary, call an ambulance.</a:t>
            </a:r>
          </a:p>
          <a:p>
            <a:pPr marL="284400" lvl="1" indent="-284400" rtl="0" hangingPunct="0">
              <a:spcAft>
                <a:spcPts val="600"/>
              </a:spcAft>
              <a:buBlip>
                <a:blip r:embed="rId7"/>
              </a:buBlip>
              <a:tabLst>
                <a:tab pos="457200" algn="l"/>
                <a:tab pos="1586230" algn="l"/>
              </a:tabLst>
            </a:pPr>
            <a:r>
              <a:rPr lang="en-gb" sz="1400" dirty="0">
                <a:effectLst/>
                <a:ea typeface="Times New Roman" panose="02020603050405020304" pitchFamily="18" charset="0"/>
              </a:rPr>
              <a:t>Leave the victim in the car.</a:t>
            </a:r>
          </a:p>
          <a:p>
            <a:pPr marL="284400" lvl="1" indent="-284400" rtl="0" hangingPunct="0">
              <a:spcAft>
                <a:spcPts val="600"/>
              </a:spcAft>
              <a:buBlip>
                <a:blip r:embed="rId7"/>
              </a:buBlip>
              <a:tabLst>
                <a:tab pos="457200" algn="l"/>
                <a:tab pos="1586230" algn="l"/>
              </a:tabLst>
            </a:pPr>
            <a:r>
              <a:rPr lang="en-gb" sz="1400" dirty="0">
                <a:effectLst/>
                <a:ea typeface="Times New Roman" panose="02020603050405020304" pitchFamily="18" charset="0"/>
              </a:rPr>
              <a:t>Do not move the victim yourself! Do not let others move the victim!</a:t>
            </a:r>
          </a:p>
          <a:p>
            <a:pPr marL="284400" lvl="1" indent="-284400" rtl="0" hangingPunct="0">
              <a:spcAft>
                <a:spcPts val="600"/>
              </a:spcAft>
              <a:buBlip>
                <a:blip r:embed="rId7"/>
              </a:buBlip>
              <a:tabLst>
                <a:tab pos="457200" algn="l"/>
                <a:tab pos="1586230" algn="l"/>
              </a:tabLst>
            </a:pPr>
            <a:r>
              <a:rPr lang="en-gb" sz="1400" dirty="0">
                <a:effectLst/>
                <a:ea typeface="Times New Roman" panose="02020603050405020304" pitchFamily="18" charset="0"/>
              </a:rPr>
              <a:t>Give the help you need.</a:t>
            </a:r>
          </a:p>
          <a:p>
            <a:pPr marL="284400" lvl="1" indent="-284400" rtl="0" hangingPunct="0">
              <a:spcAft>
                <a:spcPts val="600"/>
              </a:spcAft>
              <a:buBlip>
                <a:blip r:embed="rId7"/>
              </a:buBlip>
              <a:tabLst>
                <a:tab pos="457200" algn="l"/>
                <a:tab pos="1586230" algn="l"/>
              </a:tabLst>
            </a:pPr>
            <a:r>
              <a:rPr lang="en-gb" sz="1400" dirty="0">
                <a:effectLst/>
                <a:ea typeface="Times New Roman" panose="02020603050405020304" pitchFamily="18" charset="0"/>
              </a:rPr>
              <a:t>Care for, reassure the victim.</a:t>
            </a:r>
          </a:p>
          <a:p>
            <a:pPr marL="284400" lvl="1" indent="-284400" rtl="0" hangingPunct="0">
              <a:spcAft>
                <a:spcPts val="600"/>
              </a:spcAft>
              <a:buBlip>
                <a:blip r:embed="rId7"/>
              </a:buBlip>
              <a:tabLst>
                <a:tab pos="457200" algn="l"/>
                <a:tab pos="1586230" algn="l"/>
              </a:tabLst>
            </a:pPr>
            <a:r>
              <a:rPr lang="en-gb" sz="1400" dirty="0">
                <a:effectLst/>
                <a:ea typeface="Times New Roman" panose="02020603050405020304" pitchFamily="18" charset="0"/>
              </a:rPr>
              <a:t>Gently pull the victim out of the car if:</a:t>
            </a:r>
          </a:p>
          <a:p>
            <a:pPr marL="468000" lvl="2" indent="-180000" rtl="0" hangingPunct="0">
              <a:spcAft>
                <a:spcPts val="600"/>
              </a:spcAft>
              <a:buFont typeface="Arial" panose="020B0604020202020204" pitchFamily="34" charset="0"/>
              <a:buChar char="•"/>
              <a:tabLst>
                <a:tab pos="457200" algn="l"/>
                <a:tab pos="1586230" algn="l"/>
              </a:tabLst>
            </a:pPr>
            <a:r>
              <a:rPr lang="en-gb" sz="1400" dirty="0">
                <a:effectLst/>
                <a:ea typeface="Times New Roman" panose="02020603050405020304" pitchFamily="18" charset="0"/>
              </a:rPr>
              <a:t>the victim's life is in danger;</a:t>
            </a:r>
          </a:p>
          <a:p>
            <a:pPr marL="468000" lvl="2" indent="-180000" rtl="0" hangingPunct="0">
              <a:spcAft>
                <a:spcPts val="600"/>
              </a:spcAft>
              <a:buFont typeface="Arial" panose="020B0604020202020204" pitchFamily="34" charset="0"/>
              <a:buChar char="•"/>
              <a:tabLst>
                <a:tab pos="457200" algn="l"/>
                <a:tab pos="1586230" algn="l"/>
              </a:tabLst>
            </a:pPr>
            <a:r>
              <a:rPr lang="lv-LV" sz="1400" dirty="0" err="1">
                <a:ea typeface="Times New Roman" panose="02020603050405020304" pitchFamily="18" charset="0"/>
              </a:rPr>
              <a:t>they</a:t>
            </a:r>
            <a:r>
              <a:rPr lang="lv-LV" sz="1400" dirty="0">
                <a:ea typeface="Times New Roman" panose="02020603050405020304" pitchFamily="18" charset="0"/>
              </a:rPr>
              <a:t> </a:t>
            </a:r>
            <a:r>
              <a:rPr lang="lv-LV" sz="1400" dirty="0" err="1">
                <a:ea typeface="Times New Roman" panose="02020603050405020304" pitchFamily="18" charset="0"/>
              </a:rPr>
              <a:t>are</a:t>
            </a:r>
            <a:r>
              <a:rPr lang="en-gb" sz="1400" dirty="0">
                <a:effectLst/>
                <a:ea typeface="Times New Roman" panose="02020603050405020304" pitchFamily="18" charset="0"/>
              </a:rPr>
              <a:t> </a:t>
            </a:r>
            <a:r>
              <a:rPr lang="en-gb" sz="1400" dirty="0" err="1">
                <a:effectLst/>
                <a:ea typeface="Times New Roman" panose="02020603050405020304" pitchFamily="18" charset="0"/>
              </a:rPr>
              <a:t>unconsciou</a:t>
            </a:r>
            <a:r>
              <a:rPr lang="lv-LV" sz="1400" dirty="0">
                <a:effectLst/>
                <a:ea typeface="Times New Roman" panose="02020603050405020304" pitchFamily="18" charset="0"/>
              </a:rPr>
              <a:t>s</a:t>
            </a:r>
            <a:r>
              <a:rPr lang="en-gb" sz="1400" dirty="0">
                <a:effectLst/>
                <a:ea typeface="Times New Roman" panose="02020603050405020304" pitchFamily="18" charset="0"/>
              </a:rPr>
              <a:t>.</a:t>
            </a:r>
          </a:p>
          <a:p>
            <a:pPr marL="284400" lvl="1" indent="-284400" rtl="0" hangingPunct="0">
              <a:spcAft>
                <a:spcPts val="600"/>
              </a:spcAft>
              <a:buBlip>
                <a:blip r:embed="rId7"/>
              </a:buBlip>
              <a:tabLst>
                <a:tab pos="457200" algn="l"/>
                <a:tab pos="1586230" algn="l"/>
              </a:tabLst>
            </a:pPr>
            <a:r>
              <a:rPr lang="en-gb" sz="1400" dirty="0">
                <a:effectLst/>
                <a:ea typeface="Times New Roman" panose="02020603050405020304" pitchFamily="18" charset="0"/>
              </a:rPr>
              <a:t>Take resuscitation measures if necessary.</a:t>
            </a:r>
          </a:p>
        </p:txBody>
      </p:sp>
      <p:sp>
        <p:nvSpPr>
          <p:cNvPr id="5" name="Rectangle 4">
            <a:extLst>
              <a:ext uri="{FF2B5EF4-FFF2-40B4-BE49-F238E27FC236}">
                <a16:creationId xmlns:a16="http://schemas.microsoft.com/office/drawing/2014/main" id="{9427ECFD-F450-0D4F-FE55-5438A378FF6F}"/>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tx1"/>
                </a:solidFill>
              </a:rPr>
              <a:t>How to proceed?</a:t>
            </a:r>
          </a:p>
        </p:txBody>
      </p:sp>
      <p:sp>
        <p:nvSpPr>
          <p:cNvPr id="6" name="Rectangle 5">
            <a:extLst>
              <a:ext uri="{FF2B5EF4-FFF2-40B4-BE49-F238E27FC236}">
                <a16:creationId xmlns:a16="http://schemas.microsoft.com/office/drawing/2014/main" id="{C9252866-F919-675A-0ECF-498D296D0E74}"/>
              </a:ext>
            </a:extLst>
          </p:cNvPr>
          <p:cNvSpPr/>
          <p:nvPr/>
        </p:nvSpPr>
        <p:spPr>
          <a:xfrm>
            <a:off x="7619998" y="1822554"/>
            <a:ext cx="4129089"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bg1"/>
                </a:solidFill>
              </a:rPr>
              <a:t>Important!</a:t>
            </a:r>
          </a:p>
        </p:txBody>
      </p:sp>
      <p:sp>
        <p:nvSpPr>
          <p:cNvPr id="7" name="Content Placeholder 1">
            <a:extLst>
              <a:ext uri="{FF2B5EF4-FFF2-40B4-BE49-F238E27FC236}">
                <a16:creationId xmlns:a16="http://schemas.microsoft.com/office/drawing/2014/main" id="{B42208E6-62B1-575C-BF52-C7B71E7ADF8C}"/>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9" name="Content Placeholder 1">
            <a:extLst>
              <a:ext uri="{FF2B5EF4-FFF2-40B4-BE49-F238E27FC236}">
                <a16:creationId xmlns:a16="http://schemas.microsoft.com/office/drawing/2014/main" id="{B3659C17-0F53-5112-4924-BFD603C1E0B3}"/>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0" name="Content Placeholder 1">
            <a:extLst>
              <a:ext uri="{FF2B5EF4-FFF2-40B4-BE49-F238E27FC236}">
                <a16:creationId xmlns:a16="http://schemas.microsoft.com/office/drawing/2014/main" id="{B880C522-54F9-B49A-2C13-8E07817D8D19}"/>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2" name="Content Placeholder 1">
            <a:extLst>
              <a:ext uri="{FF2B5EF4-FFF2-40B4-BE49-F238E27FC236}">
                <a16:creationId xmlns:a16="http://schemas.microsoft.com/office/drawing/2014/main" id="{BA1DA764-F4D1-44E8-65B7-07D74958045B}"/>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7" name="Google Shape;760;p79">
            <a:extLst>
              <a:ext uri="{FF2B5EF4-FFF2-40B4-BE49-F238E27FC236}">
                <a16:creationId xmlns:a16="http://schemas.microsoft.com/office/drawing/2014/main" id="{73F5F897-1FF0-65CF-232B-0D159F08FF7E}"/>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4" name="Google Shape;794;p79">
            <a:extLst>
              <a:ext uri="{FF2B5EF4-FFF2-40B4-BE49-F238E27FC236}">
                <a16:creationId xmlns:a16="http://schemas.microsoft.com/office/drawing/2014/main" id="{65333E76-2176-D9F5-55D0-91CD51913465}"/>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 name="Rectangle 1">
            <a:extLst>
              <a:ext uri="{FF2B5EF4-FFF2-40B4-BE49-F238E27FC236}">
                <a16:creationId xmlns:a16="http://schemas.microsoft.com/office/drawing/2014/main" id="{ECED2237-CB7F-C2CD-11A3-62DC16CCA5B1}"/>
              </a:ext>
            </a:extLst>
          </p:cNvPr>
          <p:cNvSpPr/>
          <p:nvPr/>
        </p:nvSpPr>
        <p:spPr>
          <a:xfrm>
            <a:off x="442913" y="5596201"/>
            <a:ext cx="11306175" cy="576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576000" rtlCol="0" anchor="ctr"/>
          <a:lstStyle/>
          <a:p>
            <a:pPr rtl="0"/>
            <a:r>
              <a:rPr lang="en-gb" sz="1100" b="1" dirty="0">
                <a:solidFill>
                  <a:schemeClr val="bg1"/>
                </a:solidFill>
                <a:hlinkClick r:id="rId8">
                  <a:extLst>
                    <a:ext uri="{A12FA001-AC4F-418D-AE19-62706E023703}">
                      <ahyp:hlinkClr xmlns:ahyp="http://schemas.microsoft.com/office/drawing/2018/hyperlinkcolor" val="tx"/>
                    </a:ext>
                  </a:extLst>
                </a:hlinkClick>
              </a:rPr>
              <a:t>NMPD Instruction</a:t>
            </a:r>
            <a:r>
              <a:rPr lang="lv-LV" sz="1100" b="1" dirty="0">
                <a:solidFill>
                  <a:schemeClr val="bg1"/>
                </a:solidFill>
                <a:hlinkClick r:id="rId8">
                  <a:extLst>
                    <a:ext uri="{A12FA001-AC4F-418D-AE19-62706E023703}">
                      <ahyp:hlinkClr xmlns:ahyp="http://schemas.microsoft.com/office/drawing/2018/hyperlinkcolor" val="tx"/>
                    </a:ext>
                  </a:extLst>
                </a:hlinkClick>
              </a:rPr>
              <a:t>s</a:t>
            </a:r>
            <a:r>
              <a:rPr lang="en-gb" sz="1100" b="1" dirty="0">
                <a:solidFill>
                  <a:schemeClr val="bg1"/>
                </a:solidFill>
                <a:hlinkClick r:id="rId8">
                  <a:extLst>
                    <a:ext uri="{A12FA001-AC4F-418D-AE19-62706E023703}">
                      <ahyp:hlinkClr xmlns:ahyp="http://schemas.microsoft.com/office/drawing/2018/hyperlinkcolor" val="tx"/>
                    </a:ext>
                  </a:extLst>
                </a:hlinkClick>
              </a:rPr>
              <a:t> "ABC of First Aid. What to do after a road accident"</a:t>
            </a:r>
            <a:endParaRPr lang="lv-LV" sz="1100" b="1" dirty="0">
              <a:solidFill>
                <a:schemeClr val="bg1"/>
              </a:solidFill>
            </a:endParaRPr>
          </a:p>
        </p:txBody>
      </p:sp>
      <p:sp>
        <p:nvSpPr>
          <p:cNvPr id="15" name="Google Shape;2001;p98">
            <a:extLst>
              <a:ext uri="{FF2B5EF4-FFF2-40B4-BE49-F238E27FC236}">
                <a16:creationId xmlns:a16="http://schemas.microsoft.com/office/drawing/2014/main" id="{D9C7FB84-E19B-43A1-0AEE-2A2D83D46DBD}"/>
              </a:ext>
            </a:extLst>
          </p:cNvPr>
          <p:cNvSpPr/>
          <p:nvPr/>
        </p:nvSpPr>
        <p:spPr>
          <a:xfrm>
            <a:off x="565050" y="5704201"/>
            <a:ext cx="360000" cy="360000"/>
          </a:xfrm>
          <a:custGeom>
            <a:avLst/>
            <a:gdLst/>
            <a:ahLst/>
            <a:cxnLst/>
            <a:rect l="l" t="t" r="r" b="b"/>
            <a:pathLst>
              <a:path w="347" h="347" extrusionOk="0">
                <a:moveTo>
                  <a:pt x="0" y="0"/>
                </a:moveTo>
                <a:cubicBezTo>
                  <a:pt x="0" y="347"/>
                  <a:pt x="0" y="347"/>
                  <a:pt x="0" y="347"/>
                </a:cubicBezTo>
                <a:cubicBezTo>
                  <a:pt x="347" y="347"/>
                  <a:pt x="347" y="347"/>
                  <a:pt x="347" y="347"/>
                </a:cubicBezTo>
                <a:cubicBezTo>
                  <a:pt x="347" y="0"/>
                  <a:pt x="347" y="0"/>
                  <a:pt x="347" y="0"/>
                </a:cubicBezTo>
                <a:lnTo>
                  <a:pt x="0" y="0"/>
                </a:lnTo>
                <a:close/>
                <a:moveTo>
                  <a:pt x="332" y="332"/>
                </a:moveTo>
                <a:cubicBezTo>
                  <a:pt x="15" y="332"/>
                  <a:pt x="15" y="332"/>
                  <a:pt x="15" y="332"/>
                </a:cubicBezTo>
                <a:cubicBezTo>
                  <a:pt x="15" y="15"/>
                  <a:pt x="15" y="15"/>
                  <a:pt x="15" y="15"/>
                </a:cubicBezTo>
                <a:cubicBezTo>
                  <a:pt x="332" y="15"/>
                  <a:pt x="332" y="15"/>
                  <a:pt x="332" y="15"/>
                </a:cubicBezTo>
                <a:lnTo>
                  <a:pt x="332" y="332"/>
                </a:lnTo>
                <a:close/>
                <a:moveTo>
                  <a:pt x="173" y="300"/>
                </a:moveTo>
                <a:cubicBezTo>
                  <a:pt x="243" y="300"/>
                  <a:pt x="300" y="243"/>
                  <a:pt x="300" y="173"/>
                </a:cubicBezTo>
                <a:cubicBezTo>
                  <a:pt x="300" y="104"/>
                  <a:pt x="243" y="47"/>
                  <a:pt x="173" y="47"/>
                </a:cubicBezTo>
                <a:cubicBezTo>
                  <a:pt x="104" y="47"/>
                  <a:pt x="47" y="104"/>
                  <a:pt x="47" y="173"/>
                </a:cubicBezTo>
                <a:cubicBezTo>
                  <a:pt x="47" y="243"/>
                  <a:pt x="104" y="300"/>
                  <a:pt x="173" y="300"/>
                </a:cubicBezTo>
                <a:close/>
                <a:moveTo>
                  <a:pt x="84" y="240"/>
                </a:moveTo>
                <a:cubicBezTo>
                  <a:pt x="109" y="240"/>
                  <a:pt x="109" y="240"/>
                  <a:pt x="109" y="240"/>
                </a:cubicBezTo>
                <a:cubicBezTo>
                  <a:pt x="114" y="254"/>
                  <a:pt x="121" y="266"/>
                  <a:pt x="129" y="276"/>
                </a:cubicBezTo>
                <a:cubicBezTo>
                  <a:pt x="111" y="268"/>
                  <a:pt x="96" y="256"/>
                  <a:pt x="84" y="240"/>
                </a:cubicBezTo>
                <a:close/>
                <a:moveTo>
                  <a:pt x="91" y="121"/>
                </a:moveTo>
                <a:cubicBezTo>
                  <a:pt x="92" y="128"/>
                  <a:pt x="96" y="134"/>
                  <a:pt x="101" y="137"/>
                </a:cubicBezTo>
                <a:cubicBezTo>
                  <a:pt x="100" y="147"/>
                  <a:pt x="99" y="156"/>
                  <a:pt x="99" y="166"/>
                </a:cubicBezTo>
                <a:cubicBezTo>
                  <a:pt x="62" y="166"/>
                  <a:pt x="62" y="166"/>
                  <a:pt x="62" y="166"/>
                </a:cubicBezTo>
                <a:cubicBezTo>
                  <a:pt x="63" y="150"/>
                  <a:pt x="67" y="135"/>
                  <a:pt x="75" y="121"/>
                </a:cubicBezTo>
                <a:lnTo>
                  <a:pt x="91" y="121"/>
                </a:lnTo>
                <a:close/>
                <a:moveTo>
                  <a:pt x="285" y="166"/>
                </a:moveTo>
                <a:cubicBezTo>
                  <a:pt x="267" y="166"/>
                  <a:pt x="267" y="166"/>
                  <a:pt x="267" y="166"/>
                </a:cubicBezTo>
                <a:cubicBezTo>
                  <a:pt x="264" y="157"/>
                  <a:pt x="257" y="151"/>
                  <a:pt x="247" y="149"/>
                </a:cubicBezTo>
                <a:cubicBezTo>
                  <a:pt x="246" y="139"/>
                  <a:pt x="244" y="130"/>
                  <a:pt x="242" y="121"/>
                </a:cubicBezTo>
                <a:cubicBezTo>
                  <a:pt x="272" y="121"/>
                  <a:pt x="272" y="121"/>
                  <a:pt x="272" y="121"/>
                </a:cubicBezTo>
                <a:cubicBezTo>
                  <a:pt x="279" y="135"/>
                  <a:pt x="284" y="150"/>
                  <a:pt x="285" y="166"/>
                </a:cubicBezTo>
                <a:close/>
                <a:moveTo>
                  <a:pt x="145" y="121"/>
                </a:moveTo>
                <a:cubicBezTo>
                  <a:pt x="166" y="121"/>
                  <a:pt x="166" y="121"/>
                  <a:pt x="166" y="121"/>
                </a:cubicBezTo>
                <a:cubicBezTo>
                  <a:pt x="166" y="166"/>
                  <a:pt x="166" y="166"/>
                  <a:pt x="166" y="166"/>
                </a:cubicBezTo>
                <a:cubicBezTo>
                  <a:pt x="113" y="166"/>
                  <a:pt x="113" y="166"/>
                  <a:pt x="113" y="166"/>
                </a:cubicBezTo>
                <a:cubicBezTo>
                  <a:pt x="114" y="158"/>
                  <a:pt x="114" y="150"/>
                  <a:pt x="115" y="143"/>
                </a:cubicBezTo>
                <a:cubicBezTo>
                  <a:pt x="116" y="143"/>
                  <a:pt x="117" y="143"/>
                  <a:pt x="118" y="143"/>
                </a:cubicBezTo>
                <a:cubicBezTo>
                  <a:pt x="131" y="143"/>
                  <a:pt x="142" y="134"/>
                  <a:pt x="145" y="121"/>
                </a:cubicBezTo>
                <a:close/>
                <a:moveTo>
                  <a:pt x="166" y="181"/>
                </a:moveTo>
                <a:cubicBezTo>
                  <a:pt x="166" y="205"/>
                  <a:pt x="166" y="205"/>
                  <a:pt x="166" y="205"/>
                </a:cubicBezTo>
                <a:cubicBezTo>
                  <a:pt x="157" y="208"/>
                  <a:pt x="149" y="216"/>
                  <a:pt x="147" y="226"/>
                </a:cubicBezTo>
                <a:cubicBezTo>
                  <a:pt x="120" y="226"/>
                  <a:pt x="120" y="226"/>
                  <a:pt x="120" y="226"/>
                </a:cubicBezTo>
                <a:cubicBezTo>
                  <a:pt x="116" y="212"/>
                  <a:pt x="114" y="197"/>
                  <a:pt x="113" y="181"/>
                </a:cubicBezTo>
                <a:lnTo>
                  <a:pt x="166" y="181"/>
                </a:lnTo>
                <a:close/>
                <a:moveTo>
                  <a:pt x="174" y="244"/>
                </a:moveTo>
                <a:cubicBezTo>
                  <a:pt x="167" y="244"/>
                  <a:pt x="161" y="238"/>
                  <a:pt x="161" y="232"/>
                </a:cubicBezTo>
                <a:cubicBezTo>
                  <a:pt x="161" y="225"/>
                  <a:pt x="167" y="219"/>
                  <a:pt x="174" y="219"/>
                </a:cubicBezTo>
                <a:cubicBezTo>
                  <a:pt x="181" y="219"/>
                  <a:pt x="186" y="225"/>
                  <a:pt x="186" y="232"/>
                </a:cubicBezTo>
                <a:cubicBezTo>
                  <a:pt x="186" y="238"/>
                  <a:pt x="181" y="244"/>
                  <a:pt x="174" y="244"/>
                </a:cubicBezTo>
                <a:close/>
                <a:moveTo>
                  <a:pt x="148" y="240"/>
                </a:moveTo>
                <a:cubicBezTo>
                  <a:pt x="151" y="249"/>
                  <a:pt x="158" y="255"/>
                  <a:pt x="166" y="258"/>
                </a:cubicBezTo>
                <a:cubicBezTo>
                  <a:pt x="166" y="284"/>
                  <a:pt x="166" y="284"/>
                  <a:pt x="166" y="284"/>
                </a:cubicBezTo>
                <a:cubicBezTo>
                  <a:pt x="150" y="280"/>
                  <a:pt x="135" y="264"/>
                  <a:pt x="126" y="240"/>
                </a:cubicBezTo>
                <a:lnTo>
                  <a:pt x="148" y="240"/>
                </a:lnTo>
                <a:close/>
                <a:moveTo>
                  <a:pt x="181" y="284"/>
                </a:moveTo>
                <a:cubicBezTo>
                  <a:pt x="181" y="258"/>
                  <a:pt x="181" y="258"/>
                  <a:pt x="181" y="258"/>
                </a:cubicBezTo>
                <a:cubicBezTo>
                  <a:pt x="190" y="256"/>
                  <a:pt x="197" y="249"/>
                  <a:pt x="200" y="240"/>
                </a:cubicBezTo>
                <a:cubicBezTo>
                  <a:pt x="221" y="240"/>
                  <a:pt x="221" y="240"/>
                  <a:pt x="221" y="240"/>
                </a:cubicBezTo>
                <a:cubicBezTo>
                  <a:pt x="212" y="264"/>
                  <a:pt x="197" y="280"/>
                  <a:pt x="181" y="284"/>
                </a:cubicBezTo>
                <a:close/>
                <a:moveTo>
                  <a:pt x="201" y="226"/>
                </a:moveTo>
                <a:cubicBezTo>
                  <a:pt x="198" y="216"/>
                  <a:pt x="191" y="208"/>
                  <a:pt x="181" y="205"/>
                </a:cubicBezTo>
                <a:cubicBezTo>
                  <a:pt x="181" y="181"/>
                  <a:pt x="181" y="181"/>
                  <a:pt x="181" y="181"/>
                </a:cubicBezTo>
                <a:cubicBezTo>
                  <a:pt x="215" y="181"/>
                  <a:pt x="215" y="181"/>
                  <a:pt x="215" y="181"/>
                </a:cubicBezTo>
                <a:cubicBezTo>
                  <a:pt x="217" y="190"/>
                  <a:pt x="223" y="198"/>
                  <a:pt x="232" y="201"/>
                </a:cubicBezTo>
                <a:cubicBezTo>
                  <a:pt x="231" y="210"/>
                  <a:pt x="229" y="218"/>
                  <a:pt x="227" y="226"/>
                </a:cubicBezTo>
                <a:lnTo>
                  <a:pt x="201" y="226"/>
                </a:lnTo>
                <a:close/>
                <a:moveTo>
                  <a:pt x="242" y="163"/>
                </a:moveTo>
                <a:cubicBezTo>
                  <a:pt x="249" y="163"/>
                  <a:pt x="254" y="169"/>
                  <a:pt x="254" y="176"/>
                </a:cubicBezTo>
                <a:cubicBezTo>
                  <a:pt x="254" y="182"/>
                  <a:pt x="249" y="188"/>
                  <a:pt x="242" y="188"/>
                </a:cubicBezTo>
                <a:cubicBezTo>
                  <a:pt x="235" y="188"/>
                  <a:pt x="229" y="182"/>
                  <a:pt x="229" y="176"/>
                </a:cubicBezTo>
                <a:cubicBezTo>
                  <a:pt x="229" y="169"/>
                  <a:pt x="235" y="163"/>
                  <a:pt x="242" y="163"/>
                </a:cubicBezTo>
                <a:close/>
                <a:moveTo>
                  <a:pt x="247" y="202"/>
                </a:moveTo>
                <a:cubicBezTo>
                  <a:pt x="258" y="201"/>
                  <a:pt x="266" y="192"/>
                  <a:pt x="269" y="181"/>
                </a:cubicBezTo>
                <a:cubicBezTo>
                  <a:pt x="285" y="181"/>
                  <a:pt x="285" y="181"/>
                  <a:pt x="285" y="181"/>
                </a:cubicBezTo>
                <a:cubicBezTo>
                  <a:pt x="284" y="197"/>
                  <a:pt x="279" y="212"/>
                  <a:pt x="272" y="226"/>
                </a:cubicBezTo>
                <a:cubicBezTo>
                  <a:pt x="242" y="226"/>
                  <a:pt x="242" y="226"/>
                  <a:pt x="242" y="226"/>
                </a:cubicBezTo>
                <a:cubicBezTo>
                  <a:pt x="244" y="218"/>
                  <a:pt x="245" y="211"/>
                  <a:pt x="247" y="202"/>
                </a:cubicBezTo>
                <a:close/>
                <a:moveTo>
                  <a:pt x="232" y="150"/>
                </a:moveTo>
                <a:cubicBezTo>
                  <a:pt x="225" y="153"/>
                  <a:pt x="219" y="159"/>
                  <a:pt x="216" y="166"/>
                </a:cubicBezTo>
                <a:cubicBezTo>
                  <a:pt x="181" y="166"/>
                  <a:pt x="181" y="166"/>
                  <a:pt x="181" y="166"/>
                </a:cubicBezTo>
                <a:cubicBezTo>
                  <a:pt x="181" y="121"/>
                  <a:pt x="181" y="121"/>
                  <a:pt x="181" y="121"/>
                </a:cubicBezTo>
                <a:cubicBezTo>
                  <a:pt x="227" y="121"/>
                  <a:pt x="227" y="121"/>
                  <a:pt x="227" y="121"/>
                </a:cubicBezTo>
                <a:cubicBezTo>
                  <a:pt x="229" y="130"/>
                  <a:pt x="231" y="140"/>
                  <a:pt x="232" y="150"/>
                </a:cubicBezTo>
                <a:close/>
                <a:moveTo>
                  <a:pt x="181" y="106"/>
                </a:moveTo>
                <a:cubicBezTo>
                  <a:pt x="181" y="63"/>
                  <a:pt x="181" y="63"/>
                  <a:pt x="181" y="63"/>
                </a:cubicBezTo>
                <a:cubicBezTo>
                  <a:pt x="197" y="66"/>
                  <a:pt x="212" y="83"/>
                  <a:pt x="222" y="106"/>
                </a:cubicBezTo>
                <a:lnTo>
                  <a:pt x="181" y="106"/>
                </a:lnTo>
                <a:close/>
                <a:moveTo>
                  <a:pt x="166" y="63"/>
                </a:moveTo>
                <a:cubicBezTo>
                  <a:pt x="166" y="106"/>
                  <a:pt x="166" y="106"/>
                  <a:pt x="166" y="106"/>
                </a:cubicBezTo>
                <a:cubicBezTo>
                  <a:pt x="144" y="106"/>
                  <a:pt x="144" y="106"/>
                  <a:pt x="144" y="106"/>
                </a:cubicBezTo>
                <a:cubicBezTo>
                  <a:pt x="142" y="101"/>
                  <a:pt x="138" y="96"/>
                  <a:pt x="132" y="92"/>
                </a:cubicBezTo>
                <a:cubicBezTo>
                  <a:pt x="142" y="76"/>
                  <a:pt x="154" y="66"/>
                  <a:pt x="166" y="63"/>
                </a:cubicBezTo>
                <a:close/>
                <a:moveTo>
                  <a:pt x="118" y="103"/>
                </a:moveTo>
                <a:cubicBezTo>
                  <a:pt x="125" y="103"/>
                  <a:pt x="130" y="109"/>
                  <a:pt x="130" y="116"/>
                </a:cubicBezTo>
                <a:cubicBezTo>
                  <a:pt x="130" y="122"/>
                  <a:pt x="125" y="128"/>
                  <a:pt x="118" y="128"/>
                </a:cubicBezTo>
                <a:cubicBezTo>
                  <a:pt x="111" y="128"/>
                  <a:pt x="105" y="122"/>
                  <a:pt x="105" y="116"/>
                </a:cubicBezTo>
                <a:cubicBezTo>
                  <a:pt x="105" y="109"/>
                  <a:pt x="111" y="103"/>
                  <a:pt x="118" y="103"/>
                </a:cubicBezTo>
                <a:close/>
                <a:moveTo>
                  <a:pt x="98" y="181"/>
                </a:moveTo>
                <a:cubicBezTo>
                  <a:pt x="99" y="197"/>
                  <a:pt x="101" y="212"/>
                  <a:pt x="105" y="226"/>
                </a:cubicBezTo>
                <a:cubicBezTo>
                  <a:pt x="75" y="226"/>
                  <a:pt x="75" y="226"/>
                  <a:pt x="75" y="226"/>
                </a:cubicBezTo>
                <a:cubicBezTo>
                  <a:pt x="67" y="212"/>
                  <a:pt x="63" y="197"/>
                  <a:pt x="62" y="181"/>
                </a:cubicBezTo>
                <a:lnTo>
                  <a:pt x="98" y="181"/>
                </a:lnTo>
                <a:close/>
                <a:moveTo>
                  <a:pt x="217" y="276"/>
                </a:moveTo>
                <a:cubicBezTo>
                  <a:pt x="225" y="267"/>
                  <a:pt x="232" y="255"/>
                  <a:pt x="237" y="240"/>
                </a:cubicBezTo>
                <a:cubicBezTo>
                  <a:pt x="263" y="240"/>
                  <a:pt x="263" y="240"/>
                  <a:pt x="263" y="240"/>
                </a:cubicBezTo>
                <a:cubicBezTo>
                  <a:pt x="251" y="256"/>
                  <a:pt x="235" y="268"/>
                  <a:pt x="217" y="276"/>
                </a:cubicBezTo>
                <a:close/>
                <a:moveTo>
                  <a:pt x="263" y="106"/>
                </a:moveTo>
                <a:cubicBezTo>
                  <a:pt x="237" y="106"/>
                  <a:pt x="237" y="106"/>
                  <a:pt x="237" y="106"/>
                </a:cubicBezTo>
                <a:cubicBezTo>
                  <a:pt x="232" y="92"/>
                  <a:pt x="226" y="80"/>
                  <a:pt x="218" y="71"/>
                </a:cubicBezTo>
                <a:cubicBezTo>
                  <a:pt x="236" y="79"/>
                  <a:pt x="251" y="91"/>
                  <a:pt x="263" y="106"/>
                </a:cubicBezTo>
                <a:close/>
                <a:moveTo>
                  <a:pt x="129" y="71"/>
                </a:moveTo>
                <a:cubicBezTo>
                  <a:pt x="125" y="76"/>
                  <a:pt x="121" y="82"/>
                  <a:pt x="118" y="88"/>
                </a:cubicBezTo>
                <a:cubicBezTo>
                  <a:pt x="106" y="88"/>
                  <a:pt x="96" y="96"/>
                  <a:pt x="92" y="106"/>
                </a:cubicBezTo>
                <a:cubicBezTo>
                  <a:pt x="84" y="106"/>
                  <a:pt x="84" y="106"/>
                  <a:pt x="84" y="106"/>
                </a:cubicBezTo>
                <a:cubicBezTo>
                  <a:pt x="96" y="91"/>
                  <a:pt x="111" y="79"/>
                  <a:pt x="129" y="71"/>
                </a:cubicBezTo>
                <a:close/>
              </a:path>
            </a:pathLst>
          </a:custGeom>
          <a:solidFill>
            <a:schemeClr val="bg1"/>
          </a:solidFill>
          <a:ln>
            <a:noFill/>
          </a:ln>
        </p:spPr>
        <p:txBody>
          <a:bodyPr spcFirstLastPara="1" wrap="square" lIns="68575" tIns="34275" rIns="68575" bIns="34275"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1" name="Content Placeholder 1">
            <a:extLst>
              <a:ext uri="{FF2B5EF4-FFF2-40B4-BE49-F238E27FC236}">
                <a16:creationId xmlns:a16="http://schemas.microsoft.com/office/drawing/2014/main" id="{A7220F4B-E27D-B63B-44C5-19883EAD61EF}"/>
              </a:ext>
            </a:extLst>
          </p:cNvPr>
          <p:cNvSpPr txBox="1">
            <a:spLocks/>
          </p:cNvSpPr>
          <p:nvPr/>
        </p:nvSpPr>
        <p:spPr>
          <a:xfrm>
            <a:off x="11677086" y="5596201"/>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22" name="Rectangle 21">
            <a:extLst>
              <a:ext uri="{FF2B5EF4-FFF2-40B4-BE49-F238E27FC236}">
                <a16:creationId xmlns:a16="http://schemas.microsoft.com/office/drawing/2014/main" id="{DA3782D5-EFBB-96B7-5592-6EB524123095}"/>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18" name="Group 17">
            <a:extLst>
              <a:ext uri="{FF2B5EF4-FFF2-40B4-BE49-F238E27FC236}">
                <a16:creationId xmlns:a16="http://schemas.microsoft.com/office/drawing/2014/main" id="{59C0A1B7-030B-0D38-3248-60CDB0F521AA}"/>
              </a:ext>
            </a:extLst>
          </p:cNvPr>
          <p:cNvGrpSpPr/>
          <p:nvPr/>
        </p:nvGrpSpPr>
        <p:grpSpPr>
          <a:xfrm>
            <a:off x="9842140" y="372216"/>
            <a:ext cx="1667215" cy="217488"/>
            <a:chOff x="9842140" y="372216"/>
            <a:chExt cx="1667215" cy="217488"/>
          </a:xfrm>
        </p:grpSpPr>
        <p:sp>
          <p:nvSpPr>
            <p:cNvPr id="20" name="TextBox 19">
              <a:extLst>
                <a:ext uri="{FF2B5EF4-FFF2-40B4-BE49-F238E27FC236}">
                  <a16:creationId xmlns:a16="http://schemas.microsoft.com/office/drawing/2014/main" id="{A8752193-2A58-13EA-3103-0E80B371FBA1}"/>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rtl="0">
                <a:lnSpc>
                  <a:spcPct val="100000"/>
                </a:lnSpc>
                <a:spcAft>
                  <a:spcPts val="600"/>
                </a:spcAft>
                <a:buSzPct val="100000"/>
              </a:pPr>
              <a:r>
                <a:rPr lang="en-gb" sz="800">
                  <a:solidFill>
                    <a:schemeClr val="bg1"/>
                  </a:solidFill>
                </a:rPr>
                <a:t>Road traffic accident</a:t>
              </a:r>
            </a:p>
          </p:txBody>
        </p:sp>
        <p:sp>
          <p:nvSpPr>
            <p:cNvPr id="25" name="Freeform 49">
              <a:extLst>
                <a:ext uri="{FF2B5EF4-FFF2-40B4-BE49-F238E27FC236}">
                  <a16:creationId xmlns:a16="http://schemas.microsoft.com/office/drawing/2014/main" id="{D810FC61-59CA-09C2-0F28-39C5292CDDE7}"/>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p>
          </p:txBody>
        </p:sp>
      </p:grpSp>
      <p:grpSp>
        <p:nvGrpSpPr>
          <p:cNvPr id="32" name="Group 31">
            <a:extLst>
              <a:ext uri="{FF2B5EF4-FFF2-40B4-BE49-F238E27FC236}">
                <a16:creationId xmlns:a16="http://schemas.microsoft.com/office/drawing/2014/main" id="{5CEEE1A4-B3FB-19B1-C038-46B9F27EEE2A}"/>
              </a:ext>
            </a:extLst>
          </p:cNvPr>
          <p:cNvGrpSpPr/>
          <p:nvPr/>
        </p:nvGrpSpPr>
        <p:grpSpPr>
          <a:xfrm>
            <a:off x="9122935" y="126781"/>
            <a:ext cx="2626153" cy="217488"/>
            <a:chOff x="9122935" y="126781"/>
            <a:chExt cx="2626153" cy="217488"/>
          </a:xfrm>
        </p:grpSpPr>
        <p:sp>
          <p:nvSpPr>
            <p:cNvPr id="33" name="Rectangle 32">
              <a:extLst>
                <a:ext uri="{FF2B5EF4-FFF2-40B4-BE49-F238E27FC236}">
                  <a16:creationId xmlns:a16="http://schemas.microsoft.com/office/drawing/2014/main" id="{7BBEC147-4DF4-33C4-F9C1-E1E417A030A4}"/>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000000"/>
                  </a:solidFill>
                  <a:effectLst/>
                  <a:uLnTx/>
                  <a:uFillTx/>
                  <a:ea typeface="Georgia"/>
                  <a:cs typeface="Georgia"/>
                  <a:sym typeface="Georgia"/>
                </a:rPr>
                <a:t>First aid measures</a:t>
              </a:r>
            </a:p>
          </p:txBody>
        </p:sp>
        <p:sp>
          <p:nvSpPr>
            <p:cNvPr id="34" name="Rectangle 33">
              <a:extLst>
                <a:ext uri="{FF2B5EF4-FFF2-40B4-BE49-F238E27FC236}">
                  <a16:creationId xmlns:a16="http://schemas.microsoft.com/office/drawing/2014/main" id="{C78E635E-4CE3-9395-B885-E5E96A46A453}"/>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5" name="Rectangle 34">
              <a:extLst>
                <a:ext uri="{FF2B5EF4-FFF2-40B4-BE49-F238E27FC236}">
                  <a16:creationId xmlns:a16="http://schemas.microsoft.com/office/drawing/2014/main" id="{968B6462-0D67-ADF1-C732-BD99D128107A}"/>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6" name="Rectangle 35">
              <a:extLst>
                <a:ext uri="{FF2B5EF4-FFF2-40B4-BE49-F238E27FC236}">
                  <a16:creationId xmlns:a16="http://schemas.microsoft.com/office/drawing/2014/main" id="{AFA961AC-15B7-59DD-7CD4-142871A3F869}"/>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7" name="Rectangle 36">
              <a:extLst>
                <a:ext uri="{FF2B5EF4-FFF2-40B4-BE49-F238E27FC236}">
                  <a16:creationId xmlns:a16="http://schemas.microsoft.com/office/drawing/2014/main" id="{AE18859D-8D20-C532-A736-54CF56392030}"/>
                </a:ext>
              </a:extLst>
            </p:cNvPr>
            <p:cNvSpPr/>
            <p:nvPr/>
          </p:nvSpPr>
          <p:spPr>
            <a:xfrm>
              <a:off x="9842140"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7</a:t>
              </a:r>
              <a:r>
                <a:rPr lang="en-gb" sz="800" b="1" i="0" u="none" strike="noStrike" kern="0" cap="none" spc="0" normalizeH="0" noProof="0">
                  <a:ln>
                    <a:noFill/>
                  </a:ln>
                  <a:effectLst/>
                  <a:uLnTx/>
                  <a:uFillTx/>
                  <a:ea typeface="Georgia"/>
                  <a:cs typeface="Georgia"/>
                  <a:sym typeface="Georgia"/>
                </a:rPr>
                <a:t>.4</a:t>
              </a:r>
              <a:endParaRPr kumimoji="0" lang="lv-LV" sz="800" b="1" i="0" u="none" strike="noStrike" kern="0" cap="none" spc="0" normalizeH="0" baseline="0" noProof="0" dirty="0">
                <a:ln>
                  <a:noFill/>
                </a:ln>
                <a:effectLst/>
                <a:uLnTx/>
                <a:uFillTx/>
                <a:ea typeface="Georgia"/>
                <a:cs typeface="Georgia"/>
                <a:sym typeface="Georgia"/>
              </a:endParaRPr>
            </a:p>
          </p:txBody>
        </p:sp>
        <p:sp>
          <p:nvSpPr>
            <p:cNvPr id="38" name="Rectangle 37">
              <a:extLst>
                <a:ext uri="{FF2B5EF4-FFF2-40B4-BE49-F238E27FC236}">
                  <a16:creationId xmlns:a16="http://schemas.microsoft.com/office/drawing/2014/main" id="{3E53F455-7571-FEE3-E491-7339CC00AF4A}"/>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19393324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2A03EDD-F030-291B-BE81-BF9DE321CA50}"/>
              </a:ext>
            </a:extLst>
          </p:cNvPr>
          <p:cNvGraphicFramePr>
            <a:graphicFrameLocks noChangeAspect="1"/>
          </p:cNvGraphicFramePr>
          <p:nvPr>
            <p:custDataLst>
              <p:tags r:id="rId1"/>
            </p:custDataLst>
            <p:extLst>
              <p:ext uri="{D42A27DB-BD31-4B8C-83A1-F6EECF244321}">
                <p14:modId xmlns:p14="http://schemas.microsoft.com/office/powerpoint/2010/main" val="2799823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think-cell data - do not delete" hidden="1">
                        <a:extLst>
                          <a:ext uri="{FF2B5EF4-FFF2-40B4-BE49-F238E27FC236}">
                            <a16:creationId xmlns:a16="http://schemas.microsoft.com/office/drawing/2014/main" id="{32A03EDD-F030-291B-BE81-BF9DE321CA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0" name="Picture 29">
            <a:extLst>
              <a:ext uri="{FF2B5EF4-FFF2-40B4-BE49-F238E27FC236}">
                <a16:creationId xmlns:a16="http://schemas.microsoft.com/office/drawing/2014/main" id="{931173D5-E091-CD5E-A470-8DC442583BC8}"/>
              </a:ext>
            </a:extLst>
          </p:cNvPr>
          <p:cNvPicPr>
            <a:picLocks noChangeAspect="1"/>
          </p:cNvPicPr>
          <p:nvPr/>
        </p:nvPicPr>
        <p:blipFill rotWithShape="1">
          <a:blip r:embed="rId6"/>
          <a:srcRect l="22926" r="32630"/>
          <a:stretch/>
        </p:blipFill>
        <p:spPr>
          <a:xfrm>
            <a:off x="7619998" y="0"/>
            <a:ext cx="4572002" cy="6858000"/>
          </a:xfrm>
          <a:prstGeom prst="rect">
            <a:avLst/>
          </a:prstGeom>
        </p:spPr>
      </p:pic>
      <p:sp>
        <p:nvSpPr>
          <p:cNvPr id="14" name="Rectangle 13">
            <a:extLst>
              <a:ext uri="{FF2B5EF4-FFF2-40B4-BE49-F238E27FC236}">
                <a16:creationId xmlns:a16="http://schemas.microsoft.com/office/drawing/2014/main" id="{A8A8DD37-9B73-46FB-C75B-2CEFA6483C22}"/>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6" name="Rectangle 15">
            <a:extLst>
              <a:ext uri="{FF2B5EF4-FFF2-40B4-BE49-F238E27FC236}">
                <a16:creationId xmlns:a16="http://schemas.microsoft.com/office/drawing/2014/main" id="{25A25F16-3DF9-5BEF-8F70-42FAB50A6BCE}"/>
              </a:ext>
            </a:extLst>
          </p:cNvPr>
          <p:cNvSpPr/>
          <p:nvPr/>
        </p:nvSpPr>
        <p:spPr>
          <a:xfrm>
            <a:off x="7619998" y="2398554"/>
            <a:ext cx="4129089" cy="5574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rtl="0">
              <a:spcAft>
                <a:spcPts val="600"/>
              </a:spcAft>
              <a:buBlip>
                <a:blip r:embed="rId7"/>
              </a:buBlip>
            </a:pPr>
            <a:r>
              <a:rPr lang="en-gb" sz="1400">
                <a:solidFill>
                  <a:schemeClr val="tx1"/>
                </a:solidFill>
              </a:rPr>
              <a:t>Help remove the helmet if the victim wants it.</a:t>
            </a: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7177085" cy="1387274"/>
          </a:xfrm>
        </p:spPr>
        <p:txBody>
          <a:bodyPr vert="horz" rtlCol="0"/>
          <a:lstStyle/>
          <a:p>
            <a:pPr rtl="0"/>
            <a:r>
              <a:rPr lang="en-gb" dirty="0"/>
              <a:t>How to help a victim </a:t>
            </a:r>
            <a:br>
              <a:rPr lang="en-US" dirty="0"/>
            </a:br>
            <a:r>
              <a:rPr lang="en-gb" dirty="0"/>
              <a:t>in a motorbike accident?</a:t>
            </a:r>
            <a:endParaRPr lang="en-GB" dirty="0"/>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rtlCol="0"/>
          <a:lstStyle/>
          <a:p>
            <a:pPr rtl="0"/>
            <a:fld id="{7870704B-CE94-48CC-AF30-84932A1262A7}" type="slidenum">
              <a:rPr lang="en-GB" smtClean="0">
                <a:solidFill>
                  <a:schemeClr val="bg1"/>
                </a:solidFill>
              </a:rPr>
              <a:pPr rtl="0"/>
              <a:t>35</a:t>
            </a:fld>
            <a:endParaRPr lang="en-GB">
              <a:solidFill>
                <a:schemeClr val="bg1"/>
              </a:solidFill>
            </a:endParaRPr>
          </a:p>
        </p:txBody>
      </p:sp>
      <p:sp>
        <p:nvSpPr>
          <p:cNvPr id="11" name="TextBox 10">
            <a:extLst>
              <a:ext uri="{FF2B5EF4-FFF2-40B4-BE49-F238E27FC236}">
                <a16:creationId xmlns:a16="http://schemas.microsoft.com/office/drawing/2014/main" id="{ECEF24F5-E26D-2531-E4A1-337E326AC9CB}"/>
              </a:ext>
            </a:extLst>
          </p:cNvPr>
          <p:cNvSpPr txBox="1"/>
          <p:nvPr/>
        </p:nvSpPr>
        <p:spPr>
          <a:xfrm>
            <a:off x="442913" y="2398574"/>
            <a:ext cx="6734171" cy="3773364"/>
          </a:xfrm>
          <a:prstGeom prst="rect">
            <a:avLst/>
          </a:prstGeom>
          <a:solidFill>
            <a:schemeClr val="bg1">
              <a:lumMod val="95000"/>
            </a:schemeClr>
          </a:solidFill>
        </p:spPr>
        <p:txBody>
          <a:bodyPr wrap="square" lIns="72000" tIns="72000" rIns="72000" bIns="72000" rtlCol="0" anchor="t">
            <a:noAutofit/>
          </a:bodyPr>
          <a:lstStyle/>
          <a:p>
            <a:pPr marL="284400" lvl="1" indent="-284400" rtl="0" hangingPunct="0">
              <a:spcAft>
                <a:spcPts val="600"/>
              </a:spcAft>
              <a:buBlip>
                <a:blip r:embed="rId7"/>
              </a:buBlip>
              <a:tabLst>
                <a:tab pos="457200" algn="l"/>
                <a:tab pos="1586230" algn="l"/>
              </a:tabLst>
            </a:pPr>
            <a:r>
              <a:rPr lang="en-gb" sz="1400" dirty="0">
                <a:effectLst/>
                <a:ea typeface="Times New Roman" panose="02020603050405020304" pitchFamily="18" charset="0"/>
              </a:rPr>
              <a:t>If necessary, call an ambulance.</a:t>
            </a:r>
          </a:p>
          <a:p>
            <a:pPr marL="284400" lvl="1" indent="-284400" rtl="0" hangingPunct="0">
              <a:spcAft>
                <a:spcPts val="600"/>
              </a:spcAft>
              <a:buBlip>
                <a:blip r:embed="rId7"/>
              </a:buBlip>
              <a:tabLst>
                <a:tab pos="457200" algn="l"/>
                <a:tab pos="1586230" algn="l"/>
              </a:tabLst>
            </a:pPr>
            <a:r>
              <a:rPr lang="en-gb" sz="1400" dirty="0">
                <a:effectLst/>
                <a:ea typeface="Times New Roman" panose="02020603050405020304" pitchFamily="18" charset="0"/>
              </a:rPr>
              <a:t>Remove the helmet very carefully, sparing the victim's neck, if:</a:t>
            </a:r>
          </a:p>
          <a:p>
            <a:pPr marL="468000" lvl="2" indent="-180000" rtl="0" hangingPunct="0">
              <a:spcAft>
                <a:spcPts val="600"/>
              </a:spcAft>
              <a:buFont typeface="Arial" panose="020B0604020202020204" pitchFamily="34" charset="0"/>
              <a:buChar char="•"/>
              <a:tabLst>
                <a:tab pos="457200" algn="l"/>
                <a:tab pos="1586230" algn="l"/>
              </a:tabLst>
            </a:pPr>
            <a:r>
              <a:rPr lang="lv-LV" sz="1400" dirty="0" err="1">
                <a:ea typeface="Times New Roman" panose="02020603050405020304" pitchFamily="18" charset="0"/>
              </a:rPr>
              <a:t>t</a:t>
            </a:r>
            <a:r>
              <a:rPr lang="lv-LV" sz="1400" dirty="0" err="1">
                <a:effectLst/>
                <a:ea typeface="Times New Roman" panose="02020603050405020304" pitchFamily="18" charset="0"/>
              </a:rPr>
              <a:t>hey</a:t>
            </a:r>
            <a:r>
              <a:rPr lang="lv-LV" sz="1400" dirty="0">
                <a:effectLst/>
                <a:ea typeface="Times New Roman" panose="02020603050405020304" pitchFamily="18" charset="0"/>
              </a:rPr>
              <a:t> </a:t>
            </a:r>
            <a:r>
              <a:rPr lang="lv-LV" sz="1400" dirty="0" err="1">
                <a:effectLst/>
                <a:ea typeface="Times New Roman" panose="02020603050405020304" pitchFamily="18" charset="0"/>
              </a:rPr>
              <a:t>are</a:t>
            </a:r>
            <a:r>
              <a:rPr lang="lv-LV" sz="1400" dirty="0">
                <a:effectLst/>
                <a:ea typeface="Times New Roman" panose="02020603050405020304" pitchFamily="18" charset="0"/>
              </a:rPr>
              <a:t> </a:t>
            </a:r>
            <a:r>
              <a:rPr lang="lv-LV" sz="1400" dirty="0" err="1">
                <a:effectLst/>
                <a:ea typeface="Times New Roman" panose="02020603050405020304" pitchFamily="18" charset="0"/>
              </a:rPr>
              <a:t>unconscious</a:t>
            </a:r>
            <a:r>
              <a:rPr lang="en-gb" sz="1400" dirty="0">
                <a:effectLst/>
                <a:ea typeface="Times New Roman" panose="02020603050405020304" pitchFamily="18" charset="0"/>
              </a:rPr>
              <a:t>;</a:t>
            </a:r>
          </a:p>
          <a:p>
            <a:pPr marL="468000" lvl="2" indent="-180000" rtl="0" hangingPunct="0">
              <a:spcAft>
                <a:spcPts val="600"/>
              </a:spcAft>
              <a:buFont typeface="Arial" panose="020B0604020202020204" pitchFamily="34" charset="0"/>
              <a:buChar char="•"/>
              <a:tabLst>
                <a:tab pos="457200" algn="l"/>
                <a:tab pos="1586230" algn="l"/>
              </a:tabLst>
            </a:pPr>
            <a:r>
              <a:rPr lang="en-gb" sz="1400" dirty="0">
                <a:effectLst/>
                <a:ea typeface="Times New Roman" panose="02020603050405020304" pitchFamily="18" charset="0"/>
              </a:rPr>
              <a:t>bleeding from the bottom of the helmet.</a:t>
            </a:r>
          </a:p>
          <a:p>
            <a:pPr marL="284400" lvl="1" indent="-284400" rtl="0" hangingPunct="0">
              <a:spcAft>
                <a:spcPts val="600"/>
              </a:spcAft>
              <a:buBlip>
                <a:blip r:embed="rId7"/>
              </a:buBlip>
              <a:tabLst>
                <a:tab pos="457200" algn="l"/>
                <a:tab pos="1586230" algn="l"/>
              </a:tabLst>
            </a:pPr>
            <a:r>
              <a:rPr lang="en-gb" sz="1400" dirty="0">
                <a:effectLst/>
                <a:ea typeface="Times New Roman" panose="02020603050405020304" pitchFamily="18" charset="0"/>
              </a:rPr>
              <a:t>Otherwise, leave the helmet on </a:t>
            </a:r>
            <a:r>
              <a:rPr lang="lv-LV" sz="1400" dirty="0" err="1">
                <a:effectLst/>
                <a:ea typeface="Times New Roman" panose="02020603050405020304" pitchFamily="18" charset="0"/>
              </a:rPr>
              <a:t>their</a:t>
            </a:r>
            <a:r>
              <a:rPr lang="en-gb" sz="1400" dirty="0">
                <a:effectLst/>
                <a:ea typeface="Times New Roman" panose="02020603050405020304" pitchFamily="18" charset="0"/>
              </a:rPr>
              <a:t> head.</a:t>
            </a:r>
          </a:p>
          <a:p>
            <a:pPr marL="284400" lvl="1" indent="-284400" rtl="0" hangingPunct="0">
              <a:spcAft>
                <a:spcPts val="600"/>
              </a:spcAft>
              <a:buBlip>
                <a:blip r:embed="rId7"/>
              </a:buBlip>
              <a:tabLst>
                <a:tab pos="457200" algn="l"/>
                <a:tab pos="1586230" algn="l"/>
              </a:tabLst>
            </a:pPr>
            <a:r>
              <a:rPr lang="en-gb" sz="1400" dirty="0">
                <a:effectLst/>
                <a:ea typeface="Times New Roman" panose="02020603050405020304" pitchFamily="18" charset="0"/>
              </a:rPr>
              <a:t>Do not move the victim yourself!</a:t>
            </a:r>
            <a:r>
              <a:rPr lang="en-gb" sz="1400" dirty="0">
                <a:ea typeface="Times New Roman" panose="02020603050405020304" pitchFamily="18" charset="0"/>
              </a:rPr>
              <a:t> Do not let</a:t>
            </a:r>
            <a:r>
              <a:rPr lang="lv-LV" sz="1400" dirty="0">
                <a:ea typeface="Times New Roman" panose="02020603050405020304" pitchFamily="18" charset="0"/>
              </a:rPr>
              <a:t> </a:t>
            </a:r>
            <a:r>
              <a:rPr lang="en-gb" sz="1400" dirty="0">
                <a:effectLst/>
                <a:ea typeface="Times New Roman" panose="02020603050405020304" pitchFamily="18" charset="0"/>
              </a:rPr>
              <a:t>others move the victim!</a:t>
            </a:r>
          </a:p>
          <a:p>
            <a:pPr marL="284400" lvl="1" indent="-284400" rtl="0" hangingPunct="0">
              <a:spcAft>
                <a:spcPts val="600"/>
              </a:spcAft>
              <a:buBlip>
                <a:blip r:embed="rId7"/>
              </a:buBlip>
              <a:tabLst>
                <a:tab pos="457200" algn="l"/>
                <a:tab pos="1586230" algn="l"/>
              </a:tabLst>
            </a:pPr>
            <a:r>
              <a:rPr lang="lv-LV" sz="1400" dirty="0" err="1">
                <a:effectLst/>
                <a:ea typeface="Times New Roman" panose="02020603050405020304" pitchFamily="18" charset="0"/>
              </a:rPr>
              <a:t>Perform</a:t>
            </a:r>
            <a:r>
              <a:rPr lang="lv-LV" sz="1400" dirty="0">
                <a:effectLst/>
                <a:ea typeface="Times New Roman" panose="02020603050405020304" pitchFamily="18" charset="0"/>
              </a:rPr>
              <a:t> </a:t>
            </a:r>
            <a:r>
              <a:rPr lang="lv-LV" sz="1400" dirty="0" err="1">
                <a:effectLst/>
                <a:ea typeface="Times New Roman" panose="02020603050405020304" pitchFamily="18" charset="0"/>
              </a:rPr>
              <a:t>the</a:t>
            </a:r>
            <a:r>
              <a:rPr lang="lv-LV" sz="1400" dirty="0">
                <a:effectLst/>
                <a:ea typeface="Times New Roman" panose="02020603050405020304" pitchFamily="18" charset="0"/>
              </a:rPr>
              <a:t> </a:t>
            </a:r>
            <a:r>
              <a:rPr lang="lv-LV" sz="1400" dirty="0" err="1">
                <a:effectLst/>
                <a:ea typeface="Times New Roman" panose="02020603050405020304" pitchFamily="18" charset="0"/>
              </a:rPr>
              <a:t>necessary</a:t>
            </a:r>
            <a:r>
              <a:rPr lang="lv-LV" sz="1400" dirty="0">
                <a:effectLst/>
                <a:ea typeface="Times New Roman" panose="02020603050405020304" pitchFamily="18" charset="0"/>
              </a:rPr>
              <a:t> aid.</a:t>
            </a:r>
            <a:endParaRPr lang="en-gb" sz="1400" dirty="0">
              <a:effectLst/>
              <a:ea typeface="Times New Roman" panose="02020603050405020304" pitchFamily="18" charset="0"/>
            </a:endParaRPr>
          </a:p>
          <a:p>
            <a:pPr marL="284400" lvl="1" indent="-284400" rtl="0" hangingPunct="0">
              <a:spcAft>
                <a:spcPts val="600"/>
              </a:spcAft>
              <a:buBlip>
                <a:blip r:embed="rId7"/>
              </a:buBlip>
              <a:tabLst>
                <a:tab pos="457200" algn="l"/>
                <a:tab pos="1586230" algn="l"/>
              </a:tabLst>
            </a:pPr>
            <a:r>
              <a:rPr lang="en-gb" sz="1400" dirty="0">
                <a:effectLst/>
                <a:ea typeface="Times New Roman" panose="02020603050405020304" pitchFamily="18" charset="0"/>
              </a:rPr>
              <a:t>Care for, reassure the victim.</a:t>
            </a:r>
          </a:p>
          <a:p>
            <a:pPr marL="284400" lvl="1" indent="-284400" rtl="0" hangingPunct="0">
              <a:spcAft>
                <a:spcPts val="600"/>
              </a:spcAft>
              <a:buBlip>
                <a:blip r:embed="rId7"/>
              </a:buBlip>
              <a:tabLst>
                <a:tab pos="457200" algn="l"/>
                <a:tab pos="1586230" algn="l"/>
              </a:tabLst>
            </a:pPr>
            <a:r>
              <a:rPr lang="en-gb" sz="1400" dirty="0">
                <a:effectLst/>
                <a:ea typeface="Times New Roman" panose="02020603050405020304" pitchFamily="18" charset="0"/>
              </a:rPr>
              <a:t>Take resuscitation measures if necessary.</a:t>
            </a:r>
          </a:p>
        </p:txBody>
      </p:sp>
      <p:sp>
        <p:nvSpPr>
          <p:cNvPr id="5" name="Rectangle 4">
            <a:extLst>
              <a:ext uri="{FF2B5EF4-FFF2-40B4-BE49-F238E27FC236}">
                <a16:creationId xmlns:a16="http://schemas.microsoft.com/office/drawing/2014/main" id="{371FCDBA-9B9E-5D7C-1A41-4BD6B8898FF7}"/>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tx1"/>
                </a:solidFill>
              </a:rPr>
              <a:t>How to proceed?</a:t>
            </a:r>
          </a:p>
        </p:txBody>
      </p:sp>
      <p:sp>
        <p:nvSpPr>
          <p:cNvPr id="6" name="Rectangle 5">
            <a:extLst>
              <a:ext uri="{FF2B5EF4-FFF2-40B4-BE49-F238E27FC236}">
                <a16:creationId xmlns:a16="http://schemas.microsoft.com/office/drawing/2014/main" id="{28FF6910-3D7D-2213-DCB1-B257AC1B7F0F}"/>
              </a:ext>
            </a:extLst>
          </p:cNvPr>
          <p:cNvSpPr/>
          <p:nvPr/>
        </p:nvSpPr>
        <p:spPr>
          <a:xfrm>
            <a:off x="7619998" y="1822554"/>
            <a:ext cx="4129089"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bg1"/>
                </a:solidFill>
              </a:rPr>
              <a:t>Important!</a:t>
            </a:r>
          </a:p>
        </p:txBody>
      </p:sp>
      <p:sp>
        <p:nvSpPr>
          <p:cNvPr id="7" name="Content Placeholder 1">
            <a:extLst>
              <a:ext uri="{FF2B5EF4-FFF2-40B4-BE49-F238E27FC236}">
                <a16:creationId xmlns:a16="http://schemas.microsoft.com/office/drawing/2014/main" id="{F3879881-8630-2FDA-7C55-AF987ACAD725}"/>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9" name="Content Placeholder 1">
            <a:extLst>
              <a:ext uri="{FF2B5EF4-FFF2-40B4-BE49-F238E27FC236}">
                <a16:creationId xmlns:a16="http://schemas.microsoft.com/office/drawing/2014/main" id="{9409E1E2-8EA7-CC92-53FC-A8C9135E24B2}"/>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0" name="Content Placeholder 1">
            <a:extLst>
              <a:ext uri="{FF2B5EF4-FFF2-40B4-BE49-F238E27FC236}">
                <a16:creationId xmlns:a16="http://schemas.microsoft.com/office/drawing/2014/main" id="{89A4AC3B-C5BA-A4BE-AD67-5F7613F6FD1F}"/>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2" name="Content Placeholder 1">
            <a:extLst>
              <a:ext uri="{FF2B5EF4-FFF2-40B4-BE49-F238E27FC236}">
                <a16:creationId xmlns:a16="http://schemas.microsoft.com/office/drawing/2014/main" id="{9D2EC366-A88E-EB2D-A324-9B14F3953256}"/>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7" name="Google Shape;760;p79">
            <a:extLst>
              <a:ext uri="{FF2B5EF4-FFF2-40B4-BE49-F238E27FC236}">
                <a16:creationId xmlns:a16="http://schemas.microsoft.com/office/drawing/2014/main" id="{A924FF13-D704-21CA-9AB6-582C4BE0FAA4}"/>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4" name="Google Shape;794;p79">
            <a:extLst>
              <a:ext uri="{FF2B5EF4-FFF2-40B4-BE49-F238E27FC236}">
                <a16:creationId xmlns:a16="http://schemas.microsoft.com/office/drawing/2014/main" id="{562D4C91-BEE7-2D97-FADC-D6600BEB8A22}"/>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 name="Rectangle 1">
            <a:extLst>
              <a:ext uri="{FF2B5EF4-FFF2-40B4-BE49-F238E27FC236}">
                <a16:creationId xmlns:a16="http://schemas.microsoft.com/office/drawing/2014/main" id="{522041E8-8E88-02C5-E03A-E769C521DA8E}"/>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25" name="Group 24">
            <a:extLst>
              <a:ext uri="{FF2B5EF4-FFF2-40B4-BE49-F238E27FC236}">
                <a16:creationId xmlns:a16="http://schemas.microsoft.com/office/drawing/2014/main" id="{1109D70E-6C4A-B808-2E0F-25DA50FFAC3B}"/>
              </a:ext>
            </a:extLst>
          </p:cNvPr>
          <p:cNvGrpSpPr/>
          <p:nvPr/>
        </p:nvGrpSpPr>
        <p:grpSpPr>
          <a:xfrm>
            <a:off x="9842140" y="372216"/>
            <a:ext cx="1667215" cy="217488"/>
            <a:chOff x="9842140" y="372216"/>
            <a:chExt cx="1667215" cy="217488"/>
          </a:xfrm>
        </p:grpSpPr>
        <p:sp>
          <p:nvSpPr>
            <p:cNvPr id="26" name="TextBox 25">
              <a:extLst>
                <a:ext uri="{FF2B5EF4-FFF2-40B4-BE49-F238E27FC236}">
                  <a16:creationId xmlns:a16="http://schemas.microsoft.com/office/drawing/2014/main" id="{EBEA41E2-D524-614A-1D5A-D4E30027DBEB}"/>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rtl="0">
                <a:lnSpc>
                  <a:spcPct val="100000"/>
                </a:lnSpc>
                <a:spcAft>
                  <a:spcPts val="600"/>
                </a:spcAft>
                <a:buSzPct val="100000"/>
              </a:pPr>
              <a:r>
                <a:rPr lang="en-gb" sz="800">
                  <a:solidFill>
                    <a:schemeClr val="bg1"/>
                  </a:solidFill>
                </a:rPr>
                <a:t>Road traffic accident</a:t>
              </a:r>
            </a:p>
          </p:txBody>
        </p:sp>
        <p:sp>
          <p:nvSpPr>
            <p:cNvPr id="27" name="Freeform 49">
              <a:extLst>
                <a:ext uri="{FF2B5EF4-FFF2-40B4-BE49-F238E27FC236}">
                  <a16:creationId xmlns:a16="http://schemas.microsoft.com/office/drawing/2014/main" id="{B4EED10B-54A1-7B9A-DA53-46AB40847E3D}"/>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p>
          </p:txBody>
        </p:sp>
      </p:grpSp>
      <p:grpSp>
        <p:nvGrpSpPr>
          <p:cNvPr id="23" name="Group 22">
            <a:extLst>
              <a:ext uri="{FF2B5EF4-FFF2-40B4-BE49-F238E27FC236}">
                <a16:creationId xmlns:a16="http://schemas.microsoft.com/office/drawing/2014/main" id="{AD3C0535-B947-8E79-1764-D021F94A1A9C}"/>
              </a:ext>
            </a:extLst>
          </p:cNvPr>
          <p:cNvGrpSpPr/>
          <p:nvPr/>
        </p:nvGrpSpPr>
        <p:grpSpPr>
          <a:xfrm>
            <a:off x="9122935" y="126781"/>
            <a:ext cx="2626153" cy="217488"/>
            <a:chOff x="9122935" y="126781"/>
            <a:chExt cx="2626153" cy="217488"/>
          </a:xfrm>
        </p:grpSpPr>
        <p:sp>
          <p:nvSpPr>
            <p:cNvPr id="28" name="Rectangle 27">
              <a:extLst>
                <a:ext uri="{FF2B5EF4-FFF2-40B4-BE49-F238E27FC236}">
                  <a16:creationId xmlns:a16="http://schemas.microsoft.com/office/drawing/2014/main" id="{A7B01F1A-0326-65F2-59DB-B4309093BE5A}"/>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000000"/>
                  </a:solidFill>
                  <a:effectLst/>
                  <a:uLnTx/>
                  <a:uFillTx/>
                  <a:ea typeface="Georgia"/>
                  <a:cs typeface="Georgia"/>
                  <a:sym typeface="Georgia"/>
                </a:rPr>
                <a:t>First aid measures</a:t>
              </a:r>
            </a:p>
          </p:txBody>
        </p:sp>
        <p:sp>
          <p:nvSpPr>
            <p:cNvPr id="29" name="Rectangle 28">
              <a:extLst>
                <a:ext uri="{FF2B5EF4-FFF2-40B4-BE49-F238E27FC236}">
                  <a16:creationId xmlns:a16="http://schemas.microsoft.com/office/drawing/2014/main" id="{296DEB4A-97C4-EE64-2881-C1351345C39F}"/>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68AE335D-1A02-CD5E-014E-5570F70C1042}"/>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2" name="Rectangle 31">
              <a:extLst>
                <a:ext uri="{FF2B5EF4-FFF2-40B4-BE49-F238E27FC236}">
                  <a16:creationId xmlns:a16="http://schemas.microsoft.com/office/drawing/2014/main" id="{54CE0D09-1CA8-F51C-D546-222203127FAB}"/>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3" name="Rectangle 32">
              <a:extLst>
                <a:ext uri="{FF2B5EF4-FFF2-40B4-BE49-F238E27FC236}">
                  <a16:creationId xmlns:a16="http://schemas.microsoft.com/office/drawing/2014/main" id="{353C3FDD-0CBC-9A91-7A7A-CAE44863E4D1}"/>
                </a:ext>
              </a:extLst>
            </p:cNvPr>
            <p:cNvSpPr/>
            <p:nvPr/>
          </p:nvSpPr>
          <p:spPr>
            <a:xfrm>
              <a:off x="9842140"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7</a:t>
              </a:r>
              <a:r>
                <a:rPr lang="en-gb" sz="800" b="1" i="0" u="none" strike="noStrike" kern="0" cap="none" spc="0" normalizeH="0" noProof="0">
                  <a:ln>
                    <a:noFill/>
                  </a:ln>
                  <a:effectLst/>
                  <a:uLnTx/>
                  <a:uFillTx/>
                  <a:ea typeface="Georgia"/>
                  <a:cs typeface="Georgia"/>
                  <a:sym typeface="Georgia"/>
                </a:rPr>
                <a:t>.4</a:t>
              </a:r>
              <a:endParaRPr kumimoji="0" lang="lv-LV" sz="800" b="1" i="0" u="none" strike="noStrike" kern="0" cap="none" spc="0" normalizeH="0" baseline="0" noProof="0" dirty="0">
                <a:ln>
                  <a:noFill/>
                </a:ln>
                <a:effectLst/>
                <a:uLnTx/>
                <a:uFillTx/>
                <a:ea typeface="Georgia"/>
                <a:cs typeface="Georgia"/>
                <a:sym typeface="Georgia"/>
              </a:endParaRPr>
            </a:p>
          </p:txBody>
        </p:sp>
        <p:sp>
          <p:nvSpPr>
            <p:cNvPr id="34" name="Rectangle 33">
              <a:extLst>
                <a:ext uri="{FF2B5EF4-FFF2-40B4-BE49-F238E27FC236}">
                  <a16:creationId xmlns:a16="http://schemas.microsoft.com/office/drawing/2014/main" id="{4C1300F5-CF3F-75DE-D6D0-D95F924D364A}"/>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29769854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9E6BB6A-4571-FBF8-9A7D-06ADE4374D4D}"/>
              </a:ext>
            </a:extLst>
          </p:cNvPr>
          <p:cNvGraphicFramePr>
            <a:graphicFrameLocks noChangeAspect="1"/>
          </p:cNvGraphicFramePr>
          <p:nvPr>
            <p:custDataLst>
              <p:tags r:id="rId1"/>
            </p:custDataLst>
            <p:extLst>
              <p:ext uri="{D42A27DB-BD31-4B8C-83A1-F6EECF244321}">
                <p14:modId xmlns:p14="http://schemas.microsoft.com/office/powerpoint/2010/main" val="2020590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D9E6BB6A-4571-FBF8-9A7D-06ADE4374D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5BA4BF49-55EE-0385-3948-BE4386A9E008}"/>
              </a:ext>
            </a:extLst>
          </p:cNvPr>
          <p:cNvSpPr/>
          <p:nvPr/>
        </p:nvSpPr>
        <p:spPr>
          <a:xfrm>
            <a:off x="2651760" y="4513587"/>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400" b="1"/>
          </a:p>
        </p:txBody>
      </p:sp>
      <p:sp>
        <p:nvSpPr>
          <p:cNvPr id="6" name="Rectangle 5">
            <a:extLst>
              <a:ext uri="{FF2B5EF4-FFF2-40B4-BE49-F238E27FC236}">
                <a16:creationId xmlns:a16="http://schemas.microsoft.com/office/drawing/2014/main" id="{0C108BD1-931B-C37F-E823-CFBF6495B4F9}"/>
              </a:ext>
            </a:extLst>
          </p:cNvPr>
          <p:cNvSpPr/>
          <p:nvPr/>
        </p:nvSpPr>
        <p:spPr>
          <a:xfrm>
            <a:off x="2651760" y="2630366"/>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400" b="1"/>
          </a:p>
        </p:txBody>
      </p:sp>
      <p:sp>
        <p:nvSpPr>
          <p:cNvPr id="7" name="Rectangle 6">
            <a:extLst>
              <a:ext uri="{FF2B5EF4-FFF2-40B4-BE49-F238E27FC236}">
                <a16:creationId xmlns:a16="http://schemas.microsoft.com/office/drawing/2014/main" id="{9CF7A655-E6E9-63EB-75DB-94EADD3D2A7D}"/>
              </a:ext>
            </a:extLst>
          </p:cNvPr>
          <p:cNvSpPr/>
          <p:nvPr/>
        </p:nvSpPr>
        <p:spPr>
          <a:xfrm>
            <a:off x="2847530" y="2419349"/>
            <a:ext cx="4352925"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endParaRPr lang="lv-LV" sz="1400" b="1">
              <a:solidFill>
                <a:schemeClr val="tx1"/>
              </a:solidFill>
            </a:endParaRPr>
          </a:p>
        </p:txBody>
      </p:sp>
      <p:sp>
        <p:nvSpPr>
          <p:cNvPr id="8" name="Rectangle 7">
            <a:extLst>
              <a:ext uri="{FF2B5EF4-FFF2-40B4-BE49-F238E27FC236}">
                <a16:creationId xmlns:a16="http://schemas.microsoft.com/office/drawing/2014/main" id="{54F458ED-0455-E9E1-8DAA-F6F304736367}"/>
              </a:ext>
            </a:extLst>
          </p:cNvPr>
          <p:cNvSpPr/>
          <p:nvPr/>
        </p:nvSpPr>
        <p:spPr>
          <a:xfrm>
            <a:off x="7396160" y="2419349"/>
            <a:ext cx="4352925"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endParaRPr lang="lv-LV" sz="1400" b="1">
              <a:solidFill>
                <a:schemeClr val="tx1"/>
              </a:solidFill>
            </a:endParaRPr>
          </a:p>
        </p:txBody>
      </p:sp>
      <p:sp>
        <p:nvSpPr>
          <p:cNvPr id="10" name="Rectangle 9">
            <a:extLst>
              <a:ext uri="{FF2B5EF4-FFF2-40B4-BE49-F238E27FC236}">
                <a16:creationId xmlns:a16="http://schemas.microsoft.com/office/drawing/2014/main" id="{CEB1DE58-1273-6427-78D0-0FFAE6FC3C3A}"/>
              </a:ext>
            </a:extLst>
          </p:cNvPr>
          <p:cNvSpPr/>
          <p:nvPr/>
        </p:nvSpPr>
        <p:spPr>
          <a:xfrm>
            <a:off x="7396160" y="1830995"/>
            <a:ext cx="435292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bg1"/>
                </a:solidFill>
              </a:rPr>
              <a:t>Important!</a:t>
            </a:r>
          </a:p>
        </p:txBody>
      </p:sp>
      <p:sp>
        <p:nvSpPr>
          <p:cNvPr id="11" name="Content Placeholder 1">
            <a:extLst>
              <a:ext uri="{FF2B5EF4-FFF2-40B4-BE49-F238E27FC236}">
                <a16:creationId xmlns:a16="http://schemas.microsoft.com/office/drawing/2014/main" id="{1736B751-27DD-8526-9C16-4CB53A668A21}"/>
              </a:ext>
            </a:extLst>
          </p:cNvPr>
          <p:cNvSpPr txBox="1">
            <a:spLocks/>
          </p:cNvSpPr>
          <p:nvPr/>
        </p:nvSpPr>
        <p:spPr>
          <a:xfrm>
            <a:off x="11173087" y="18309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2" name="Content Placeholder 1">
            <a:extLst>
              <a:ext uri="{FF2B5EF4-FFF2-40B4-BE49-F238E27FC236}">
                <a16:creationId xmlns:a16="http://schemas.microsoft.com/office/drawing/2014/main" id="{6657A6A7-AA52-6ECB-537C-148049F71322}"/>
              </a:ext>
            </a:extLst>
          </p:cNvPr>
          <p:cNvSpPr txBox="1">
            <a:spLocks/>
          </p:cNvSpPr>
          <p:nvPr/>
        </p:nvSpPr>
        <p:spPr>
          <a:xfrm>
            <a:off x="11101699" y="18309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3" name="Google Shape;794;p79">
            <a:extLst>
              <a:ext uri="{FF2B5EF4-FFF2-40B4-BE49-F238E27FC236}">
                <a16:creationId xmlns:a16="http://schemas.microsoft.com/office/drawing/2014/main" id="{E8ECD8CD-346E-E8A1-05C6-5A3EDEFEE438}"/>
              </a:ext>
            </a:extLst>
          </p:cNvPr>
          <p:cNvSpPr/>
          <p:nvPr/>
        </p:nvSpPr>
        <p:spPr>
          <a:xfrm>
            <a:off x="11281087" y="19389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4" name="Rectangle 13">
            <a:extLst>
              <a:ext uri="{FF2B5EF4-FFF2-40B4-BE49-F238E27FC236}">
                <a16:creationId xmlns:a16="http://schemas.microsoft.com/office/drawing/2014/main" id="{67968481-ED46-EB04-41C6-22754AB5F1B4}"/>
              </a:ext>
            </a:extLst>
          </p:cNvPr>
          <p:cNvSpPr/>
          <p:nvPr/>
        </p:nvSpPr>
        <p:spPr>
          <a:xfrm>
            <a:off x="2847530" y="1830995"/>
            <a:ext cx="435286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tx1"/>
                </a:solidFill>
              </a:rPr>
              <a:t>How to proceed?</a:t>
            </a:r>
          </a:p>
        </p:txBody>
      </p:sp>
      <p:sp>
        <p:nvSpPr>
          <p:cNvPr id="15" name="Content Placeholder 1">
            <a:extLst>
              <a:ext uri="{FF2B5EF4-FFF2-40B4-BE49-F238E27FC236}">
                <a16:creationId xmlns:a16="http://schemas.microsoft.com/office/drawing/2014/main" id="{B4D5CBC7-C789-0D39-2A29-F5471373EBF8}"/>
              </a:ext>
            </a:extLst>
          </p:cNvPr>
          <p:cNvSpPr txBox="1">
            <a:spLocks/>
          </p:cNvSpPr>
          <p:nvPr/>
        </p:nvSpPr>
        <p:spPr>
          <a:xfrm>
            <a:off x="6624391" y="183099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7" name="Content Placeholder 1">
            <a:extLst>
              <a:ext uri="{FF2B5EF4-FFF2-40B4-BE49-F238E27FC236}">
                <a16:creationId xmlns:a16="http://schemas.microsoft.com/office/drawing/2014/main" id="{0E97A79C-D46F-89A9-5909-77B07A15BB5F}"/>
              </a:ext>
            </a:extLst>
          </p:cNvPr>
          <p:cNvSpPr txBox="1">
            <a:spLocks/>
          </p:cNvSpPr>
          <p:nvPr/>
        </p:nvSpPr>
        <p:spPr>
          <a:xfrm>
            <a:off x="6553003" y="183099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9" name="Google Shape;760;p79">
            <a:extLst>
              <a:ext uri="{FF2B5EF4-FFF2-40B4-BE49-F238E27FC236}">
                <a16:creationId xmlns:a16="http://schemas.microsoft.com/office/drawing/2014/main" id="{025AFCB6-1E4F-767E-BB59-D69827B5EA75}"/>
              </a:ext>
            </a:extLst>
          </p:cNvPr>
          <p:cNvSpPr/>
          <p:nvPr/>
        </p:nvSpPr>
        <p:spPr>
          <a:xfrm>
            <a:off x="6732391" y="1938995"/>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6" name="Rectangle 35">
            <a:extLst>
              <a:ext uri="{FF2B5EF4-FFF2-40B4-BE49-F238E27FC236}">
                <a16:creationId xmlns:a16="http://schemas.microsoft.com/office/drawing/2014/main" id="{A8F39C25-781C-A7DA-387A-D92FCABEE1F5}"/>
              </a:ext>
            </a:extLst>
          </p:cNvPr>
          <p:cNvSpPr/>
          <p:nvPr/>
        </p:nvSpPr>
        <p:spPr>
          <a:xfrm>
            <a:off x="442912" y="2630366"/>
            <a:ext cx="2208847" cy="165893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rtl="0">
              <a:lnSpc>
                <a:spcPct val="100000"/>
              </a:lnSpc>
            </a:pPr>
            <a:r>
              <a:rPr lang="lv-LV" sz="1400" b="1" dirty="0" err="1"/>
              <a:t>Animal</a:t>
            </a:r>
            <a:r>
              <a:rPr lang="lv-LV" sz="1400" b="1" dirty="0"/>
              <a:t> bite</a:t>
            </a:r>
            <a:endParaRPr lang="en-gb" sz="1400" b="1" dirty="0"/>
          </a:p>
        </p:txBody>
      </p:sp>
      <p:sp>
        <p:nvSpPr>
          <p:cNvPr id="37" name="Rectangle 36">
            <a:extLst>
              <a:ext uri="{FF2B5EF4-FFF2-40B4-BE49-F238E27FC236}">
                <a16:creationId xmlns:a16="http://schemas.microsoft.com/office/drawing/2014/main" id="{BD11DB78-D65B-9D3C-EED7-1721F1C9BCF6}"/>
              </a:ext>
            </a:extLst>
          </p:cNvPr>
          <p:cNvSpPr/>
          <p:nvPr/>
        </p:nvSpPr>
        <p:spPr>
          <a:xfrm>
            <a:off x="442912" y="4513587"/>
            <a:ext cx="2208847" cy="165893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rtl="0">
              <a:lnSpc>
                <a:spcPct val="100000"/>
              </a:lnSpc>
            </a:pPr>
            <a:r>
              <a:rPr lang="en-gb" sz="1400" b="1"/>
              <a:t>Snake bite</a:t>
            </a:r>
          </a:p>
        </p:txBody>
      </p:sp>
      <p:sp>
        <p:nvSpPr>
          <p:cNvPr id="38" name="Content Placeholder 1">
            <a:extLst>
              <a:ext uri="{FF2B5EF4-FFF2-40B4-BE49-F238E27FC236}">
                <a16:creationId xmlns:a16="http://schemas.microsoft.com/office/drawing/2014/main" id="{7B1F3CCD-2DE1-C2A8-D340-EAF5B3993679}"/>
              </a:ext>
            </a:extLst>
          </p:cNvPr>
          <p:cNvSpPr txBox="1">
            <a:spLocks/>
          </p:cNvSpPr>
          <p:nvPr/>
        </p:nvSpPr>
        <p:spPr>
          <a:xfrm>
            <a:off x="2579759" y="2630366"/>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39" name="Content Placeholder 1">
            <a:extLst>
              <a:ext uri="{FF2B5EF4-FFF2-40B4-BE49-F238E27FC236}">
                <a16:creationId xmlns:a16="http://schemas.microsoft.com/office/drawing/2014/main" id="{DCB78F50-A328-CF00-9A1A-F2F677D9CB38}"/>
              </a:ext>
            </a:extLst>
          </p:cNvPr>
          <p:cNvSpPr txBox="1">
            <a:spLocks/>
          </p:cNvSpPr>
          <p:nvPr/>
        </p:nvSpPr>
        <p:spPr>
          <a:xfrm>
            <a:off x="2579759" y="4513587"/>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rtlCol="0"/>
          <a:lstStyle/>
          <a:p>
            <a:pPr rtl="0"/>
            <a:r>
              <a:rPr lang="en-gb" dirty="0"/>
              <a:t>How to deal with </a:t>
            </a:r>
            <a:r>
              <a:rPr lang="lv-LV" dirty="0" err="1"/>
              <a:t>accidents</a:t>
            </a:r>
            <a:r>
              <a:rPr lang="lv-LV" dirty="0"/>
              <a:t> </a:t>
            </a:r>
            <a:r>
              <a:rPr lang="lv-LV" dirty="0" err="1"/>
              <a:t>caused</a:t>
            </a:r>
            <a:r>
              <a:rPr lang="lv-LV" dirty="0"/>
              <a:t> </a:t>
            </a:r>
            <a:r>
              <a:rPr lang="lv-LV" dirty="0" err="1"/>
              <a:t>by</a:t>
            </a:r>
            <a:r>
              <a:rPr lang="lv-LV" dirty="0"/>
              <a:t> </a:t>
            </a:r>
            <a:r>
              <a:rPr lang="lv-LV" dirty="0" err="1"/>
              <a:t>animals</a:t>
            </a:r>
            <a:r>
              <a:rPr lang="en-gb" dirty="0"/>
              <a:t>?</a:t>
            </a:r>
            <a:endParaRPr lang="en-GB" dirty="0"/>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rtlCol="0"/>
          <a:lstStyle/>
          <a:p>
            <a:pPr rtl="0"/>
            <a:fld id="{7870704B-CE94-48CC-AF30-84932A1262A7}" type="slidenum">
              <a:rPr lang="en-GB" smtClean="0"/>
              <a:pPr rtl="0"/>
              <a:t>36</a:t>
            </a:fld>
            <a:endParaRPr lang="en-GB"/>
          </a:p>
        </p:txBody>
      </p:sp>
      <p:sp>
        <p:nvSpPr>
          <p:cNvPr id="16" name="TextBox 15">
            <a:extLst>
              <a:ext uri="{FF2B5EF4-FFF2-40B4-BE49-F238E27FC236}">
                <a16:creationId xmlns:a16="http://schemas.microsoft.com/office/drawing/2014/main" id="{30819613-CE74-49B6-0807-44FDBB81D466}"/>
              </a:ext>
            </a:extLst>
          </p:cNvPr>
          <p:cNvSpPr txBox="1"/>
          <p:nvPr/>
        </p:nvSpPr>
        <p:spPr>
          <a:xfrm>
            <a:off x="2847530" y="2630366"/>
            <a:ext cx="4352925" cy="1658938"/>
          </a:xfrm>
          <a:prstGeom prst="rect">
            <a:avLst/>
          </a:prstGeom>
          <a:noFill/>
        </p:spPr>
        <p:txBody>
          <a:bodyPr wrap="square" lIns="72000" rIns="0" rtlCol="0" anchor="ctr">
            <a:noAutofit/>
          </a:bodyPr>
          <a:lstStyle/>
          <a:p>
            <a:pPr marL="284400" lvl="0" indent="-284400" rtl="0" hangingPunct="0">
              <a:buSzPts val="1200"/>
              <a:buBlip>
                <a:blip r:embed="rId6"/>
              </a:buBlip>
            </a:pPr>
            <a:r>
              <a:rPr lang="en-gb" sz="1400" dirty="0">
                <a:effectLst/>
                <a:ea typeface="Calibri" panose="020F0502020204030204" pitchFamily="34" charset="0"/>
                <a:cs typeface="Times New Roman" panose="02020603050405020304" pitchFamily="18" charset="0"/>
              </a:rPr>
              <a:t>If the wound is bleeding heavily, wash it with soap and water.</a:t>
            </a:r>
          </a:p>
          <a:p>
            <a:pPr marL="284400" lvl="0" indent="-284400" rtl="0" hangingPunct="0">
              <a:buSzPts val="1200"/>
              <a:buBlip>
                <a:blip r:embed="rId6"/>
              </a:buBlip>
            </a:pPr>
            <a:r>
              <a:rPr lang="en-gb" sz="1400" dirty="0">
                <a:effectLst/>
                <a:ea typeface="Calibri" panose="020F0502020204030204" pitchFamily="34" charset="0"/>
                <a:cs typeface="Times New Roman" panose="02020603050405020304" pitchFamily="18" charset="0"/>
              </a:rPr>
              <a:t>Bandage the wound.</a:t>
            </a:r>
          </a:p>
          <a:p>
            <a:pPr marL="284400" lvl="0" indent="-284400" rtl="0" hangingPunct="0">
              <a:buSzPts val="1200"/>
              <a:buBlip>
                <a:blip r:embed="rId6"/>
              </a:buBlip>
            </a:pPr>
            <a:r>
              <a:rPr lang="en-gb" sz="1400" dirty="0">
                <a:ea typeface="Calibri" panose="020F0502020204030204" pitchFamily="34" charset="0"/>
                <a:cs typeface="Times New Roman" panose="02020603050405020304" pitchFamily="18" charset="0"/>
              </a:rPr>
              <a:t>Call an ambulance.</a:t>
            </a:r>
            <a:endParaRPr lang="lv-LV" sz="1400" dirty="0">
              <a:effectLst/>
              <a:ea typeface="Calibri" panose="020F0502020204030204" pitchFamily="34" charset="0"/>
              <a:cs typeface="Times New Roman" panose="02020603050405020304" pitchFamily="18" charset="0"/>
            </a:endParaRPr>
          </a:p>
          <a:p>
            <a:pPr marL="0" lvl="1" rtl="0" hangingPunct="0">
              <a:tabLst>
                <a:tab pos="457200" algn="l"/>
                <a:tab pos="1586230" algn="l"/>
              </a:tabLst>
            </a:pPr>
            <a:endParaRPr lang="lv-LV" sz="1400" dirty="0">
              <a:ea typeface="Times New Roman" panose="02020603050405020304" pitchFamily="18" charset="0"/>
            </a:endParaRPr>
          </a:p>
          <a:p>
            <a:pPr marL="0" lvl="1" rtl="0" hangingPunct="0">
              <a:tabLst>
                <a:tab pos="457200" algn="l"/>
                <a:tab pos="1586230" algn="l"/>
              </a:tabLst>
            </a:pPr>
            <a:r>
              <a:rPr lang="en-gb" sz="1600" b="1" dirty="0">
                <a:solidFill>
                  <a:schemeClr val="accent2"/>
                </a:solidFill>
                <a:effectLst/>
                <a:ea typeface="Times New Roman" panose="02020603050405020304" pitchFamily="18" charset="0"/>
              </a:rPr>
              <a:t>     </a:t>
            </a:r>
            <a:r>
              <a:rPr lang="en-gb" sz="1600" b="1" dirty="0" err="1">
                <a:solidFill>
                  <a:schemeClr val="accent2"/>
                </a:solidFill>
                <a:effectLst/>
                <a:ea typeface="Times New Roman" panose="02020603050405020304" pitchFamily="18" charset="0"/>
              </a:rPr>
              <a:t>Dange</a:t>
            </a:r>
            <a:r>
              <a:rPr lang="lv-LV" sz="1600" b="1" dirty="0">
                <a:solidFill>
                  <a:schemeClr val="accent2"/>
                </a:solidFill>
                <a:effectLst/>
                <a:ea typeface="Times New Roman" panose="02020603050405020304" pitchFamily="18" charset="0"/>
              </a:rPr>
              <a:t>r</a:t>
            </a:r>
            <a:r>
              <a:rPr lang="en-gb" sz="1600" b="1" dirty="0">
                <a:solidFill>
                  <a:schemeClr val="accent2"/>
                </a:solidFill>
                <a:effectLst/>
                <a:ea typeface="Times New Roman" panose="02020603050405020304" pitchFamily="18" charset="0"/>
              </a:rPr>
              <a:t>! Risk of rabies infection!</a:t>
            </a:r>
            <a:endParaRPr lang="en-GB" sz="1600" b="1" dirty="0">
              <a:solidFill>
                <a:schemeClr val="accent2"/>
              </a:solidFill>
              <a:effectLst/>
              <a:ea typeface="Times New Roman" panose="02020603050405020304" pitchFamily="18" charset="0"/>
            </a:endParaRPr>
          </a:p>
        </p:txBody>
      </p:sp>
      <p:sp>
        <p:nvSpPr>
          <p:cNvPr id="18" name="TextBox 17">
            <a:extLst>
              <a:ext uri="{FF2B5EF4-FFF2-40B4-BE49-F238E27FC236}">
                <a16:creationId xmlns:a16="http://schemas.microsoft.com/office/drawing/2014/main" id="{E1D4AC8F-0322-E8A8-E509-5AF71473A8F4}"/>
              </a:ext>
            </a:extLst>
          </p:cNvPr>
          <p:cNvSpPr txBox="1"/>
          <p:nvPr/>
        </p:nvSpPr>
        <p:spPr>
          <a:xfrm>
            <a:off x="7396160" y="2630366"/>
            <a:ext cx="4352925" cy="1658938"/>
          </a:xfrm>
          <a:prstGeom prst="rect">
            <a:avLst/>
          </a:prstGeom>
          <a:noFill/>
        </p:spPr>
        <p:txBody>
          <a:bodyPr wrap="square" lIns="72000" rIns="72000" rtlCol="0" anchor="ctr">
            <a:noAutofit/>
          </a:bodyPr>
          <a:lstStyle/>
          <a:p>
            <a:pPr marL="284400" lvl="0" indent="-284400" rtl="0" hangingPunct="0">
              <a:buSzPts val="1200"/>
              <a:buBlip>
                <a:blip r:embed="rId6"/>
              </a:buBlip>
            </a:pPr>
            <a:r>
              <a:rPr lang="en-gb" sz="1400">
                <a:effectLst/>
                <a:ea typeface="Calibri" panose="020F0502020204030204" pitchFamily="34" charset="0"/>
                <a:cs typeface="Times New Roman" panose="02020603050405020304" pitchFamily="18" charset="0"/>
              </a:rPr>
              <a:t>If the wound is bleeding heavily, do not wash it and proceed as described in the section 'Heavy bleeding'.</a:t>
            </a:r>
          </a:p>
          <a:p>
            <a:pPr marL="284400" lvl="0" indent="-284400" rtl="0" hangingPunct="0">
              <a:buSzPts val="1200"/>
              <a:buBlip>
                <a:blip r:embed="rId6"/>
              </a:buBlip>
            </a:pPr>
            <a:r>
              <a:rPr lang="en-gb" sz="1400">
                <a:effectLst/>
                <a:ea typeface="Calibri" panose="020F0502020204030204" pitchFamily="34" charset="0"/>
                <a:cs typeface="Times New Roman" panose="02020603050405020304" pitchFamily="18" charset="0"/>
              </a:rPr>
              <a:t>Vaccination immediately after an animal bite protects against rabies.</a:t>
            </a:r>
          </a:p>
        </p:txBody>
      </p:sp>
      <p:sp>
        <p:nvSpPr>
          <p:cNvPr id="20" name="TextBox 19">
            <a:extLst>
              <a:ext uri="{FF2B5EF4-FFF2-40B4-BE49-F238E27FC236}">
                <a16:creationId xmlns:a16="http://schemas.microsoft.com/office/drawing/2014/main" id="{BCB0856A-D775-E9B2-A22B-A661D9F8D43C}"/>
              </a:ext>
            </a:extLst>
          </p:cNvPr>
          <p:cNvSpPr txBox="1"/>
          <p:nvPr/>
        </p:nvSpPr>
        <p:spPr>
          <a:xfrm>
            <a:off x="2847530" y="4513587"/>
            <a:ext cx="4352925" cy="1658938"/>
          </a:xfrm>
          <a:prstGeom prst="rect">
            <a:avLst/>
          </a:prstGeom>
          <a:noFill/>
        </p:spPr>
        <p:txBody>
          <a:bodyPr wrap="square" lIns="72000" rIns="72000" rtlCol="0" anchor="ctr">
            <a:noAutofit/>
          </a:bodyPr>
          <a:lstStyle/>
          <a:p>
            <a:pPr marL="342900" lvl="0" indent="-342900" rtl="0" hangingPunct="0">
              <a:buSzPts val="1200"/>
              <a:buFont typeface="+mj-lt"/>
              <a:buAutoNum type="arabicPeriod"/>
            </a:pPr>
            <a:endParaRPr lang="lv-LV" sz="1400">
              <a:effectLst/>
              <a:ea typeface="Calibri" panose="020F0502020204030204" pitchFamily="34" charset="0"/>
              <a:cs typeface="Times New Roman" panose="02020603050405020304" pitchFamily="18" charset="0"/>
            </a:endParaRPr>
          </a:p>
        </p:txBody>
      </p:sp>
      <p:sp>
        <p:nvSpPr>
          <p:cNvPr id="22" name="TextBox 21">
            <a:extLst>
              <a:ext uri="{FF2B5EF4-FFF2-40B4-BE49-F238E27FC236}">
                <a16:creationId xmlns:a16="http://schemas.microsoft.com/office/drawing/2014/main" id="{044C1CE5-09D8-63ED-7E23-4A59A70CC41B}"/>
              </a:ext>
            </a:extLst>
          </p:cNvPr>
          <p:cNvSpPr txBox="1"/>
          <p:nvPr/>
        </p:nvSpPr>
        <p:spPr>
          <a:xfrm>
            <a:off x="7396160" y="4513587"/>
            <a:ext cx="4352925" cy="1658938"/>
          </a:xfrm>
          <a:prstGeom prst="rect">
            <a:avLst/>
          </a:prstGeom>
          <a:noFill/>
        </p:spPr>
        <p:txBody>
          <a:bodyPr wrap="square" lIns="72000" rIns="72000" rtlCol="0" anchor="ctr">
            <a:noAutofit/>
          </a:bodyPr>
          <a:lstStyle/>
          <a:p>
            <a:pPr marL="284400" lvl="0" indent="-284400" rtl="0" hangingPunct="0">
              <a:buBlip>
                <a:blip r:embed="rId6"/>
              </a:buBlip>
            </a:pPr>
            <a:r>
              <a:rPr lang="en-gb" sz="1400" dirty="0">
                <a:effectLst/>
                <a:ea typeface="Calibri" panose="020F0502020204030204" pitchFamily="34" charset="0"/>
                <a:cs typeface="Times New Roman" panose="02020603050405020304" pitchFamily="18" charset="0"/>
              </a:rPr>
              <a:t>Do not </a:t>
            </a:r>
            <a:r>
              <a:rPr lang="lv-LV" sz="1400" dirty="0" err="1">
                <a:effectLst/>
                <a:ea typeface="Calibri" panose="020F0502020204030204" pitchFamily="34" charset="0"/>
                <a:cs typeface="Times New Roman" panose="02020603050405020304" pitchFamily="18" charset="0"/>
              </a:rPr>
              <a:t>use</a:t>
            </a:r>
            <a:r>
              <a:rPr lang="lv-LV" sz="1400" dirty="0">
                <a:effectLst/>
                <a:ea typeface="Calibri" panose="020F0502020204030204" pitchFamily="34" charset="0"/>
                <a:cs typeface="Times New Roman" panose="02020603050405020304" pitchFamily="18" charset="0"/>
              </a:rPr>
              <a:t> a </a:t>
            </a:r>
            <a:r>
              <a:rPr lang="lv-LV" sz="1400" dirty="0" err="1">
                <a:effectLst/>
                <a:ea typeface="Calibri" panose="020F0502020204030204" pitchFamily="34" charset="0"/>
                <a:cs typeface="Times New Roman" panose="02020603050405020304" pitchFamily="18" charset="0"/>
              </a:rPr>
              <a:t>tourniquet</a:t>
            </a:r>
            <a:r>
              <a:rPr lang="en-gb" sz="1400" dirty="0">
                <a:effectLst/>
                <a:ea typeface="Calibri" panose="020F0502020204030204" pitchFamily="34" charset="0"/>
                <a:cs typeface="Times New Roman" panose="02020603050405020304" pitchFamily="18" charset="0"/>
              </a:rPr>
              <a:t> or bandage, </a:t>
            </a:r>
            <a:r>
              <a:rPr lang="lv-LV" sz="1400" dirty="0">
                <a:effectLst/>
                <a:ea typeface="Calibri" panose="020F0502020204030204" pitchFamily="34" charset="0"/>
                <a:cs typeface="Times New Roman" panose="02020603050405020304" pitchFamily="18" charset="0"/>
              </a:rPr>
              <a:t>do </a:t>
            </a:r>
            <a:r>
              <a:rPr lang="lv-LV" sz="1400" dirty="0" err="1">
                <a:effectLst/>
                <a:ea typeface="Calibri" panose="020F0502020204030204" pitchFamily="34" charset="0"/>
                <a:cs typeface="Times New Roman" panose="02020603050405020304" pitchFamily="18" charset="0"/>
              </a:rPr>
              <a:t>not</a:t>
            </a:r>
            <a:r>
              <a:rPr lang="lv-LV" sz="1400" dirty="0">
                <a:effectLst/>
                <a:ea typeface="Calibri" panose="020F0502020204030204" pitchFamily="34" charset="0"/>
                <a:cs typeface="Times New Roman" panose="02020603050405020304" pitchFamily="18" charset="0"/>
              </a:rPr>
              <a:t> attempt to </a:t>
            </a:r>
            <a:r>
              <a:rPr lang="en-gb" sz="1400" dirty="0">
                <a:effectLst/>
                <a:ea typeface="Calibri" panose="020F0502020204030204" pitchFamily="34" charset="0"/>
                <a:cs typeface="Times New Roman" panose="02020603050405020304" pitchFamily="18" charset="0"/>
              </a:rPr>
              <a:t>suck</a:t>
            </a:r>
            <a:r>
              <a:rPr lang="lv-LV" sz="1400" dirty="0">
                <a:effectLst/>
                <a:ea typeface="Calibri" panose="020F0502020204030204" pitchFamily="34" charset="0"/>
                <a:cs typeface="Times New Roman" panose="02020603050405020304" pitchFamily="18" charset="0"/>
              </a:rPr>
              <a:t> </a:t>
            </a:r>
            <a:r>
              <a:rPr lang="lv-LV" sz="1400" dirty="0" err="1">
                <a:effectLst/>
                <a:ea typeface="Calibri" panose="020F0502020204030204" pitchFamily="34" charset="0"/>
                <a:cs typeface="Times New Roman" panose="02020603050405020304" pitchFamily="18" charset="0"/>
              </a:rPr>
              <a:t>out</a:t>
            </a:r>
            <a:r>
              <a:rPr lang="lv-LV" sz="1400" dirty="0">
                <a:effectLst/>
                <a:ea typeface="Calibri" panose="020F0502020204030204" pitchFamily="34" charset="0"/>
                <a:cs typeface="Times New Roman" panose="02020603050405020304" pitchFamily="18" charset="0"/>
              </a:rPr>
              <a:t> </a:t>
            </a:r>
            <a:r>
              <a:rPr lang="lv-LV" sz="1400" dirty="0" err="1">
                <a:effectLst/>
                <a:ea typeface="Calibri" panose="020F0502020204030204" pitchFamily="34" charset="0"/>
                <a:cs typeface="Times New Roman" panose="02020603050405020304" pitchFamily="18" charset="0"/>
              </a:rPr>
              <a:t>the</a:t>
            </a:r>
            <a:r>
              <a:rPr lang="lv-LV" sz="1400" dirty="0">
                <a:effectLst/>
                <a:ea typeface="Calibri" panose="020F0502020204030204" pitchFamily="34" charset="0"/>
                <a:cs typeface="Times New Roman" panose="02020603050405020304" pitchFamily="18" charset="0"/>
              </a:rPr>
              <a:t> </a:t>
            </a:r>
            <a:r>
              <a:rPr lang="lv-LV" sz="1400" dirty="0" err="1">
                <a:effectLst/>
                <a:ea typeface="Calibri" panose="020F0502020204030204" pitchFamily="34" charset="0"/>
                <a:cs typeface="Times New Roman" panose="02020603050405020304" pitchFamily="18" charset="0"/>
              </a:rPr>
              <a:t>venom</a:t>
            </a:r>
            <a:r>
              <a:rPr lang="en-gb" sz="1400" dirty="0">
                <a:effectLst/>
                <a:ea typeface="Calibri" panose="020F0502020204030204" pitchFamily="34" charset="0"/>
                <a:cs typeface="Times New Roman" panose="02020603050405020304" pitchFamily="18" charset="0"/>
              </a:rPr>
              <a:t>,</a:t>
            </a:r>
            <a:r>
              <a:rPr lang="lv-LV" sz="1400" dirty="0">
                <a:effectLst/>
                <a:ea typeface="Calibri" panose="020F0502020204030204" pitchFamily="34" charset="0"/>
                <a:cs typeface="Times New Roman" panose="02020603050405020304" pitchFamily="18" charset="0"/>
              </a:rPr>
              <a:t> do </a:t>
            </a:r>
            <a:r>
              <a:rPr lang="lv-LV" sz="1400" dirty="0" err="1">
                <a:effectLst/>
                <a:ea typeface="Calibri" panose="020F0502020204030204" pitchFamily="34" charset="0"/>
                <a:cs typeface="Times New Roman" panose="02020603050405020304" pitchFamily="18" charset="0"/>
              </a:rPr>
              <a:t>not</a:t>
            </a:r>
            <a:r>
              <a:rPr lang="en-gb" sz="1400" dirty="0">
                <a:effectLst/>
                <a:ea typeface="Calibri" panose="020F0502020204030204" pitchFamily="34" charset="0"/>
                <a:cs typeface="Times New Roman" panose="02020603050405020304" pitchFamily="18" charset="0"/>
              </a:rPr>
              <a:t> cut or burn.</a:t>
            </a:r>
          </a:p>
          <a:p>
            <a:pPr marL="284400" lvl="0" indent="-284400" rtl="0" hangingPunct="0">
              <a:buBlip>
                <a:blip r:embed="rId6"/>
              </a:buBlip>
            </a:pPr>
            <a:r>
              <a:rPr lang="en-gb" sz="1400" dirty="0">
                <a:effectLst/>
                <a:ea typeface="Calibri" panose="020F0502020204030204" pitchFamily="34" charset="0"/>
                <a:cs typeface="Times New Roman" panose="02020603050405020304" pitchFamily="18" charset="0"/>
              </a:rPr>
              <a:t>Pay particular attention to calming the victim.</a:t>
            </a:r>
          </a:p>
        </p:txBody>
      </p:sp>
      <p:sp>
        <p:nvSpPr>
          <p:cNvPr id="46" name="Google Shape;616;p77">
            <a:extLst>
              <a:ext uri="{FF2B5EF4-FFF2-40B4-BE49-F238E27FC236}">
                <a16:creationId xmlns:a16="http://schemas.microsoft.com/office/drawing/2014/main" id="{87F6084C-15E9-620D-F93C-647D2A57DDF8}"/>
              </a:ext>
            </a:extLst>
          </p:cNvPr>
          <p:cNvSpPr/>
          <p:nvPr/>
        </p:nvSpPr>
        <p:spPr>
          <a:xfrm>
            <a:off x="2023691" y="3724727"/>
            <a:ext cx="360363" cy="360363"/>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551"/>
                </a:moveTo>
                <a:cubicBezTo>
                  <a:pt x="25" y="551"/>
                  <a:pt x="25" y="551"/>
                  <a:pt x="25" y="551"/>
                </a:cubicBezTo>
                <a:cubicBezTo>
                  <a:pt x="25" y="25"/>
                  <a:pt x="25" y="25"/>
                  <a:pt x="25" y="25"/>
                </a:cubicBezTo>
                <a:cubicBezTo>
                  <a:pt x="552" y="25"/>
                  <a:pt x="552" y="25"/>
                  <a:pt x="552" y="25"/>
                </a:cubicBezTo>
                <a:lnTo>
                  <a:pt x="552" y="551"/>
                </a:lnTo>
                <a:close/>
                <a:moveTo>
                  <a:pt x="395" y="491"/>
                </a:moveTo>
                <a:cubicBezTo>
                  <a:pt x="378" y="491"/>
                  <a:pt x="362" y="487"/>
                  <a:pt x="345" y="482"/>
                </a:cubicBezTo>
                <a:cubicBezTo>
                  <a:pt x="326" y="477"/>
                  <a:pt x="307" y="472"/>
                  <a:pt x="285" y="472"/>
                </a:cubicBezTo>
                <a:cubicBezTo>
                  <a:pt x="264" y="472"/>
                  <a:pt x="245" y="477"/>
                  <a:pt x="226" y="482"/>
                </a:cubicBezTo>
                <a:cubicBezTo>
                  <a:pt x="206" y="487"/>
                  <a:pt x="188" y="492"/>
                  <a:pt x="168" y="491"/>
                </a:cubicBezTo>
                <a:cubicBezTo>
                  <a:pt x="152" y="489"/>
                  <a:pt x="138" y="473"/>
                  <a:pt x="130" y="446"/>
                </a:cubicBezTo>
                <a:cubicBezTo>
                  <a:pt x="122" y="418"/>
                  <a:pt x="122" y="384"/>
                  <a:pt x="141" y="370"/>
                </a:cubicBezTo>
                <a:cubicBezTo>
                  <a:pt x="150" y="364"/>
                  <a:pt x="157" y="360"/>
                  <a:pt x="164" y="356"/>
                </a:cubicBezTo>
                <a:cubicBezTo>
                  <a:pt x="174" y="351"/>
                  <a:pt x="181" y="348"/>
                  <a:pt x="189" y="336"/>
                </a:cubicBezTo>
                <a:cubicBezTo>
                  <a:pt x="192" y="332"/>
                  <a:pt x="195" y="325"/>
                  <a:pt x="198" y="319"/>
                </a:cubicBezTo>
                <a:cubicBezTo>
                  <a:pt x="210" y="292"/>
                  <a:pt x="229" y="251"/>
                  <a:pt x="285" y="251"/>
                </a:cubicBezTo>
                <a:cubicBezTo>
                  <a:pt x="342" y="251"/>
                  <a:pt x="361" y="292"/>
                  <a:pt x="373" y="319"/>
                </a:cubicBezTo>
                <a:cubicBezTo>
                  <a:pt x="376" y="325"/>
                  <a:pt x="379" y="332"/>
                  <a:pt x="382" y="336"/>
                </a:cubicBezTo>
                <a:cubicBezTo>
                  <a:pt x="390" y="348"/>
                  <a:pt x="396" y="351"/>
                  <a:pt x="407" y="356"/>
                </a:cubicBezTo>
                <a:cubicBezTo>
                  <a:pt x="414" y="360"/>
                  <a:pt x="421" y="364"/>
                  <a:pt x="430" y="370"/>
                </a:cubicBezTo>
                <a:cubicBezTo>
                  <a:pt x="449" y="384"/>
                  <a:pt x="449" y="418"/>
                  <a:pt x="441" y="446"/>
                </a:cubicBezTo>
                <a:cubicBezTo>
                  <a:pt x="433" y="473"/>
                  <a:pt x="419" y="489"/>
                  <a:pt x="402" y="491"/>
                </a:cubicBezTo>
                <a:cubicBezTo>
                  <a:pt x="400" y="491"/>
                  <a:pt x="398" y="491"/>
                  <a:pt x="395" y="491"/>
                </a:cubicBezTo>
                <a:close/>
                <a:moveTo>
                  <a:pt x="285" y="447"/>
                </a:moveTo>
                <a:cubicBezTo>
                  <a:pt x="310" y="447"/>
                  <a:pt x="332" y="452"/>
                  <a:pt x="351" y="457"/>
                </a:cubicBezTo>
                <a:cubicBezTo>
                  <a:pt x="369" y="462"/>
                  <a:pt x="385" y="466"/>
                  <a:pt x="400" y="465"/>
                </a:cubicBezTo>
                <a:cubicBezTo>
                  <a:pt x="403" y="465"/>
                  <a:pt x="411" y="457"/>
                  <a:pt x="416" y="439"/>
                </a:cubicBezTo>
                <a:cubicBezTo>
                  <a:pt x="423" y="415"/>
                  <a:pt x="420" y="394"/>
                  <a:pt x="415" y="391"/>
                </a:cubicBezTo>
                <a:cubicBezTo>
                  <a:pt x="408" y="385"/>
                  <a:pt x="401" y="382"/>
                  <a:pt x="395" y="379"/>
                </a:cubicBezTo>
                <a:cubicBezTo>
                  <a:pt x="384" y="373"/>
                  <a:pt x="372" y="368"/>
                  <a:pt x="360" y="350"/>
                </a:cubicBezTo>
                <a:cubicBezTo>
                  <a:pt x="356" y="344"/>
                  <a:pt x="353" y="337"/>
                  <a:pt x="350" y="329"/>
                </a:cubicBezTo>
                <a:cubicBezTo>
                  <a:pt x="338" y="303"/>
                  <a:pt x="325" y="276"/>
                  <a:pt x="285" y="276"/>
                </a:cubicBezTo>
                <a:cubicBezTo>
                  <a:pt x="245" y="276"/>
                  <a:pt x="233" y="303"/>
                  <a:pt x="221" y="329"/>
                </a:cubicBezTo>
                <a:cubicBezTo>
                  <a:pt x="218" y="337"/>
                  <a:pt x="214" y="344"/>
                  <a:pt x="210" y="350"/>
                </a:cubicBezTo>
                <a:cubicBezTo>
                  <a:pt x="199" y="368"/>
                  <a:pt x="187" y="373"/>
                  <a:pt x="175" y="379"/>
                </a:cubicBezTo>
                <a:cubicBezTo>
                  <a:pt x="169" y="382"/>
                  <a:pt x="163" y="385"/>
                  <a:pt x="156" y="391"/>
                </a:cubicBezTo>
                <a:cubicBezTo>
                  <a:pt x="151" y="394"/>
                  <a:pt x="148" y="415"/>
                  <a:pt x="155" y="439"/>
                </a:cubicBezTo>
                <a:cubicBezTo>
                  <a:pt x="160" y="457"/>
                  <a:pt x="167" y="465"/>
                  <a:pt x="170" y="465"/>
                </a:cubicBezTo>
                <a:cubicBezTo>
                  <a:pt x="185" y="466"/>
                  <a:pt x="201" y="462"/>
                  <a:pt x="220" y="457"/>
                </a:cubicBezTo>
                <a:cubicBezTo>
                  <a:pt x="239" y="452"/>
                  <a:pt x="261" y="447"/>
                  <a:pt x="285" y="447"/>
                </a:cubicBezTo>
                <a:close/>
                <a:moveTo>
                  <a:pt x="354" y="239"/>
                </a:moveTo>
                <a:cubicBezTo>
                  <a:pt x="351" y="239"/>
                  <a:pt x="348" y="238"/>
                  <a:pt x="346" y="238"/>
                </a:cubicBezTo>
                <a:cubicBezTo>
                  <a:pt x="329" y="235"/>
                  <a:pt x="314" y="223"/>
                  <a:pt x="306" y="205"/>
                </a:cubicBezTo>
                <a:cubicBezTo>
                  <a:pt x="298" y="188"/>
                  <a:pt x="295" y="168"/>
                  <a:pt x="299" y="147"/>
                </a:cubicBezTo>
                <a:cubicBezTo>
                  <a:pt x="303" y="127"/>
                  <a:pt x="312" y="108"/>
                  <a:pt x="325" y="95"/>
                </a:cubicBezTo>
                <a:cubicBezTo>
                  <a:pt x="340" y="81"/>
                  <a:pt x="357" y="75"/>
                  <a:pt x="374" y="78"/>
                </a:cubicBezTo>
                <a:cubicBezTo>
                  <a:pt x="391" y="81"/>
                  <a:pt x="405" y="93"/>
                  <a:pt x="414" y="111"/>
                </a:cubicBezTo>
                <a:cubicBezTo>
                  <a:pt x="422" y="128"/>
                  <a:pt x="424" y="148"/>
                  <a:pt x="420" y="169"/>
                </a:cubicBezTo>
                <a:cubicBezTo>
                  <a:pt x="420" y="169"/>
                  <a:pt x="420" y="169"/>
                  <a:pt x="420" y="169"/>
                </a:cubicBezTo>
                <a:cubicBezTo>
                  <a:pt x="413" y="210"/>
                  <a:pt x="385" y="239"/>
                  <a:pt x="354" y="239"/>
                </a:cubicBezTo>
                <a:close/>
                <a:moveTo>
                  <a:pt x="365" y="103"/>
                </a:moveTo>
                <a:cubicBezTo>
                  <a:pt x="358" y="103"/>
                  <a:pt x="350" y="107"/>
                  <a:pt x="343" y="113"/>
                </a:cubicBezTo>
                <a:cubicBezTo>
                  <a:pt x="334" y="123"/>
                  <a:pt x="327" y="136"/>
                  <a:pt x="324" y="152"/>
                </a:cubicBezTo>
                <a:cubicBezTo>
                  <a:pt x="322" y="167"/>
                  <a:pt x="323" y="182"/>
                  <a:pt x="329" y="194"/>
                </a:cubicBezTo>
                <a:cubicBezTo>
                  <a:pt x="334" y="205"/>
                  <a:pt x="341" y="211"/>
                  <a:pt x="350" y="213"/>
                </a:cubicBezTo>
                <a:cubicBezTo>
                  <a:pt x="369" y="216"/>
                  <a:pt x="390" y="194"/>
                  <a:pt x="395" y="164"/>
                </a:cubicBezTo>
                <a:cubicBezTo>
                  <a:pt x="398" y="149"/>
                  <a:pt x="396" y="134"/>
                  <a:pt x="391" y="122"/>
                </a:cubicBezTo>
                <a:cubicBezTo>
                  <a:pt x="386" y="111"/>
                  <a:pt x="378" y="105"/>
                  <a:pt x="369" y="103"/>
                </a:cubicBezTo>
                <a:cubicBezTo>
                  <a:pt x="368" y="103"/>
                  <a:pt x="367" y="103"/>
                  <a:pt x="365" y="103"/>
                </a:cubicBezTo>
                <a:close/>
                <a:moveTo>
                  <a:pt x="217" y="239"/>
                </a:moveTo>
                <a:cubicBezTo>
                  <a:pt x="186" y="239"/>
                  <a:pt x="158" y="210"/>
                  <a:pt x="150" y="169"/>
                </a:cubicBezTo>
                <a:cubicBezTo>
                  <a:pt x="147" y="148"/>
                  <a:pt x="149" y="128"/>
                  <a:pt x="157" y="111"/>
                </a:cubicBezTo>
                <a:cubicBezTo>
                  <a:pt x="166" y="93"/>
                  <a:pt x="180" y="81"/>
                  <a:pt x="197" y="78"/>
                </a:cubicBezTo>
                <a:cubicBezTo>
                  <a:pt x="214" y="75"/>
                  <a:pt x="231" y="81"/>
                  <a:pt x="246" y="95"/>
                </a:cubicBezTo>
                <a:cubicBezTo>
                  <a:pt x="259" y="108"/>
                  <a:pt x="268" y="127"/>
                  <a:pt x="272" y="147"/>
                </a:cubicBezTo>
                <a:cubicBezTo>
                  <a:pt x="275" y="168"/>
                  <a:pt x="273" y="188"/>
                  <a:pt x="265" y="205"/>
                </a:cubicBezTo>
                <a:cubicBezTo>
                  <a:pt x="256" y="223"/>
                  <a:pt x="242" y="235"/>
                  <a:pt x="225" y="238"/>
                </a:cubicBezTo>
                <a:cubicBezTo>
                  <a:pt x="222" y="238"/>
                  <a:pt x="219" y="239"/>
                  <a:pt x="217" y="239"/>
                </a:cubicBezTo>
                <a:close/>
                <a:moveTo>
                  <a:pt x="205" y="103"/>
                </a:moveTo>
                <a:cubicBezTo>
                  <a:pt x="204" y="103"/>
                  <a:pt x="203" y="103"/>
                  <a:pt x="201" y="103"/>
                </a:cubicBezTo>
                <a:cubicBezTo>
                  <a:pt x="193" y="105"/>
                  <a:pt x="185" y="111"/>
                  <a:pt x="180" y="122"/>
                </a:cubicBezTo>
                <a:cubicBezTo>
                  <a:pt x="175" y="134"/>
                  <a:pt x="173" y="149"/>
                  <a:pt x="176" y="164"/>
                </a:cubicBezTo>
                <a:cubicBezTo>
                  <a:pt x="181" y="194"/>
                  <a:pt x="202" y="216"/>
                  <a:pt x="221" y="213"/>
                </a:cubicBezTo>
                <a:cubicBezTo>
                  <a:pt x="229" y="211"/>
                  <a:pt x="237" y="205"/>
                  <a:pt x="242" y="194"/>
                </a:cubicBezTo>
                <a:cubicBezTo>
                  <a:pt x="248" y="182"/>
                  <a:pt x="249" y="167"/>
                  <a:pt x="246" y="152"/>
                </a:cubicBezTo>
                <a:cubicBezTo>
                  <a:pt x="244" y="136"/>
                  <a:pt x="237" y="123"/>
                  <a:pt x="228" y="113"/>
                </a:cubicBezTo>
                <a:cubicBezTo>
                  <a:pt x="221" y="107"/>
                  <a:pt x="213" y="103"/>
                  <a:pt x="205" y="103"/>
                </a:cubicBezTo>
                <a:close/>
                <a:moveTo>
                  <a:pt x="445" y="341"/>
                </a:moveTo>
                <a:cubicBezTo>
                  <a:pt x="440" y="341"/>
                  <a:pt x="434" y="340"/>
                  <a:pt x="429" y="338"/>
                </a:cubicBezTo>
                <a:cubicBezTo>
                  <a:pt x="400" y="327"/>
                  <a:pt x="386" y="290"/>
                  <a:pt x="399" y="254"/>
                </a:cubicBezTo>
                <a:cubicBezTo>
                  <a:pt x="412" y="219"/>
                  <a:pt x="447" y="198"/>
                  <a:pt x="476" y="209"/>
                </a:cubicBezTo>
                <a:cubicBezTo>
                  <a:pt x="491" y="214"/>
                  <a:pt x="502" y="226"/>
                  <a:pt x="507" y="243"/>
                </a:cubicBezTo>
                <a:cubicBezTo>
                  <a:pt x="513" y="258"/>
                  <a:pt x="512" y="276"/>
                  <a:pt x="506" y="293"/>
                </a:cubicBezTo>
                <a:cubicBezTo>
                  <a:pt x="495" y="322"/>
                  <a:pt x="470" y="341"/>
                  <a:pt x="445" y="341"/>
                </a:cubicBezTo>
                <a:close/>
                <a:moveTo>
                  <a:pt x="460" y="232"/>
                </a:moveTo>
                <a:cubicBezTo>
                  <a:pt x="446" y="232"/>
                  <a:pt x="430" y="244"/>
                  <a:pt x="423" y="263"/>
                </a:cubicBezTo>
                <a:cubicBezTo>
                  <a:pt x="415" y="285"/>
                  <a:pt x="422" y="308"/>
                  <a:pt x="438" y="314"/>
                </a:cubicBezTo>
                <a:cubicBezTo>
                  <a:pt x="454" y="320"/>
                  <a:pt x="474" y="306"/>
                  <a:pt x="482" y="284"/>
                </a:cubicBezTo>
                <a:cubicBezTo>
                  <a:pt x="486" y="273"/>
                  <a:pt x="486" y="261"/>
                  <a:pt x="483" y="251"/>
                </a:cubicBezTo>
                <a:cubicBezTo>
                  <a:pt x="480" y="242"/>
                  <a:pt x="475" y="236"/>
                  <a:pt x="467" y="233"/>
                </a:cubicBezTo>
                <a:cubicBezTo>
                  <a:pt x="465" y="232"/>
                  <a:pt x="462" y="232"/>
                  <a:pt x="460" y="232"/>
                </a:cubicBezTo>
                <a:close/>
                <a:moveTo>
                  <a:pt x="125" y="341"/>
                </a:moveTo>
                <a:cubicBezTo>
                  <a:pt x="100" y="341"/>
                  <a:pt x="75" y="322"/>
                  <a:pt x="65" y="293"/>
                </a:cubicBezTo>
                <a:cubicBezTo>
                  <a:pt x="59" y="276"/>
                  <a:pt x="58" y="258"/>
                  <a:pt x="63" y="243"/>
                </a:cubicBezTo>
                <a:cubicBezTo>
                  <a:pt x="69" y="226"/>
                  <a:pt x="80" y="214"/>
                  <a:pt x="95" y="209"/>
                </a:cubicBezTo>
                <a:cubicBezTo>
                  <a:pt x="124" y="198"/>
                  <a:pt x="158" y="219"/>
                  <a:pt x="171" y="254"/>
                </a:cubicBezTo>
                <a:cubicBezTo>
                  <a:pt x="184" y="290"/>
                  <a:pt x="171" y="327"/>
                  <a:pt x="142" y="338"/>
                </a:cubicBezTo>
                <a:cubicBezTo>
                  <a:pt x="136" y="340"/>
                  <a:pt x="131" y="341"/>
                  <a:pt x="125" y="341"/>
                </a:cubicBezTo>
                <a:close/>
                <a:moveTo>
                  <a:pt x="111" y="232"/>
                </a:moveTo>
                <a:cubicBezTo>
                  <a:pt x="108" y="232"/>
                  <a:pt x="106" y="232"/>
                  <a:pt x="103" y="233"/>
                </a:cubicBezTo>
                <a:cubicBezTo>
                  <a:pt x="96" y="236"/>
                  <a:pt x="91" y="242"/>
                  <a:pt x="88" y="251"/>
                </a:cubicBezTo>
                <a:cubicBezTo>
                  <a:pt x="84" y="261"/>
                  <a:pt x="85" y="273"/>
                  <a:pt x="89" y="284"/>
                </a:cubicBezTo>
                <a:cubicBezTo>
                  <a:pt x="97" y="306"/>
                  <a:pt x="117" y="320"/>
                  <a:pt x="133" y="314"/>
                </a:cubicBezTo>
                <a:cubicBezTo>
                  <a:pt x="149" y="308"/>
                  <a:pt x="155" y="285"/>
                  <a:pt x="147" y="263"/>
                </a:cubicBezTo>
                <a:cubicBezTo>
                  <a:pt x="141" y="244"/>
                  <a:pt x="125" y="232"/>
                  <a:pt x="111" y="232"/>
                </a:cubicBez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nvGrpSpPr>
          <p:cNvPr id="52" name="Group 51">
            <a:extLst>
              <a:ext uri="{FF2B5EF4-FFF2-40B4-BE49-F238E27FC236}">
                <a16:creationId xmlns:a16="http://schemas.microsoft.com/office/drawing/2014/main" id="{A70FDED7-6947-DEF1-A08A-FBC967B40259}"/>
              </a:ext>
            </a:extLst>
          </p:cNvPr>
          <p:cNvGrpSpPr/>
          <p:nvPr/>
        </p:nvGrpSpPr>
        <p:grpSpPr>
          <a:xfrm>
            <a:off x="2023691" y="5642770"/>
            <a:ext cx="360363" cy="360363"/>
            <a:chOff x="-455905" y="4611921"/>
            <a:chExt cx="455905" cy="457200"/>
          </a:xfrm>
        </p:grpSpPr>
        <p:grpSp>
          <p:nvGrpSpPr>
            <p:cNvPr id="50" name="Group 49">
              <a:extLst>
                <a:ext uri="{FF2B5EF4-FFF2-40B4-BE49-F238E27FC236}">
                  <a16:creationId xmlns:a16="http://schemas.microsoft.com/office/drawing/2014/main" id="{70A03FDA-CAA9-19A0-4D89-3676785B3619}"/>
                </a:ext>
              </a:extLst>
            </p:cNvPr>
            <p:cNvGrpSpPr/>
            <p:nvPr/>
          </p:nvGrpSpPr>
          <p:grpSpPr>
            <a:xfrm>
              <a:off x="-455905" y="4611921"/>
              <a:ext cx="455905" cy="457200"/>
              <a:chOff x="-455905" y="4611921"/>
              <a:chExt cx="455905" cy="457200"/>
            </a:xfrm>
          </p:grpSpPr>
          <p:sp>
            <p:nvSpPr>
              <p:cNvPr id="48" name="Google Shape;616;p77">
                <a:extLst>
                  <a:ext uri="{FF2B5EF4-FFF2-40B4-BE49-F238E27FC236}">
                    <a16:creationId xmlns:a16="http://schemas.microsoft.com/office/drawing/2014/main" id="{A14B16FD-A963-1B51-1AA7-73C281C4F5DC}"/>
                  </a:ext>
                </a:extLst>
              </p:cNvPr>
              <p:cNvSpPr/>
              <p:nvPr/>
            </p:nvSpPr>
            <p:spPr>
              <a:xfrm>
                <a:off x="-455905" y="4611921"/>
                <a:ext cx="455905" cy="4572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551"/>
                    </a:moveTo>
                    <a:cubicBezTo>
                      <a:pt x="25" y="551"/>
                      <a:pt x="25" y="551"/>
                      <a:pt x="25" y="551"/>
                    </a:cubicBezTo>
                    <a:cubicBezTo>
                      <a:pt x="25" y="25"/>
                      <a:pt x="25" y="25"/>
                      <a:pt x="25" y="25"/>
                    </a:cubicBezTo>
                    <a:cubicBezTo>
                      <a:pt x="552" y="25"/>
                      <a:pt x="552" y="25"/>
                      <a:pt x="552" y="25"/>
                    </a:cubicBezTo>
                    <a:lnTo>
                      <a:pt x="552" y="551"/>
                    </a:lnTo>
                    <a:close/>
                    <a:moveTo>
                      <a:pt x="395" y="491"/>
                    </a:moveTo>
                    <a:cubicBezTo>
                      <a:pt x="378" y="491"/>
                      <a:pt x="362" y="487"/>
                      <a:pt x="345" y="482"/>
                    </a:cubicBezTo>
                    <a:cubicBezTo>
                      <a:pt x="326" y="477"/>
                      <a:pt x="307" y="472"/>
                      <a:pt x="285" y="472"/>
                    </a:cubicBezTo>
                    <a:cubicBezTo>
                      <a:pt x="264" y="472"/>
                      <a:pt x="245" y="477"/>
                      <a:pt x="226" y="482"/>
                    </a:cubicBezTo>
                    <a:cubicBezTo>
                      <a:pt x="206" y="487"/>
                      <a:pt x="188" y="492"/>
                      <a:pt x="168" y="491"/>
                    </a:cubicBezTo>
                    <a:cubicBezTo>
                      <a:pt x="152" y="489"/>
                      <a:pt x="138" y="473"/>
                      <a:pt x="130" y="446"/>
                    </a:cubicBezTo>
                    <a:cubicBezTo>
                      <a:pt x="122" y="418"/>
                      <a:pt x="122" y="384"/>
                      <a:pt x="141" y="370"/>
                    </a:cubicBezTo>
                    <a:cubicBezTo>
                      <a:pt x="150" y="364"/>
                      <a:pt x="157" y="360"/>
                      <a:pt x="164" y="356"/>
                    </a:cubicBezTo>
                    <a:cubicBezTo>
                      <a:pt x="174" y="351"/>
                      <a:pt x="181" y="348"/>
                      <a:pt x="189" y="336"/>
                    </a:cubicBezTo>
                    <a:cubicBezTo>
                      <a:pt x="192" y="332"/>
                      <a:pt x="195" y="325"/>
                      <a:pt x="198" y="319"/>
                    </a:cubicBezTo>
                    <a:cubicBezTo>
                      <a:pt x="210" y="292"/>
                      <a:pt x="229" y="251"/>
                      <a:pt x="285" y="251"/>
                    </a:cubicBezTo>
                    <a:cubicBezTo>
                      <a:pt x="342" y="251"/>
                      <a:pt x="361" y="292"/>
                      <a:pt x="373" y="319"/>
                    </a:cubicBezTo>
                    <a:cubicBezTo>
                      <a:pt x="376" y="325"/>
                      <a:pt x="379" y="332"/>
                      <a:pt x="382" y="336"/>
                    </a:cubicBezTo>
                    <a:cubicBezTo>
                      <a:pt x="390" y="348"/>
                      <a:pt x="396" y="351"/>
                      <a:pt x="407" y="356"/>
                    </a:cubicBezTo>
                    <a:cubicBezTo>
                      <a:pt x="414" y="360"/>
                      <a:pt x="421" y="364"/>
                      <a:pt x="430" y="370"/>
                    </a:cubicBezTo>
                    <a:cubicBezTo>
                      <a:pt x="449" y="384"/>
                      <a:pt x="449" y="418"/>
                      <a:pt x="441" y="446"/>
                    </a:cubicBezTo>
                    <a:cubicBezTo>
                      <a:pt x="433" y="473"/>
                      <a:pt x="419" y="489"/>
                      <a:pt x="402" y="491"/>
                    </a:cubicBezTo>
                    <a:cubicBezTo>
                      <a:pt x="400" y="491"/>
                      <a:pt x="398" y="491"/>
                      <a:pt x="395" y="491"/>
                    </a:cubicBezTo>
                    <a:close/>
                    <a:moveTo>
                      <a:pt x="285" y="447"/>
                    </a:moveTo>
                    <a:cubicBezTo>
                      <a:pt x="310" y="447"/>
                      <a:pt x="332" y="452"/>
                      <a:pt x="351" y="457"/>
                    </a:cubicBezTo>
                    <a:cubicBezTo>
                      <a:pt x="369" y="462"/>
                      <a:pt x="385" y="466"/>
                      <a:pt x="400" y="465"/>
                    </a:cubicBezTo>
                    <a:cubicBezTo>
                      <a:pt x="403" y="465"/>
                      <a:pt x="411" y="457"/>
                      <a:pt x="416" y="439"/>
                    </a:cubicBezTo>
                    <a:cubicBezTo>
                      <a:pt x="423" y="415"/>
                      <a:pt x="420" y="394"/>
                      <a:pt x="415" y="391"/>
                    </a:cubicBezTo>
                    <a:cubicBezTo>
                      <a:pt x="408" y="385"/>
                      <a:pt x="401" y="382"/>
                      <a:pt x="395" y="379"/>
                    </a:cubicBezTo>
                    <a:cubicBezTo>
                      <a:pt x="384" y="373"/>
                      <a:pt x="372" y="368"/>
                      <a:pt x="360" y="350"/>
                    </a:cubicBezTo>
                    <a:cubicBezTo>
                      <a:pt x="356" y="344"/>
                      <a:pt x="353" y="337"/>
                      <a:pt x="350" y="329"/>
                    </a:cubicBezTo>
                    <a:cubicBezTo>
                      <a:pt x="338" y="303"/>
                      <a:pt x="325" y="276"/>
                      <a:pt x="285" y="276"/>
                    </a:cubicBezTo>
                    <a:cubicBezTo>
                      <a:pt x="245" y="276"/>
                      <a:pt x="233" y="303"/>
                      <a:pt x="221" y="329"/>
                    </a:cubicBezTo>
                    <a:cubicBezTo>
                      <a:pt x="218" y="337"/>
                      <a:pt x="214" y="344"/>
                      <a:pt x="210" y="350"/>
                    </a:cubicBezTo>
                    <a:cubicBezTo>
                      <a:pt x="199" y="368"/>
                      <a:pt x="187" y="373"/>
                      <a:pt x="175" y="379"/>
                    </a:cubicBezTo>
                    <a:cubicBezTo>
                      <a:pt x="169" y="382"/>
                      <a:pt x="163" y="385"/>
                      <a:pt x="156" y="391"/>
                    </a:cubicBezTo>
                    <a:cubicBezTo>
                      <a:pt x="151" y="394"/>
                      <a:pt x="148" y="415"/>
                      <a:pt x="155" y="439"/>
                    </a:cubicBezTo>
                    <a:cubicBezTo>
                      <a:pt x="160" y="457"/>
                      <a:pt x="167" y="465"/>
                      <a:pt x="170" y="465"/>
                    </a:cubicBezTo>
                    <a:cubicBezTo>
                      <a:pt x="185" y="466"/>
                      <a:pt x="201" y="462"/>
                      <a:pt x="220" y="457"/>
                    </a:cubicBezTo>
                    <a:cubicBezTo>
                      <a:pt x="239" y="452"/>
                      <a:pt x="261" y="447"/>
                      <a:pt x="285" y="447"/>
                    </a:cubicBezTo>
                    <a:close/>
                    <a:moveTo>
                      <a:pt x="354" y="239"/>
                    </a:moveTo>
                    <a:cubicBezTo>
                      <a:pt x="351" y="239"/>
                      <a:pt x="348" y="238"/>
                      <a:pt x="346" y="238"/>
                    </a:cubicBezTo>
                    <a:cubicBezTo>
                      <a:pt x="329" y="235"/>
                      <a:pt x="314" y="223"/>
                      <a:pt x="306" y="205"/>
                    </a:cubicBezTo>
                    <a:cubicBezTo>
                      <a:pt x="298" y="188"/>
                      <a:pt x="295" y="168"/>
                      <a:pt x="299" y="147"/>
                    </a:cubicBezTo>
                    <a:cubicBezTo>
                      <a:pt x="303" y="127"/>
                      <a:pt x="312" y="108"/>
                      <a:pt x="325" y="95"/>
                    </a:cubicBezTo>
                    <a:cubicBezTo>
                      <a:pt x="340" y="81"/>
                      <a:pt x="357" y="75"/>
                      <a:pt x="374" y="78"/>
                    </a:cubicBezTo>
                    <a:cubicBezTo>
                      <a:pt x="391" y="81"/>
                      <a:pt x="405" y="93"/>
                      <a:pt x="414" y="111"/>
                    </a:cubicBezTo>
                    <a:cubicBezTo>
                      <a:pt x="422" y="128"/>
                      <a:pt x="424" y="148"/>
                      <a:pt x="420" y="169"/>
                    </a:cubicBezTo>
                    <a:cubicBezTo>
                      <a:pt x="420" y="169"/>
                      <a:pt x="420" y="169"/>
                      <a:pt x="420" y="169"/>
                    </a:cubicBezTo>
                    <a:cubicBezTo>
                      <a:pt x="413" y="210"/>
                      <a:pt x="385" y="239"/>
                      <a:pt x="354" y="239"/>
                    </a:cubicBezTo>
                    <a:close/>
                    <a:moveTo>
                      <a:pt x="365" y="103"/>
                    </a:moveTo>
                    <a:cubicBezTo>
                      <a:pt x="358" y="103"/>
                      <a:pt x="350" y="107"/>
                      <a:pt x="343" y="113"/>
                    </a:cubicBezTo>
                    <a:cubicBezTo>
                      <a:pt x="334" y="123"/>
                      <a:pt x="327" y="136"/>
                      <a:pt x="324" y="152"/>
                    </a:cubicBezTo>
                    <a:cubicBezTo>
                      <a:pt x="322" y="167"/>
                      <a:pt x="323" y="182"/>
                      <a:pt x="329" y="194"/>
                    </a:cubicBezTo>
                    <a:cubicBezTo>
                      <a:pt x="334" y="205"/>
                      <a:pt x="341" y="211"/>
                      <a:pt x="350" y="213"/>
                    </a:cubicBezTo>
                    <a:cubicBezTo>
                      <a:pt x="369" y="216"/>
                      <a:pt x="390" y="194"/>
                      <a:pt x="395" y="164"/>
                    </a:cubicBezTo>
                    <a:cubicBezTo>
                      <a:pt x="398" y="149"/>
                      <a:pt x="396" y="134"/>
                      <a:pt x="391" y="122"/>
                    </a:cubicBezTo>
                    <a:cubicBezTo>
                      <a:pt x="386" y="111"/>
                      <a:pt x="378" y="105"/>
                      <a:pt x="369" y="103"/>
                    </a:cubicBezTo>
                    <a:cubicBezTo>
                      <a:pt x="368" y="103"/>
                      <a:pt x="367" y="103"/>
                      <a:pt x="365" y="103"/>
                    </a:cubicBezTo>
                    <a:close/>
                    <a:moveTo>
                      <a:pt x="217" y="239"/>
                    </a:moveTo>
                    <a:cubicBezTo>
                      <a:pt x="186" y="239"/>
                      <a:pt x="158" y="210"/>
                      <a:pt x="150" y="169"/>
                    </a:cubicBezTo>
                    <a:cubicBezTo>
                      <a:pt x="147" y="148"/>
                      <a:pt x="149" y="128"/>
                      <a:pt x="157" y="111"/>
                    </a:cubicBezTo>
                    <a:cubicBezTo>
                      <a:pt x="166" y="93"/>
                      <a:pt x="180" y="81"/>
                      <a:pt x="197" y="78"/>
                    </a:cubicBezTo>
                    <a:cubicBezTo>
                      <a:pt x="214" y="75"/>
                      <a:pt x="231" y="81"/>
                      <a:pt x="246" y="95"/>
                    </a:cubicBezTo>
                    <a:cubicBezTo>
                      <a:pt x="259" y="108"/>
                      <a:pt x="268" y="127"/>
                      <a:pt x="272" y="147"/>
                    </a:cubicBezTo>
                    <a:cubicBezTo>
                      <a:pt x="275" y="168"/>
                      <a:pt x="273" y="188"/>
                      <a:pt x="265" y="205"/>
                    </a:cubicBezTo>
                    <a:cubicBezTo>
                      <a:pt x="256" y="223"/>
                      <a:pt x="242" y="235"/>
                      <a:pt x="225" y="238"/>
                    </a:cubicBezTo>
                    <a:cubicBezTo>
                      <a:pt x="222" y="238"/>
                      <a:pt x="219" y="239"/>
                      <a:pt x="217" y="239"/>
                    </a:cubicBezTo>
                    <a:close/>
                    <a:moveTo>
                      <a:pt x="205" y="103"/>
                    </a:moveTo>
                    <a:cubicBezTo>
                      <a:pt x="204" y="103"/>
                      <a:pt x="203" y="103"/>
                      <a:pt x="201" y="103"/>
                    </a:cubicBezTo>
                    <a:cubicBezTo>
                      <a:pt x="193" y="105"/>
                      <a:pt x="185" y="111"/>
                      <a:pt x="180" y="122"/>
                    </a:cubicBezTo>
                    <a:cubicBezTo>
                      <a:pt x="175" y="134"/>
                      <a:pt x="173" y="149"/>
                      <a:pt x="176" y="164"/>
                    </a:cubicBezTo>
                    <a:cubicBezTo>
                      <a:pt x="181" y="194"/>
                      <a:pt x="202" y="216"/>
                      <a:pt x="221" y="213"/>
                    </a:cubicBezTo>
                    <a:cubicBezTo>
                      <a:pt x="229" y="211"/>
                      <a:pt x="237" y="205"/>
                      <a:pt x="242" y="194"/>
                    </a:cubicBezTo>
                    <a:cubicBezTo>
                      <a:pt x="248" y="182"/>
                      <a:pt x="249" y="167"/>
                      <a:pt x="246" y="152"/>
                    </a:cubicBezTo>
                    <a:cubicBezTo>
                      <a:pt x="244" y="136"/>
                      <a:pt x="237" y="123"/>
                      <a:pt x="228" y="113"/>
                    </a:cubicBezTo>
                    <a:cubicBezTo>
                      <a:pt x="221" y="107"/>
                      <a:pt x="213" y="103"/>
                      <a:pt x="205" y="103"/>
                    </a:cubicBezTo>
                    <a:close/>
                    <a:moveTo>
                      <a:pt x="445" y="341"/>
                    </a:moveTo>
                    <a:cubicBezTo>
                      <a:pt x="440" y="341"/>
                      <a:pt x="434" y="340"/>
                      <a:pt x="429" y="338"/>
                    </a:cubicBezTo>
                    <a:cubicBezTo>
                      <a:pt x="400" y="327"/>
                      <a:pt x="386" y="290"/>
                      <a:pt x="399" y="254"/>
                    </a:cubicBezTo>
                    <a:cubicBezTo>
                      <a:pt x="412" y="219"/>
                      <a:pt x="447" y="198"/>
                      <a:pt x="476" y="209"/>
                    </a:cubicBezTo>
                    <a:cubicBezTo>
                      <a:pt x="491" y="214"/>
                      <a:pt x="502" y="226"/>
                      <a:pt x="507" y="243"/>
                    </a:cubicBezTo>
                    <a:cubicBezTo>
                      <a:pt x="513" y="258"/>
                      <a:pt x="512" y="276"/>
                      <a:pt x="506" y="293"/>
                    </a:cubicBezTo>
                    <a:cubicBezTo>
                      <a:pt x="495" y="322"/>
                      <a:pt x="470" y="341"/>
                      <a:pt x="445" y="341"/>
                    </a:cubicBezTo>
                    <a:close/>
                    <a:moveTo>
                      <a:pt x="460" y="232"/>
                    </a:moveTo>
                    <a:cubicBezTo>
                      <a:pt x="446" y="232"/>
                      <a:pt x="430" y="244"/>
                      <a:pt x="423" y="263"/>
                    </a:cubicBezTo>
                    <a:cubicBezTo>
                      <a:pt x="415" y="285"/>
                      <a:pt x="422" y="308"/>
                      <a:pt x="438" y="314"/>
                    </a:cubicBezTo>
                    <a:cubicBezTo>
                      <a:pt x="454" y="320"/>
                      <a:pt x="474" y="306"/>
                      <a:pt x="482" y="284"/>
                    </a:cubicBezTo>
                    <a:cubicBezTo>
                      <a:pt x="486" y="273"/>
                      <a:pt x="486" y="261"/>
                      <a:pt x="483" y="251"/>
                    </a:cubicBezTo>
                    <a:cubicBezTo>
                      <a:pt x="480" y="242"/>
                      <a:pt x="475" y="236"/>
                      <a:pt x="467" y="233"/>
                    </a:cubicBezTo>
                    <a:cubicBezTo>
                      <a:pt x="465" y="232"/>
                      <a:pt x="462" y="232"/>
                      <a:pt x="460" y="232"/>
                    </a:cubicBezTo>
                    <a:close/>
                    <a:moveTo>
                      <a:pt x="125" y="341"/>
                    </a:moveTo>
                    <a:cubicBezTo>
                      <a:pt x="100" y="341"/>
                      <a:pt x="75" y="322"/>
                      <a:pt x="65" y="293"/>
                    </a:cubicBezTo>
                    <a:cubicBezTo>
                      <a:pt x="59" y="276"/>
                      <a:pt x="58" y="258"/>
                      <a:pt x="63" y="243"/>
                    </a:cubicBezTo>
                    <a:cubicBezTo>
                      <a:pt x="69" y="226"/>
                      <a:pt x="80" y="214"/>
                      <a:pt x="95" y="209"/>
                    </a:cubicBezTo>
                    <a:cubicBezTo>
                      <a:pt x="124" y="198"/>
                      <a:pt x="158" y="219"/>
                      <a:pt x="171" y="254"/>
                    </a:cubicBezTo>
                    <a:cubicBezTo>
                      <a:pt x="184" y="290"/>
                      <a:pt x="171" y="327"/>
                      <a:pt x="142" y="338"/>
                    </a:cubicBezTo>
                    <a:cubicBezTo>
                      <a:pt x="136" y="340"/>
                      <a:pt x="131" y="341"/>
                      <a:pt x="125" y="341"/>
                    </a:cubicBezTo>
                    <a:close/>
                    <a:moveTo>
                      <a:pt x="111" y="232"/>
                    </a:moveTo>
                    <a:cubicBezTo>
                      <a:pt x="108" y="232"/>
                      <a:pt x="106" y="232"/>
                      <a:pt x="103" y="233"/>
                    </a:cubicBezTo>
                    <a:cubicBezTo>
                      <a:pt x="96" y="236"/>
                      <a:pt x="91" y="242"/>
                      <a:pt x="88" y="251"/>
                    </a:cubicBezTo>
                    <a:cubicBezTo>
                      <a:pt x="84" y="261"/>
                      <a:pt x="85" y="273"/>
                      <a:pt x="89" y="284"/>
                    </a:cubicBezTo>
                    <a:cubicBezTo>
                      <a:pt x="97" y="306"/>
                      <a:pt x="117" y="320"/>
                      <a:pt x="133" y="314"/>
                    </a:cubicBezTo>
                    <a:cubicBezTo>
                      <a:pt x="149" y="308"/>
                      <a:pt x="155" y="285"/>
                      <a:pt x="147" y="263"/>
                    </a:cubicBezTo>
                    <a:cubicBezTo>
                      <a:pt x="141" y="244"/>
                      <a:pt x="125" y="232"/>
                      <a:pt x="111" y="232"/>
                    </a:cubicBez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49" name="Rectangle 48">
                <a:extLst>
                  <a:ext uri="{FF2B5EF4-FFF2-40B4-BE49-F238E27FC236}">
                    <a16:creationId xmlns:a16="http://schemas.microsoft.com/office/drawing/2014/main" id="{5F3E4100-6593-2F06-F209-B338E64778F5}"/>
                  </a:ext>
                </a:extLst>
              </p:cNvPr>
              <p:cNvSpPr/>
              <p:nvPr/>
            </p:nvSpPr>
            <p:spPr>
              <a:xfrm>
                <a:off x="-426720" y="4640580"/>
                <a:ext cx="398145" cy="39814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grpSp>
        <p:pic>
          <p:nvPicPr>
            <p:cNvPr id="47" name="Graphic 46" descr="Snake outline">
              <a:extLst>
                <a:ext uri="{FF2B5EF4-FFF2-40B4-BE49-F238E27FC236}">
                  <a16:creationId xmlns:a16="http://schemas.microsoft.com/office/drawing/2014/main" id="{AFA8DF43-8FA7-BDF8-F2FB-F3B0054DF79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06846" y="4661628"/>
              <a:ext cx="357786" cy="357786"/>
            </a:xfrm>
            <a:prstGeom prst="rect">
              <a:avLst/>
            </a:prstGeom>
          </p:spPr>
        </p:pic>
      </p:grpSp>
      <p:sp>
        <p:nvSpPr>
          <p:cNvPr id="60" name="Google Shape;866;p77">
            <a:extLst>
              <a:ext uri="{FF2B5EF4-FFF2-40B4-BE49-F238E27FC236}">
                <a16:creationId xmlns:a16="http://schemas.microsoft.com/office/drawing/2014/main" id="{B2E30242-9244-A35E-C96C-EC7D96C868CC}"/>
              </a:ext>
            </a:extLst>
          </p:cNvPr>
          <p:cNvSpPr/>
          <p:nvPr/>
        </p:nvSpPr>
        <p:spPr>
          <a:xfrm>
            <a:off x="2925490" y="3876642"/>
            <a:ext cx="217760" cy="192082"/>
          </a:xfrm>
          <a:custGeom>
            <a:avLst/>
            <a:gdLst/>
            <a:ahLst/>
            <a:cxnLst/>
            <a:rect l="l" t="t" r="r" b="b"/>
            <a:pathLst>
              <a:path w="447798" h="394996" extrusionOk="0">
                <a:moveTo>
                  <a:pt x="223879" y="0"/>
                </a:moveTo>
                <a:cubicBezTo>
                  <a:pt x="214410" y="56"/>
                  <a:pt x="205689" y="5157"/>
                  <a:pt x="200988" y="13374"/>
                </a:cubicBezTo>
                <a:lnTo>
                  <a:pt x="3552" y="354937"/>
                </a:lnTo>
                <a:cubicBezTo>
                  <a:pt x="-3800" y="367751"/>
                  <a:pt x="627" y="384098"/>
                  <a:pt x="13440" y="391451"/>
                </a:cubicBezTo>
                <a:cubicBezTo>
                  <a:pt x="17511" y="393783"/>
                  <a:pt x="22124" y="395009"/>
                  <a:pt x="26817" y="394996"/>
                </a:cubicBezTo>
                <a:lnTo>
                  <a:pt x="421066" y="394996"/>
                </a:lnTo>
                <a:cubicBezTo>
                  <a:pt x="435804" y="395021"/>
                  <a:pt x="447773" y="383097"/>
                  <a:pt x="447799" y="368361"/>
                </a:cubicBezTo>
                <a:cubicBezTo>
                  <a:pt x="447808" y="363645"/>
                  <a:pt x="446568" y="359018"/>
                  <a:pt x="444206" y="354937"/>
                </a:cubicBezTo>
                <a:lnTo>
                  <a:pt x="247019" y="13374"/>
                </a:lnTo>
                <a:cubicBezTo>
                  <a:pt x="242293" y="5058"/>
                  <a:pt x="233444" y="-56"/>
                  <a:pt x="223879" y="0"/>
                </a:cubicBezTo>
                <a:close/>
                <a:moveTo>
                  <a:pt x="28932" y="367005"/>
                </a:moveTo>
                <a:lnTo>
                  <a:pt x="223879" y="29299"/>
                </a:lnTo>
                <a:lnTo>
                  <a:pt x="418702" y="367005"/>
                </a:lnTo>
                <a:close/>
                <a:moveTo>
                  <a:pt x="209883" y="161047"/>
                </a:moveTo>
                <a:lnTo>
                  <a:pt x="209883" y="235318"/>
                </a:lnTo>
                <a:cubicBezTo>
                  <a:pt x="209883" y="243050"/>
                  <a:pt x="216150" y="249314"/>
                  <a:pt x="223879" y="249314"/>
                </a:cubicBezTo>
                <a:cubicBezTo>
                  <a:pt x="231609" y="249314"/>
                  <a:pt x="237875" y="243050"/>
                  <a:pt x="237875" y="235318"/>
                </a:cubicBezTo>
                <a:lnTo>
                  <a:pt x="237875" y="161047"/>
                </a:lnTo>
                <a:cubicBezTo>
                  <a:pt x="237875" y="153315"/>
                  <a:pt x="231609" y="147051"/>
                  <a:pt x="223879" y="147051"/>
                </a:cubicBezTo>
                <a:cubicBezTo>
                  <a:pt x="216150" y="147051"/>
                  <a:pt x="209883" y="153315"/>
                  <a:pt x="209883" y="161047"/>
                </a:cubicBezTo>
                <a:close/>
                <a:moveTo>
                  <a:pt x="202916" y="308284"/>
                </a:moveTo>
                <a:cubicBezTo>
                  <a:pt x="202916" y="319897"/>
                  <a:pt x="212330" y="329309"/>
                  <a:pt x="223941" y="329309"/>
                </a:cubicBezTo>
                <a:cubicBezTo>
                  <a:pt x="235553" y="329309"/>
                  <a:pt x="244966" y="319897"/>
                  <a:pt x="244966" y="308284"/>
                </a:cubicBezTo>
                <a:cubicBezTo>
                  <a:pt x="244966" y="296670"/>
                  <a:pt x="235553" y="287259"/>
                  <a:pt x="223941" y="287259"/>
                </a:cubicBezTo>
                <a:cubicBezTo>
                  <a:pt x="223921" y="287259"/>
                  <a:pt x="223900" y="287259"/>
                  <a:pt x="223879" y="287259"/>
                </a:cubicBezTo>
                <a:cubicBezTo>
                  <a:pt x="212302" y="287259"/>
                  <a:pt x="202916" y="296645"/>
                  <a:pt x="202916" y="308222"/>
                </a:cubicBezTo>
                <a:cubicBezTo>
                  <a:pt x="202916" y="308240"/>
                  <a:pt x="202916" y="308265"/>
                  <a:pt x="202916" y="308284"/>
                </a:cubicBezTo>
                <a:close/>
              </a:path>
            </a:pathLst>
          </a:custGeom>
          <a:solidFill>
            <a:schemeClr val="accent2"/>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 name="Rectangle 1">
            <a:extLst>
              <a:ext uri="{FF2B5EF4-FFF2-40B4-BE49-F238E27FC236}">
                <a16:creationId xmlns:a16="http://schemas.microsoft.com/office/drawing/2014/main" id="{1E225718-E008-467A-5BFC-8A08C55E0544}"/>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sp>
        <p:nvSpPr>
          <p:cNvPr id="23" name="Content Placeholder 1">
            <a:extLst>
              <a:ext uri="{FF2B5EF4-FFF2-40B4-BE49-F238E27FC236}">
                <a16:creationId xmlns:a16="http://schemas.microsoft.com/office/drawing/2014/main" id="{C94987E4-3321-E634-AFBE-C194310190C1}"/>
              </a:ext>
            </a:extLst>
          </p:cNvPr>
          <p:cNvSpPr txBox="1">
            <a:spLocks/>
          </p:cNvSpPr>
          <p:nvPr/>
        </p:nvSpPr>
        <p:spPr>
          <a:xfrm>
            <a:off x="2966130" y="5130379"/>
            <a:ext cx="630238" cy="43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2</a:t>
            </a:r>
          </a:p>
        </p:txBody>
      </p:sp>
      <p:sp>
        <p:nvSpPr>
          <p:cNvPr id="31" name="Content Placeholder 1">
            <a:extLst>
              <a:ext uri="{FF2B5EF4-FFF2-40B4-BE49-F238E27FC236}">
                <a16:creationId xmlns:a16="http://schemas.microsoft.com/office/drawing/2014/main" id="{BF893276-BB3C-9809-C4B8-56DD69C3B52F}"/>
              </a:ext>
            </a:extLst>
          </p:cNvPr>
          <p:cNvSpPr txBox="1">
            <a:spLocks/>
          </p:cNvSpPr>
          <p:nvPr/>
        </p:nvSpPr>
        <p:spPr>
          <a:xfrm>
            <a:off x="2966130" y="5588723"/>
            <a:ext cx="630238" cy="43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3</a:t>
            </a:r>
          </a:p>
        </p:txBody>
      </p:sp>
      <p:sp>
        <p:nvSpPr>
          <p:cNvPr id="41" name="Content Placeholder 1">
            <a:extLst>
              <a:ext uri="{FF2B5EF4-FFF2-40B4-BE49-F238E27FC236}">
                <a16:creationId xmlns:a16="http://schemas.microsoft.com/office/drawing/2014/main" id="{D98DCC94-C3D2-F5CB-50E8-D61370EDE6DE}"/>
              </a:ext>
            </a:extLst>
          </p:cNvPr>
          <p:cNvSpPr txBox="1">
            <a:spLocks/>
          </p:cNvSpPr>
          <p:nvPr/>
        </p:nvSpPr>
        <p:spPr>
          <a:xfrm>
            <a:off x="2966130" y="4672035"/>
            <a:ext cx="630238" cy="43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1</a:t>
            </a:r>
          </a:p>
        </p:txBody>
      </p:sp>
      <p:cxnSp>
        <p:nvCxnSpPr>
          <p:cNvPr id="42" name="Straight Connector 41">
            <a:extLst>
              <a:ext uri="{FF2B5EF4-FFF2-40B4-BE49-F238E27FC236}">
                <a16:creationId xmlns:a16="http://schemas.microsoft.com/office/drawing/2014/main" id="{965015A4-110C-E1BF-85B6-5CDC058B8A9F}"/>
              </a:ext>
            </a:extLst>
          </p:cNvPr>
          <p:cNvCxnSpPr>
            <a:cxnSpLocks/>
            <a:stCxn id="43" idx="4"/>
            <a:endCxn id="55" idx="3"/>
          </p:cNvCxnSpPr>
          <p:nvPr/>
        </p:nvCxnSpPr>
        <p:spPr>
          <a:xfrm>
            <a:off x="3388807" y="4960425"/>
            <a:ext cx="0" cy="861842"/>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43" name="Oval 42">
            <a:extLst>
              <a:ext uri="{FF2B5EF4-FFF2-40B4-BE49-F238E27FC236}">
                <a16:creationId xmlns:a16="http://schemas.microsoft.com/office/drawing/2014/main" id="{4D89D5AF-881D-F866-45E6-0B625E68355A}"/>
              </a:ext>
            </a:extLst>
          </p:cNvPr>
          <p:cNvSpPr/>
          <p:nvPr/>
        </p:nvSpPr>
        <p:spPr>
          <a:xfrm>
            <a:off x="3316417" y="4815645"/>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55" name="Isosceles Triangle 54">
            <a:extLst>
              <a:ext uri="{FF2B5EF4-FFF2-40B4-BE49-F238E27FC236}">
                <a16:creationId xmlns:a16="http://schemas.microsoft.com/office/drawing/2014/main" id="{0F96A860-3CA2-C106-0010-C8659C25EF10}"/>
              </a:ext>
            </a:extLst>
          </p:cNvPr>
          <p:cNvSpPr/>
          <p:nvPr/>
        </p:nvSpPr>
        <p:spPr>
          <a:xfrm flipV="1">
            <a:off x="3334038" y="5822267"/>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56" name="Isosceles Triangle 55">
            <a:extLst>
              <a:ext uri="{FF2B5EF4-FFF2-40B4-BE49-F238E27FC236}">
                <a16:creationId xmlns:a16="http://schemas.microsoft.com/office/drawing/2014/main" id="{1340AA0A-2A02-1D11-606F-F7CCFB7BBF13}"/>
              </a:ext>
            </a:extLst>
          </p:cNvPr>
          <p:cNvSpPr/>
          <p:nvPr/>
        </p:nvSpPr>
        <p:spPr>
          <a:xfrm flipV="1">
            <a:off x="3214976" y="5103533"/>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57" name="Isosceles Triangle 56">
            <a:extLst>
              <a:ext uri="{FF2B5EF4-FFF2-40B4-BE49-F238E27FC236}">
                <a16:creationId xmlns:a16="http://schemas.microsoft.com/office/drawing/2014/main" id="{5BDDD447-6115-2875-EB4D-441F8C7174F3}"/>
              </a:ext>
            </a:extLst>
          </p:cNvPr>
          <p:cNvSpPr/>
          <p:nvPr/>
        </p:nvSpPr>
        <p:spPr>
          <a:xfrm flipV="1">
            <a:off x="3214976" y="5561779"/>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63" name="TextBox 62">
            <a:extLst>
              <a:ext uri="{FF2B5EF4-FFF2-40B4-BE49-F238E27FC236}">
                <a16:creationId xmlns:a16="http://schemas.microsoft.com/office/drawing/2014/main" id="{20097FC8-71D3-3D2F-7B37-E72E308B2886}"/>
              </a:ext>
            </a:extLst>
          </p:cNvPr>
          <p:cNvSpPr txBox="1"/>
          <p:nvPr/>
        </p:nvSpPr>
        <p:spPr>
          <a:xfrm>
            <a:off x="3651137" y="4734147"/>
            <a:ext cx="3549251" cy="307777"/>
          </a:xfrm>
          <a:prstGeom prst="rect">
            <a:avLst/>
          </a:prstGeom>
          <a:noFill/>
        </p:spPr>
        <p:txBody>
          <a:bodyPr wrap="square" rtlCol="0">
            <a:spAutoFit/>
          </a:bodyPr>
          <a:lstStyle/>
          <a:p>
            <a:pPr lvl="0" rtl="0" hangingPunct="0">
              <a:buSzPts val="1200"/>
            </a:pPr>
            <a:r>
              <a:rPr lang="en-gb" sz="1400">
                <a:ea typeface="Calibri" panose="020F0502020204030204" pitchFamily="34" charset="0"/>
                <a:cs typeface="Times New Roman" panose="02020603050405020304" pitchFamily="18" charset="0"/>
              </a:rPr>
              <a:t>Call an ambulance.</a:t>
            </a:r>
          </a:p>
        </p:txBody>
      </p:sp>
      <p:sp>
        <p:nvSpPr>
          <p:cNvPr id="64" name="TextBox 63">
            <a:extLst>
              <a:ext uri="{FF2B5EF4-FFF2-40B4-BE49-F238E27FC236}">
                <a16:creationId xmlns:a16="http://schemas.microsoft.com/office/drawing/2014/main" id="{A09DB7FB-D3C4-A491-7629-EB3704B6FBE2}"/>
              </a:ext>
            </a:extLst>
          </p:cNvPr>
          <p:cNvSpPr txBox="1"/>
          <p:nvPr/>
        </p:nvSpPr>
        <p:spPr>
          <a:xfrm>
            <a:off x="3651137" y="5650835"/>
            <a:ext cx="3549650" cy="307777"/>
          </a:xfrm>
          <a:prstGeom prst="rect">
            <a:avLst/>
          </a:prstGeom>
          <a:noFill/>
        </p:spPr>
        <p:txBody>
          <a:bodyPr wrap="square" rtlCol="0">
            <a:noAutofit/>
          </a:bodyPr>
          <a:lstStyle/>
          <a:p>
            <a:pPr lvl="0" rtl="0" hangingPunct="0">
              <a:buSzPts val="1200"/>
            </a:pPr>
            <a:r>
              <a:rPr lang="en-gb" sz="1400">
                <a:ea typeface="Calibri" panose="020F0502020204030204" pitchFamily="34" charset="0"/>
                <a:cs typeface="Times New Roman" panose="02020603050405020304" pitchFamily="18" charset="0"/>
              </a:rPr>
              <a:t>Care for, reassure the victim.</a:t>
            </a:r>
            <a:endParaRPr lang="lv-LV" sz="1400">
              <a:effectLst/>
              <a:ea typeface="Calibri" panose="020F0502020204030204" pitchFamily="34" charset="0"/>
              <a:cs typeface="Times New Roman" panose="02020603050405020304" pitchFamily="18" charset="0"/>
            </a:endParaRPr>
          </a:p>
        </p:txBody>
      </p:sp>
      <p:sp>
        <p:nvSpPr>
          <p:cNvPr id="65" name="TextBox 64">
            <a:extLst>
              <a:ext uri="{FF2B5EF4-FFF2-40B4-BE49-F238E27FC236}">
                <a16:creationId xmlns:a16="http://schemas.microsoft.com/office/drawing/2014/main" id="{293C68F3-9D28-7611-BCD6-FEA45BDD8E56}"/>
              </a:ext>
            </a:extLst>
          </p:cNvPr>
          <p:cNvSpPr txBox="1"/>
          <p:nvPr/>
        </p:nvSpPr>
        <p:spPr>
          <a:xfrm>
            <a:off x="3651137" y="5066616"/>
            <a:ext cx="3549650" cy="523220"/>
          </a:xfrm>
          <a:prstGeom prst="rect">
            <a:avLst/>
          </a:prstGeom>
          <a:noFill/>
        </p:spPr>
        <p:txBody>
          <a:bodyPr wrap="square" rtlCol="0">
            <a:spAutoFit/>
          </a:bodyPr>
          <a:lstStyle/>
          <a:p>
            <a:pPr lvl="0" rtl="0" hangingPunct="0">
              <a:buSzPts val="1200"/>
            </a:pPr>
            <a:r>
              <a:rPr lang="en-gb" sz="1400" dirty="0">
                <a:effectLst/>
                <a:ea typeface="Calibri" panose="020F0502020204030204" pitchFamily="34" charset="0"/>
                <a:cs typeface="Times New Roman" panose="02020603050405020304" pitchFamily="18" charset="0"/>
              </a:rPr>
              <a:t>Try not to move the </a:t>
            </a:r>
            <a:r>
              <a:rPr lang="lv-LV" sz="1400" dirty="0" err="1">
                <a:ea typeface="Calibri" panose="020F0502020204030204" pitchFamily="34" charset="0"/>
                <a:cs typeface="Times New Roman" panose="02020603050405020304" pitchFamily="18" charset="0"/>
              </a:rPr>
              <a:t>bitten</a:t>
            </a:r>
            <a:r>
              <a:rPr lang="en-gb" sz="1400" dirty="0">
                <a:effectLst/>
                <a:ea typeface="Calibri" panose="020F0502020204030204" pitchFamily="34" charset="0"/>
                <a:cs typeface="Times New Roman" panose="02020603050405020304" pitchFamily="18" charset="0"/>
              </a:rPr>
              <a:t> </a:t>
            </a:r>
            <a:endParaRPr lang="en-US" sz="1400" dirty="0">
              <a:effectLst/>
              <a:ea typeface="Calibri" panose="020F0502020204030204" pitchFamily="34" charset="0"/>
              <a:cs typeface="Times New Roman" panose="02020603050405020304" pitchFamily="18" charset="0"/>
            </a:endParaRPr>
          </a:p>
          <a:p>
            <a:pPr lvl="0" rtl="0" hangingPunct="0">
              <a:buSzPts val="1200"/>
            </a:pPr>
            <a:r>
              <a:rPr lang="en-gb" sz="1400" dirty="0">
                <a:effectLst/>
                <a:ea typeface="Calibri" panose="020F0502020204030204" pitchFamily="34" charset="0"/>
                <a:cs typeface="Times New Roman" panose="02020603050405020304" pitchFamily="18" charset="0"/>
              </a:rPr>
              <a:t>part of the body.</a:t>
            </a:r>
          </a:p>
        </p:txBody>
      </p:sp>
      <p:grpSp>
        <p:nvGrpSpPr>
          <p:cNvPr id="35" name="Group 34">
            <a:extLst>
              <a:ext uri="{FF2B5EF4-FFF2-40B4-BE49-F238E27FC236}">
                <a16:creationId xmlns:a16="http://schemas.microsoft.com/office/drawing/2014/main" id="{DE754E08-BB00-B980-A307-12C13C90E8DB}"/>
              </a:ext>
            </a:extLst>
          </p:cNvPr>
          <p:cNvGrpSpPr/>
          <p:nvPr/>
        </p:nvGrpSpPr>
        <p:grpSpPr>
          <a:xfrm>
            <a:off x="9842140" y="372215"/>
            <a:ext cx="1667215" cy="313259"/>
            <a:chOff x="9842140" y="372215"/>
            <a:chExt cx="1667215" cy="313259"/>
          </a:xfrm>
        </p:grpSpPr>
        <p:sp>
          <p:nvSpPr>
            <p:cNvPr id="33" name="TextBox 32">
              <a:extLst>
                <a:ext uri="{FF2B5EF4-FFF2-40B4-BE49-F238E27FC236}">
                  <a16:creationId xmlns:a16="http://schemas.microsoft.com/office/drawing/2014/main" id="{312D369A-CC40-B8F5-631A-A9E34C7452EE}"/>
                </a:ext>
              </a:extLst>
            </p:cNvPr>
            <p:cNvSpPr txBox="1"/>
            <p:nvPr/>
          </p:nvSpPr>
          <p:spPr>
            <a:xfrm>
              <a:off x="9842140" y="372215"/>
              <a:ext cx="1667215" cy="313259"/>
            </a:xfrm>
            <a:prstGeom prst="rect">
              <a:avLst/>
            </a:prstGeom>
            <a:solidFill>
              <a:schemeClr val="accent3"/>
            </a:solidFill>
            <a:ln>
              <a:noFill/>
            </a:ln>
          </p:spPr>
          <p:txBody>
            <a:bodyPr wrap="square" lIns="144000" tIns="0" rIns="0" bIns="0" rtlCol="0" anchor="ctr">
              <a:noAutofit/>
            </a:bodyPr>
            <a:lstStyle/>
            <a:p>
              <a:pPr algn="ctr" rtl="0">
                <a:lnSpc>
                  <a:spcPct val="100000"/>
                </a:lnSpc>
                <a:buSzPct val="100000"/>
              </a:pPr>
              <a:r>
                <a:rPr lang="en-gb" sz="800">
                  <a:solidFill>
                    <a:schemeClr val="bg1"/>
                  </a:solidFill>
                </a:rPr>
                <a:t>Accidents </a:t>
              </a:r>
              <a:endParaRPr lang="en-US" sz="800">
                <a:solidFill>
                  <a:schemeClr val="bg1"/>
                </a:solidFill>
              </a:endParaRPr>
            </a:p>
            <a:p>
              <a:pPr algn="ctr" rtl="0">
                <a:lnSpc>
                  <a:spcPct val="100000"/>
                </a:lnSpc>
                <a:buSzPct val="100000"/>
              </a:pPr>
              <a:r>
                <a:rPr lang="en-gb" sz="800">
                  <a:solidFill>
                    <a:schemeClr val="bg1"/>
                  </a:solidFill>
                </a:rPr>
                <a:t>caused by animals</a:t>
              </a:r>
            </a:p>
          </p:txBody>
        </p:sp>
        <p:sp>
          <p:nvSpPr>
            <p:cNvPr id="34" name="Freeform 49">
              <a:extLst>
                <a:ext uri="{FF2B5EF4-FFF2-40B4-BE49-F238E27FC236}">
                  <a16:creationId xmlns:a16="http://schemas.microsoft.com/office/drawing/2014/main" id="{D3CC88FF-6286-C940-EE45-65706753B659}"/>
                </a:ext>
              </a:extLst>
            </p:cNvPr>
            <p:cNvSpPr>
              <a:spLocks noChangeAspect="1"/>
            </p:cNvSpPr>
            <p:nvPr/>
          </p:nvSpPr>
          <p:spPr bwMode="auto">
            <a:xfrm>
              <a:off x="9897382" y="476606"/>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p>
          </p:txBody>
        </p:sp>
      </p:grpSp>
      <p:grpSp>
        <p:nvGrpSpPr>
          <p:cNvPr id="30" name="Group 29">
            <a:extLst>
              <a:ext uri="{FF2B5EF4-FFF2-40B4-BE49-F238E27FC236}">
                <a16:creationId xmlns:a16="http://schemas.microsoft.com/office/drawing/2014/main" id="{7BBA1A08-09E5-8D6D-9A4D-BA719D524B8A}"/>
              </a:ext>
            </a:extLst>
          </p:cNvPr>
          <p:cNvGrpSpPr/>
          <p:nvPr/>
        </p:nvGrpSpPr>
        <p:grpSpPr>
          <a:xfrm>
            <a:off x="9122935" y="126781"/>
            <a:ext cx="2626153" cy="217488"/>
            <a:chOff x="9122935" y="126781"/>
            <a:chExt cx="2626153" cy="217488"/>
          </a:xfrm>
        </p:grpSpPr>
        <p:sp>
          <p:nvSpPr>
            <p:cNvPr id="32" name="Rectangle 31">
              <a:extLst>
                <a:ext uri="{FF2B5EF4-FFF2-40B4-BE49-F238E27FC236}">
                  <a16:creationId xmlns:a16="http://schemas.microsoft.com/office/drawing/2014/main" id="{713DA2F0-DF34-3BA0-EEE6-C18313FBF93E}"/>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000000"/>
                  </a:solidFill>
                  <a:effectLst/>
                  <a:uLnTx/>
                  <a:uFillTx/>
                  <a:ea typeface="Georgia"/>
                  <a:cs typeface="Georgia"/>
                  <a:sym typeface="Georgia"/>
                </a:rPr>
                <a:t>First aid measures</a:t>
              </a:r>
            </a:p>
          </p:txBody>
        </p:sp>
        <p:sp>
          <p:nvSpPr>
            <p:cNvPr id="40" name="Rectangle 39">
              <a:extLst>
                <a:ext uri="{FF2B5EF4-FFF2-40B4-BE49-F238E27FC236}">
                  <a16:creationId xmlns:a16="http://schemas.microsoft.com/office/drawing/2014/main" id="{DEA87F17-3718-B70A-92A6-0615B778444A}"/>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44" name="Rectangle 43">
              <a:extLst>
                <a:ext uri="{FF2B5EF4-FFF2-40B4-BE49-F238E27FC236}">
                  <a16:creationId xmlns:a16="http://schemas.microsoft.com/office/drawing/2014/main" id="{933EE748-5B97-DEF6-C394-71DFC5B91965}"/>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45" name="Rectangle 44">
              <a:extLst>
                <a:ext uri="{FF2B5EF4-FFF2-40B4-BE49-F238E27FC236}">
                  <a16:creationId xmlns:a16="http://schemas.microsoft.com/office/drawing/2014/main" id="{A156B9C3-AB03-215D-B392-08FCED2FAA89}"/>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51" name="Rectangle 50">
              <a:extLst>
                <a:ext uri="{FF2B5EF4-FFF2-40B4-BE49-F238E27FC236}">
                  <a16:creationId xmlns:a16="http://schemas.microsoft.com/office/drawing/2014/main" id="{396B2A41-A32B-3767-D397-8F137853D52C}"/>
                </a:ext>
              </a:extLst>
            </p:cNvPr>
            <p:cNvSpPr/>
            <p:nvPr/>
          </p:nvSpPr>
          <p:spPr>
            <a:xfrm>
              <a:off x="9842140"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7</a:t>
              </a:r>
              <a:r>
                <a:rPr lang="en-gb" sz="800" b="1" i="0" u="none" strike="noStrike" kern="0" cap="none" spc="0" normalizeH="0" noProof="0">
                  <a:ln>
                    <a:noFill/>
                  </a:ln>
                  <a:effectLst/>
                  <a:uLnTx/>
                  <a:uFillTx/>
                  <a:ea typeface="Georgia"/>
                  <a:cs typeface="Georgia"/>
                  <a:sym typeface="Georgia"/>
                </a:rPr>
                <a:t>.4</a:t>
              </a:r>
              <a:endParaRPr kumimoji="0" lang="lv-LV" sz="800" b="1" i="0" u="none" strike="noStrike" kern="0" cap="none" spc="0" normalizeH="0" baseline="0" noProof="0" dirty="0">
                <a:ln>
                  <a:noFill/>
                </a:ln>
                <a:effectLst/>
                <a:uLnTx/>
                <a:uFillTx/>
                <a:ea typeface="Georgia"/>
                <a:cs typeface="Georgia"/>
                <a:sym typeface="Georgia"/>
              </a:endParaRPr>
            </a:p>
          </p:txBody>
        </p:sp>
        <p:sp>
          <p:nvSpPr>
            <p:cNvPr id="53" name="Rectangle 52">
              <a:extLst>
                <a:ext uri="{FF2B5EF4-FFF2-40B4-BE49-F238E27FC236}">
                  <a16:creationId xmlns:a16="http://schemas.microsoft.com/office/drawing/2014/main" id="{DEE7AE8F-5214-D020-3F9B-7617EAE6D1C7}"/>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5581005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9E6BB6A-4571-FBF8-9A7D-06ADE4374D4D}"/>
              </a:ext>
            </a:extLst>
          </p:cNvPr>
          <p:cNvGraphicFramePr>
            <a:graphicFrameLocks noChangeAspect="1"/>
          </p:cNvGraphicFramePr>
          <p:nvPr>
            <p:custDataLst>
              <p:tags r:id="rId1"/>
            </p:custDataLst>
            <p:extLst>
              <p:ext uri="{D42A27DB-BD31-4B8C-83A1-F6EECF244321}">
                <p14:modId xmlns:p14="http://schemas.microsoft.com/office/powerpoint/2010/main" val="2997923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D9E6BB6A-4571-FBF8-9A7D-06ADE4374D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0D92C7FE-84BE-3BA1-61C0-95EF809D6C49}"/>
              </a:ext>
            </a:extLst>
          </p:cNvPr>
          <p:cNvSpPr/>
          <p:nvPr/>
        </p:nvSpPr>
        <p:spPr>
          <a:xfrm>
            <a:off x="2651760" y="2630366"/>
            <a:ext cx="9097328" cy="354183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400" b="1"/>
          </a:p>
        </p:txBody>
      </p:sp>
      <p:sp>
        <p:nvSpPr>
          <p:cNvPr id="14" name="Rectangle 13">
            <a:extLst>
              <a:ext uri="{FF2B5EF4-FFF2-40B4-BE49-F238E27FC236}">
                <a16:creationId xmlns:a16="http://schemas.microsoft.com/office/drawing/2014/main" id="{11EF33B5-B97B-2A58-F711-22984259ED65}"/>
              </a:ext>
            </a:extLst>
          </p:cNvPr>
          <p:cNvSpPr/>
          <p:nvPr/>
        </p:nvSpPr>
        <p:spPr>
          <a:xfrm>
            <a:off x="2847530" y="2419349"/>
            <a:ext cx="8901558"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endParaRPr lang="lv-LV" sz="1400" b="1">
              <a:solidFill>
                <a:schemeClr val="tx1"/>
              </a:solidFill>
            </a:endParaRPr>
          </a:p>
        </p:txBody>
      </p:sp>
      <p:sp>
        <p:nvSpPr>
          <p:cNvPr id="15" name="Rectangle 14">
            <a:extLst>
              <a:ext uri="{FF2B5EF4-FFF2-40B4-BE49-F238E27FC236}">
                <a16:creationId xmlns:a16="http://schemas.microsoft.com/office/drawing/2014/main" id="{33BCE1C2-7CC5-B888-833A-087CA2AEEEDC}"/>
              </a:ext>
            </a:extLst>
          </p:cNvPr>
          <p:cNvSpPr/>
          <p:nvPr/>
        </p:nvSpPr>
        <p:spPr>
          <a:xfrm>
            <a:off x="2847530" y="1830995"/>
            <a:ext cx="8901427"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tx1"/>
                </a:solidFill>
              </a:rPr>
              <a:t>How to proceed?</a:t>
            </a:r>
          </a:p>
        </p:txBody>
      </p:sp>
      <p:grpSp>
        <p:nvGrpSpPr>
          <p:cNvPr id="20" name="Group 19">
            <a:extLst>
              <a:ext uri="{FF2B5EF4-FFF2-40B4-BE49-F238E27FC236}">
                <a16:creationId xmlns:a16="http://schemas.microsoft.com/office/drawing/2014/main" id="{78FA2CB3-16CD-B6C3-DD78-919997C14242}"/>
              </a:ext>
            </a:extLst>
          </p:cNvPr>
          <p:cNvGrpSpPr/>
          <p:nvPr/>
        </p:nvGrpSpPr>
        <p:grpSpPr>
          <a:xfrm>
            <a:off x="11101569" y="1830995"/>
            <a:ext cx="647388" cy="576000"/>
            <a:chOff x="6553003" y="1830995"/>
            <a:chExt cx="647388" cy="576000"/>
          </a:xfrm>
        </p:grpSpPr>
        <p:sp>
          <p:nvSpPr>
            <p:cNvPr id="17" name="Content Placeholder 1">
              <a:extLst>
                <a:ext uri="{FF2B5EF4-FFF2-40B4-BE49-F238E27FC236}">
                  <a16:creationId xmlns:a16="http://schemas.microsoft.com/office/drawing/2014/main" id="{5F2DE715-FA6F-6E45-9FFA-2E7486865B08}"/>
                </a:ext>
              </a:extLst>
            </p:cNvPr>
            <p:cNvSpPr txBox="1">
              <a:spLocks/>
            </p:cNvSpPr>
            <p:nvPr/>
          </p:nvSpPr>
          <p:spPr>
            <a:xfrm>
              <a:off x="6624391" y="183099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8" name="Content Placeholder 1">
              <a:extLst>
                <a:ext uri="{FF2B5EF4-FFF2-40B4-BE49-F238E27FC236}">
                  <a16:creationId xmlns:a16="http://schemas.microsoft.com/office/drawing/2014/main" id="{7F6B9350-8C4F-16C2-68C3-04C074E465CD}"/>
                </a:ext>
              </a:extLst>
            </p:cNvPr>
            <p:cNvSpPr txBox="1">
              <a:spLocks/>
            </p:cNvSpPr>
            <p:nvPr/>
          </p:nvSpPr>
          <p:spPr>
            <a:xfrm>
              <a:off x="6553003" y="183099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9" name="Google Shape;760;p79">
              <a:extLst>
                <a:ext uri="{FF2B5EF4-FFF2-40B4-BE49-F238E27FC236}">
                  <a16:creationId xmlns:a16="http://schemas.microsoft.com/office/drawing/2014/main" id="{0C32969B-04D5-8343-4A7B-B432C6962BCE}"/>
                </a:ext>
              </a:extLst>
            </p:cNvPr>
            <p:cNvSpPr/>
            <p:nvPr/>
          </p:nvSpPr>
          <p:spPr>
            <a:xfrm>
              <a:off x="6732391" y="1938995"/>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sp>
        <p:nvSpPr>
          <p:cNvPr id="36" name="Rectangle 35">
            <a:extLst>
              <a:ext uri="{FF2B5EF4-FFF2-40B4-BE49-F238E27FC236}">
                <a16:creationId xmlns:a16="http://schemas.microsoft.com/office/drawing/2014/main" id="{A8F39C25-781C-A7DA-387A-D92FCABEE1F5}"/>
              </a:ext>
            </a:extLst>
          </p:cNvPr>
          <p:cNvSpPr/>
          <p:nvPr/>
        </p:nvSpPr>
        <p:spPr>
          <a:xfrm>
            <a:off x="442912" y="2630488"/>
            <a:ext cx="2208847" cy="3541834"/>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rtl="0"/>
            <a:r>
              <a:rPr lang="en-gb" sz="1400" b="1"/>
              <a:t>Insect sting </a:t>
            </a:r>
            <a:endParaRPr lang="en-US" sz="1400" b="1"/>
          </a:p>
          <a:p>
            <a:pPr rtl="0"/>
            <a:r>
              <a:rPr lang="en-gb" sz="1400" b="1"/>
              <a:t>in the oral cavity </a:t>
            </a:r>
          </a:p>
        </p:txBody>
      </p:sp>
      <p:sp>
        <p:nvSpPr>
          <p:cNvPr id="38" name="Content Placeholder 1">
            <a:extLst>
              <a:ext uri="{FF2B5EF4-FFF2-40B4-BE49-F238E27FC236}">
                <a16:creationId xmlns:a16="http://schemas.microsoft.com/office/drawing/2014/main" id="{7B1F3CCD-2DE1-C2A8-D340-EAF5B3993679}"/>
              </a:ext>
            </a:extLst>
          </p:cNvPr>
          <p:cNvSpPr txBox="1">
            <a:spLocks/>
          </p:cNvSpPr>
          <p:nvPr/>
        </p:nvSpPr>
        <p:spPr>
          <a:xfrm>
            <a:off x="2579759" y="2630488"/>
            <a:ext cx="71997" cy="3541834"/>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rtlCol="0"/>
          <a:lstStyle/>
          <a:p>
            <a:pPr rtl="0"/>
            <a:r>
              <a:rPr lang="en-gb" dirty="0"/>
              <a:t>How to deal with </a:t>
            </a:r>
            <a:r>
              <a:rPr lang="lv-LV" dirty="0" err="1"/>
              <a:t>accidents</a:t>
            </a:r>
            <a:r>
              <a:rPr lang="lv-LV" dirty="0"/>
              <a:t> </a:t>
            </a:r>
            <a:r>
              <a:rPr lang="lv-LV" dirty="0" err="1"/>
              <a:t>caused</a:t>
            </a:r>
            <a:r>
              <a:rPr lang="lv-LV" dirty="0"/>
              <a:t> </a:t>
            </a:r>
            <a:r>
              <a:rPr lang="lv-LV" dirty="0" err="1"/>
              <a:t>by</a:t>
            </a:r>
            <a:r>
              <a:rPr lang="lv-LV" dirty="0"/>
              <a:t> </a:t>
            </a:r>
            <a:r>
              <a:rPr lang="lv-LV" dirty="0" err="1"/>
              <a:t>animals</a:t>
            </a:r>
            <a:r>
              <a:rPr lang="en-gb" dirty="0"/>
              <a:t>?</a:t>
            </a:r>
            <a:endParaRPr lang="en-GB" dirty="0"/>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rtlCol="0"/>
          <a:lstStyle/>
          <a:p>
            <a:pPr rtl="0"/>
            <a:fld id="{7870704B-CE94-48CC-AF30-84932A1262A7}" type="slidenum">
              <a:rPr lang="en-GB" smtClean="0"/>
              <a:pPr rtl="0"/>
              <a:t>37</a:t>
            </a:fld>
            <a:endParaRPr lang="en-GB"/>
          </a:p>
        </p:txBody>
      </p:sp>
      <p:sp>
        <p:nvSpPr>
          <p:cNvPr id="16" name="TextBox 15">
            <a:extLst>
              <a:ext uri="{FF2B5EF4-FFF2-40B4-BE49-F238E27FC236}">
                <a16:creationId xmlns:a16="http://schemas.microsoft.com/office/drawing/2014/main" id="{30819613-CE74-49B6-0807-44FDBB81D466}"/>
              </a:ext>
            </a:extLst>
          </p:cNvPr>
          <p:cNvSpPr txBox="1"/>
          <p:nvPr/>
        </p:nvSpPr>
        <p:spPr>
          <a:xfrm>
            <a:off x="2847975" y="2630488"/>
            <a:ext cx="8901558" cy="3541712"/>
          </a:xfrm>
          <a:prstGeom prst="rect">
            <a:avLst/>
          </a:prstGeom>
          <a:noFill/>
        </p:spPr>
        <p:txBody>
          <a:bodyPr wrap="square" lIns="72000" rIns="72000" rtlCol="0" anchor="ctr">
            <a:noAutofit/>
          </a:bodyPr>
          <a:lstStyle/>
          <a:p>
            <a:pPr marL="342900" lvl="0" indent="-342900" rtl="0" hangingPunct="0">
              <a:spcAft>
                <a:spcPts val="600"/>
              </a:spcAft>
              <a:buSzPts val="1200"/>
              <a:buFont typeface="+mj-lt"/>
              <a:buAutoNum type="arabicPeriod"/>
            </a:pPr>
            <a:endParaRPr lang="lv-LV" sz="1600" b="1">
              <a:solidFill>
                <a:schemeClr val="accent2"/>
              </a:solidFill>
              <a:effectLst/>
              <a:ea typeface="Times New Roman" panose="02020603050405020304" pitchFamily="18" charset="0"/>
            </a:endParaRPr>
          </a:p>
        </p:txBody>
      </p:sp>
      <p:grpSp>
        <p:nvGrpSpPr>
          <p:cNvPr id="39" name="Group 38">
            <a:extLst>
              <a:ext uri="{FF2B5EF4-FFF2-40B4-BE49-F238E27FC236}">
                <a16:creationId xmlns:a16="http://schemas.microsoft.com/office/drawing/2014/main" id="{519A8B8C-D859-24CF-238A-710D6B2C4D35}"/>
              </a:ext>
            </a:extLst>
          </p:cNvPr>
          <p:cNvGrpSpPr/>
          <p:nvPr/>
        </p:nvGrpSpPr>
        <p:grpSpPr>
          <a:xfrm>
            <a:off x="2023691" y="5642770"/>
            <a:ext cx="360363" cy="360363"/>
            <a:chOff x="2023691" y="5642770"/>
            <a:chExt cx="360363" cy="360363"/>
          </a:xfrm>
        </p:grpSpPr>
        <p:grpSp>
          <p:nvGrpSpPr>
            <p:cNvPr id="30" name="Group 29">
              <a:extLst>
                <a:ext uri="{FF2B5EF4-FFF2-40B4-BE49-F238E27FC236}">
                  <a16:creationId xmlns:a16="http://schemas.microsoft.com/office/drawing/2014/main" id="{E6A65197-8152-A6D9-2D38-D8A76D8E62A3}"/>
                </a:ext>
              </a:extLst>
            </p:cNvPr>
            <p:cNvGrpSpPr/>
            <p:nvPr/>
          </p:nvGrpSpPr>
          <p:grpSpPr>
            <a:xfrm>
              <a:off x="2023691" y="5642770"/>
              <a:ext cx="360363" cy="360363"/>
              <a:chOff x="-455905" y="4611921"/>
              <a:chExt cx="455905" cy="457200"/>
            </a:xfrm>
          </p:grpSpPr>
          <p:sp>
            <p:nvSpPr>
              <p:cNvPr id="33" name="Google Shape;616;p77">
                <a:extLst>
                  <a:ext uri="{FF2B5EF4-FFF2-40B4-BE49-F238E27FC236}">
                    <a16:creationId xmlns:a16="http://schemas.microsoft.com/office/drawing/2014/main" id="{B506211A-ECD1-0836-E9FB-F8B570D6B234}"/>
                  </a:ext>
                </a:extLst>
              </p:cNvPr>
              <p:cNvSpPr/>
              <p:nvPr/>
            </p:nvSpPr>
            <p:spPr>
              <a:xfrm>
                <a:off x="-455905" y="4611921"/>
                <a:ext cx="455905" cy="4572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551"/>
                    </a:moveTo>
                    <a:cubicBezTo>
                      <a:pt x="25" y="551"/>
                      <a:pt x="25" y="551"/>
                      <a:pt x="25" y="551"/>
                    </a:cubicBezTo>
                    <a:cubicBezTo>
                      <a:pt x="25" y="25"/>
                      <a:pt x="25" y="25"/>
                      <a:pt x="25" y="25"/>
                    </a:cubicBezTo>
                    <a:cubicBezTo>
                      <a:pt x="552" y="25"/>
                      <a:pt x="552" y="25"/>
                      <a:pt x="552" y="25"/>
                    </a:cubicBezTo>
                    <a:lnTo>
                      <a:pt x="552" y="551"/>
                    </a:lnTo>
                    <a:close/>
                    <a:moveTo>
                      <a:pt x="395" y="491"/>
                    </a:moveTo>
                    <a:cubicBezTo>
                      <a:pt x="378" y="491"/>
                      <a:pt x="362" y="487"/>
                      <a:pt x="345" y="482"/>
                    </a:cubicBezTo>
                    <a:cubicBezTo>
                      <a:pt x="326" y="477"/>
                      <a:pt x="307" y="472"/>
                      <a:pt x="285" y="472"/>
                    </a:cubicBezTo>
                    <a:cubicBezTo>
                      <a:pt x="264" y="472"/>
                      <a:pt x="245" y="477"/>
                      <a:pt x="226" y="482"/>
                    </a:cubicBezTo>
                    <a:cubicBezTo>
                      <a:pt x="206" y="487"/>
                      <a:pt x="188" y="492"/>
                      <a:pt x="168" y="491"/>
                    </a:cubicBezTo>
                    <a:cubicBezTo>
                      <a:pt x="152" y="489"/>
                      <a:pt x="138" y="473"/>
                      <a:pt x="130" y="446"/>
                    </a:cubicBezTo>
                    <a:cubicBezTo>
                      <a:pt x="122" y="418"/>
                      <a:pt x="122" y="384"/>
                      <a:pt x="141" y="370"/>
                    </a:cubicBezTo>
                    <a:cubicBezTo>
                      <a:pt x="150" y="364"/>
                      <a:pt x="157" y="360"/>
                      <a:pt x="164" y="356"/>
                    </a:cubicBezTo>
                    <a:cubicBezTo>
                      <a:pt x="174" y="351"/>
                      <a:pt x="181" y="348"/>
                      <a:pt x="189" y="336"/>
                    </a:cubicBezTo>
                    <a:cubicBezTo>
                      <a:pt x="192" y="332"/>
                      <a:pt x="195" y="325"/>
                      <a:pt x="198" y="319"/>
                    </a:cubicBezTo>
                    <a:cubicBezTo>
                      <a:pt x="210" y="292"/>
                      <a:pt x="229" y="251"/>
                      <a:pt x="285" y="251"/>
                    </a:cubicBezTo>
                    <a:cubicBezTo>
                      <a:pt x="342" y="251"/>
                      <a:pt x="361" y="292"/>
                      <a:pt x="373" y="319"/>
                    </a:cubicBezTo>
                    <a:cubicBezTo>
                      <a:pt x="376" y="325"/>
                      <a:pt x="379" y="332"/>
                      <a:pt x="382" y="336"/>
                    </a:cubicBezTo>
                    <a:cubicBezTo>
                      <a:pt x="390" y="348"/>
                      <a:pt x="396" y="351"/>
                      <a:pt x="407" y="356"/>
                    </a:cubicBezTo>
                    <a:cubicBezTo>
                      <a:pt x="414" y="360"/>
                      <a:pt x="421" y="364"/>
                      <a:pt x="430" y="370"/>
                    </a:cubicBezTo>
                    <a:cubicBezTo>
                      <a:pt x="449" y="384"/>
                      <a:pt x="449" y="418"/>
                      <a:pt x="441" y="446"/>
                    </a:cubicBezTo>
                    <a:cubicBezTo>
                      <a:pt x="433" y="473"/>
                      <a:pt x="419" y="489"/>
                      <a:pt x="402" y="491"/>
                    </a:cubicBezTo>
                    <a:cubicBezTo>
                      <a:pt x="400" y="491"/>
                      <a:pt x="398" y="491"/>
                      <a:pt x="395" y="491"/>
                    </a:cubicBezTo>
                    <a:close/>
                    <a:moveTo>
                      <a:pt x="285" y="447"/>
                    </a:moveTo>
                    <a:cubicBezTo>
                      <a:pt x="310" y="447"/>
                      <a:pt x="332" y="452"/>
                      <a:pt x="351" y="457"/>
                    </a:cubicBezTo>
                    <a:cubicBezTo>
                      <a:pt x="369" y="462"/>
                      <a:pt x="385" y="466"/>
                      <a:pt x="400" y="465"/>
                    </a:cubicBezTo>
                    <a:cubicBezTo>
                      <a:pt x="403" y="465"/>
                      <a:pt x="411" y="457"/>
                      <a:pt x="416" y="439"/>
                    </a:cubicBezTo>
                    <a:cubicBezTo>
                      <a:pt x="423" y="415"/>
                      <a:pt x="420" y="394"/>
                      <a:pt x="415" y="391"/>
                    </a:cubicBezTo>
                    <a:cubicBezTo>
                      <a:pt x="408" y="385"/>
                      <a:pt x="401" y="382"/>
                      <a:pt x="395" y="379"/>
                    </a:cubicBezTo>
                    <a:cubicBezTo>
                      <a:pt x="384" y="373"/>
                      <a:pt x="372" y="368"/>
                      <a:pt x="360" y="350"/>
                    </a:cubicBezTo>
                    <a:cubicBezTo>
                      <a:pt x="356" y="344"/>
                      <a:pt x="353" y="337"/>
                      <a:pt x="350" y="329"/>
                    </a:cubicBezTo>
                    <a:cubicBezTo>
                      <a:pt x="338" y="303"/>
                      <a:pt x="325" y="276"/>
                      <a:pt x="285" y="276"/>
                    </a:cubicBezTo>
                    <a:cubicBezTo>
                      <a:pt x="245" y="276"/>
                      <a:pt x="233" y="303"/>
                      <a:pt x="221" y="329"/>
                    </a:cubicBezTo>
                    <a:cubicBezTo>
                      <a:pt x="218" y="337"/>
                      <a:pt x="214" y="344"/>
                      <a:pt x="210" y="350"/>
                    </a:cubicBezTo>
                    <a:cubicBezTo>
                      <a:pt x="199" y="368"/>
                      <a:pt x="187" y="373"/>
                      <a:pt x="175" y="379"/>
                    </a:cubicBezTo>
                    <a:cubicBezTo>
                      <a:pt x="169" y="382"/>
                      <a:pt x="163" y="385"/>
                      <a:pt x="156" y="391"/>
                    </a:cubicBezTo>
                    <a:cubicBezTo>
                      <a:pt x="151" y="394"/>
                      <a:pt x="148" y="415"/>
                      <a:pt x="155" y="439"/>
                    </a:cubicBezTo>
                    <a:cubicBezTo>
                      <a:pt x="160" y="457"/>
                      <a:pt x="167" y="465"/>
                      <a:pt x="170" y="465"/>
                    </a:cubicBezTo>
                    <a:cubicBezTo>
                      <a:pt x="185" y="466"/>
                      <a:pt x="201" y="462"/>
                      <a:pt x="220" y="457"/>
                    </a:cubicBezTo>
                    <a:cubicBezTo>
                      <a:pt x="239" y="452"/>
                      <a:pt x="261" y="447"/>
                      <a:pt x="285" y="447"/>
                    </a:cubicBezTo>
                    <a:close/>
                    <a:moveTo>
                      <a:pt x="354" y="239"/>
                    </a:moveTo>
                    <a:cubicBezTo>
                      <a:pt x="351" y="239"/>
                      <a:pt x="348" y="238"/>
                      <a:pt x="346" y="238"/>
                    </a:cubicBezTo>
                    <a:cubicBezTo>
                      <a:pt x="329" y="235"/>
                      <a:pt x="314" y="223"/>
                      <a:pt x="306" y="205"/>
                    </a:cubicBezTo>
                    <a:cubicBezTo>
                      <a:pt x="298" y="188"/>
                      <a:pt x="295" y="168"/>
                      <a:pt x="299" y="147"/>
                    </a:cubicBezTo>
                    <a:cubicBezTo>
                      <a:pt x="303" y="127"/>
                      <a:pt x="312" y="108"/>
                      <a:pt x="325" y="95"/>
                    </a:cubicBezTo>
                    <a:cubicBezTo>
                      <a:pt x="340" y="81"/>
                      <a:pt x="357" y="75"/>
                      <a:pt x="374" y="78"/>
                    </a:cubicBezTo>
                    <a:cubicBezTo>
                      <a:pt x="391" y="81"/>
                      <a:pt x="405" y="93"/>
                      <a:pt x="414" y="111"/>
                    </a:cubicBezTo>
                    <a:cubicBezTo>
                      <a:pt x="422" y="128"/>
                      <a:pt x="424" y="148"/>
                      <a:pt x="420" y="169"/>
                    </a:cubicBezTo>
                    <a:cubicBezTo>
                      <a:pt x="420" y="169"/>
                      <a:pt x="420" y="169"/>
                      <a:pt x="420" y="169"/>
                    </a:cubicBezTo>
                    <a:cubicBezTo>
                      <a:pt x="413" y="210"/>
                      <a:pt x="385" y="239"/>
                      <a:pt x="354" y="239"/>
                    </a:cubicBezTo>
                    <a:close/>
                    <a:moveTo>
                      <a:pt x="365" y="103"/>
                    </a:moveTo>
                    <a:cubicBezTo>
                      <a:pt x="358" y="103"/>
                      <a:pt x="350" y="107"/>
                      <a:pt x="343" y="113"/>
                    </a:cubicBezTo>
                    <a:cubicBezTo>
                      <a:pt x="334" y="123"/>
                      <a:pt x="327" y="136"/>
                      <a:pt x="324" y="152"/>
                    </a:cubicBezTo>
                    <a:cubicBezTo>
                      <a:pt x="322" y="167"/>
                      <a:pt x="323" y="182"/>
                      <a:pt x="329" y="194"/>
                    </a:cubicBezTo>
                    <a:cubicBezTo>
                      <a:pt x="334" y="205"/>
                      <a:pt x="341" y="211"/>
                      <a:pt x="350" y="213"/>
                    </a:cubicBezTo>
                    <a:cubicBezTo>
                      <a:pt x="369" y="216"/>
                      <a:pt x="390" y="194"/>
                      <a:pt x="395" y="164"/>
                    </a:cubicBezTo>
                    <a:cubicBezTo>
                      <a:pt x="398" y="149"/>
                      <a:pt x="396" y="134"/>
                      <a:pt x="391" y="122"/>
                    </a:cubicBezTo>
                    <a:cubicBezTo>
                      <a:pt x="386" y="111"/>
                      <a:pt x="378" y="105"/>
                      <a:pt x="369" y="103"/>
                    </a:cubicBezTo>
                    <a:cubicBezTo>
                      <a:pt x="368" y="103"/>
                      <a:pt x="367" y="103"/>
                      <a:pt x="365" y="103"/>
                    </a:cubicBezTo>
                    <a:close/>
                    <a:moveTo>
                      <a:pt x="217" y="239"/>
                    </a:moveTo>
                    <a:cubicBezTo>
                      <a:pt x="186" y="239"/>
                      <a:pt x="158" y="210"/>
                      <a:pt x="150" y="169"/>
                    </a:cubicBezTo>
                    <a:cubicBezTo>
                      <a:pt x="147" y="148"/>
                      <a:pt x="149" y="128"/>
                      <a:pt x="157" y="111"/>
                    </a:cubicBezTo>
                    <a:cubicBezTo>
                      <a:pt x="166" y="93"/>
                      <a:pt x="180" y="81"/>
                      <a:pt x="197" y="78"/>
                    </a:cubicBezTo>
                    <a:cubicBezTo>
                      <a:pt x="214" y="75"/>
                      <a:pt x="231" y="81"/>
                      <a:pt x="246" y="95"/>
                    </a:cubicBezTo>
                    <a:cubicBezTo>
                      <a:pt x="259" y="108"/>
                      <a:pt x="268" y="127"/>
                      <a:pt x="272" y="147"/>
                    </a:cubicBezTo>
                    <a:cubicBezTo>
                      <a:pt x="275" y="168"/>
                      <a:pt x="273" y="188"/>
                      <a:pt x="265" y="205"/>
                    </a:cubicBezTo>
                    <a:cubicBezTo>
                      <a:pt x="256" y="223"/>
                      <a:pt x="242" y="235"/>
                      <a:pt x="225" y="238"/>
                    </a:cubicBezTo>
                    <a:cubicBezTo>
                      <a:pt x="222" y="238"/>
                      <a:pt x="219" y="239"/>
                      <a:pt x="217" y="239"/>
                    </a:cubicBezTo>
                    <a:close/>
                    <a:moveTo>
                      <a:pt x="205" y="103"/>
                    </a:moveTo>
                    <a:cubicBezTo>
                      <a:pt x="204" y="103"/>
                      <a:pt x="203" y="103"/>
                      <a:pt x="201" y="103"/>
                    </a:cubicBezTo>
                    <a:cubicBezTo>
                      <a:pt x="193" y="105"/>
                      <a:pt x="185" y="111"/>
                      <a:pt x="180" y="122"/>
                    </a:cubicBezTo>
                    <a:cubicBezTo>
                      <a:pt x="175" y="134"/>
                      <a:pt x="173" y="149"/>
                      <a:pt x="176" y="164"/>
                    </a:cubicBezTo>
                    <a:cubicBezTo>
                      <a:pt x="181" y="194"/>
                      <a:pt x="202" y="216"/>
                      <a:pt x="221" y="213"/>
                    </a:cubicBezTo>
                    <a:cubicBezTo>
                      <a:pt x="229" y="211"/>
                      <a:pt x="237" y="205"/>
                      <a:pt x="242" y="194"/>
                    </a:cubicBezTo>
                    <a:cubicBezTo>
                      <a:pt x="248" y="182"/>
                      <a:pt x="249" y="167"/>
                      <a:pt x="246" y="152"/>
                    </a:cubicBezTo>
                    <a:cubicBezTo>
                      <a:pt x="244" y="136"/>
                      <a:pt x="237" y="123"/>
                      <a:pt x="228" y="113"/>
                    </a:cubicBezTo>
                    <a:cubicBezTo>
                      <a:pt x="221" y="107"/>
                      <a:pt x="213" y="103"/>
                      <a:pt x="205" y="103"/>
                    </a:cubicBezTo>
                    <a:close/>
                    <a:moveTo>
                      <a:pt x="445" y="341"/>
                    </a:moveTo>
                    <a:cubicBezTo>
                      <a:pt x="440" y="341"/>
                      <a:pt x="434" y="340"/>
                      <a:pt x="429" y="338"/>
                    </a:cubicBezTo>
                    <a:cubicBezTo>
                      <a:pt x="400" y="327"/>
                      <a:pt x="386" y="290"/>
                      <a:pt x="399" y="254"/>
                    </a:cubicBezTo>
                    <a:cubicBezTo>
                      <a:pt x="412" y="219"/>
                      <a:pt x="447" y="198"/>
                      <a:pt x="476" y="209"/>
                    </a:cubicBezTo>
                    <a:cubicBezTo>
                      <a:pt x="491" y="214"/>
                      <a:pt x="502" y="226"/>
                      <a:pt x="507" y="243"/>
                    </a:cubicBezTo>
                    <a:cubicBezTo>
                      <a:pt x="513" y="258"/>
                      <a:pt x="512" y="276"/>
                      <a:pt x="506" y="293"/>
                    </a:cubicBezTo>
                    <a:cubicBezTo>
                      <a:pt x="495" y="322"/>
                      <a:pt x="470" y="341"/>
                      <a:pt x="445" y="341"/>
                    </a:cubicBezTo>
                    <a:close/>
                    <a:moveTo>
                      <a:pt x="460" y="232"/>
                    </a:moveTo>
                    <a:cubicBezTo>
                      <a:pt x="446" y="232"/>
                      <a:pt x="430" y="244"/>
                      <a:pt x="423" y="263"/>
                    </a:cubicBezTo>
                    <a:cubicBezTo>
                      <a:pt x="415" y="285"/>
                      <a:pt x="422" y="308"/>
                      <a:pt x="438" y="314"/>
                    </a:cubicBezTo>
                    <a:cubicBezTo>
                      <a:pt x="454" y="320"/>
                      <a:pt x="474" y="306"/>
                      <a:pt x="482" y="284"/>
                    </a:cubicBezTo>
                    <a:cubicBezTo>
                      <a:pt x="486" y="273"/>
                      <a:pt x="486" y="261"/>
                      <a:pt x="483" y="251"/>
                    </a:cubicBezTo>
                    <a:cubicBezTo>
                      <a:pt x="480" y="242"/>
                      <a:pt x="475" y="236"/>
                      <a:pt x="467" y="233"/>
                    </a:cubicBezTo>
                    <a:cubicBezTo>
                      <a:pt x="465" y="232"/>
                      <a:pt x="462" y="232"/>
                      <a:pt x="460" y="232"/>
                    </a:cubicBezTo>
                    <a:close/>
                    <a:moveTo>
                      <a:pt x="125" y="341"/>
                    </a:moveTo>
                    <a:cubicBezTo>
                      <a:pt x="100" y="341"/>
                      <a:pt x="75" y="322"/>
                      <a:pt x="65" y="293"/>
                    </a:cubicBezTo>
                    <a:cubicBezTo>
                      <a:pt x="59" y="276"/>
                      <a:pt x="58" y="258"/>
                      <a:pt x="63" y="243"/>
                    </a:cubicBezTo>
                    <a:cubicBezTo>
                      <a:pt x="69" y="226"/>
                      <a:pt x="80" y="214"/>
                      <a:pt x="95" y="209"/>
                    </a:cubicBezTo>
                    <a:cubicBezTo>
                      <a:pt x="124" y="198"/>
                      <a:pt x="158" y="219"/>
                      <a:pt x="171" y="254"/>
                    </a:cubicBezTo>
                    <a:cubicBezTo>
                      <a:pt x="184" y="290"/>
                      <a:pt x="171" y="327"/>
                      <a:pt x="142" y="338"/>
                    </a:cubicBezTo>
                    <a:cubicBezTo>
                      <a:pt x="136" y="340"/>
                      <a:pt x="131" y="341"/>
                      <a:pt x="125" y="341"/>
                    </a:cubicBezTo>
                    <a:close/>
                    <a:moveTo>
                      <a:pt x="111" y="232"/>
                    </a:moveTo>
                    <a:cubicBezTo>
                      <a:pt x="108" y="232"/>
                      <a:pt x="106" y="232"/>
                      <a:pt x="103" y="233"/>
                    </a:cubicBezTo>
                    <a:cubicBezTo>
                      <a:pt x="96" y="236"/>
                      <a:pt x="91" y="242"/>
                      <a:pt x="88" y="251"/>
                    </a:cubicBezTo>
                    <a:cubicBezTo>
                      <a:pt x="84" y="261"/>
                      <a:pt x="85" y="273"/>
                      <a:pt x="89" y="284"/>
                    </a:cubicBezTo>
                    <a:cubicBezTo>
                      <a:pt x="97" y="306"/>
                      <a:pt x="117" y="320"/>
                      <a:pt x="133" y="314"/>
                    </a:cubicBezTo>
                    <a:cubicBezTo>
                      <a:pt x="149" y="308"/>
                      <a:pt x="155" y="285"/>
                      <a:pt x="147" y="263"/>
                    </a:cubicBezTo>
                    <a:cubicBezTo>
                      <a:pt x="141" y="244"/>
                      <a:pt x="125" y="232"/>
                      <a:pt x="111" y="232"/>
                    </a:cubicBez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4" name="Rectangle 33">
                <a:extLst>
                  <a:ext uri="{FF2B5EF4-FFF2-40B4-BE49-F238E27FC236}">
                    <a16:creationId xmlns:a16="http://schemas.microsoft.com/office/drawing/2014/main" id="{3B5D66C3-47BC-AE6C-0AE6-55E952D53630}"/>
                  </a:ext>
                </a:extLst>
              </p:cNvPr>
              <p:cNvSpPr/>
              <p:nvPr/>
            </p:nvSpPr>
            <p:spPr>
              <a:xfrm>
                <a:off x="-426720" y="4640580"/>
                <a:ext cx="398145" cy="39814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grpSp>
        <p:pic>
          <p:nvPicPr>
            <p:cNvPr id="25" name="Graphic 24" descr="Bee with solid fill">
              <a:extLst>
                <a:ext uri="{FF2B5EF4-FFF2-40B4-BE49-F238E27FC236}">
                  <a16:creationId xmlns:a16="http://schemas.microsoft.com/office/drawing/2014/main" id="{CD034C99-3AF5-C1DE-88C9-2001613953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64333" y="5683412"/>
              <a:ext cx="279079" cy="279079"/>
            </a:xfrm>
            <a:prstGeom prst="rect">
              <a:avLst/>
            </a:prstGeom>
          </p:spPr>
        </p:pic>
      </p:grpSp>
      <p:sp>
        <p:nvSpPr>
          <p:cNvPr id="40" name="Google Shape;866;p77">
            <a:extLst>
              <a:ext uri="{FF2B5EF4-FFF2-40B4-BE49-F238E27FC236}">
                <a16:creationId xmlns:a16="http://schemas.microsoft.com/office/drawing/2014/main" id="{20C39927-6FEB-B068-6830-6BF11F44CD7D}"/>
              </a:ext>
            </a:extLst>
          </p:cNvPr>
          <p:cNvSpPr/>
          <p:nvPr/>
        </p:nvSpPr>
        <p:spPr>
          <a:xfrm>
            <a:off x="3086224" y="5795926"/>
            <a:ext cx="217760" cy="192082"/>
          </a:xfrm>
          <a:custGeom>
            <a:avLst/>
            <a:gdLst/>
            <a:ahLst/>
            <a:cxnLst/>
            <a:rect l="l" t="t" r="r" b="b"/>
            <a:pathLst>
              <a:path w="447798" h="394996" extrusionOk="0">
                <a:moveTo>
                  <a:pt x="223879" y="0"/>
                </a:moveTo>
                <a:cubicBezTo>
                  <a:pt x="214410" y="56"/>
                  <a:pt x="205689" y="5157"/>
                  <a:pt x="200988" y="13374"/>
                </a:cubicBezTo>
                <a:lnTo>
                  <a:pt x="3552" y="354937"/>
                </a:lnTo>
                <a:cubicBezTo>
                  <a:pt x="-3800" y="367751"/>
                  <a:pt x="627" y="384098"/>
                  <a:pt x="13440" y="391451"/>
                </a:cubicBezTo>
                <a:cubicBezTo>
                  <a:pt x="17511" y="393783"/>
                  <a:pt x="22124" y="395009"/>
                  <a:pt x="26817" y="394996"/>
                </a:cubicBezTo>
                <a:lnTo>
                  <a:pt x="421066" y="394996"/>
                </a:lnTo>
                <a:cubicBezTo>
                  <a:pt x="435804" y="395021"/>
                  <a:pt x="447773" y="383097"/>
                  <a:pt x="447799" y="368361"/>
                </a:cubicBezTo>
                <a:cubicBezTo>
                  <a:pt x="447808" y="363645"/>
                  <a:pt x="446568" y="359018"/>
                  <a:pt x="444206" y="354937"/>
                </a:cubicBezTo>
                <a:lnTo>
                  <a:pt x="247019" y="13374"/>
                </a:lnTo>
                <a:cubicBezTo>
                  <a:pt x="242293" y="5058"/>
                  <a:pt x="233444" y="-56"/>
                  <a:pt x="223879" y="0"/>
                </a:cubicBezTo>
                <a:close/>
                <a:moveTo>
                  <a:pt x="28932" y="367005"/>
                </a:moveTo>
                <a:lnTo>
                  <a:pt x="223879" y="29299"/>
                </a:lnTo>
                <a:lnTo>
                  <a:pt x="418702" y="367005"/>
                </a:lnTo>
                <a:close/>
                <a:moveTo>
                  <a:pt x="209883" y="161047"/>
                </a:moveTo>
                <a:lnTo>
                  <a:pt x="209883" y="235318"/>
                </a:lnTo>
                <a:cubicBezTo>
                  <a:pt x="209883" y="243050"/>
                  <a:pt x="216150" y="249314"/>
                  <a:pt x="223879" y="249314"/>
                </a:cubicBezTo>
                <a:cubicBezTo>
                  <a:pt x="231609" y="249314"/>
                  <a:pt x="237875" y="243050"/>
                  <a:pt x="237875" y="235318"/>
                </a:cubicBezTo>
                <a:lnTo>
                  <a:pt x="237875" y="161047"/>
                </a:lnTo>
                <a:cubicBezTo>
                  <a:pt x="237875" y="153315"/>
                  <a:pt x="231609" y="147051"/>
                  <a:pt x="223879" y="147051"/>
                </a:cubicBezTo>
                <a:cubicBezTo>
                  <a:pt x="216150" y="147051"/>
                  <a:pt x="209883" y="153315"/>
                  <a:pt x="209883" y="161047"/>
                </a:cubicBezTo>
                <a:close/>
                <a:moveTo>
                  <a:pt x="202916" y="308284"/>
                </a:moveTo>
                <a:cubicBezTo>
                  <a:pt x="202916" y="319897"/>
                  <a:pt x="212330" y="329309"/>
                  <a:pt x="223941" y="329309"/>
                </a:cubicBezTo>
                <a:cubicBezTo>
                  <a:pt x="235553" y="329309"/>
                  <a:pt x="244966" y="319897"/>
                  <a:pt x="244966" y="308284"/>
                </a:cubicBezTo>
                <a:cubicBezTo>
                  <a:pt x="244966" y="296670"/>
                  <a:pt x="235553" y="287259"/>
                  <a:pt x="223941" y="287259"/>
                </a:cubicBezTo>
                <a:cubicBezTo>
                  <a:pt x="223921" y="287259"/>
                  <a:pt x="223900" y="287259"/>
                  <a:pt x="223879" y="287259"/>
                </a:cubicBezTo>
                <a:cubicBezTo>
                  <a:pt x="212302" y="287259"/>
                  <a:pt x="202916" y="296645"/>
                  <a:pt x="202916" y="308222"/>
                </a:cubicBezTo>
                <a:cubicBezTo>
                  <a:pt x="202916" y="308240"/>
                  <a:pt x="202916" y="308265"/>
                  <a:pt x="202916" y="308284"/>
                </a:cubicBezTo>
                <a:close/>
              </a:path>
            </a:pathLst>
          </a:custGeom>
          <a:solidFill>
            <a:schemeClr val="accent2"/>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 name="Rectangle 1">
            <a:extLst>
              <a:ext uri="{FF2B5EF4-FFF2-40B4-BE49-F238E27FC236}">
                <a16:creationId xmlns:a16="http://schemas.microsoft.com/office/drawing/2014/main" id="{26CBEC25-69EE-FABD-D9B3-821EC29127F9}"/>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sp>
        <p:nvSpPr>
          <p:cNvPr id="48" name="Content Placeholder 1">
            <a:extLst>
              <a:ext uri="{FF2B5EF4-FFF2-40B4-BE49-F238E27FC236}">
                <a16:creationId xmlns:a16="http://schemas.microsoft.com/office/drawing/2014/main" id="{A4A1DC63-F989-7DAC-799B-BCA0AFE699E2}"/>
              </a:ext>
            </a:extLst>
          </p:cNvPr>
          <p:cNvSpPr txBox="1">
            <a:spLocks/>
          </p:cNvSpPr>
          <p:nvPr/>
        </p:nvSpPr>
        <p:spPr>
          <a:xfrm>
            <a:off x="2966130" y="3279751"/>
            <a:ext cx="630238" cy="567711"/>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2</a:t>
            </a:r>
          </a:p>
        </p:txBody>
      </p:sp>
      <p:sp>
        <p:nvSpPr>
          <p:cNvPr id="49" name="Content Placeholder 1">
            <a:extLst>
              <a:ext uri="{FF2B5EF4-FFF2-40B4-BE49-F238E27FC236}">
                <a16:creationId xmlns:a16="http://schemas.microsoft.com/office/drawing/2014/main" id="{A7A0151E-5B58-8D8A-285E-361B78A9422E}"/>
              </a:ext>
            </a:extLst>
          </p:cNvPr>
          <p:cNvSpPr txBox="1">
            <a:spLocks/>
          </p:cNvSpPr>
          <p:nvPr/>
        </p:nvSpPr>
        <p:spPr>
          <a:xfrm>
            <a:off x="2966130" y="3879774"/>
            <a:ext cx="630238" cy="504632"/>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3</a:t>
            </a:r>
          </a:p>
        </p:txBody>
      </p:sp>
      <p:sp>
        <p:nvSpPr>
          <p:cNvPr id="50" name="Content Placeholder 1">
            <a:extLst>
              <a:ext uri="{FF2B5EF4-FFF2-40B4-BE49-F238E27FC236}">
                <a16:creationId xmlns:a16="http://schemas.microsoft.com/office/drawing/2014/main" id="{010CCCE4-E9F2-B809-0C8E-827EF3E5E426}"/>
              </a:ext>
            </a:extLst>
          </p:cNvPr>
          <p:cNvSpPr txBox="1">
            <a:spLocks/>
          </p:cNvSpPr>
          <p:nvPr/>
        </p:nvSpPr>
        <p:spPr>
          <a:xfrm>
            <a:off x="2966130" y="4416718"/>
            <a:ext cx="630238" cy="504632"/>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4</a:t>
            </a:r>
          </a:p>
        </p:txBody>
      </p:sp>
      <p:sp>
        <p:nvSpPr>
          <p:cNvPr id="51" name="Content Placeholder 1">
            <a:extLst>
              <a:ext uri="{FF2B5EF4-FFF2-40B4-BE49-F238E27FC236}">
                <a16:creationId xmlns:a16="http://schemas.microsoft.com/office/drawing/2014/main" id="{512D1EAE-F968-7682-ECE5-72B4FFFF85A3}"/>
              </a:ext>
            </a:extLst>
          </p:cNvPr>
          <p:cNvSpPr txBox="1">
            <a:spLocks/>
          </p:cNvSpPr>
          <p:nvPr/>
        </p:nvSpPr>
        <p:spPr>
          <a:xfrm>
            <a:off x="2966130" y="4953662"/>
            <a:ext cx="630238" cy="504632"/>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5</a:t>
            </a:r>
          </a:p>
        </p:txBody>
      </p:sp>
      <p:sp>
        <p:nvSpPr>
          <p:cNvPr id="53" name="Content Placeholder 1">
            <a:extLst>
              <a:ext uri="{FF2B5EF4-FFF2-40B4-BE49-F238E27FC236}">
                <a16:creationId xmlns:a16="http://schemas.microsoft.com/office/drawing/2014/main" id="{61E235E7-84ED-A6CC-1651-ABAD842FA0B8}"/>
              </a:ext>
            </a:extLst>
          </p:cNvPr>
          <p:cNvSpPr txBox="1">
            <a:spLocks/>
          </p:cNvSpPr>
          <p:nvPr/>
        </p:nvSpPr>
        <p:spPr>
          <a:xfrm>
            <a:off x="2966130" y="2742807"/>
            <a:ext cx="630238" cy="504632"/>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1</a:t>
            </a:r>
          </a:p>
        </p:txBody>
      </p:sp>
      <p:cxnSp>
        <p:nvCxnSpPr>
          <p:cNvPr id="54" name="Straight Connector 53">
            <a:extLst>
              <a:ext uri="{FF2B5EF4-FFF2-40B4-BE49-F238E27FC236}">
                <a16:creationId xmlns:a16="http://schemas.microsoft.com/office/drawing/2014/main" id="{0F3DA636-2777-B2C2-32AD-3AE30818D252}"/>
              </a:ext>
            </a:extLst>
          </p:cNvPr>
          <p:cNvCxnSpPr>
            <a:cxnSpLocks/>
            <a:stCxn id="55" idx="4"/>
            <a:endCxn id="61" idx="3"/>
          </p:cNvCxnSpPr>
          <p:nvPr/>
        </p:nvCxnSpPr>
        <p:spPr>
          <a:xfrm>
            <a:off x="3388807" y="2988968"/>
            <a:ext cx="0" cy="2294488"/>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55" name="Oval 54">
            <a:extLst>
              <a:ext uri="{FF2B5EF4-FFF2-40B4-BE49-F238E27FC236}">
                <a16:creationId xmlns:a16="http://schemas.microsoft.com/office/drawing/2014/main" id="{CAAE35C6-3DA4-1798-DBDE-9C3BD133112C}"/>
              </a:ext>
            </a:extLst>
          </p:cNvPr>
          <p:cNvSpPr/>
          <p:nvPr/>
        </p:nvSpPr>
        <p:spPr>
          <a:xfrm>
            <a:off x="3316417" y="2844968"/>
            <a:ext cx="144780" cy="14400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56" name="Isosceles Triangle 55">
            <a:extLst>
              <a:ext uri="{FF2B5EF4-FFF2-40B4-BE49-F238E27FC236}">
                <a16:creationId xmlns:a16="http://schemas.microsoft.com/office/drawing/2014/main" id="{4BD693FD-7EA4-B359-63B3-1F582FA6A5E1}"/>
              </a:ext>
            </a:extLst>
          </p:cNvPr>
          <p:cNvSpPr/>
          <p:nvPr/>
        </p:nvSpPr>
        <p:spPr>
          <a:xfrm flipV="1">
            <a:off x="3214976" y="3247148"/>
            <a:ext cx="347662" cy="119962"/>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57" name="Isosceles Triangle 56">
            <a:extLst>
              <a:ext uri="{FF2B5EF4-FFF2-40B4-BE49-F238E27FC236}">
                <a16:creationId xmlns:a16="http://schemas.microsoft.com/office/drawing/2014/main" id="{B8D0412D-A242-A961-6FD5-E5CE9DFA949D}"/>
              </a:ext>
            </a:extLst>
          </p:cNvPr>
          <p:cNvSpPr/>
          <p:nvPr/>
        </p:nvSpPr>
        <p:spPr>
          <a:xfrm flipV="1">
            <a:off x="3214976" y="4918358"/>
            <a:ext cx="347662" cy="119962"/>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59" name="Isosceles Triangle 58">
            <a:extLst>
              <a:ext uri="{FF2B5EF4-FFF2-40B4-BE49-F238E27FC236}">
                <a16:creationId xmlns:a16="http://schemas.microsoft.com/office/drawing/2014/main" id="{548B9B05-848B-0CB7-938A-C340555E2864}"/>
              </a:ext>
            </a:extLst>
          </p:cNvPr>
          <p:cNvSpPr/>
          <p:nvPr/>
        </p:nvSpPr>
        <p:spPr>
          <a:xfrm flipV="1">
            <a:off x="3214976" y="4380506"/>
            <a:ext cx="347662" cy="119962"/>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60" name="Isosceles Triangle 59">
            <a:extLst>
              <a:ext uri="{FF2B5EF4-FFF2-40B4-BE49-F238E27FC236}">
                <a16:creationId xmlns:a16="http://schemas.microsoft.com/office/drawing/2014/main" id="{A49A4C87-9F67-6768-6AC6-5FBB5DD27C68}"/>
              </a:ext>
            </a:extLst>
          </p:cNvPr>
          <p:cNvSpPr/>
          <p:nvPr/>
        </p:nvSpPr>
        <p:spPr>
          <a:xfrm flipV="1">
            <a:off x="3214976" y="3847462"/>
            <a:ext cx="347662" cy="119962"/>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61" name="Isosceles Triangle 60">
            <a:extLst>
              <a:ext uri="{FF2B5EF4-FFF2-40B4-BE49-F238E27FC236}">
                <a16:creationId xmlns:a16="http://schemas.microsoft.com/office/drawing/2014/main" id="{B3436993-D048-8EDA-F1FF-E9D38591FEEC}"/>
              </a:ext>
            </a:extLst>
          </p:cNvPr>
          <p:cNvSpPr/>
          <p:nvPr/>
        </p:nvSpPr>
        <p:spPr>
          <a:xfrm flipV="1">
            <a:off x="3334038" y="5283456"/>
            <a:ext cx="109538" cy="76688"/>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64" name="TextBox 63">
            <a:extLst>
              <a:ext uri="{FF2B5EF4-FFF2-40B4-BE49-F238E27FC236}">
                <a16:creationId xmlns:a16="http://schemas.microsoft.com/office/drawing/2014/main" id="{8AAAF1FD-1289-4D07-6647-2F1F62A6A243}"/>
              </a:ext>
            </a:extLst>
          </p:cNvPr>
          <p:cNvSpPr txBox="1"/>
          <p:nvPr/>
        </p:nvSpPr>
        <p:spPr>
          <a:xfrm>
            <a:off x="3670718" y="2841235"/>
            <a:ext cx="6094070" cy="307777"/>
          </a:xfrm>
          <a:prstGeom prst="rect">
            <a:avLst/>
          </a:prstGeom>
          <a:noFill/>
        </p:spPr>
        <p:txBody>
          <a:bodyPr wrap="square" rtlCol="0">
            <a:spAutoFit/>
          </a:bodyPr>
          <a:lstStyle/>
          <a:p>
            <a:pPr lvl="0" rtl="0" hangingPunct="0">
              <a:spcAft>
                <a:spcPts val="600"/>
              </a:spcAft>
              <a:buSzPts val="1200"/>
            </a:pPr>
            <a:r>
              <a:rPr lang="en-gb" sz="1400">
                <a:effectLst/>
                <a:ea typeface="Calibri" panose="020F0502020204030204" pitchFamily="34" charset="0"/>
                <a:cs typeface="Times New Roman" panose="02020603050405020304" pitchFamily="18" charset="0"/>
              </a:rPr>
              <a:t>Call an ambulance.</a:t>
            </a:r>
          </a:p>
        </p:txBody>
      </p:sp>
      <p:sp>
        <p:nvSpPr>
          <p:cNvPr id="66" name="TextBox 65">
            <a:extLst>
              <a:ext uri="{FF2B5EF4-FFF2-40B4-BE49-F238E27FC236}">
                <a16:creationId xmlns:a16="http://schemas.microsoft.com/office/drawing/2014/main" id="{176904F0-FFB9-5BAF-13F1-EC5C9104D6E0}"/>
              </a:ext>
            </a:extLst>
          </p:cNvPr>
          <p:cNvSpPr txBox="1"/>
          <p:nvPr/>
        </p:nvSpPr>
        <p:spPr>
          <a:xfrm>
            <a:off x="3443576" y="5722690"/>
            <a:ext cx="8274140" cy="338554"/>
          </a:xfrm>
          <a:prstGeom prst="rect">
            <a:avLst/>
          </a:prstGeom>
          <a:noFill/>
        </p:spPr>
        <p:txBody>
          <a:bodyPr wrap="square" rtlCol="0">
            <a:spAutoFit/>
          </a:bodyPr>
          <a:lstStyle/>
          <a:p>
            <a:pPr lvl="0" rtl="0" hangingPunct="0">
              <a:spcAft>
                <a:spcPts val="600"/>
              </a:spcAft>
              <a:buSzPts val="1200"/>
            </a:pPr>
            <a:r>
              <a:rPr lang="en-gb" sz="1600" b="1" dirty="0">
                <a:solidFill>
                  <a:schemeClr val="accent2"/>
                </a:solidFill>
                <a:effectLst/>
                <a:ea typeface="Times New Roman" panose="02020603050405020304" pitchFamily="18" charset="0"/>
              </a:rPr>
              <a:t>Dangerous! Possible airway obstruction and </a:t>
            </a:r>
            <a:r>
              <a:rPr lang="lv-LV" sz="1600" b="1" dirty="0" err="1">
                <a:solidFill>
                  <a:schemeClr val="accent2"/>
                </a:solidFill>
                <a:effectLst/>
                <a:ea typeface="Times New Roman" panose="02020603050405020304" pitchFamily="18" charset="0"/>
              </a:rPr>
              <a:t>suffocation</a:t>
            </a:r>
            <a:r>
              <a:rPr lang="en-gb" sz="1600" b="1" dirty="0">
                <a:solidFill>
                  <a:schemeClr val="accent2"/>
                </a:solidFill>
                <a:effectLst/>
                <a:ea typeface="Times New Roman" panose="02020603050405020304" pitchFamily="18" charset="0"/>
              </a:rPr>
              <a:t> due to oedema.</a:t>
            </a:r>
          </a:p>
        </p:txBody>
      </p:sp>
      <p:sp>
        <p:nvSpPr>
          <p:cNvPr id="69" name="TextBox 68">
            <a:extLst>
              <a:ext uri="{FF2B5EF4-FFF2-40B4-BE49-F238E27FC236}">
                <a16:creationId xmlns:a16="http://schemas.microsoft.com/office/drawing/2014/main" id="{06CF4829-D23F-A9B8-E20B-BC6A9BBED4BD}"/>
              </a:ext>
            </a:extLst>
          </p:cNvPr>
          <p:cNvSpPr txBox="1"/>
          <p:nvPr/>
        </p:nvSpPr>
        <p:spPr>
          <a:xfrm>
            <a:off x="3670718" y="3409718"/>
            <a:ext cx="6094070" cy="307777"/>
          </a:xfrm>
          <a:prstGeom prst="rect">
            <a:avLst/>
          </a:prstGeom>
          <a:noFill/>
        </p:spPr>
        <p:txBody>
          <a:bodyPr wrap="square" rtlCol="0">
            <a:spAutoFit/>
          </a:bodyPr>
          <a:lstStyle/>
          <a:p>
            <a:pPr lvl="0" rtl="0" hangingPunct="0">
              <a:spcAft>
                <a:spcPts val="600"/>
              </a:spcAft>
              <a:buSzPts val="1200"/>
            </a:pPr>
            <a:r>
              <a:rPr lang="en-gb" sz="1400">
                <a:effectLst/>
                <a:ea typeface="Calibri" panose="020F0502020204030204" pitchFamily="34" charset="0"/>
                <a:cs typeface="Times New Roman" panose="02020603050405020304" pitchFamily="18" charset="0"/>
              </a:rPr>
              <a:t>Give ice to suck on or cold drinks to drink in small sips.</a:t>
            </a:r>
          </a:p>
        </p:txBody>
      </p:sp>
      <p:sp>
        <p:nvSpPr>
          <p:cNvPr id="70" name="TextBox 69">
            <a:extLst>
              <a:ext uri="{FF2B5EF4-FFF2-40B4-BE49-F238E27FC236}">
                <a16:creationId xmlns:a16="http://schemas.microsoft.com/office/drawing/2014/main" id="{D0C077BE-209A-E2B3-0FDA-A6FFAB74B3DB}"/>
              </a:ext>
            </a:extLst>
          </p:cNvPr>
          <p:cNvSpPr txBox="1"/>
          <p:nvPr/>
        </p:nvSpPr>
        <p:spPr>
          <a:xfrm>
            <a:off x="3670718" y="3978202"/>
            <a:ext cx="6094070" cy="307777"/>
          </a:xfrm>
          <a:prstGeom prst="rect">
            <a:avLst/>
          </a:prstGeom>
          <a:noFill/>
        </p:spPr>
        <p:txBody>
          <a:bodyPr wrap="square" rtlCol="0">
            <a:spAutoFit/>
          </a:bodyPr>
          <a:lstStyle/>
          <a:p>
            <a:pPr lvl="0" rtl="0" hangingPunct="0">
              <a:spcAft>
                <a:spcPts val="600"/>
              </a:spcAft>
              <a:buSzPts val="1200"/>
            </a:pPr>
            <a:r>
              <a:rPr lang="en-gb" sz="1400">
                <a:effectLst/>
                <a:ea typeface="Calibri" panose="020F0502020204030204" pitchFamily="34" charset="0"/>
                <a:cs typeface="Times New Roman" panose="02020603050405020304" pitchFamily="18" charset="0"/>
              </a:rPr>
              <a:t>Cool the throat from the outside.</a:t>
            </a:r>
          </a:p>
        </p:txBody>
      </p:sp>
      <p:sp>
        <p:nvSpPr>
          <p:cNvPr id="71" name="TextBox 70">
            <a:extLst>
              <a:ext uri="{FF2B5EF4-FFF2-40B4-BE49-F238E27FC236}">
                <a16:creationId xmlns:a16="http://schemas.microsoft.com/office/drawing/2014/main" id="{3D68D09B-FBBB-6CDD-7F30-BA85C9DA4B91}"/>
              </a:ext>
            </a:extLst>
          </p:cNvPr>
          <p:cNvSpPr txBox="1"/>
          <p:nvPr/>
        </p:nvSpPr>
        <p:spPr>
          <a:xfrm>
            <a:off x="3670718" y="4515146"/>
            <a:ext cx="6094070" cy="307777"/>
          </a:xfrm>
          <a:prstGeom prst="rect">
            <a:avLst/>
          </a:prstGeom>
          <a:noFill/>
        </p:spPr>
        <p:txBody>
          <a:bodyPr wrap="square" rtlCol="0">
            <a:spAutoFit/>
          </a:bodyPr>
          <a:lstStyle/>
          <a:p>
            <a:pPr lvl="0" rtl="0" hangingPunct="0">
              <a:spcAft>
                <a:spcPts val="600"/>
              </a:spcAft>
              <a:buSzPts val="1200"/>
            </a:pPr>
            <a:r>
              <a:rPr lang="en-gb" sz="1400">
                <a:effectLst/>
                <a:ea typeface="Calibri" panose="020F0502020204030204" pitchFamily="34" charset="0"/>
                <a:cs typeface="Times New Roman" panose="02020603050405020304" pitchFamily="18" charset="0"/>
              </a:rPr>
              <a:t>Care for, reassure the victim.</a:t>
            </a:r>
          </a:p>
        </p:txBody>
      </p:sp>
      <p:sp>
        <p:nvSpPr>
          <p:cNvPr id="73" name="TextBox 72">
            <a:extLst>
              <a:ext uri="{FF2B5EF4-FFF2-40B4-BE49-F238E27FC236}">
                <a16:creationId xmlns:a16="http://schemas.microsoft.com/office/drawing/2014/main" id="{5EA1CE50-8C28-1BC6-6E3B-A6077460C743}"/>
              </a:ext>
            </a:extLst>
          </p:cNvPr>
          <p:cNvSpPr txBox="1"/>
          <p:nvPr/>
        </p:nvSpPr>
        <p:spPr>
          <a:xfrm>
            <a:off x="3670718" y="5052090"/>
            <a:ext cx="6094070" cy="307777"/>
          </a:xfrm>
          <a:prstGeom prst="rect">
            <a:avLst/>
          </a:prstGeom>
          <a:noFill/>
        </p:spPr>
        <p:txBody>
          <a:bodyPr wrap="square" rtlCol="0">
            <a:spAutoFit/>
          </a:bodyPr>
          <a:lstStyle/>
          <a:p>
            <a:pPr lvl="0" rtl="0" hangingPunct="0">
              <a:spcAft>
                <a:spcPts val="600"/>
              </a:spcAft>
              <a:buSzPts val="1200"/>
            </a:pPr>
            <a:r>
              <a:rPr lang="en-gb" sz="1400">
                <a:effectLst/>
                <a:ea typeface="Calibri" panose="020F0502020204030204" pitchFamily="34" charset="0"/>
                <a:cs typeface="Times New Roman" panose="02020603050405020304" pitchFamily="18" charset="0"/>
              </a:rPr>
              <a:t>Take resuscitation measures if necessary.</a:t>
            </a:r>
          </a:p>
        </p:txBody>
      </p:sp>
      <p:grpSp>
        <p:nvGrpSpPr>
          <p:cNvPr id="26" name="Group 25">
            <a:extLst>
              <a:ext uri="{FF2B5EF4-FFF2-40B4-BE49-F238E27FC236}">
                <a16:creationId xmlns:a16="http://schemas.microsoft.com/office/drawing/2014/main" id="{47E9C767-523E-A201-9C13-87E61A5EE729}"/>
              </a:ext>
            </a:extLst>
          </p:cNvPr>
          <p:cNvGrpSpPr/>
          <p:nvPr/>
        </p:nvGrpSpPr>
        <p:grpSpPr>
          <a:xfrm>
            <a:off x="9842140" y="372215"/>
            <a:ext cx="1667215" cy="313259"/>
            <a:chOff x="9842140" y="372215"/>
            <a:chExt cx="1667215" cy="313259"/>
          </a:xfrm>
        </p:grpSpPr>
        <p:sp>
          <p:nvSpPr>
            <p:cNvPr id="27" name="TextBox 26">
              <a:extLst>
                <a:ext uri="{FF2B5EF4-FFF2-40B4-BE49-F238E27FC236}">
                  <a16:creationId xmlns:a16="http://schemas.microsoft.com/office/drawing/2014/main" id="{469C9D93-50A4-5B2B-F704-EC09936EEECD}"/>
                </a:ext>
              </a:extLst>
            </p:cNvPr>
            <p:cNvSpPr txBox="1"/>
            <p:nvPr/>
          </p:nvSpPr>
          <p:spPr>
            <a:xfrm>
              <a:off x="9842140" y="372215"/>
              <a:ext cx="1667215" cy="313259"/>
            </a:xfrm>
            <a:prstGeom prst="rect">
              <a:avLst/>
            </a:prstGeom>
            <a:solidFill>
              <a:schemeClr val="accent3"/>
            </a:solidFill>
            <a:ln>
              <a:noFill/>
            </a:ln>
          </p:spPr>
          <p:txBody>
            <a:bodyPr wrap="square" lIns="144000" tIns="0" rIns="0" bIns="0" rtlCol="0" anchor="ctr">
              <a:noAutofit/>
            </a:bodyPr>
            <a:lstStyle/>
            <a:p>
              <a:pPr algn="ctr" rtl="0">
                <a:lnSpc>
                  <a:spcPct val="100000"/>
                </a:lnSpc>
                <a:buSzPct val="100000"/>
              </a:pPr>
              <a:r>
                <a:rPr lang="en-gb" sz="800">
                  <a:solidFill>
                    <a:schemeClr val="bg1"/>
                  </a:solidFill>
                </a:rPr>
                <a:t>Caused by animals </a:t>
              </a:r>
              <a:endParaRPr lang="en-US" sz="800">
                <a:solidFill>
                  <a:schemeClr val="bg1"/>
                </a:solidFill>
              </a:endParaRPr>
            </a:p>
            <a:p>
              <a:pPr algn="ctr" rtl="0">
                <a:lnSpc>
                  <a:spcPct val="100000"/>
                </a:lnSpc>
                <a:buSzPct val="100000"/>
              </a:pPr>
              <a:r>
                <a:rPr lang="en-gb" sz="800">
                  <a:solidFill>
                    <a:schemeClr val="bg1"/>
                  </a:solidFill>
                </a:rPr>
                <a:t>accidents</a:t>
              </a:r>
            </a:p>
          </p:txBody>
        </p:sp>
        <p:sp>
          <p:nvSpPr>
            <p:cNvPr id="28" name="Freeform 49">
              <a:extLst>
                <a:ext uri="{FF2B5EF4-FFF2-40B4-BE49-F238E27FC236}">
                  <a16:creationId xmlns:a16="http://schemas.microsoft.com/office/drawing/2014/main" id="{A4C79EC0-5C27-3DDA-AD3B-409B7D704DEC}"/>
                </a:ext>
              </a:extLst>
            </p:cNvPr>
            <p:cNvSpPr>
              <a:spLocks noChangeAspect="1"/>
            </p:cNvSpPr>
            <p:nvPr/>
          </p:nvSpPr>
          <p:spPr bwMode="auto">
            <a:xfrm>
              <a:off x="9897382" y="476606"/>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p>
          </p:txBody>
        </p:sp>
      </p:grpSp>
      <p:grpSp>
        <p:nvGrpSpPr>
          <p:cNvPr id="21" name="Group 20">
            <a:extLst>
              <a:ext uri="{FF2B5EF4-FFF2-40B4-BE49-F238E27FC236}">
                <a16:creationId xmlns:a16="http://schemas.microsoft.com/office/drawing/2014/main" id="{D1E048D0-E6F3-9F74-475B-C14176FF331B}"/>
              </a:ext>
            </a:extLst>
          </p:cNvPr>
          <p:cNvGrpSpPr/>
          <p:nvPr/>
        </p:nvGrpSpPr>
        <p:grpSpPr>
          <a:xfrm>
            <a:off x="9122935" y="126781"/>
            <a:ext cx="2626153" cy="217488"/>
            <a:chOff x="9122935" y="126781"/>
            <a:chExt cx="2626153" cy="217488"/>
          </a:xfrm>
        </p:grpSpPr>
        <p:sp>
          <p:nvSpPr>
            <p:cNvPr id="22" name="Rectangle 21">
              <a:extLst>
                <a:ext uri="{FF2B5EF4-FFF2-40B4-BE49-F238E27FC236}">
                  <a16:creationId xmlns:a16="http://schemas.microsoft.com/office/drawing/2014/main" id="{9BC09C63-04F8-C961-AB24-C7A1746ECCF8}"/>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000000"/>
                  </a:solidFill>
                  <a:effectLst/>
                  <a:uLnTx/>
                  <a:uFillTx/>
                  <a:ea typeface="Georgia"/>
                  <a:cs typeface="Georgia"/>
                  <a:sym typeface="Georgia"/>
                </a:rPr>
                <a:t>First aid measures</a:t>
              </a:r>
            </a:p>
          </p:txBody>
        </p:sp>
        <p:sp>
          <p:nvSpPr>
            <p:cNvPr id="23" name="Rectangle 22">
              <a:extLst>
                <a:ext uri="{FF2B5EF4-FFF2-40B4-BE49-F238E27FC236}">
                  <a16:creationId xmlns:a16="http://schemas.microsoft.com/office/drawing/2014/main" id="{8CD13DE2-B636-72D7-41F4-2FD6D8DC8B5D}"/>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24" name="Rectangle 23">
              <a:extLst>
                <a:ext uri="{FF2B5EF4-FFF2-40B4-BE49-F238E27FC236}">
                  <a16:creationId xmlns:a16="http://schemas.microsoft.com/office/drawing/2014/main" id="{FA38FC6C-86BB-5EC3-478A-9C8DC916F5B6}"/>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29" name="Rectangle 28">
              <a:extLst>
                <a:ext uri="{FF2B5EF4-FFF2-40B4-BE49-F238E27FC236}">
                  <a16:creationId xmlns:a16="http://schemas.microsoft.com/office/drawing/2014/main" id="{4147C813-DC08-2FA6-4D39-0006A51AB31F}"/>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F32F51E3-94CC-50FB-7AA1-4823CB2F89F8}"/>
                </a:ext>
              </a:extLst>
            </p:cNvPr>
            <p:cNvSpPr/>
            <p:nvPr/>
          </p:nvSpPr>
          <p:spPr>
            <a:xfrm>
              <a:off x="9842140"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7</a:t>
              </a:r>
              <a:r>
                <a:rPr lang="en-gb" sz="800" b="1" i="0" u="none" strike="noStrike" kern="0" cap="none" spc="0" normalizeH="0" noProof="0">
                  <a:ln>
                    <a:noFill/>
                  </a:ln>
                  <a:effectLst/>
                  <a:uLnTx/>
                  <a:uFillTx/>
                  <a:ea typeface="Georgia"/>
                  <a:cs typeface="Georgia"/>
                  <a:sym typeface="Georgia"/>
                </a:rPr>
                <a:t>.4</a:t>
              </a:r>
              <a:endParaRPr kumimoji="0" lang="lv-LV" sz="800" b="1" i="0" u="none" strike="noStrike" kern="0" cap="none" spc="0" normalizeH="0" baseline="0" noProof="0" dirty="0">
                <a:ln>
                  <a:noFill/>
                </a:ln>
                <a:effectLst/>
                <a:uLnTx/>
                <a:uFillTx/>
                <a:ea typeface="Georgia"/>
                <a:cs typeface="Georgia"/>
                <a:sym typeface="Georgia"/>
              </a:endParaRPr>
            </a:p>
          </p:txBody>
        </p:sp>
        <p:sp>
          <p:nvSpPr>
            <p:cNvPr id="32" name="Rectangle 31">
              <a:extLst>
                <a:ext uri="{FF2B5EF4-FFF2-40B4-BE49-F238E27FC236}">
                  <a16:creationId xmlns:a16="http://schemas.microsoft.com/office/drawing/2014/main" id="{78F609E0-569B-B1C3-7EDE-B5EB7AA5694E}"/>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21697854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9E6BB6A-4571-FBF8-9A7D-06ADE4374D4D}"/>
              </a:ext>
            </a:extLst>
          </p:cNvPr>
          <p:cNvGraphicFramePr>
            <a:graphicFrameLocks noChangeAspect="1"/>
          </p:cNvGraphicFramePr>
          <p:nvPr>
            <p:custDataLst>
              <p:tags r:id="rId1"/>
            </p:custDataLst>
            <p:extLst>
              <p:ext uri="{D42A27DB-BD31-4B8C-83A1-F6EECF244321}">
                <p14:modId xmlns:p14="http://schemas.microsoft.com/office/powerpoint/2010/main" val="2416266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D9E6BB6A-4571-FBF8-9A7D-06ADE4374D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A2BB43A5-DD5D-8646-71E8-1A36915C0B8C}"/>
              </a:ext>
            </a:extLst>
          </p:cNvPr>
          <p:cNvSpPr/>
          <p:nvPr/>
        </p:nvSpPr>
        <p:spPr>
          <a:xfrm>
            <a:off x="2651760" y="2630366"/>
            <a:ext cx="9097328" cy="278537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400" b="1"/>
          </a:p>
        </p:txBody>
      </p:sp>
      <p:sp>
        <p:nvSpPr>
          <p:cNvPr id="7" name="Rectangle 6">
            <a:extLst>
              <a:ext uri="{FF2B5EF4-FFF2-40B4-BE49-F238E27FC236}">
                <a16:creationId xmlns:a16="http://schemas.microsoft.com/office/drawing/2014/main" id="{E4EF8F99-6CAF-89D6-2B0A-03C46A8AE78A}"/>
              </a:ext>
            </a:extLst>
          </p:cNvPr>
          <p:cNvSpPr/>
          <p:nvPr/>
        </p:nvSpPr>
        <p:spPr>
          <a:xfrm>
            <a:off x="2847530" y="2419349"/>
            <a:ext cx="4352925" cy="2996387"/>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endParaRPr lang="lv-LV" sz="1400" b="1">
              <a:solidFill>
                <a:schemeClr val="tx1"/>
              </a:solidFill>
            </a:endParaRPr>
          </a:p>
        </p:txBody>
      </p:sp>
      <p:sp>
        <p:nvSpPr>
          <p:cNvPr id="8" name="Rectangle 7">
            <a:extLst>
              <a:ext uri="{FF2B5EF4-FFF2-40B4-BE49-F238E27FC236}">
                <a16:creationId xmlns:a16="http://schemas.microsoft.com/office/drawing/2014/main" id="{0DC07B40-AB81-B121-2741-FD0AC669FE4B}"/>
              </a:ext>
            </a:extLst>
          </p:cNvPr>
          <p:cNvSpPr/>
          <p:nvPr/>
        </p:nvSpPr>
        <p:spPr>
          <a:xfrm>
            <a:off x="7396160" y="2419349"/>
            <a:ext cx="4352925" cy="2996387"/>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endParaRPr lang="lv-LV" sz="1400" b="1">
              <a:solidFill>
                <a:schemeClr val="tx1"/>
              </a:solidFill>
            </a:endParaRPr>
          </a:p>
        </p:txBody>
      </p:sp>
      <p:sp>
        <p:nvSpPr>
          <p:cNvPr id="16" name="TextBox 15">
            <a:extLst>
              <a:ext uri="{FF2B5EF4-FFF2-40B4-BE49-F238E27FC236}">
                <a16:creationId xmlns:a16="http://schemas.microsoft.com/office/drawing/2014/main" id="{30819613-CE74-49B6-0807-44FDBB81D466}"/>
              </a:ext>
            </a:extLst>
          </p:cNvPr>
          <p:cNvSpPr txBox="1"/>
          <p:nvPr/>
        </p:nvSpPr>
        <p:spPr>
          <a:xfrm>
            <a:off x="2847466" y="2630489"/>
            <a:ext cx="4352925" cy="2785370"/>
          </a:xfrm>
          <a:prstGeom prst="rect">
            <a:avLst/>
          </a:prstGeom>
          <a:noFill/>
        </p:spPr>
        <p:txBody>
          <a:bodyPr wrap="square" lIns="72000" rIns="72000" rtlCol="0" anchor="ctr">
            <a:noAutofit/>
          </a:bodyPr>
          <a:lstStyle/>
          <a:p>
            <a:pPr marL="284400" lvl="1" indent="-284400" rtl="0" hangingPunct="0">
              <a:buSzPts val="1200"/>
              <a:buBlip>
                <a:blip r:embed="rId6"/>
              </a:buBlip>
              <a:tabLst>
                <a:tab pos="457200" algn="l"/>
                <a:tab pos="1586230" algn="l"/>
              </a:tabLst>
            </a:pPr>
            <a:r>
              <a:rPr lang="en-gb" sz="1400">
                <a:ea typeface="Calibri" panose="020F0502020204030204" pitchFamily="34" charset="0"/>
                <a:cs typeface="Times New Roman" panose="02020603050405020304" pitchFamily="18" charset="0"/>
              </a:rPr>
              <a:t>Ask if the victim has choked.</a:t>
            </a:r>
          </a:p>
          <a:p>
            <a:pPr marL="284400" lvl="1" indent="-284400" rtl="0" hangingPunct="0">
              <a:buSzPts val="1200"/>
              <a:buBlip>
                <a:blip r:embed="rId6"/>
              </a:buBlip>
              <a:tabLst>
                <a:tab pos="457200" algn="l"/>
                <a:tab pos="1586230" algn="l"/>
              </a:tabLst>
            </a:pPr>
            <a:r>
              <a:rPr lang="en-gb" sz="1400">
                <a:ea typeface="Calibri" panose="020F0502020204030204" pitchFamily="34" charset="0"/>
                <a:cs typeface="Times New Roman" panose="02020603050405020304" pitchFamily="18" charset="0"/>
              </a:rPr>
              <a:t>Allow the victim to cough up the foreign body.</a:t>
            </a:r>
          </a:p>
          <a:p>
            <a:pPr marL="284400" indent="-284400" rtl="0" hangingPunct="0">
              <a:buSzPts val="1200"/>
              <a:buBlip>
                <a:blip r:embed="rId6"/>
              </a:buBlip>
              <a:tabLst>
                <a:tab pos="457200" algn="l"/>
                <a:tab pos="1586230" algn="l"/>
              </a:tabLst>
            </a:pPr>
            <a:r>
              <a:rPr lang="en-gb" sz="1400">
                <a:ea typeface="Calibri" panose="020F0502020204030204" pitchFamily="34" charset="0"/>
                <a:cs typeface="Times New Roman" panose="02020603050405020304" pitchFamily="18" charset="0"/>
              </a:rPr>
              <a:t>Encourage the victim to cough.</a:t>
            </a:r>
          </a:p>
          <a:p>
            <a:pPr marL="284400" indent="-284400" rtl="0" hangingPunct="0">
              <a:buSzPts val="1200"/>
              <a:buBlip>
                <a:blip r:embed="rId6"/>
              </a:buBlip>
              <a:tabLst>
                <a:tab pos="457200" algn="l"/>
                <a:tab pos="1586230" algn="l"/>
              </a:tabLst>
            </a:pPr>
            <a:r>
              <a:rPr lang="en-gb" sz="1400">
                <a:ea typeface="Calibri" panose="020F0502020204030204" pitchFamily="34" charset="0"/>
                <a:cs typeface="Times New Roman" panose="02020603050405020304" pitchFamily="18" charset="0"/>
              </a:rPr>
              <a:t>If the victim is no longer able to speak and is actively coughing:</a:t>
            </a:r>
          </a:p>
          <a:p>
            <a:pPr marL="468000" lvl="1" indent="-180000" rtl="0" hangingPunct="0">
              <a:buSzPct val="100000"/>
              <a:buFont typeface="Arial" panose="020B0604020202020204" pitchFamily="34" charset="0"/>
              <a:buChar char="•"/>
              <a:tabLst>
                <a:tab pos="457200" algn="l"/>
                <a:tab pos="1586230" algn="l"/>
              </a:tabLst>
            </a:pPr>
            <a:r>
              <a:rPr lang="en-gb" sz="1400">
                <a:ea typeface="Calibri" panose="020F0502020204030204" pitchFamily="34" charset="0"/>
                <a:cs typeface="Times New Roman" panose="02020603050405020304" pitchFamily="18" charset="0"/>
              </a:rPr>
              <a:t>bend the upper body of the victim and deliver 5 blows between the shoulder blades;</a:t>
            </a:r>
          </a:p>
          <a:p>
            <a:pPr marL="468000" lvl="1" indent="-180000" rtl="0" hangingPunct="0">
              <a:buSzPct val="100000"/>
              <a:buFont typeface="Arial" panose="020B0604020202020204" pitchFamily="34" charset="0"/>
              <a:buChar char="•"/>
              <a:tabLst>
                <a:tab pos="457200" algn="l"/>
                <a:tab pos="1586230" algn="l"/>
              </a:tabLst>
            </a:pPr>
            <a:r>
              <a:rPr lang="en-gb" sz="1400">
                <a:ea typeface="Calibri" panose="020F0502020204030204" pitchFamily="34" charset="0"/>
                <a:cs typeface="Times New Roman" panose="02020603050405020304" pitchFamily="18" charset="0"/>
              </a:rPr>
              <a:t>if that doesn't help, use the Heimlich technique;</a:t>
            </a:r>
          </a:p>
          <a:p>
            <a:pPr marL="468000" lvl="1" indent="-180000" rtl="0" hangingPunct="0">
              <a:buSzPct val="100000"/>
              <a:buFont typeface="Arial" panose="020B0604020202020204" pitchFamily="34" charset="0"/>
              <a:buChar char="•"/>
              <a:tabLst>
                <a:tab pos="457200" algn="l"/>
                <a:tab pos="1586230" algn="l"/>
              </a:tabLst>
            </a:pPr>
            <a:r>
              <a:rPr lang="en-gb" sz="1400">
                <a:ea typeface="Calibri" panose="020F0502020204030204" pitchFamily="34" charset="0"/>
                <a:cs typeface="Times New Roman" panose="02020603050405020304" pitchFamily="18" charset="0"/>
              </a:rPr>
              <a:t>If necessary, continue alternating between the scapular strokes and the Heimlich technique;</a:t>
            </a:r>
          </a:p>
          <a:p>
            <a:pPr marL="468000" lvl="1" indent="-180000" rtl="0" hangingPunct="0">
              <a:buSzPct val="100000"/>
              <a:buFont typeface="Arial" panose="020B0604020202020204" pitchFamily="34" charset="0"/>
              <a:buChar char="•"/>
              <a:tabLst>
                <a:tab pos="457200" algn="l"/>
                <a:tab pos="1586230" algn="l"/>
              </a:tabLst>
            </a:pPr>
            <a:r>
              <a:rPr lang="en-gb" sz="1400">
                <a:ea typeface="Calibri" panose="020F0502020204030204" pitchFamily="34" charset="0"/>
                <a:cs typeface="Times New Roman" panose="02020603050405020304" pitchFamily="18" charset="0"/>
              </a:rPr>
              <a:t>call an ambulance;</a:t>
            </a:r>
          </a:p>
          <a:p>
            <a:pPr marL="468000" lvl="1" indent="-180000" rtl="0" hangingPunct="0">
              <a:buSzPct val="100000"/>
              <a:buFont typeface="Arial" panose="020B0604020202020204" pitchFamily="34" charset="0"/>
              <a:buChar char="•"/>
              <a:tabLst>
                <a:tab pos="457200" algn="l"/>
                <a:tab pos="1586230" algn="l"/>
              </a:tabLst>
            </a:pPr>
            <a:r>
              <a:rPr lang="en-gb" sz="1400">
                <a:ea typeface="Calibri" panose="020F0502020204030204" pitchFamily="34" charset="0"/>
                <a:cs typeface="Times New Roman" panose="02020603050405020304" pitchFamily="18" charset="0"/>
              </a:rPr>
              <a:t>take resuscitation measures if necessary.</a:t>
            </a:r>
          </a:p>
        </p:txBody>
      </p:sp>
      <p:sp>
        <p:nvSpPr>
          <p:cNvPr id="18" name="TextBox 17">
            <a:extLst>
              <a:ext uri="{FF2B5EF4-FFF2-40B4-BE49-F238E27FC236}">
                <a16:creationId xmlns:a16="http://schemas.microsoft.com/office/drawing/2014/main" id="{E1D4AC8F-0322-E8A8-E509-5AF71473A8F4}"/>
              </a:ext>
            </a:extLst>
          </p:cNvPr>
          <p:cNvSpPr txBox="1"/>
          <p:nvPr/>
        </p:nvSpPr>
        <p:spPr>
          <a:xfrm>
            <a:off x="7396160" y="2630489"/>
            <a:ext cx="4352925" cy="2785370"/>
          </a:xfrm>
          <a:prstGeom prst="rect">
            <a:avLst/>
          </a:prstGeom>
          <a:noFill/>
        </p:spPr>
        <p:txBody>
          <a:bodyPr wrap="square" lIns="72000" rIns="72000" rtlCol="0" anchor="ctr">
            <a:noAutofit/>
          </a:bodyPr>
          <a:lstStyle/>
          <a:p>
            <a:pPr marL="284400" lvl="0" indent="-284400" rtl="0" hangingPunct="0">
              <a:buSzPts val="1200"/>
              <a:buBlip>
                <a:blip r:embed="rId6"/>
              </a:buBlip>
            </a:pPr>
            <a:r>
              <a:rPr lang="en-gb" sz="1400" dirty="0">
                <a:effectLst/>
                <a:ea typeface="Calibri" panose="020F0502020204030204" pitchFamily="34" charset="0"/>
                <a:cs typeface="Times New Roman" panose="02020603050405020304" pitchFamily="18" charset="0"/>
              </a:rPr>
              <a:t>If the Heimlich technique is used, always call an ambulance, as even if things seem to be going well, the victim's condition can deteriorate significantly later. </a:t>
            </a:r>
          </a:p>
        </p:txBody>
      </p:sp>
      <p:sp>
        <p:nvSpPr>
          <p:cNvPr id="36" name="Rectangle 35">
            <a:extLst>
              <a:ext uri="{FF2B5EF4-FFF2-40B4-BE49-F238E27FC236}">
                <a16:creationId xmlns:a16="http://schemas.microsoft.com/office/drawing/2014/main" id="{A8F39C25-781C-A7DA-387A-D92FCABEE1F5}"/>
              </a:ext>
            </a:extLst>
          </p:cNvPr>
          <p:cNvSpPr/>
          <p:nvPr/>
        </p:nvSpPr>
        <p:spPr>
          <a:xfrm>
            <a:off x="442912" y="2630487"/>
            <a:ext cx="2208847" cy="278537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rtl="0">
              <a:lnSpc>
                <a:spcPct val="100000"/>
              </a:lnSpc>
            </a:pPr>
            <a:r>
              <a:rPr lang="en-gb" sz="1400" b="1"/>
              <a:t>Foreign body in the airways</a:t>
            </a:r>
          </a:p>
        </p:txBody>
      </p:sp>
      <p:sp>
        <p:nvSpPr>
          <p:cNvPr id="38" name="Content Placeholder 1">
            <a:extLst>
              <a:ext uri="{FF2B5EF4-FFF2-40B4-BE49-F238E27FC236}">
                <a16:creationId xmlns:a16="http://schemas.microsoft.com/office/drawing/2014/main" id="{7B1F3CCD-2DE1-C2A8-D340-EAF5B3993679}"/>
              </a:ext>
            </a:extLst>
          </p:cNvPr>
          <p:cNvSpPr txBox="1">
            <a:spLocks/>
          </p:cNvSpPr>
          <p:nvPr/>
        </p:nvSpPr>
        <p:spPr>
          <a:xfrm>
            <a:off x="2579759" y="2630487"/>
            <a:ext cx="72000" cy="278537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0"/>
            <a:ext cx="11306175" cy="1387275"/>
          </a:xfrm>
        </p:spPr>
        <p:txBody>
          <a:bodyPr vert="horz" rtlCol="0"/>
          <a:lstStyle/>
          <a:p>
            <a:pPr rtl="0"/>
            <a:r>
              <a:rPr lang="lv-LV" dirty="0" err="1"/>
              <a:t>What</a:t>
            </a:r>
            <a:r>
              <a:rPr lang="lv-LV" dirty="0"/>
              <a:t> to do </a:t>
            </a:r>
            <a:r>
              <a:rPr lang="lv-LV" dirty="0" err="1"/>
              <a:t>in</a:t>
            </a:r>
            <a:r>
              <a:rPr lang="lv-LV" dirty="0"/>
              <a:t> </a:t>
            </a:r>
            <a:r>
              <a:rPr lang="lv-LV" dirty="0" err="1"/>
              <a:t>case</a:t>
            </a:r>
            <a:r>
              <a:rPr lang="lv-LV" dirty="0"/>
              <a:t> </a:t>
            </a:r>
            <a:r>
              <a:rPr lang="lv-LV" dirty="0" err="1"/>
              <a:t>of</a:t>
            </a:r>
            <a:r>
              <a:rPr lang="lv-LV" dirty="0"/>
              <a:t> </a:t>
            </a:r>
            <a:r>
              <a:rPr lang="lv-LV" dirty="0" err="1"/>
              <a:t>foreign</a:t>
            </a:r>
            <a:r>
              <a:rPr lang="lv-LV" dirty="0"/>
              <a:t> </a:t>
            </a:r>
            <a:r>
              <a:rPr lang="lv-LV" dirty="0" err="1"/>
              <a:t>bodies</a:t>
            </a:r>
            <a:br>
              <a:rPr lang="lv-LV" dirty="0"/>
            </a:br>
            <a:r>
              <a:rPr lang="lv-LV" dirty="0" err="1"/>
              <a:t>obstructing</a:t>
            </a:r>
            <a:r>
              <a:rPr lang="lv-LV" dirty="0"/>
              <a:t> </a:t>
            </a:r>
            <a:r>
              <a:rPr lang="lv-LV" dirty="0" err="1"/>
              <a:t>airways</a:t>
            </a:r>
            <a:r>
              <a:rPr lang="lv-LV" dirty="0"/>
              <a:t>?</a:t>
            </a:r>
            <a:endParaRPr lang="en-GB" dirty="0"/>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rtlCol="0"/>
          <a:lstStyle/>
          <a:p>
            <a:pPr rtl="0"/>
            <a:fld id="{7870704B-CE94-48CC-AF30-84932A1262A7}" type="slidenum">
              <a:rPr lang="en-GB" smtClean="0"/>
              <a:pPr rtl="0"/>
              <a:t>38</a:t>
            </a:fld>
            <a:endParaRPr lang="en-GB"/>
          </a:p>
        </p:txBody>
      </p:sp>
      <p:sp>
        <p:nvSpPr>
          <p:cNvPr id="10" name="Rectangle 9">
            <a:extLst>
              <a:ext uri="{FF2B5EF4-FFF2-40B4-BE49-F238E27FC236}">
                <a16:creationId xmlns:a16="http://schemas.microsoft.com/office/drawing/2014/main" id="{FD39E877-8733-6B3A-0736-82AE534CA18E}"/>
              </a:ext>
            </a:extLst>
          </p:cNvPr>
          <p:cNvSpPr/>
          <p:nvPr/>
        </p:nvSpPr>
        <p:spPr>
          <a:xfrm>
            <a:off x="7396160" y="1830995"/>
            <a:ext cx="435292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bg1"/>
                </a:solidFill>
              </a:rPr>
              <a:t>Important!</a:t>
            </a:r>
          </a:p>
        </p:txBody>
      </p:sp>
      <p:sp>
        <p:nvSpPr>
          <p:cNvPr id="11" name="Content Placeholder 1">
            <a:extLst>
              <a:ext uri="{FF2B5EF4-FFF2-40B4-BE49-F238E27FC236}">
                <a16:creationId xmlns:a16="http://schemas.microsoft.com/office/drawing/2014/main" id="{284EF3B7-0D90-7812-B83D-6F9FB9C16ADE}"/>
              </a:ext>
            </a:extLst>
          </p:cNvPr>
          <p:cNvSpPr txBox="1">
            <a:spLocks/>
          </p:cNvSpPr>
          <p:nvPr/>
        </p:nvSpPr>
        <p:spPr>
          <a:xfrm>
            <a:off x="11173087" y="18309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2" name="Content Placeholder 1">
            <a:extLst>
              <a:ext uri="{FF2B5EF4-FFF2-40B4-BE49-F238E27FC236}">
                <a16:creationId xmlns:a16="http://schemas.microsoft.com/office/drawing/2014/main" id="{645AEA1F-484B-9114-07B9-348240688C2A}"/>
              </a:ext>
            </a:extLst>
          </p:cNvPr>
          <p:cNvSpPr txBox="1">
            <a:spLocks/>
          </p:cNvSpPr>
          <p:nvPr/>
        </p:nvSpPr>
        <p:spPr>
          <a:xfrm>
            <a:off x="11101699" y="18309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3" name="Google Shape;794;p79">
            <a:extLst>
              <a:ext uri="{FF2B5EF4-FFF2-40B4-BE49-F238E27FC236}">
                <a16:creationId xmlns:a16="http://schemas.microsoft.com/office/drawing/2014/main" id="{4D41839D-B245-47A7-C971-A1DF27C69FD1}"/>
              </a:ext>
            </a:extLst>
          </p:cNvPr>
          <p:cNvSpPr/>
          <p:nvPr/>
        </p:nvSpPr>
        <p:spPr>
          <a:xfrm>
            <a:off x="11281087" y="19389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4" name="Rectangle 13">
            <a:extLst>
              <a:ext uri="{FF2B5EF4-FFF2-40B4-BE49-F238E27FC236}">
                <a16:creationId xmlns:a16="http://schemas.microsoft.com/office/drawing/2014/main" id="{A0CB0E11-2B7E-5E0C-8007-0A75CD1A76D9}"/>
              </a:ext>
            </a:extLst>
          </p:cNvPr>
          <p:cNvSpPr/>
          <p:nvPr/>
        </p:nvSpPr>
        <p:spPr>
          <a:xfrm>
            <a:off x="2847530" y="1830995"/>
            <a:ext cx="435286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tx1"/>
                </a:solidFill>
              </a:rPr>
              <a:t>How to proceed?</a:t>
            </a:r>
          </a:p>
        </p:txBody>
      </p:sp>
      <p:sp>
        <p:nvSpPr>
          <p:cNvPr id="15" name="Content Placeholder 1">
            <a:extLst>
              <a:ext uri="{FF2B5EF4-FFF2-40B4-BE49-F238E27FC236}">
                <a16:creationId xmlns:a16="http://schemas.microsoft.com/office/drawing/2014/main" id="{B18768A5-110E-10C0-6D3E-DB72A0912CCB}"/>
              </a:ext>
            </a:extLst>
          </p:cNvPr>
          <p:cNvSpPr txBox="1">
            <a:spLocks/>
          </p:cNvSpPr>
          <p:nvPr/>
        </p:nvSpPr>
        <p:spPr>
          <a:xfrm>
            <a:off x="6624391" y="183099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7" name="Content Placeholder 1">
            <a:extLst>
              <a:ext uri="{FF2B5EF4-FFF2-40B4-BE49-F238E27FC236}">
                <a16:creationId xmlns:a16="http://schemas.microsoft.com/office/drawing/2014/main" id="{942F1E49-5A40-BD21-159E-8060CE8FA7BC}"/>
              </a:ext>
            </a:extLst>
          </p:cNvPr>
          <p:cNvSpPr txBox="1">
            <a:spLocks/>
          </p:cNvSpPr>
          <p:nvPr/>
        </p:nvSpPr>
        <p:spPr>
          <a:xfrm>
            <a:off x="6553003" y="183099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9" name="Google Shape;760;p79">
            <a:extLst>
              <a:ext uri="{FF2B5EF4-FFF2-40B4-BE49-F238E27FC236}">
                <a16:creationId xmlns:a16="http://schemas.microsoft.com/office/drawing/2014/main" id="{CF9BE83C-42B3-50C4-4EF0-2F8A69DC017B}"/>
              </a:ext>
            </a:extLst>
          </p:cNvPr>
          <p:cNvSpPr/>
          <p:nvPr/>
        </p:nvSpPr>
        <p:spPr>
          <a:xfrm>
            <a:off x="6732391" y="1938995"/>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1" name="Rectangle 20">
            <a:extLst>
              <a:ext uri="{FF2B5EF4-FFF2-40B4-BE49-F238E27FC236}">
                <a16:creationId xmlns:a16="http://schemas.microsoft.com/office/drawing/2014/main" id="{47F90413-FED8-5E76-8366-C80AC457EE4C}"/>
              </a:ext>
            </a:extLst>
          </p:cNvPr>
          <p:cNvSpPr/>
          <p:nvPr/>
        </p:nvSpPr>
        <p:spPr>
          <a:xfrm>
            <a:off x="442913" y="5596201"/>
            <a:ext cx="11306175" cy="576000"/>
          </a:xfrm>
          <a:prstGeom prst="rect">
            <a:avLst/>
          </a:prstGeom>
          <a:solidFill>
            <a:schemeClr val="tx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algn="ctr" rtl="0"/>
            <a:r>
              <a:rPr lang="en-gb" sz="1100" b="1" dirty="0">
                <a:solidFill>
                  <a:schemeClr val="bg1"/>
                </a:solidFill>
                <a:hlinkClick r:id="rId7">
                  <a:extLst>
                    <a:ext uri="{A12FA001-AC4F-418D-AE19-62706E023703}">
                      <ahyp:hlinkClr xmlns:ahyp="http://schemas.microsoft.com/office/drawing/2018/hyperlinkcolor" val="tx"/>
                    </a:ext>
                  </a:extLst>
                </a:hlinkClick>
              </a:rPr>
              <a:t>NMPD instructions "How to give first aid for choking?"</a:t>
            </a:r>
            <a:endParaRPr lang="lv-LV" sz="1100" b="1" dirty="0">
              <a:solidFill>
                <a:schemeClr val="bg1"/>
              </a:solidFill>
            </a:endParaRPr>
          </a:p>
        </p:txBody>
      </p:sp>
      <p:sp>
        <p:nvSpPr>
          <p:cNvPr id="37" name="Google Shape;2001;p98">
            <a:extLst>
              <a:ext uri="{FF2B5EF4-FFF2-40B4-BE49-F238E27FC236}">
                <a16:creationId xmlns:a16="http://schemas.microsoft.com/office/drawing/2014/main" id="{E30F7D34-DADA-8F5C-B87F-33FA0FE4040C}"/>
              </a:ext>
            </a:extLst>
          </p:cNvPr>
          <p:cNvSpPr/>
          <p:nvPr/>
        </p:nvSpPr>
        <p:spPr>
          <a:xfrm>
            <a:off x="563974" y="5704201"/>
            <a:ext cx="360000" cy="360000"/>
          </a:xfrm>
          <a:custGeom>
            <a:avLst/>
            <a:gdLst/>
            <a:ahLst/>
            <a:cxnLst/>
            <a:rect l="l" t="t" r="r" b="b"/>
            <a:pathLst>
              <a:path w="347" h="347" extrusionOk="0">
                <a:moveTo>
                  <a:pt x="0" y="0"/>
                </a:moveTo>
                <a:cubicBezTo>
                  <a:pt x="0" y="347"/>
                  <a:pt x="0" y="347"/>
                  <a:pt x="0" y="347"/>
                </a:cubicBezTo>
                <a:cubicBezTo>
                  <a:pt x="347" y="347"/>
                  <a:pt x="347" y="347"/>
                  <a:pt x="347" y="347"/>
                </a:cubicBezTo>
                <a:cubicBezTo>
                  <a:pt x="347" y="0"/>
                  <a:pt x="347" y="0"/>
                  <a:pt x="347" y="0"/>
                </a:cubicBezTo>
                <a:lnTo>
                  <a:pt x="0" y="0"/>
                </a:lnTo>
                <a:close/>
                <a:moveTo>
                  <a:pt x="332" y="332"/>
                </a:moveTo>
                <a:cubicBezTo>
                  <a:pt x="15" y="332"/>
                  <a:pt x="15" y="332"/>
                  <a:pt x="15" y="332"/>
                </a:cubicBezTo>
                <a:cubicBezTo>
                  <a:pt x="15" y="15"/>
                  <a:pt x="15" y="15"/>
                  <a:pt x="15" y="15"/>
                </a:cubicBezTo>
                <a:cubicBezTo>
                  <a:pt x="332" y="15"/>
                  <a:pt x="332" y="15"/>
                  <a:pt x="332" y="15"/>
                </a:cubicBezTo>
                <a:lnTo>
                  <a:pt x="332" y="332"/>
                </a:lnTo>
                <a:close/>
                <a:moveTo>
                  <a:pt x="173" y="300"/>
                </a:moveTo>
                <a:cubicBezTo>
                  <a:pt x="243" y="300"/>
                  <a:pt x="300" y="243"/>
                  <a:pt x="300" y="173"/>
                </a:cubicBezTo>
                <a:cubicBezTo>
                  <a:pt x="300" y="104"/>
                  <a:pt x="243" y="47"/>
                  <a:pt x="173" y="47"/>
                </a:cubicBezTo>
                <a:cubicBezTo>
                  <a:pt x="104" y="47"/>
                  <a:pt x="47" y="104"/>
                  <a:pt x="47" y="173"/>
                </a:cubicBezTo>
                <a:cubicBezTo>
                  <a:pt x="47" y="243"/>
                  <a:pt x="104" y="300"/>
                  <a:pt x="173" y="300"/>
                </a:cubicBezTo>
                <a:close/>
                <a:moveTo>
                  <a:pt x="84" y="240"/>
                </a:moveTo>
                <a:cubicBezTo>
                  <a:pt x="109" y="240"/>
                  <a:pt x="109" y="240"/>
                  <a:pt x="109" y="240"/>
                </a:cubicBezTo>
                <a:cubicBezTo>
                  <a:pt x="114" y="254"/>
                  <a:pt x="121" y="266"/>
                  <a:pt x="129" y="276"/>
                </a:cubicBezTo>
                <a:cubicBezTo>
                  <a:pt x="111" y="268"/>
                  <a:pt x="96" y="256"/>
                  <a:pt x="84" y="240"/>
                </a:cubicBezTo>
                <a:close/>
                <a:moveTo>
                  <a:pt x="91" y="121"/>
                </a:moveTo>
                <a:cubicBezTo>
                  <a:pt x="92" y="128"/>
                  <a:pt x="96" y="134"/>
                  <a:pt x="101" y="137"/>
                </a:cubicBezTo>
                <a:cubicBezTo>
                  <a:pt x="100" y="147"/>
                  <a:pt x="99" y="156"/>
                  <a:pt x="99" y="166"/>
                </a:cubicBezTo>
                <a:cubicBezTo>
                  <a:pt x="62" y="166"/>
                  <a:pt x="62" y="166"/>
                  <a:pt x="62" y="166"/>
                </a:cubicBezTo>
                <a:cubicBezTo>
                  <a:pt x="63" y="150"/>
                  <a:pt x="67" y="135"/>
                  <a:pt x="75" y="121"/>
                </a:cubicBezTo>
                <a:lnTo>
                  <a:pt x="91" y="121"/>
                </a:lnTo>
                <a:close/>
                <a:moveTo>
                  <a:pt x="285" y="166"/>
                </a:moveTo>
                <a:cubicBezTo>
                  <a:pt x="267" y="166"/>
                  <a:pt x="267" y="166"/>
                  <a:pt x="267" y="166"/>
                </a:cubicBezTo>
                <a:cubicBezTo>
                  <a:pt x="264" y="157"/>
                  <a:pt x="257" y="151"/>
                  <a:pt x="247" y="149"/>
                </a:cubicBezTo>
                <a:cubicBezTo>
                  <a:pt x="246" y="139"/>
                  <a:pt x="244" y="130"/>
                  <a:pt x="242" y="121"/>
                </a:cubicBezTo>
                <a:cubicBezTo>
                  <a:pt x="272" y="121"/>
                  <a:pt x="272" y="121"/>
                  <a:pt x="272" y="121"/>
                </a:cubicBezTo>
                <a:cubicBezTo>
                  <a:pt x="279" y="135"/>
                  <a:pt x="284" y="150"/>
                  <a:pt x="285" y="166"/>
                </a:cubicBezTo>
                <a:close/>
                <a:moveTo>
                  <a:pt x="145" y="121"/>
                </a:moveTo>
                <a:cubicBezTo>
                  <a:pt x="166" y="121"/>
                  <a:pt x="166" y="121"/>
                  <a:pt x="166" y="121"/>
                </a:cubicBezTo>
                <a:cubicBezTo>
                  <a:pt x="166" y="166"/>
                  <a:pt x="166" y="166"/>
                  <a:pt x="166" y="166"/>
                </a:cubicBezTo>
                <a:cubicBezTo>
                  <a:pt x="113" y="166"/>
                  <a:pt x="113" y="166"/>
                  <a:pt x="113" y="166"/>
                </a:cubicBezTo>
                <a:cubicBezTo>
                  <a:pt x="114" y="158"/>
                  <a:pt x="114" y="150"/>
                  <a:pt x="115" y="143"/>
                </a:cubicBezTo>
                <a:cubicBezTo>
                  <a:pt x="116" y="143"/>
                  <a:pt x="117" y="143"/>
                  <a:pt x="118" y="143"/>
                </a:cubicBezTo>
                <a:cubicBezTo>
                  <a:pt x="131" y="143"/>
                  <a:pt x="142" y="134"/>
                  <a:pt x="145" y="121"/>
                </a:cubicBezTo>
                <a:close/>
                <a:moveTo>
                  <a:pt x="166" y="181"/>
                </a:moveTo>
                <a:cubicBezTo>
                  <a:pt x="166" y="205"/>
                  <a:pt x="166" y="205"/>
                  <a:pt x="166" y="205"/>
                </a:cubicBezTo>
                <a:cubicBezTo>
                  <a:pt x="157" y="208"/>
                  <a:pt x="149" y="216"/>
                  <a:pt x="147" y="226"/>
                </a:cubicBezTo>
                <a:cubicBezTo>
                  <a:pt x="120" y="226"/>
                  <a:pt x="120" y="226"/>
                  <a:pt x="120" y="226"/>
                </a:cubicBezTo>
                <a:cubicBezTo>
                  <a:pt x="116" y="212"/>
                  <a:pt x="114" y="197"/>
                  <a:pt x="113" y="181"/>
                </a:cubicBezTo>
                <a:lnTo>
                  <a:pt x="166" y="181"/>
                </a:lnTo>
                <a:close/>
                <a:moveTo>
                  <a:pt x="174" y="244"/>
                </a:moveTo>
                <a:cubicBezTo>
                  <a:pt x="167" y="244"/>
                  <a:pt x="161" y="238"/>
                  <a:pt x="161" y="232"/>
                </a:cubicBezTo>
                <a:cubicBezTo>
                  <a:pt x="161" y="225"/>
                  <a:pt x="167" y="219"/>
                  <a:pt x="174" y="219"/>
                </a:cubicBezTo>
                <a:cubicBezTo>
                  <a:pt x="181" y="219"/>
                  <a:pt x="186" y="225"/>
                  <a:pt x="186" y="232"/>
                </a:cubicBezTo>
                <a:cubicBezTo>
                  <a:pt x="186" y="238"/>
                  <a:pt x="181" y="244"/>
                  <a:pt x="174" y="244"/>
                </a:cubicBezTo>
                <a:close/>
                <a:moveTo>
                  <a:pt x="148" y="240"/>
                </a:moveTo>
                <a:cubicBezTo>
                  <a:pt x="151" y="249"/>
                  <a:pt x="158" y="255"/>
                  <a:pt x="166" y="258"/>
                </a:cubicBezTo>
                <a:cubicBezTo>
                  <a:pt x="166" y="284"/>
                  <a:pt x="166" y="284"/>
                  <a:pt x="166" y="284"/>
                </a:cubicBezTo>
                <a:cubicBezTo>
                  <a:pt x="150" y="280"/>
                  <a:pt x="135" y="264"/>
                  <a:pt x="126" y="240"/>
                </a:cubicBezTo>
                <a:lnTo>
                  <a:pt x="148" y="240"/>
                </a:lnTo>
                <a:close/>
                <a:moveTo>
                  <a:pt x="181" y="284"/>
                </a:moveTo>
                <a:cubicBezTo>
                  <a:pt x="181" y="258"/>
                  <a:pt x="181" y="258"/>
                  <a:pt x="181" y="258"/>
                </a:cubicBezTo>
                <a:cubicBezTo>
                  <a:pt x="190" y="256"/>
                  <a:pt x="197" y="249"/>
                  <a:pt x="200" y="240"/>
                </a:cubicBezTo>
                <a:cubicBezTo>
                  <a:pt x="221" y="240"/>
                  <a:pt x="221" y="240"/>
                  <a:pt x="221" y="240"/>
                </a:cubicBezTo>
                <a:cubicBezTo>
                  <a:pt x="212" y="264"/>
                  <a:pt x="197" y="280"/>
                  <a:pt x="181" y="284"/>
                </a:cubicBezTo>
                <a:close/>
                <a:moveTo>
                  <a:pt x="201" y="226"/>
                </a:moveTo>
                <a:cubicBezTo>
                  <a:pt x="198" y="216"/>
                  <a:pt x="191" y="208"/>
                  <a:pt x="181" y="205"/>
                </a:cubicBezTo>
                <a:cubicBezTo>
                  <a:pt x="181" y="181"/>
                  <a:pt x="181" y="181"/>
                  <a:pt x="181" y="181"/>
                </a:cubicBezTo>
                <a:cubicBezTo>
                  <a:pt x="215" y="181"/>
                  <a:pt x="215" y="181"/>
                  <a:pt x="215" y="181"/>
                </a:cubicBezTo>
                <a:cubicBezTo>
                  <a:pt x="217" y="190"/>
                  <a:pt x="223" y="198"/>
                  <a:pt x="232" y="201"/>
                </a:cubicBezTo>
                <a:cubicBezTo>
                  <a:pt x="231" y="210"/>
                  <a:pt x="229" y="218"/>
                  <a:pt x="227" y="226"/>
                </a:cubicBezTo>
                <a:lnTo>
                  <a:pt x="201" y="226"/>
                </a:lnTo>
                <a:close/>
                <a:moveTo>
                  <a:pt x="242" y="163"/>
                </a:moveTo>
                <a:cubicBezTo>
                  <a:pt x="249" y="163"/>
                  <a:pt x="254" y="169"/>
                  <a:pt x="254" y="176"/>
                </a:cubicBezTo>
                <a:cubicBezTo>
                  <a:pt x="254" y="182"/>
                  <a:pt x="249" y="188"/>
                  <a:pt x="242" y="188"/>
                </a:cubicBezTo>
                <a:cubicBezTo>
                  <a:pt x="235" y="188"/>
                  <a:pt x="229" y="182"/>
                  <a:pt x="229" y="176"/>
                </a:cubicBezTo>
                <a:cubicBezTo>
                  <a:pt x="229" y="169"/>
                  <a:pt x="235" y="163"/>
                  <a:pt x="242" y="163"/>
                </a:cubicBezTo>
                <a:close/>
                <a:moveTo>
                  <a:pt x="247" y="202"/>
                </a:moveTo>
                <a:cubicBezTo>
                  <a:pt x="258" y="201"/>
                  <a:pt x="266" y="192"/>
                  <a:pt x="269" y="181"/>
                </a:cubicBezTo>
                <a:cubicBezTo>
                  <a:pt x="285" y="181"/>
                  <a:pt x="285" y="181"/>
                  <a:pt x="285" y="181"/>
                </a:cubicBezTo>
                <a:cubicBezTo>
                  <a:pt x="284" y="197"/>
                  <a:pt x="279" y="212"/>
                  <a:pt x="272" y="226"/>
                </a:cubicBezTo>
                <a:cubicBezTo>
                  <a:pt x="242" y="226"/>
                  <a:pt x="242" y="226"/>
                  <a:pt x="242" y="226"/>
                </a:cubicBezTo>
                <a:cubicBezTo>
                  <a:pt x="244" y="218"/>
                  <a:pt x="245" y="211"/>
                  <a:pt x="247" y="202"/>
                </a:cubicBezTo>
                <a:close/>
                <a:moveTo>
                  <a:pt x="232" y="150"/>
                </a:moveTo>
                <a:cubicBezTo>
                  <a:pt x="225" y="153"/>
                  <a:pt x="219" y="159"/>
                  <a:pt x="216" y="166"/>
                </a:cubicBezTo>
                <a:cubicBezTo>
                  <a:pt x="181" y="166"/>
                  <a:pt x="181" y="166"/>
                  <a:pt x="181" y="166"/>
                </a:cubicBezTo>
                <a:cubicBezTo>
                  <a:pt x="181" y="121"/>
                  <a:pt x="181" y="121"/>
                  <a:pt x="181" y="121"/>
                </a:cubicBezTo>
                <a:cubicBezTo>
                  <a:pt x="227" y="121"/>
                  <a:pt x="227" y="121"/>
                  <a:pt x="227" y="121"/>
                </a:cubicBezTo>
                <a:cubicBezTo>
                  <a:pt x="229" y="130"/>
                  <a:pt x="231" y="140"/>
                  <a:pt x="232" y="150"/>
                </a:cubicBezTo>
                <a:close/>
                <a:moveTo>
                  <a:pt x="181" y="106"/>
                </a:moveTo>
                <a:cubicBezTo>
                  <a:pt x="181" y="63"/>
                  <a:pt x="181" y="63"/>
                  <a:pt x="181" y="63"/>
                </a:cubicBezTo>
                <a:cubicBezTo>
                  <a:pt x="197" y="66"/>
                  <a:pt x="212" y="83"/>
                  <a:pt x="222" y="106"/>
                </a:cubicBezTo>
                <a:lnTo>
                  <a:pt x="181" y="106"/>
                </a:lnTo>
                <a:close/>
                <a:moveTo>
                  <a:pt x="166" y="63"/>
                </a:moveTo>
                <a:cubicBezTo>
                  <a:pt x="166" y="106"/>
                  <a:pt x="166" y="106"/>
                  <a:pt x="166" y="106"/>
                </a:cubicBezTo>
                <a:cubicBezTo>
                  <a:pt x="144" y="106"/>
                  <a:pt x="144" y="106"/>
                  <a:pt x="144" y="106"/>
                </a:cubicBezTo>
                <a:cubicBezTo>
                  <a:pt x="142" y="101"/>
                  <a:pt x="138" y="96"/>
                  <a:pt x="132" y="92"/>
                </a:cubicBezTo>
                <a:cubicBezTo>
                  <a:pt x="142" y="76"/>
                  <a:pt x="154" y="66"/>
                  <a:pt x="166" y="63"/>
                </a:cubicBezTo>
                <a:close/>
                <a:moveTo>
                  <a:pt x="118" y="103"/>
                </a:moveTo>
                <a:cubicBezTo>
                  <a:pt x="125" y="103"/>
                  <a:pt x="130" y="109"/>
                  <a:pt x="130" y="116"/>
                </a:cubicBezTo>
                <a:cubicBezTo>
                  <a:pt x="130" y="122"/>
                  <a:pt x="125" y="128"/>
                  <a:pt x="118" y="128"/>
                </a:cubicBezTo>
                <a:cubicBezTo>
                  <a:pt x="111" y="128"/>
                  <a:pt x="105" y="122"/>
                  <a:pt x="105" y="116"/>
                </a:cubicBezTo>
                <a:cubicBezTo>
                  <a:pt x="105" y="109"/>
                  <a:pt x="111" y="103"/>
                  <a:pt x="118" y="103"/>
                </a:cubicBezTo>
                <a:close/>
                <a:moveTo>
                  <a:pt x="98" y="181"/>
                </a:moveTo>
                <a:cubicBezTo>
                  <a:pt x="99" y="197"/>
                  <a:pt x="101" y="212"/>
                  <a:pt x="105" y="226"/>
                </a:cubicBezTo>
                <a:cubicBezTo>
                  <a:pt x="75" y="226"/>
                  <a:pt x="75" y="226"/>
                  <a:pt x="75" y="226"/>
                </a:cubicBezTo>
                <a:cubicBezTo>
                  <a:pt x="67" y="212"/>
                  <a:pt x="63" y="197"/>
                  <a:pt x="62" y="181"/>
                </a:cubicBezTo>
                <a:lnTo>
                  <a:pt x="98" y="181"/>
                </a:lnTo>
                <a:close/>
                <a:moveTo>
                  <a:pt x="217" y="276"/>
                </a:moveTo>
                <a:cubicBezTo>
                  <a:pt x="225" y="267"/>
                  <a:pt x="232" y="255"/>
                  <a:pt x="237" y="240"/>
                </a:cubicBezTo>
                <a:cubicBezTo>
                  <a:pt x="263" y="240"/>
                  <a:pt x="263" y="240"/>
                  <a:pt x="263" y="240"/>
                </a:cubicBezTo>
                <a:cubicBezTo>
                  <a:pt x="251" y="256"/>
                  <a:pt x="235" y="268"/>
                  <a:pt x="217" y="276"/>
                </a:cubicBezTo>
                <a:close/>
                <a:moveTo>
                  <a:pt x="263" y="106"/>
                </a:moveTo>
                <a:cubicBezTo>
                  <a:pt x="237" y="106"/>
                  <a:pt x="237" y="106"/>
                  <a:pt x="237" y="106"/>
                </a:cubicBezTo>
                <a:cubicBezTo>
                  <a:pt x="232" y="92"/>
                  <a:pt x="226" y="80"/>
                  <a:pt x="218" y="71"/>
                </a:cubicBezTo>
                <a:cubicBezTo>
                  <a:pt x="236" y="79"/>
                  <a:pt x="251" y="91"/>
                  <a:pt x="263" y="106"/>
                </a:cubicBezTo>
                <a:close/>
                <a:moveTo>
                  <a:pt x="129" y="71"/>
                </a:moveTo>
                <a:cubicBezTo>
                  <a:pt x="125" y="76"/>
                  <a:pt x="121" y="82"/>
                  <a:pt x="118" y="88"/>
                </a:cubicBezTo>
                <a:cubicBezTo>
                  <a:pt x="106" y="88"/>
                  <a:pt x="96" y="96"/>
                  <a:pt x="92" y="106"/>
                </a:cubicBezTo>
                <a:cubicBezTo>
                  <a:pt x="84" y="106"/>
                  <a:pt x="84" y="106"/>
                  <a:pt x="84" y="106"/>
                </a:cubicBezTo>
                <a:cubicBezTo>
                  <a:pt x="96" y="91"/>
                  <a:pt x="111" y="79"/>
                  <a:pt x="129" y="71"/>
                </a:cubicBezTo>
                <a:close/>
              </a:path>
            </a:pathLst>
          </a:custGeom>
          <a:solidFill>
            <a:schemeClr val="bg1"/>
          </a:solidFill>
          <a:ln>
            <a:noFill/>
          </a:ln>
        </p:spPr>
        <p:txBody>
          <a:bodyPr spcFirstLastPara="1" wrap="square" lIns="68575" tIns="34275" rIns="68575" bIns="34275"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39" name="Google Shape;1696;p92">
            <a:extLst>
              <a:ext uri="{FF2B5EF4-FFF2-40B4-BE49-F238E27FC236}">
                <a16:creationId xmlns:a16="http://schemas.microsoft.com/office/drawing/2014/main" id="{A33A8691-5AD1-2CF8-9C5D-C16FB49C59A3}"/>
              </a:ext>
            </a:extLst>
          </p:cNvPr>
          <p:cNvGrpSpPr/>
          <p:nvPr/>
        </p:nvGrpSpPr>
        <p:grpSpPr>
          <a:xfrm>
            <a:off x="2021278" y="4878369"/>
            <a:ext cx="360363" cy="360363"/>
            <a:chOff x="6478734" y="4634724"/>
            <a:chExt cx="457200" cy="457200"/>
          </a:xfrm>
          <a:solidFill>
            <a:schemeClr val="bg1"/>
          </a:solidFill>
        </p:grpSpPr>
        <p:sp>
          <p:nvSpPr>
            <p:cNvPr id="40" name="Google Shape;1697;p92">
              <a:extLst>
                <a:ext uri="{FF2B5EF4-FFF2-40B4-BE49-F238E27FC236}">
                  <a16:creationId xmlns:a16="http://schemas.microsoft.com/office/drawing/2014/main" id="{939AFD7E-CE7C-68BB-2CB0-9DE736774427}"/>
                </a:ext>
              </a:extLst>
            </p:cNvPr>
            <p:cNvSpPr/>
            <p:nvPr/>
          </p:nvSpPr>
          <p:spPr>
            <a:xfrm>
              <a:off x="6478734" y="4634724"/>
              <a:ext cx="457200" cy="457200"/>
            </a:xfrm>
            <a:custGeom>
              <a:avLst/>
              <a:gdLst/>
              <a:ahLst/>
              <a:cxnLst/>
              <a:rect l="l" t="t" r="r" b="b"/>
              <a:pathLst>
                <a:path w="457200" h="457200" extrusionOk="0">
                  <a:moveTo>
                    <a:pt x="0" y="0"/>
                  </a:moveTo>
                  <a:lnTo>
                    <a:pt x="0" y="457200"/>
                  </a:lnTo>
                  <a:lnTo>
                    <a:pt x="457200" y="457200"/>
                  </a:lnTo>
                  <a:lnTo>
                    <a:pt x="457200" y="0"/>
                  </a:lnTo>
                  <a:close/>
                  <a:moveTo>
                    <a:pt x="236569" y="19526"/>
                  </a:moveTo>
                  <a:lnTo>
                    <a:pt x="236569" y="105029"/>
                  </a:lnTo>
                  <a:cubicBezTo>
                    <a:pt x="236542" y="123542"/>
                    <a:pt x="244930" y="141064"/>
                    <a:pt x="259366" y="152654"/>
                  </a:cubicBezTo>
                  <a:lnTo>
                    <a:pt x="261906" y="155226"/>
                  </a:lnTo>
                  <a:lnTo>
                    <a:pt x="276225" y="169482"/>
                  </a:lnTo>
                  <a:lnTo>
                    <a:pt x="321151" y="214376"/>
                  </a:lnTo>
                  <a:lnTo>
                    <a:pt x="334963" y="200565"/>
                  </a:lnTo>
                  <a:lnTo>
                    <a:pt x="301847" y="167418"/>
                  </a:lnTo>
                  <a:lnTo>
                    <a:pt x="300355" y="165894"/>
                  </a:lnTo>
                  <a:lnTo>
                    <a:pt x="287655" y="153194"/>
                  </a:lnTo>
                  <a:cubicBezTo>
                    <a:pt x="296450" y="144494"/>
                    <a:pt x="309372" y="137859"/>
                    <a:pt x="318802" y="137859"/>
                  </a:cubicBezTo>
                  <a:cubicBezTo>
                    <a:pt x="330073" y="137859"/>
                    <a:pt x="345059" y="148685"/>
                    <a:pt x="350838" y="161004"/>
                  </a:cubicBezTo>
                  <a:lnTo>
                    <a:pt x="370840" y="203200"/>
                  </a:lnTo>
                  <a:cubicBezTo>
                    <a:pt x="378450" y="221050"/>
                    <a:pt x="382753" y="240135"/>
                    <a:pt x="383540" y="259525"/>
                  </a:cubicBezTo>
                  <a:lnTo>
                    <a:pt x="383540" y="366014"/>
                  </a:lnTo>
                  <a:cubicBezTo>
                    <a:pt x="383540" y="370935"/>
                    <a:pt x="382143" y="374618"/>
                    <a:pt x="379698" y="376142"/>
                  </a:cubicBezTo>
                  <a:cubicBezTo>
                    <a:pt x="377254" y="377666"/>
                    <a:pt x="373348" y="377381"/>
                    <a:pt x="368903" y="375253"/>
                  </a:cubicBezTo>
                  <a:lnTo>
                    <a:pt x="287306" y="336074"/>
                  </a:lnTo>
                  <a:cubicBezTo>
                    <a:pt x="275019" y="330200"/>
                    <a:pt x="264224" y="313055"/>
                    <a:pt x="264224" y="299434"/>
                  </a:cubicBezTo>
                  <a:lnTo>
                    <a:pt x="264224" y="215424"/>
                  </a:lnTo>
                  <a:cubicBezTo>
                    <a:pt x="264224" y="214979"/>
                    <a:pt x="264224" y="214535"/>
                    <a:pt x="264224" y="214090"/>
                  </a:cubicBezTo>
                  <a:lnTo>
                    <a:pt x="291783" y="241618"/>
                  </a:lnTo>
                  <a:lnTo>
                    <a:pt x="292862" y="242729"/>
                  </a:lnTo>
                  <a:lnTo>
                    <a:pt x="306673" y="228918"/>
                  </a:lnTo>
                  <a:lnTo>
                    <a:pt x="274003" y="196247"/>
                  </a:lnTo>
                  <a:lnTo>
                    <a:pt x="271113" y="193326"/>
                  </a:lnTo>
                  <a:cubicBezTo>
                    <a:pt x="270161" y="192437"/>
                    <a:pt x="269177" y="191643"/>
                    <a:pt x="268161" y="190818"/>
                  </a:cubicBezTo>
                  <a:cubicBezTo>
                    <a:pt x="256606" y="181065"/>
                    <a:pt x="242005" y="175663"/>
                    <a:pt x="226886" y="175546"/>
                  </a:cubicBezTo>
                  <a:lnTo>
                    <a:pt x="226314" y="176149"/>
                  </a:lnTo>
                  <a:lnTo>
                    <a:pt x="225711" y="175546"/>
                  </a:lnTo>
                  <a:cubicBezTo>
                    <a:pt x="210964" y="175722"/>
                    <a:pt x="196705" y="180855"/>
                    <a:pt x="185230" y="190119"/>
                  </a:cubicBezTo>
                  <a:cubicBezTo>
                    <a:pt x="183960" y="191135"/>
                    <a:pt x="182690" y="192215"/>
                    <a:pt x="181483" y="193294"/>
                  </a:cubicBezTo>
                  <a:lnTo>
                    <a:pt x="178594" y="196215"/>
                  </a:lnTo>
                  <a:lnTo>
                    <a:pt x="145637" y="229203"/>
                  </a:lnTo>
                  <a:lnTo>
                    <a:pt x="159417" y="243015"/>
                  </a:lnTo>
                  <a:lnTo>
                    <a:pt x="160814" y="241618"/>
                  </a:lnTo>
                  <a:lnTo>
                    <a:pt x="189389" y="213043"/>
                  </a:lnTo>
                  <a:cubicBezTo>
                    <a:pt x="189389" y="213836"/>
                    <a:pt x="189389" y="214598"/>
                    <a:pt x="189389" y="215360"/>
                  </a:cubicBezTo>
                  <a:lnTo>
                    <a:pt x="189389" y="299434"/>
                  </a:lnTo>
                  <a:cubicBezTo>
                    <a:pt x="189389" y="313055"/>
                    <a:pt x="178594" y="330200"/>
                    <a:pt x="166275" y="336074"/>
                  </a:cubicBezTo>
                  <a:lnTo>
                    <a:pt x="84836" y="375095"/>
                  </a:lnTo>
                  <a:cubicBezTo>
                    <a:pt x="80423" y="377222"/>
                    <a:pt x="76486" y="377539"/>
                    <a:pt x="74041" y="375984"/>
                  </a:cubicBezTo>
                  <a:cubicBezTo>
                    <a:pt x="71596" y="374428"/>
                    <a:pt x="70199" y="370777"/>
                    <a:pt x="70199" y="365855"/>
                  </a:cubicBezTo>
                  <a:lnTo>
                    <a:pt x="70199" y="259366"/>
                  </a:lnTo>
                  <a:cubicBezTo>
                    <a:pt x="70986" y="239977"/>
                    <a:pt x="75289" y="220892"/>
                    <a:pt x="82899" y="203041"/>
                  </a:cubicBezTo>
                  <a:lnTo>
                    <a:pt x="102743" y="160877"/>
                  </a:lnTo>
                  <a:cubicBezTo>
                    <a:pt x="108553" y="148558"/>
                    <a:pt x="123539" y="137732"/>
                    <a:pt x="134779" y="137732"/>
                  </a:cubicBezTo>
                  <a:cubicBezTo>
                    <a:pt x="144082" y="137732"/>
                    <a:pt x="156718" y="144082"/>
                    <a:pt x="165481" y="152591"/>
                  </a:cubicBezTo>
                  <a:lnTo>
                    <a:pt x="152400" y="165894"/>
                  </a:lnTo>
                  <a:lnTo>
                    <a:pt x="150876" y="167450"/>
                  </a:lnTo>
                  <a:lnTo>
                    <a:pt x="117284" y="200851"/>
                  </a:lnTo>
                  <a:lnTo>
                    <a:pt x="131096" y="214662"/>
                  </a:lnTo>
                  <a:lnTo>
                    <a:pt x="176975" y="168783"/>
                  </a:lnTo>
                  <a:lnTo>
                    <a:pt x="191326" y="154464"/>
                  </a:lnTo>
                  <a:lnTo>
                    <a:pt x="193231" y="152527"/>
                  </a:lnTo>
                  <a:cubicBezTo>
                    <a:pt x="207667" y="140937"/>
                    <a:pt x="216054" y="123415"/>
                    <a:pt x="216027" y="104902"/>
                  </a:cubicBezTo>
                  <a:lnTo>
                    <a:pt x="216027" y="19526"/>
                  </a:lnTo>
                  <a:close/>
                  <a:moveTo>
                    <a:pt x="437674" y="437674"/>
                  </a:moveTo>
                  <a:lnTo>
                    <a:pt x="19526" y="437674"/>
                  </a:lnTo>
                  <a:lnTo>
                    <a:pt x="19526" y="19526"/>
                  </a:lnTo>
                  <a:lnTo>
                    <a:pt x="196501" y="19526"/>
                  </a:lnTo>
                  <a:lnTo>
                    <a:pt x="196501" y="97187"/>
                  </a:lnTo>
                  <a:cubicBezTo>
                    <a:pt x="196844" y="100353"/>
                    <a:pt x="196844" y="103546"/>
                    <a:pt x="196501" y="106712"/>
                  </a:cubicBezTo>
                  <a:cubicBezTo>
                    <a:pt x="196501" y="106966"/>
                    <a:pt x="196501" y="107252"/>
                    <a:pt x="196501" y="107537"/>
                  </a:cubicBezTo>
                  <a:cubicBezTo>
                    <a:pt x="195751" y="120023"/>
                    <a:pt x="189404" y="131503"/>
                    <a:pt x="179229" y="138779"/>
                  </a:cubicBezTo>
                  <a:cubicBezTo>
                    <a:pt x="166783" y="126746"/>
                    <a:pt x="149225" y="118269"/>
                    <a:pt x="134779" y="118269"/>
                  </a:cubicBezTo>
                  <a:cubicBezTo>
                    <a:pt x="115983" y="118269"/>
                    <a:pt x="94139" y="133350"/>
                    <a:pt x="85090" y="152622"/>
                  </a:cubicBezTo>
                  <a:lnTo>
                    <a:pt x="65119" y="194755"/>
                  </a:lnTo>
                  <a:cubicBezTo>
                    <a:pt x="56328" y="215200"/>
                    <a:pt x="51470" y="237120"/>
                    <a:pt x="50800" y="259366"/>
                  </a:cubicBezTo>
                  <a:lnTo>
                    <a:pt x="50800" y="365855"/>
                  </a:lnTo>
                  <a:cubicBezTo>
                    <a:pt x="50800" y="377603"/>
                    <a:pt x="55531" y="387318"/>
                    <a:pt x="63786" y="392525"/>
                  </a:cubicBezTo>
                  <a:cubicBezTo>
                    <a:pt x="68026" y="395154"/>
                    <a:pt x="72927" y="396519"/>
                    <a:pt x="77915" y="396462"/>
                  </a:cubicBezTo>
                  <a:cubicBezTo>
                    <a:pt x="83305" y="396389"/>
                    <a:pt x="88610" y="395110"/>
                    <a:pt x="93440" y="392716"/>
                  </a:cubicBezTo>
                  <a:lnTo>
                    <a:pt x="174625" y="353695"/>
                  </a:lnTo>
                  <a:cubicBezTo>
                    <a:pt x="193675" y="344519"/>
                    <a:pt x="208820" y="320675"/>
                    <a:pt x="208820" y="299434"/>
                  </a:cubicBezTo>
                  <a:lnTo>
                    <a:pt x="208820" y="215424"/>
                  </a:lnTo>
                  <a:cubicBezTo>
                    <a:pt x="208754" y="209992"/>
                    <a:pt x="208234" y="204576"/>
                    <a:pt x="207264" y="199231"/>
                  </a:cubicBezTo>
                  <a:cubicBezTo>
                    <a:pt x="219596" y="193503"/>
                    <a:pt x="233856" y="193655"/>
                    <a:pt x="246063" y="199644"/>
                  </a:cubicBezTo>
                  <a:cubicBezTo>
                    <a:pt x="245147" y="204888"/>
                    <a:pt x="244659" y="210196"/>
                    <a:pt x="244602" y="215519"/>
                  </a:cubicBezTo>
                  <a:lnTo>
                    <a:pt x="244602" y="299434"/>
                  </a:lnTo>
                  <a:cubicBezTo>
                    <a:pt x="244602" y="320675"/>
                    <a:pt x="259620" y="344519"/>
                    <a:pt x="278797" y="353695"/>
                  </a:cubicBezTo>
                  <a:lnTo>
                    <a:pt x="360236" y="392716"/>
                  </a:lnTo>
                  <a:cubicBezTo>
                    <a:pt x="365065" y="395110"/>
                    <a:pt x="370370" y="396389"/>
                    <a:pt x="375761" y="396462"/>
                  </a:cubicBezTo>
                  <a:cubicBezTo>
                    <a:pt x="380749" y="396519"/>
                    <a:pt x="385651" y="395154"/>
                    <a:pt x="389890" y="392525"/>
                  </a:cubicBezTo>
                  <a:cubicBezTo>
                    <a:pt x="398113" y="387318"/>
                    <a:pt x="402844" y="377603"/>
                    <a:pt x="402844" y="365855"/>
                  </a:cubicBezTo>
                  <a:lnTo>
                    <a:pt x="402844" y="259366"/>
                  </a:lnTo>
                  <a:cubicBezTo>
                    <a:pt x="402117" y="237114"/>
                    <a:pt x="397215" y="215197"/>
                    <a:pt x="388398" y="194755"/>
                  </a:cubicBezTo>
                  <a:lnTo>
                    <a:pt x="368554" y="152559"/>
                  </a:lnTo>
                  <a:cubicBezTo>
                    <a:pt x="359505" y="133287"/>
                    <a:pt x="337661" y="118205"/>
                    <a:pt x="318834" y="118205"/>
                  </a:cubicBezTo>
                  <a:cubicBezTo>
                    <a:pt x="304229" y="118205"/>
                    <a:pt x="286417" y="126873"/>
                    <a:pt x="274003" y="139129"/>
                  </a:cubicBezTo>
                  <a:cubicBezTo>
                    <a:pt x="262735" y="131436"/>
                    <a:pt x="255996" y="118672"/>
                    <a:pt x="256000" y="105029"/>
                  </a:cubicBezTo>
                  <a:cubicBezTo>
                    <a:pt x="256000" y="104204"/>
                    <a:pt x="256000" y="103442"/>
                    <a:pt x="256000" y="102648"/>
                  </a:cubicBezTo>
                  <a:cubicBezTo>
                    <a:pt x="256000" y="102394"/>
                    <a:pt x="256000" y="102172"/>
                    <a:pt x="256000" y="101917"/>
                  </a:cubicBezTo>
                  <a:lnTo>
                    <a:pt x="256000" y="101917"/>
                  </a:lnTo>
                  <a:lnTo>
                    <a:pt x="256000" y="19526"/>
                  </a:lnTo>
                  <a:lnTo>
                    <a:pt x="437579" y="19526"/>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sp>
          <p:nvSpPr>
            <p:cNvPr id="41" name="Google Shape;1698;p92">
              <a:extLst>
                <a:ext uri="{FF2B5EF4-FFF2-40B4-BE49-F238E27FC236}">
                  <a16:creationId xmlns:a16="http://schemas.microsoft.com/office/drawing/2014/main" id="{3CCBB661-91D3-721F-B441-B5554103118F}"/>
                </a:ext>
              </a:extLst>
            </p:cNvPr>
            <p:cNvSpPr/>
            <p:nvPr/>
          </p:nvSpPr>
          <p:spPr>
            <a:xfrm>
              <a:off x="6791979" y="4881739"/>
              <a:ext cx="49150" cy="94838"/>
            </a:xfrm>
            <a:custGeom>
              <a:avLst/>
              <a:gdLst/>
              <a:ahLst/>
              <a:cxnLst/>
              <a:rect l="l" t="t" r="r" b="b"/>
              <a:pathLst>
                <a:path w="49150" h="94838" extrusionOk="0">
                  <a:moveTo>
                    <a:pt x="37497" y="94837"/>
                  </a:moveTo>
                  <a:cubicBezTo>
                    <a:pt x="39745" y="94869"/>
                    <a:pt x="41951" y="94240"/>
                    <a:pt x="43847" y="93027"/>
                  </a:cubicBezTo>
                  <a:cubicBezTo>
                    <a:pt x="47215" y="90795"/>
                    <a:pt x="49216" y="87001"/>
                    <a:pt x="49149" y="82963"/>
                  </a:cubicBezTo>
                  <a:lnTo>
                    <a:pt x="49149" y="0"/>
                  </a:lnTo>
                  <a:lnTo>
                    <a:pt x="29654" y="0"/>
                  </a:lnTo>
                  <a:lnTo>
                    <a:pt x="29654" y="70993"/>
                  </a:lnTo>
                  <a:lnTo>
                    <a:pt x="8033" y="61182"/>
                  </a:lnTo>
                  <a:lnTo>
                    <a:pt x="0" y="78994"/>
                  </a:lnTo>
                  <a:lnTo>
                    <a:pt x="32512" y="93726"/>
                  </a:lnTo>
                  <a:cubicBezTo>
                    <a:pt x="34080" y="94431"/>
                    <a:pt x="35776" y="94809"/>
                    <a:pt x="37497" y="94837"/>
                  </a:cubicBez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sp>
          <p:nvSpPr>
            <p:cNvPr id="42" name="Google Shape;1699;p92">
              <a:extLst>
                <a:ext uri="{FF2B5EF4-FFF2-40B4-BE49-F238E27FC236}">
                  <a16:creationId xmlns:a16="http://schemas.microsoft.com/office/drawing/2014/main" id="{1C3D77FE-2050-57C5-699B-E23D89EE4D9F}"/>
                </a:ext>
              </a:extLst>
            </p:cNvPr>
            <p:cNvSpPr/>
            <p:nvPr/>
          </p:nvSpPr>
          <p:spPr>
            <a:xfrm>
              <a:off x="6569696" y="4881739"/>
              <a:ext cx="49309" cy="94838"/>
            </a:xfrm>
            <a:custGeom>
              <a:avLst/>
              <a:gdLst/>
              <a:ahLst/>
              <a:cxnLst/>
              <a:rect l="l" t="t" r="r" b="b"/>
              <a:pathLst>
                <a:path w="49309" h="94838" extrusionOk="0">
                  <a:moveTo>
                    <a:pt x="19528" y="70993"/>
                  </a:moveTo>
                  <a:lnTo>
                    <a:pt x="19528" y="0"/>
                  </a:lnTo>
                  <a:lnTo>
                    <a:pt x="2" y="0"/>
                  </a:lnTo>
                  <a:lnTo>
                    <a:pt x="2" y="82963"/>
                  </a:lnTo>
                  <a:cubicBezTo>
                    <a:pt x="-64" y="87001"/>
                    <a:pt x="1935" y="90795"/>
                    <a:pt x="5304" y="93027"/>
                  </a:cubicBezTo>
                  <a:cubicBezTo>
                    <a:pt x="7198" y="94240"/>
                    <a:pt x="9406" y="94869"/>
                    <a:pt x="11654" y="94837"/>
                  </a:cubicBezTo>
                  <a:cubicBezTo>
                    <a:pt x="13416" y="94825"/>
                    <a:pt x="15157" y="94447"/>
                    <a:pt x="16766" y="93726"/>
                  </a:cubicBezTo>
                  <a:lnTo>
                    <a:pt x="49309" y="78994"/>
                  </a:lnTo>
                  <a:lnTo>
                    <a:pt x="41245" y="61182"/>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grpSp>
      <p:sp>
        <p:nvSpPr>
          <p:cNvPr id="5" name="Rectangle 4">
            <a:extLst>
              <a:ext uri="{FF2B5EF4-FFF2-40B4-BE49-F238E27FC236}">
                <a16:creationId xmlns:a16="http://schemas.microsoft.com/office/drawing/2014/main" id="{3EE9A8D7-974A-0CF9-3140-9CBC7B279E05}"/>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sp>
        <p:nvSpPr>
          <p:cNvPr id="31" name="Content Placeholder 1">
            <a:extLst>
              <a:ext uri="{FF2B5EF4-FFF2-40B4-BE49-F238E27FC236}">
                <a16:creationId xmlns:a16="http://schemas.microsoft.com/office/drawing/2014/main" id="{6C40605B-972D-274D-B9C5-B49D58BC4487}"/>
              </a:ext>
            </a:extLst>
          </p:cNvPr>
          <p:cNvSpPr txBox="1">
            <a:spLocks/>
          </p:cNvSpPr>
          <p:nvPr/>
        </p:nvSpPr>
        <p:spPr>
          <a:xfrm>
            <a:off x="11677088" y="5595938"/>
            <a:ext cx="72000" cy="576263"/>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grpSp>
        <p:nvGrpSpPr>
          <p:cNvPr id="2" name="Group 1">
            <a:extLst>
              <a:ext uri="{FF2B5EF4-FFF2-40B4-BE49-F238E27FC236}">
                <a16:creationId xmlns:a16="http://schemas.microsoft.com/office/drawing/2014/main" id="{6D238C93-22D9-249A-7A45-198757C3913C}"/>
              </a:ext>
            </a:extLst>
          </p:cNvPr>
          <p:cNvGrpSpPr/>
          <p:nvPr/>
        </p:nvGrpSpPr>
        <p:grpSpPr>
          <a:xfrm>
            <a:off x="9842140" y="372216"/>
            <a:ext cx="1667215" cy="217488"/>
            <a:chOff x="9842140" y="372216"/>
            <a:chExt cx="1667215" cy="217488"/>
          </a:xfrm>
        </p:grpSpPr>
        <p:sp>
          <p:nvSpPr>
            <p:cNvPr id="23" name="TextBox 22">
              <a:extLst>
                <a:ext uri="{FF2B5EF4-FFF2-40B4-BE49-F238E27FC236}">
                  <a16:creationId xmlns:a16="http://schemas.microsoft.com/office/drawing/2014/main" id="{741B907D-7A83-A3AE-8435-171CA406F057}"/>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rtl="0">
                <a:lnSpc>
                  <a:spcPct val="100000"/>
                </a:lnSpc>
                <a:spcAft>
                  <a:spcPts val="600"/>
                </a:spcAft>
                <a:buSzPct val="100000"/>
              </a:pPr>
              <a:r>
                <a:rPr lang="en-gb" sz="800">
                  <a:solidFill>
                    <a:schemeClr val="bg1"/>
                  </a:solidFill>
                </a:rPr>
                <a:t>Foreign bodies</a:t>
              </a:r>
            </a:p>
          </p:txBody>
        </p:sp>
        <p:sp>
          <p:nvSpPr>
            <p:cNvPr id="30" name="Freeform 49">
              <a:extLst>
                <a:ext uri="{FF2B5EF4-FFF2-40B4-BE49-F238E27FC236}">
                  <a16:creationId xmlns:a16="http://schemas.microsoft.com/office/drawing/2014/main" id="{670429FC-0BF9-4D66-697C-24E16A7CB369}"/>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p>
          </p:txBody>
        </p:sp>
      </p:grpSp>
      <p:grpSp>
        <p:nvGrpSpPr>
          <p:cNvPr id="29" name="Group 28">
            <a:extLst>
              <a:ext uri="{FF2B5EF4-FFF2-40B4-BE49-F238E27FC236}">
                <a16:creationId xmlns:a16="http://schemas.microsoft.com/office/drawing/2014/main" id="{50318D11-40E2-C660-3AF1-C6ADEAAD7014}"/>
              </a:ext>
            </a:extLst>
          </p:cNvPr>
          <p:cNvGrpSpPr/>
          <p:nvPr/>
        </p:nvGrpSpPr>
        <p:grpSpPr>
          <a:xfrm>
            <a:off x="9122935" y="126781"/>
            <a:ext cx="2626153" cy="217488"/>
            <a:chOff x="9122935" y="126781"/>
            <a:chExt cx="2626153" cy="217488"/>
          </a:xfrm>
        </p:grpSpPr>
        <p:sp>
          <p:nvSpPr>
            <p:cNvPr id="32" name="Rectangle 31">
              <a:extLst>
                <a:ext uri="{FF2B5EF4-FFF2-40B4-BE49-F238E27FC236}">
                  <a16:creationId xmlns:a16="http://schemas.microsoft.com/office/drawing/2014/main" id="{505D855B-1B31-586B-31CB-3EB835AF04E3}"/>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000000"/>
                  </a:solidFill>
                  <a:effectLst/>
                  <a:uLnTx/>
                  <a:uFillTx/>
                  <a:ea typeface="Georgia"/>
                  <a:cs typeface="Georgia"/>
                  <a:sym typeface="Georgia"/>
                </a:rPr>
                <a:t>First aid measures</a:t>
              </a:r>
            </a:p>
          </p:txBody>
        </p:sp>
        <p:sp>
          <p:nvSpPr>
            <p:cNvPr id="33" name="Rectangle 32">
              <a:extLst>
                <a:ext uri="{FF2B5EF4-FFF2-40B4-BE49-F238E27FC236}">
                  <a16:creationId xmlns:a16="http://schemas.microsoft.com/office/drawing/2014/main" id="{44F1245A-ADC4-80D9-1597-6BC77517D6FE}"/>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4" name="Rectangle 33">
              <a:extLst>
                <a:ext uri="{FF2B5EF4-FFF2-40B4-BE49-F238E27FC236}">
                  <a16:creationId xmlns:a16="http://schemas.microsoft.com/office/drawing/2014/main" id="{B225B6CA-07C5-CFD0-A8A6-0114BB0461AE}"/>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5" name="Rectangle 34">
              <a:extLst>
                <a:ext uri="{FF2B5EF4-FFF2-40B4-BE49-F238E27FC236}">
                  <a16:creationId xmlns:a16="http://schemas.microsoft.com/office/drawing/2014/main" id="{B13D1DD2-1E41-B1FD-953D-735D0463FE45}"/>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43" name="Rectangle 42">
              <a:extLst>
                <a:ext uri="{FF2B5EF4-FFF2-40B4-BE49-F238E27FC236}">
                  <a16:creationId xmlns:a16="http://schemas.microsoft.com/office/drawing/2014/main" id="{DCFD6FB4-B411-DB1D-EF62-25922747D7BB}"/>
                </a:ext>
              </a:extLst>
            </p:cNvPr>
            <p:cNvSpPr/>
            <p:nvPr/>
          </p:nvSpPr>
          <p:spPr>
            <a:xfrm>
              <a:off x="9842140"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7</a:t>
              </a:r>
              <a:r>
                <a:rPr lang="en-gb" sz="800" b="1" i="0" u="none" strike="noStrike" kern="0" cap="none" spc="0" normalizeH="0" noProof="0">
                  <a:ln>
                    <a:noFill/>
                  </a:ln>
                  <a:effectLst/>
                  <a:uLnTx/>
                  <a:uFillTx/>
                  <a:ea typeface="Georgia"/>
                  <a:cs typeface="Georgia"/>
                  <a:sym typeface="Georgia"/>
                </a:rPr>
                <a:t>.4</a:t>
              </a:r>
              <a:endParaRPr kumimoji="0" lang="lv-LV" sz="800" b="1" i="0" u="none" strike="noStrike" kern="0" cap="none" spc="0" normalizeH="0" baseline="0" noProof="0" dirty="0">
                <a:ln>
                  <a:noFill/>
                </a:ln>
                <a:effectLst/>
                <a:uLnTx/>
                <a:uFillTx/>
                <a:ea typeface="Georgia"/>
                <a:cs typeface="Georgia"/>
                <a:sym typeface="Georgia"/>
              </a:endParaRPr>
            </a:p>
          </p:txBody>
        </p:sp>
        <p:sp>
          <p:nvSpPr>
            <p:cNvPr id="44" name="Rectangle 43">
              <a:extLst>
                <a:ext uri="{FF2B5EF4-FFF2-40B4-BE49-F238E27FC236}">
                  <a16:creationId xmlns:a16="http://schemas.microsoft.com/office/drawing/2014/main" id="{87F395C1-16E0-1A92-C23B-70A8CC8A0BE0}"/>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422943431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9E6BB6A-4571-FBF8-9A7D-06ADE4374D4D}"/>
              </a:ext>
            </a:extLst>
          </p:cNvPr>
          <p:cNvGraphicFramePr>
            <a:graphicFrameLocks noChangeAspect="1"/>
          </p:cNvGraphicFramePr>
          <p:nvPr>
            <p:custDataLst>
              <p:tags r:id="rId1"/>
            </p:custDataLst>
            <p:extLst>
              <p:ext uri="{D42A27DB-BD31-4B8C-83A1-F6EECF244321}">
                <p14:modId xmlns:p14="http://schemas.microsoft.com/office/powerpoint/2010/main" val="2150014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D9E6BB6A-4571-FBF8-9A7D-06ADE4374D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Rectangle 44">
            <a:extLst>
              <a:ext uri="{FF2B5EF4-FFF2-40B4-BE49-F238E27FC236}">
                <a16:creationId xmlns:a16="http://schemas.microsoft.com/office/drawing/2014/main" id="{ACCF17B9-A116-B3E5-4253-E3D27A07EBE6}"/>
              </a:ext>
            </a:extLst>
          </p:cNvPr>
          <p:cNvSpPr/>
          <p:nvPr/>
        </p:nvSpPr>
        <p:spPr>
          <a:xfrm>
            <a:off x="2651760" y="3877424"/>
            <a:ext cx="9097328" cy="10302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400" b="1"/>
          </a:p>
        </p:txBody>
      </p:sp>
      <p:sp>
        <p:nvSpPr>
          <p:cNvPr id="46" name="Rectangle 45">
            <a:extLst>
              <a:ext uri="{FF2B5EF4-FFF2-40B4-BE49-F238E27FC236}">
                <a16:creationId xmlns:a16="http://schemas.microsoft.com/office/drawing/2014/main" id="{B1F489B2-211A-189D-1FC2-52DBCFFFA12A}"/>
              </a:ext>
            </a:extLst>
          </p:cNvPr>
          <p:cNvSpPr/>
          <p:nvPr/>
        </p:nvSpPr>
        <p:spPr>
          <a:xfrm>
            <a:off x="2651760" y="2630488"/>
            <a:ext cx="9097328" cy="10302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400" b="1"/>
          </a:p>
        </p:txBody>
      </p:sp>
      <p:sp>
        <p:nvSpPr>
          <p:cNvPr id="62" name="Rectangle 61">
            <a:extLst>
              <a:ext uri="{FF2B5EF4-FFF2-40B4-BE49-F238E27FC236}">
                <a16:creationId xmlns:a16="http://schemas.microsoft.com/office/drawing/2014/main" id="{8F1ACBBE-C6FA-4666-5248-C1605BDAD626}"/>
              </a:ext>
            </a:extLst>
          </p:cNvPr>
          <p:cNvSpPr/>
          <p:nvPr/>
        </p:nvSpPr>
        <p:spPr>
          <a:xfrm>
            <a:off x="2651760" y="5142237"/>
            <a:ext cx="9097328" cy="10302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400" b="1"/>
          </a:p>
        </p:txBody>
      </p:sp>
      <p:sp>
        <p:nvSpPr>
          <p:cNvPr id="47" name="Rectangle 46">
            <a:extLst>
              <a:ext uri="{FF2B5EF4-FFF2-40B4-BE49-F238E27FC236}">
                <a16:creationId xmlns:a16="http://schemas.microsoft.com/office/drawing/2014/main" id="{B2495B1F-472D-0A3B-8475-9C34F129F695}"/>
              </a:ext>
            </a:extLst>
          </p:cNvPr>
          <p:cNvSpPr/>
          <p:nvPr/>
        </p:nvSpPr>
        <p:spPr>
          <a:xfrm>
            <a:off x="2847530" y="2406995"/>
            <a:ext cx="4352925" cy="3765529"/>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endParaRPr lang="lv-LV" sz="1400" b="1">
              <a:solidFill>
                <a:schemeClr val="tx1"/>
              </a:solidFill>
            </a:endParaRPr>
          </a:p>
        </p:txBody>
      </p:sp>
      <p:sp>
        <p:nvSpPr>
          <p:cNvPr id="48" name="Rectangle 47">
            <a:extLst>
              <a:ext uri="{FF2B5EF4-FFF2-40B4-BE49-F238E27FC236}">
                <a16:creationId xmlns:a16="http://schemas.microsoft.com/office/drawing/2014/main" id="{5D5376FA-B5D9-BD4A-2E60-484F85927EC5}"/>
              </a:ext>
            </a:extLst>
          </p:cNvPr>
          <p:cNvSpPr/>
          <p:nvPr/>
        </p:nvSpPr>
        <p:spPr>
          <a:xfrm>
            <a:off x="7396160" y="2406995"/>
            <a:ext cx="4352925" cy="3765529"/>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endParaRPr lang="lv-LV" sz="1400" b="1">
              <a:solidFill>
                <a:schemeClr val="tx1"/>
              </a:solidFill>
            </a:endParaRPr>
          </a:p>
        </p:txBody>
      </p:sp>
      <p:sp>
        <p:nvSpPr>
          <p:cNvPr id="49" name="Rectangle 48">
            <a:extLst>
              <a:ext uri="{FF2B5EF4-FFF2-40B4-BE49-F238E27FC236}">
                <a16:creationId xmlns:a16="http://schemas.microsoft.com/office/drawing/2014/main" id="{C0FB0A2A-8E58-5714-4E5D-483BA9D70A3C}"/>
              </a:ext>
            </a:extLst>
          </p:cNvPr>
          <p:cNvSpPr/>
          <p:nvPr/>
        </p:nvSpPr>
        <p:spPr>
          <a:xfrm>
            <a:off x="7396160" y="1830995"/>
            <a:ext cx="435292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bg1"/>
                </a:solidFill>
              </a:rPr>
              <a:t>Important!</a:t>
            </a:r>
          </a:p>
        </p:txBody>
      </p:sp>
      <p:sp>
        <p:nvSpPr>
          <p:cNvPr id="50" name="Content Placeholder 1">
            <a:extLst>
              <a:ext uri="{FF2B5EF4-FFF2-40B4-BE49-F238E27FC236}">
                <a16:creationId xmlns:a16="http://schemas.microsoft.com/office/drawing/2014/main" id="{0D2829EB-2DB7-92B6-ED60-5F4CCE5EA10F}"/>
              </a:ext>
            </a:extLst>
          </p:cNvPr>
          <p:cNvSpPr txBox="1">
            <a:spLocks/>
          </p:cNvSpPr>
          <p:nvPr/>
        </p:nvSpPr>
        <p:spPr>
          <a:xfrm>
            <a:off x="11173087" y="18309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51" name="Content Placeholder 1">
            <a:extLst>
              <a:ext uri="{FF2B5EF4-FFF2-40B4-BE49-F238E27FC236}">
                <a16:creationId xmlns:a16="http://schemas.microsoft.com/office/drawing/2014/main" id="{06048512-5DC5-9021-22C4-AFCDFDBB09B7}"/>
              </a:ext>
            </a:extLst>
          </p:cNvPr>
          <p:cNvSpPr txBox="1">
            <a:spLocks/>
          </p:cNvSpPr>
          <p:nvPr/>
        </p:nvSpPr>
        <p:spPr>
          <a:xfrm>
            <a:off x="11101699" y="18309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52" name="Google Shape;794;p79">
            <a:extLst>
              <a:ext uri="{FF2B5EF4-FFF2-40B4-BE49-F238E27FC236}">
                <a16:creationId xmlns:a16="http://schemas.microsoft.com/office/drawing/2014/main" id="{E84079C4-A3E3-E2C1-1A20-FA736957F86A}"/>
              </a:ext>
            </a:extLst>
          </p:cNvPr>
          <p:cNvSpPr/>
          <p:nvPr/>
        </p:nvSpPr>
        <p:spPr>
          <a:xfrm>
            <a:off x="11281087" y="19389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3" name="Rectangle 52">
            <a:extLst>
              <a:ext uri="{FF2B5EF4-FFF2-40B4-BE49-F238E27FC236}">
                <a16:creationId xmlns:a16="http://schemas.microsoft.com/office/drawing/2014/main" id="{13A9E587-1DB7-4681-C8DF-047EB324C085}"/>
              </a:ext>
            </a:extLst>
          </p:cNvPr>
          <p:cNvSpPr/>
          <p:nvPr/>
        </p:nvSpPr>
        <p:spPr>
          <a:xfrm>
            <a:off x="2847530" y="1830995"/>
            <a:ext cx="435286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tx1"/>
                </a:solidFill>
              </a:rPr>
              <a:t>How to proceed?</a:t>
            </a:r>
          </a:p>
        </p:txBody>
      </p:sp>
      <p:sp>
        <p:nvSpPr>
          <p:cNvPr id="54" name="Content Placeholder 1">
            <a:extLst>
              <a:ext uri="{FF2B5EF4-FFF2-40B4-BE49-F238E27FC236}">
                <a16:creationId xmlns:a16="http://schemas.microsoft.com/office/drawing/2014/main" id="{F3BCA6AD-5AB6-7270-4339-1C66A6A7FD37}"/>
              </a:ext>
            </a:extLst>
          </p:cNvPr>
          <p:cNvSpPr txBox="1">
            <a:spLocks/>
          </p:cNvSpPr>
          <p:nvPr/>
        </p:nvSpPr>
        <p:spPr>
          <a:xfrm>
            <a:off x="6624391" y="183099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55" name="Content Placeholder 1">
            <a:extLst>
              <a:ext uri="{FF2B5EF4-FFF2-40B4-BE49-F238E27FC236}">
                <a16:creationId xmlns:a16="http://schemas.microsoft.com/office/drawing/2014/main" id="{BFBB300A-2BF9-E2D4-BBEF-173F767980B6}"/>
              </a:ext>
            </a:extLst>
          </p:cNvPr>
          <p:cNvSpPr txBox="1">
            <a:spLocks/>
          </p:cNvSpPr>
          <p:nvPr/>
        </p:nvSpPr>
        <p:spPr>
          <a:xfrm>
            <a:off x="6553003" y="183099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56" name="Google Shape;760;p79">
            <a:extLst>
              <a:ext uri="{FF2B5EF4-FFF2-40B4-BE49-F238E27FC236}">
                <a16:creationId xmlns:a16="http://schemas.microsoft.com/office/drawing/2014/main" id="{6B255094-3850-7320-5989-3104B5A2D549}"/>
              </a:ext>
            </a:extLst>
          </p:cNvPr>
          <p:cNvSpPr/>
          <p:nvPr/>
        </p:nvSpPr>
        <p:spPr>
          <a:xfrm>
            <a:off x="6732391" y="1938995"/>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6" name="Rectangle 35">
            <a:extLst>
              <a:ext uri="{FF2B5EF4-FFF2-40B4-BE49-F238E27FC236}">
                <a16:creationId xmlns:a16="http://schemas.microsoft.com/office/drawing/2014/main" id="{A8F39C25-781C-A7DA-387A-D92FCABEE1F5}"/>
              </a:ext>
            </a:extLst>
          </p:cNvPr>
          <p:cNvSpPr/>
          <p:nvPr/>
        </p:nvSpPr>
        <p:spPr>
          <a:xfrm>
            <a:off x="442912" y="2630366"/>
            <a:ext cx="2208847" cy="103076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rtl="0"/>
            <a:r>
              <a:rPr lang="en-gb" sz="1400" b="1" dirty="0"/>
              <a:t>Foreign </a:t>
            </a:r>
            <a:r>
              <a:rPr lang="lv-LV" sz="1400" b="1" dirty="0" err="1"/>
              <a:t>bodies</a:t>
            </a:r>
            <a:r>
              <a:rPr lang="en-gb" sz="1400" b="1" dirty="0"/>
              <a:t> </a:t>
            </a:r>
            <a:endParaRPr lang="en-US" sz="1400" b="1" dirty="0"/>
          </a:p>
          <a:p>
            <a:pPr rtl="0"/>
            <a:r>
              <a:rPr lang="en-gb" sz="1400" b="1" dirty="0"/>
              <a:t>in the wound</a:t>
            </a:r>
          </a:p>
        </p:txBody>
      </p:sp>
      <p:sp>
        <p:nvSpPr>
          <p:cNvPr id="38" name="Content Placeholder 1">
            <a:extLst>
              <a:ext uri="{FF2B5EF4-FFF2-40B4-BE49-F238E27FC236}">
                <a16:creationId xmlns:a16="http://schemas.microsoft.com/office/drawing/2014/main" id="{7B1F3CCD-2DE1-C2A8-D340-EAF5B3993679}"/>
              </a:ext>
            </a:extLst>
          </p:cNvPr>
          <p:cNvSpPr txBox="1">
            <a:spLocks/>
          </p:cNvSpPr>
          <p:nvPr/>
        </p:nvSpPr>
        <p:spPr>
          <a:xfrm>
            <a:off x="2579759" y="2630366"/>
            <a:ext cx="72000" cy="1030244"/>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rtlCol="0"/>
          <a:lstStyle/>
          <a:p>
            <a:pPr rtl="0"/>
            <a:r>
              <a:rPr lang="lv-LV" dirty="0" err="1"/>
              <a:t>What</a:t>
            </a:r>
            <a:r>
              <a:rPr lang="lv-LV" dirty="0"/>
              <a:t> to do </a:t>
            </a:r>
            <a:r>
              <a:rPr lang="lv-LV" dirty="0" err="1"/>
              <a:t>in</a:t>
            </a:r>
            <a:r>
              <a:rPr lang="lv-LV" dirty="0"/>
              <a:t> </a:t>
            </a:r>
            <a:r>
              <a:rPr lang="lv-LV" dirty="0" err="1"/>
              <a:t>case</a:t>
            </a:r>
            <a:r>
              <a:rPr lang="lv-LV" dirty="0"/>
              <a:t> </a:t>
            </a:r>
            <a:r>
              <a:rPr lang="lv-LV" dirty="0" err="1"/>
              <a:t>of</a:t>
            </a:r>
            <a:r>
              <a:rPr lang="lv-LV" dirty="0"/>
              <a:t> </a:t>
            </a:r>
            <a:r>
              <a:rPr lang="lv-LV" dirty="0" err="1"/>
              <a:t>accidents</a:t>
            </a:r>
            <a:r>
              <a:rPr lang="lv-LV" dirty="0"/>
              <a:t> </a:t>
            </a:r>
            <a:r>
              <a:rPr lang="lv-LV" dirty="0" err="1"/>
              <a:t>involving</a:t>
            </a:r>
            <a:br>
              <a:rPr lang="lv-LV" dirty="0"/>
            </a:br>
            <a:r>
              <a:rPr lang="lv-LV" dirty="0" err="1"/>
              <a:t>foreign</a:t>
            </a:r>
            <a:r>
              <a:rPr lang="lv-LV" dirty="0"/>
              <a:t> </a:t>
            </a:r>
            <a:r>
              <a:rPr lang="lv-LV" dirty="0" err="1"/>
              <a:t>bodies</a:t>
            </a:r>
            <a:r>
              <a:rPr lang="lv-LV" dirty="0"/>
              <a:t>?</a:t>
            </a:r>
            <a:endParaRPr lang="en-GB" dirty="0"/>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rtlCol="0"/>
          <a:lstStyle/>
          <a:p>
            <a:pPr rtl="0"/>
            <a:fld id="{7870704B-CE94-48CC-AF30-84932A1262A7}" type="slidenum">
              <a:rPr lang="en-GB" smtClean="0"/>
              <a:pPr rtl="0"/>
              <a:t>39</a:t>
            </a:fld>
            <a:endParaRPr lang="en-GB"/>
          </a:p>
        </p:txBody>
      </p:sp>
      <p:sp>
        <p:nvSpPr>
          <p:cNvPr id="16" name="TextBox 15">
            <a:extLst>
              <a:ext uri="{FF2B5EF4-FFF2-40B4-BE49-F238E27FC236}">
                <a16:creationId xmlns:a16="http://schemas.microsoft.com/office/drawing/2014/main" id="{30819613-CE74-49B6-0807-44FDBB81D466}"/>
              </a:ext>
            </a:extLst>
          </p:cNvPr>
          <p:cNvSpPr txBox="1"/>
          <p:nvPr/>
        </p:nvSpPr>
        <p:spPr>
          <a:xfrm>
            <a:off x="2847530" y="2630366"/>
            <a:ext cx="4352925" cy="1030288"/>
          </a:xfrm>
          <a:prstGeom prst="rect">
            <a:avLst/>
          </a:prstGeom>
          <a:noFill/>
        </p:spPr>
        <p:txBody>
          <a:bodyPr wrap="square" lIns="72000" rIns="72000" rtlCol="0" anchor="ctr">
            <a:noAutofit/>
          </a:bodyPr>
          <a:lstStyle/>
          <a:p>
            <a:pPr marL="342900" lvl="1" indent="-342900" rtl="0" hangingPunct="0">
              <a:buFont typeface="+mj-lt"/>
              <a:buAutoNum type="arabicPeriod"/>
              <a:tabLst>
                <a:tab pos="457200" algn="l"/>
                <a:tab pos="1586230" algn="l"/>
              </a:tabLst>
            </a:pPr>
            <a:endParaRPr lang="lv-LV" sz="1400">
              <a:effectLst/>
              <a:ea typeface="Times New Roman" panose="02020603050405020304" pitchFamily="18" charset="0"/>
            </a:endParaRPr>
          </a:p>
        </p:txBody>
      </p:sp>
      <p:sp>
        <p:nvSpPr>
          <p:cNvPr id="18" name="TextBox 17">
            <a:extLst>
              <a:ext uri="{FF2B5EF4-FFF2-40B4-BE49-F238E27FC236}">
                <a16:creationId xmlns:a16="http://schemas.microsoft.com/office/drawing/2014/main" id="{E1D4AC8F-0322-E8A8-E509-5AF71473A8F4}"/>
              </a:ext>
            </a:extLst>
          </p:cNvPr>
          <p:cNvSpPr txBox="1"/>
          <p:nvPr/>
        </p:nvSpPr>
        <p:spPr>
          <a:xfrm>
            <a:off x="7396160" y="2630366"/>
            <a:ext cx="4352925" cy="1030288"/>
          </a:xfrm>
          <a:prstGeom prst="rect">
            <a:avLst/>
          </a:prstGeom>
          <a:noFill/>
        </p:spPr>
        <p:txBody>
          <a:bodyPr wrap="square" lIns="72000" rIns="72000" rtlCol="0" anchor="ctr">
            <a:noAutofit/>
          </a:bodyPr>
          <a:lstStyle/>
          <a:p>
            <a:pPr marL="284400" lvl="0" indent="-284400" rtl="0" hangingPunct="0">
              <a:buSzPts val="1200"/>
              <a:buBlip>
                <a:blip r:embed="rId6"/>
              </a:buBlip>
            </a:pPr>
            <a:r>
              <a:rPr lang="en-gb" sz="1400">
                <a:effectLst/>
                <a:ea typeface="Calibri" panose="020F0502020204030204" pitchFamily="34" charset="0"/>
                <a:cs typeface="Times New Roman" panose="02020603050405020304" pitchFamily="18" charset="0"/>
              </a:rPr>
              <a:t>Do not throw out a foreign body.</a:t>
            </a:r>
          </a:p>
          <a:p>
            <a:pPr marL="284400" lvl="0" indent="-284400" rtl="0" hangingPunct="0">
              <a:buSzPts val="1200"/>
              <a:buBlip>
                <a:blip r:embed="rId6"/>
              </a:buBlip>
            </a:pPr>
            <a:r>
              <a:rPr lang="en-gb" sz="1400">
                <a:effectLst/>
                <a:ea typeface="Calibri" panose="020F0502020204030204" pitchFamily="34" charset="0"/>
                <a:cs typeface="Times New Roman" panose="02020603050405020304" pitchFamily="18" charset="0"/>
              </a:rPr>
              <a:t>Do not allow a foreign body to enter the wound.</a:t>
            </a:r>
          </a:p>
        </p:txBody>
      </p:sp>
      <p:sp>
        <p:nvSpPr>
          <p:cNvPr id="6" name="Rectangle 5">
            <a:extLst>
              <a:ext uri="{FF2B5EF4-FFF2-40B4-BE49-F238E27FC236}">
                <a16:creationId xmlns:a16="http://schemas.microsoft.com/office/drawing/2014/main" id="{9FCB5464-71C0-8D26-F8EA-D639E3AD3942}"/>
              </a:ext>
            </a:extLst>
          </p:cNvPr>
          <p:cNvSpPr/>
          <p:nvPr/>
        </p:nvSpPr>
        <p:spPr>
          <a:xfrm>
            <a:off x="442912" y="3877424"/>
            <a:ext cx="2208847" cy="103028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rtl="0"/>
            <a:r>
              <a:rPr lang="en-gb" sz="1400" b="1" dirty="0"/>
              <a:t>Foreign </a:t>
            </a:r>
            <a:r>
              <a:rPr lang="lv-LV" sz="1400" b="1" dirty="0" err="1"/>
              <a:t>bodies</a:t>
            </a:r>
            <a:r>
              <a:rPr lang="en-gb" sz="1400" b="1" dirty="0"/>
              <a:t> </a:t>
            </a:r>
            <a:endParaRPr lang="en-US" sz="1400" b="1" dirty="0"/>
          </a:p>
          <a:p>
            <a:pPr rtl="0"/>
            <a:r>
              <a:rPr lang="en-gb" sz="1400" b="1" dirty="0"/>
              <a:t>in the eye</a:t>
            </a:r>
          </a:p>
        </p:txBody>
      </p:sp>
      <p:sp>
        <p:nvSpPr>
          <p:cNvPr id="7" name="Content Placeholder 1">
            <a:extLst>
              <a:ext uri="{FF2B5EF4-FFF2-40B4-BE49-F238E27FC236}">
                <a16:creationId xmlns:a16="http://schemas.microsoft.com/office/drawing/2014/main" id="{131CF737-7F8A-F69F-9074-8E1795165146}"/>
              </a:ext>
            </a:extLst>
          </p:cNvPr>
          <p:cNvSpPr txBox="1">
            <a:spLocks/>
          </p:cNvSpPr>
          <p:nvPr/>
        </p:nvSpPr>
        <p:spPr>
          <a:xfrm>
            <a:off x="2579759" y="3877424"/>
            <a:ext cx="72000" cy="103028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8" name="TextBox 7">
            <a:extLst>
              <a:ext uri="{FF2B5EF4-FFF2-40B4-BE49-F238E27FC236}">
                <a16:creationId xmlns:a16="http://schemas.microsoft.com/office/drawing/2014/main" id="{DE394745-7D20-7CFE-FA0E-311E6546C320}"/>
              </a:ext>
            </a:extLst>
          </p:cNvPr>
          <p:cNvSpPr txBox="1"/>
          <p:nvPr/>
        </p:nvSpPr>
        <p:spPr>
          <a:xfrm>
            <a:off x="2847530" y="3877424"/>
            <a:ext cx="4352925" cy="1030288"/>
          </a:xfrm>
          <a:prstGeom prst="rect">
            <a:avLst/>
          </a:prstGeom>
          <a:noFill/>
        </p:spPr>
        <p:txBody>
          <a:bodyPr wrap="square" lIns="72000" rIns="72000" rtlCol="0" anchor="ctr">
            <a:noAutofit/>
          </a:bodyPr>
          <a:lstStyle/>
          <a:p>
            <a:pPr marL="0" lvl="1" rtl="0" hangingPunct="0">
              <a:tabLst>
                <a:tab pos="457200" algn="l"/>
                <a:tab pos="1586230" algn="l"/>
              </a:tabLst>
            </a:pPr>
            <a:r>
              <a:rPr lang="en-gb" sz="1400">
                <a:effectLst/>
                <a:ea typeface="Times New Roman" panose="02020603050405020304" pitchFamily="18" charset="0"/>
              </a:rPr>
              <a:t>If the foreign body cannot be easily flushed out, assume that it may be stuck. In this case:</a:t>
            </a:r>
          </a:p>
          <a:p>
            <a:pPr marL="284400" indent="-284400" rtl="0" hangingPunct="0">
              <a:buSzPct val="100000"/>
              <a:buBlip>
                <a:blip r:embed="rId6"/>
              </a:buBlip>
              <a:tabLst>
                <a:tab pos="457200" algn="l"/>
                <a:tab pos="1586230" algn="l"/>
              </a:tabLst>
            </a:pPr>
            <a:r>
              <a:rPr lang="en-gb" sz="1400">
                <a:ea typeface="Calibri" panose="020F0502020204030204" pitchFamily="34" charset="0"/>
                <a:cs typeface="Times New Roman" panose="02020603050405020304" pitchFamily="18" charset="0"/>
              </a:rPr>
              <a:t>apply a bandage to both eyes;</a:t>
            </a:r>
          </a:p>
          <a:p>
            <a:pPr marL="284400" indent="-284400" rtl="0" hangingPunct="0">
              <a:buSzPct val="100000"/>
              <a:buBlip>
                <a:blip r:embed="rId6"/>
              </a:buBlip>
              <a:tabLst>
                <a:tab pos="457200" algn="l"/>
                <a:tab pos="1586230" algn="l"/>
              </a:tabLst>
            </a:pPr>
            <a:r>
              <a:rPr lang="en-gb" sz="1400">
                <a:ea typeface="Calibri" panose="020F0502020204030204" pitchFamily="34" charset="0"/>
                <a:cs typeface="Times New Roman" panose="02020603050405020304" pitchFamily="18" charset="0"/>
              </a:rPr>
              <a:t>seek medical help.</a:t>
            </a:r>
          </a:p>
        </p:txBody>
      </p:sp>
      <p:sp>
        <p:nvSpPr>
          <p:cNvPr id="10" name="TextBox 9">
            <a:extLst>
              <a:ext uri="{FF2B5EF4-FFF2-40B4-BE49-F238E27FC236}">
                <a16:creationId xmlns:a16="http://schemas.microsoft.com/office/drawing/2014/main" id="{CEB10E6B-E2C2-E173-D397-F7696E76B2B3}"/>
              </a:ext>
            </a:extLst>
          </p:cNvPr>
          <p:cNvSpPr txBox="1"/>
          <p:nvPr/>
        </p:nvSpPr>
        <p:spPr>
          <a:xfrm>
            <a:off x="7396160" y="3877424"/>
            <a:ext cx="4352925" cy="1030288"/>
          </a:xfrm>
          <a:prstGeom prst="rect">
            <a:avLst/>
          </a:prstGeom>
          <a:noFill/>
        </p:spPr>
        <p:txBody>
          <a:bodyPr wrap="square" lIns="72000" rIns="72000" rtlCol="0" anchor="ctr">
            <a:noAutofit/>
          </a:bodyPr>
          <a:lstStyle/>
          <a:p>
            <a:pPr marL="284400" lvl="0" indent="-284400" rtl="0" hangingPunct="0">
              <a:buSzPts val="1200"/>
              <a:buBlip>
                <a:blip r:embed="rId6"/>
              </a:buBlip>
            </a:pPr>
            <a:r>
              <a:rPr lang="en-gb" sz="1400">
                <a:ea typeface="Calibri" panose="020F0502020204030204" pitchFamily="34" charset="0"/>
                <a:cs typeface="Times New Roman" panose="02020603050405020304" pitchFamily="18" charset="0"/>
              </a:rPr>
              <a:t>Do not pull out a foreign object that may have stuck. Seek medical advice.</a:t>
            </a:r>
            <a:endParaRPr lang="lv-LV" sz="1400">
              <a:effectLst/>
              <a:ea typeface="Calibri" panose="020F0502020204030204" pitchFamily="34" charset="0"/>
              <a:cs typeface="Times New Roman" panose="02020603050405020304" pitchFamily="18" charset="0"/>
            </a:endParaRPr>
          </a:p>
        </p:txBody>
      </p:sp>
      <p:sp>
        <p:nvSpPr>
          <p:cNvPr id="12" name="Rectangle 11">
            <a:extLst>
              <a:ext uri="{FF2B5EF4-FFF2-40B4-BE49-F238E27FC236}">
                <a16:creationId xmlns:a16="http://schemas.microsoft.com/office/drawing/2014/main" id="{BCD23311-41AD-9807-EF29-568FF837616E}"/>
              </a:ext>
            </a:extLst>
          </p:cNvPr>
          <p:cNvSpPr/>
          <p:nvPr/>
        </p:nvSpPr>
        <p:spPr>
          <a:xfrm>
            <a:off x="442910" y="5142237"/>
            <a:ext cx="2208847" cy="103028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rtl="0"/>
            <a:r>
              <a:rPr lang="en-gb" sz="1400" b="1" dirty="0"/>
              <a:t>Foreign </a:t>
            </a:r>
            <a:r>
              <a:rPr lang="lv-LV" sz="1400" b="1" dirty="0" err="1"/>
              <a:t>bodies</a:t>
            </a:r>
            <a:r>
              <a:rPr lang="en-gb" sz="1400" b="1" dirty="0"/>
              <a:t> </a:t>
            </a:r>
            <a:endParaRPr lang="en-US" sz="1400" b="1" dirty="0"/>
          </a:p>
          <a:p>
            <a:pPr rtl="0"/>
            <a:r>
              <a:rPr lang="en-gb" sz="1400" b="1" dirty="0"/>
              <a:t>in the ear </a:t>
            </a:r>
          </a:p>
        </p:txBody>
      </p:sp>
      <p:sp>
        <p:nvSpPr>
          <p:cNvPr id="13" name="Content Placeholder 1">
            <a:extLst>
              <a:ext uri="{FF2B5EF4-FFF2-40B4-BE49-F238E27FC236}">
                <a16:creationId xmlns:a16="http://schemas.microsoft.com/office/drawing/2014/main" id="{71ED36E5-E465-D1F1-1E45-A8813A4B5D7F}"/>
              </a:ext>
            </a:extLst>
          </p:cNvPr>
          <p:cNvSpPr txBox="1">
            <a:spLocks/>
          </p:cNvSpPr>
          <p:nvPr/>
        </p:nvSpPr>
        <p:spPr>
          <a:xfrm>
            <a:off x="2579757" y="5142237"/>
            <a:ext cx="72000" cy="103028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4" name="TextBox 13">
            <a:extLst>
              <a:ext uri="{FF2B5EF4-FFF2-40B4-BE49-F238E27FC236}">
                <a16:creationId xmlns:a16="http://schemas.microsoft.com/office/drawing/2014/main" id="{259DB89D-0663-813E-2C04-0B4D674C635D}"/>
              </a:ext>
            </a:extLst>
          </p:cNvPr>
          <p:cNvSpPr txBox="1"/>
          <p:nvPr/>
        </p:nvSpPr>
        <p:spPr>
          <a:xfrm>
            <a:off x="2847530" y="5142237"/>
            <a:ext cx="4352925" cy="1030288"/>
          </a:xfrm>
          <a:prstGeom prst="rect">
            <a:avLst/>
          </a:prstGeom>
          <a:noFill/>
        </p:spPr>
        <p:txBody>
          <a:bodyPr wrap="square" lIns="72000" rIns="72000" rtlCol="0" anchor="ctr">
            <a:noAutofit/>
          </a:bodyPr>
          <a:lstStyle/>
          <a:p>
            <a:pPr marL="0" lvl="1" rtl="0" hangingPunct="0">
              <a:tabLst>
                <a:tab pos="457200" algn="l"/>
                <a:tab pos="1586230" algn="l"/>
              </a:tabLst>
            </a:pPr>
            <a:r>
              <a:rPr lang="en-gb" sz="1400">
                <a:effectLst/>
                <a:ea typeface="Times New Roman" panose="02020603050405020304" pitchFamily="18" charset="0"/>
              </a:rPr>
              <a:t>If an insect has got into your ear:</a:t>
            </a:r>
          </a:p>
          <a:p>
            <a:pPr marL="285750" lvl="1" indent="-285750" rtl="0" hangingPunct="0">
              <a:buBlip>
                <a:blip r:embed="rId6"/>
              </a:buBlip>
              <a:tabLst>
                <a:tab pos="457200" algn="l"/>
                <a:tab pos="1586230" algn="l"/>
              </a:tabLst>
            </a:pPr>
            <a:r>
              <a:rPr lang="en-gb" sz="1400">
                <a:effectLst/>
                <a:ea typeface="Times New Roman" panose="02020603050405020304" pitchFamily="18" charset="0"/>
              </a:rPr>
              <a:t>put oil or water in the ear to drown it;</a:t>
            </a:r>
          </a:p>
          <a:p>
            <a:pPr marL="285750" lvl="1" indent="-285750" rtl="0" hangingPunct="0">
              <a:buBlip>
                <a:blip r:embed="rId6"/>
              </a:buBlip>
              <a:tabLst>
                <a:tab pos="457200" algn="l"/>
                <a:tab pos="1586230" algn="l"/>
              </a:tabLst>
            </a:pPr>
            <a:r>
              <a:rPr lang="en-gb" sz="1400">
                <a:effectLst/>
                <a:ea typeface="Times New Roman" panose="02020603050405020304" pitchFamily="18" charset="0"/>
              </a:rPr>
              <a:t>seek medical help.</a:t>
            </a:r>
          </a:p>
        </p:txBody>
      </p:sp>
      <p:sp>
        <p:nvSpPr>
          <p:cNvPr id="15" name="TextBox 14">
            <a:extLst>
              <a:ext uri="{FF2B5EF4-FFF2-40B4-BE49-F238E27FC236}">
                <a16:creationId xmlns:a16="http://schemas.microsoft.com/office/drawing/2014/main" id="{CD0345AC-E5CC-E9A5-9519-EA39D36AEABB}"/>
              </a:ext>
            </a:extLst>
          </p:cNvPr>
          <p:cNvSpPr txBox="1"/>
          <p:nvPr/>
        </p:nvSpPr>
        <p:spPr>
          <a:xfrm>
            <a:off x="7396160" y="5142237"/>
            <a:ext cx="4352925" cy="1030288"/>
          </a:xfrm>
          <a:prstGeom prst="rect">
            <a:avLst/>
          </a:prstGeom>
          <a:noFill/>
        </p:spPr>
        <p:txBody>
          <a:bodyPr wrap="square" lIns="72000" rIns="72000" rtlCol="0" anchor="ctr">
            <a:noAutofit/>
          </a:bodyPr>
          <a:lstStyle/>
          <a:p>
            <a:pPr marL="284400" lvl="0" indent="-284400" rtl="0" hangingPunct="0">
              <a:buSzPts val="1200"/>
              <a:buBlip>
                <a:blip r:embed="rId6"/>
              </a:buBlip>
            </a:pPr>
            <a:r>
              <a:rPr lang="en-gb" sz="1400">
                <a:ea typeface="Calibri" panose="020F0502020204030204" pitchFamily="34" charset="0"/>
                <a:cs typeface="Times New Roman" panose="02020603050405020304" pitchFamily="18" charset="0"/>
              </a:rPr>
              <a:t>Do not use aids to remove the foreign body. Seek medical advice.</a:t>
            </a:r>
            <a:endParaRPr lang="lv-LV" sz="1400">
              <a:effectLst/>
              <a:ea typeface="Calibri" panose="020F0502020204030204" pitchFamily="34" charset="0"/>
              <a:cs typeface="Times New Roman" panose="02020603050405020304" pitchFamily="18" charset="0"/>
            </a:endParaRPr>
          </a:p>
        </p:txBody>
      </p:sp>
      <p:grpSp>
        <p:nvGrpSpPr>
          <p:cNvPr id="63" name="Google Shape;1572;p92">
            <a:extLst>
              <a:ext uri="{FF2B5EF4-FFF2-40B4-BE49-F238E27FC236}">
                <a16:creationId xmlns:a16="http://schemas.microsoft.com/office/drawing/2014/main" id="{8E3807C4-D158-E79B-C45B-DD81FB3A492A}"/>
              </a:ext>
            </a:extLst>
          </p:cNvPr>
          <p:cNvGrpSpPr/>
          <p:nvPr/>
        </p:nvGrpSpPr>
        <p:grpSpPr>
          <a:xfrm>
            <a:off x="2023691" y="3120199"/>
            <a:ext cx="360363" cy="360363"/>
            <a:chOff x="8448646" y="3895566"/>
            <a:chExt cx="457200" cy="457200"/>
          </a:xfrm>
          <a:solidFill>
            <a:schemeClr val="bg1"/>
          </a:solidFill>
        </p:grpSpPr>
        <p:sp>
          <p:nvSpPr>
            <p:cNvPr id="64" name="Google Shape;1573;p92">
              <a:extLst>
                <a:ext uri="{FF2B5EF4-FFF2-40B4-BE49-F238E27FC236}">
                  <a16:creationId xmlns:a16="http://schemas.microsoft.com/office/drawing/2014/main" id="{1CC801F4-CCCF-2F7F-84A8-D8E48274A6B6}"/>
                </a:ext>
              </a:extLst>
            </p:cNvPr>
            <p:cNvSpPr/>
            <p:nvPr/>
          </p:nvSpPr>
          <p:spPr>
            <a:xfrm>
              <a:off x="8448646" y="3895566"/>
              <a:ext cx="457200" cy="457200"/>
            </a:xfrm>
            <a:custGeom>
              <a:avLst/>
              <a:gdLst/>
              <a:ahLst/>
              <a:cxnLst/>
              <a:rect l="l" t="t" r="r" b="b"/>
              <a:pathLst>
                <a:path w="457200" h="457200" extrusionOk="0">
                  <a:moveTo>
                    <a:pt x="0" y="0"/>
                  </a:moveTo>
                  <a:lnTo>
                    <a:pt x="0" y="457200"/>
                  </a:lnTo>
                  <a:lnTo>
                    <a:pt x="457200" y="457200"/>
                  </a:lnTo>
                  <a:lnTo>
                    <a:pt x="457200" y="0"/>
                  </a:lnTo>
                  <a:close/>
                  <a:moveTo>
                    <a:pt x="437674" y="19526"/>
                  </a:moveTo>
                  <a:lnTo>
                    <a:pt x="437674" y="195834"/>
                  </a:lnTo>
                  <a:lnTo>
                    <a:pt x="251714" y="195834"/>
                  </a:lnTo>
                  <a:lnTo>
                    <a:pt x="263176" y="215233"/>
                  </a:lnTo>
                  <a:lnTo>
                    <a:pt x="263176" y="215233"/>
                  </a:lnTo>
                  <a:lnTo>
                    <a:pt x="263620" y="215963"/>
                  </a:lnTo>
                  <a:lnTo>
                    <a:pt x="264224" y="216789"/>
                  </a:lnTo>
                  <a:cubicBezTo>
                    <a:pt x="272628" y="228506"/>
                    <a:pt x="277077" y="242598"/>
                    <a:pt x="276924" y="257016"/>
                  </a:cubicBezTo>
                  <a:cubicBezTo>
                    <a:pt x="276919" y="263749"/>
                    <a:pt x="275979" y="270449"/>
                    <a:pt x="274130" y="276924"/>
                  </a:cubicBezTo>
                  <a:cubicBezTo>
                    <a:pt x="272387" y="283430"/>
                    <a:pt x="269634" y="289623"/>
                    <a:pt x="265970" y="295275"/>
                  </a:cubicBezTo>
                  <a:cubicBezTo>
                    <a:pt x="257080" y="308610"/>
                    <a:pt x="243745" y="317119"/>
                    <a:pt x="228600" y="317119"/>
                  </a:cubicBezTo>
                  <a:cubicBezTo>
                    <a:pt x="213455" y="317119"/>
                    <a:pt x="199327" y="307975"/>
                    <a:pt x="190500" y="293846"/>
                  </a:cubicBezTo>
                  <a:cubicBezTo>
                    <a:pt x="187020" y="288292"/>
                    <a:pt x="184397" y="282244"/>
                    <a:pt x="182721" y="275908"/>
                  </a:cubicBezTo>
                  <a:cubicBezTo>
                    <a:pt x="181057" y="269802"/>
                    <a:pt x="180203" y="263503"/>
                    <a:pt x="180181" y="257175"/>
                  </a:cubicBezTo>
                  <a:cubicBezTo>
                    <a:pt x="180028" y="242756"/>
                    <a:pt x="184477" y="228665"/>
                    <a:pt x="192881" y="216948"/>
                  </a:cubicBezTo>
                  <a:lnTo>
                    <a:pt x="193485" y="216122"/>
                  </a:lnTo>
                  <a:lnTo>
                    <a:pt x="193929" y="215392"/>
                  </a:lnTo>
                  <a:lnTo>
                    <a:pt x="193929" y="215392"/>
                  </a:lnTo>
                  <a:lnTo>
                    <a:pt x="205391" y="195993"/>
                  </a:lnTo>
                  <a:lnTo>
                    <a:pt x="19526" y="195993"/>
                  </a:lnTo>
                  <a:lnTo>
                    <a:pt x="19526" y="19526"/>
                  </a:lnTo>
                  <a:close/>
                  <a:moveTo>
                    <a:pt x="286322" y="215360"/>
                  </a:moveTo>
                  <a:lnTo>
                    <a:pt x="437674" y="215360"/>
                  </a:lnTo>
                  <a:lnTo>
                    <a:pt x="437674" y="259017"/>
                  </a:lnTo>
                  <a:cubicBezTo>
                    <a:pt x="428396" y="260304"/>
                    <a:pt x="419627" y="264041"/>
                    <a:pt x="412274" y="269843"/>
                  </a:cubicBezTo>
                  <a:cubicBezTo>
                    <a:pt x="405924" y="274352"/>
                    <a:pt x="401098" y="277590"/>
                    <a:pt x="390462" y="277590"/>
                  </a:cubicBezTo>
                  <a:cubicBezTo>
                    <a:pt x="379825" y="277590"/>
                    <a:pt x="375190" y="274415"/>
                    <a:pt x="368681" y="269843"/>
                  </a:cubicBezTo>
                  <a:cubicBezTo>
                    <a:pt x="349320" y="254769"/>
                    <a:pt x="322193" y="254769"/>
                    <a:pt x="302832" y="269843"/>
                  </a:cubicBezTo>
                  <a:cubicBezTo>
                    <a:pt x="300311" y="271668"/>
                    <a:pt x="297658" y="273303"/>
                    <a:pt x="294894" y="274733"/>
                  </a:cubicBezTo>
                  <a:cubicBezTo>
                    <a:pt x="295995" y="268945"/>
                    <a:pt x="296548" y="263067"/>
                    <a:pt x="296545" y="257175"/>
                  </a:cubicBezTo>
                  <a:cubicBezTo>
                    <a:pt x="296602" y="242611"/>
                    <a:pt x="293093" y="228255"/>
                    <a:pt x="286322" y="215360"/>
                  </a:cubicBezTo>
                  <a:close/>
                  <a:moveTo>
                    <a:pt x="162719" y="276574"/>
                  </a:moveTo>
                  <a:cubicBezTo>
                    <a:pt x="158042" y="275164"/>
                    <a:pt x="153670" y="272892"/>
                    <a:pt x="149828" y="269875"/>
                  </a:cubicBezTo>
                  <a:cubicBezTo>
                    <a:pt x="140494" y="262407"/>
                    <a:pt x="128856" y="258412"/>
                    <a:pt x="116904" y="258572"/>
                  </a:cubicBezTo>
                  <a:cubicBezTo>
                    <a:pt x="104941" y="258412"/>
                    <a:pt x="93294" y="262407"/>
                    <a:pt x="83947" y="269875"/>
                  </a:cubicBezTo>
                  <a:cubicBezTo>
                    <a:pt x="77597" y="274384"/>
                    <a:pt x="72803" y="277622"/>
                    <a:pt x="62198" y="277622"/>
                  </a:cubicBezTo>
                  <a:cubicBezTo>
                    <a:pt x="51594" y="277622"/>
                    <a:pt x="46895" y="274447"/>
                    <a:pt x="40418" y="269875"/>
                  </a:cubicBezTo>
                  <a:cubicBezTo>
                    <a:pt x="34249" y="265079"/>
                    <a:pt x="27126" y="261658"/>
                    <a:pt x="19526" y="259842"/>
                  </a:cubicBezTo>
                  <a:lnTo>
                    <a:pt x="19526" y="215392"/>
                  </a:lnTo>
                  <a:lnTo>
                    <a:pt x="170879" y="215392"/>
                  </a:lnTo>
                  <a:cubicBezTo>
                    <a:pt x="164113" y="228277"/>
                    <a:pt x="160603" y="242622"/>
                    <a:pt x="160655" y="257175"/>
                  </a:cubicBezTo>
                  <a:cubicBezTo>
                    <a:pt x="160643" y="263697"/>
                    <a:pt x="161335" y="270201"/>
                    <a:pt x="162719" y="276574"/>
                  </a:cubicBezTo>
                  <a:close/>
                  <a:moveTo>
                    <a:pt x="19526" y="437674"/>
                  </a:moveTo>
                  <a:lnTo>
                    <a:pt x="19526" y="280130"/>
                  </a:lnTo>
                  <a:cubicBezTo>
                    <a:pt x="22980" y="281623"/>
                    <a:pt x="26251" y="283509"/>
                    <a:pt x="29274" y="285750"/>
                  </a:cubicBezTo>
                  <a:cubicBezTo>
                    <a:pt x="38612" y="293207"/>
                    <a:pt x="50249" y="297190"/>
                    <a:pt x="62198" y="297021"/>
                  </a:cubicBezTo>
                  <a:cubicBezTo>
                    <a:pt x="74191" y="297220"/>
                    <a:pt x="85878" y="293235"/>
                    <a:pt x="95250" y="285750"/>
                  </a:cubicBezTo>
                  <a:cubicBezTo>
                    <a:pt x="101600" y="281242"/>
                    <a:pt x="106394" y="277971"/>
                    <a:pt x="117031" y="277971"/>
                  </a:cubicBezTo>
                  <a:cubicBezTo>
                    <a:pt x="127667" y="277971"/>
                    <a:pt x="132302" y="281146"/>
                    <a:pt x="138779" y="285750"/>
                  </a:cubicBezTo>
                  <a:cubicBezTo>
                    <a:pt x="147680" y="292820"/>
                    <a:pt x="158657" y="296769"/>
                    <a:pt x="170021" y="296990"/>
                  </a:cubicBezTo>
                  <a:cubicBezTo>
                    <a:pt x="181674" y="320675"/>
                    <a:pt x="203549" y="336550"/>
                    <a:pt x="228600" y="336550"/>
                  </a:cubicBezTo>
                  <a:cubicBezTo>
                    <a:pt x="253651" y="336550"/>
                    <a:pt x="275685" y="320675"/>
                    <a:pt x="287433" y="296863"/>
                  </a:cubicBezTo>
                  <a:cubicBezTo>
                    <a:pt x="297132" y="295698"/>
                    <a:pt x="306313" y="291849"/>
                    <a:pt x="313944" y="285750"/>
                  </a:cubicBezTo>
                  <a:cubicBezTo>
                    <a:pt x="320294" y="281242"/>
                    <a:pt x="325120" y="277971"/>
                    <a:pt x="335725" y="277971"/>
                  </a:cubicBezTo>
                  <a:cubicBezTo>
                    <a:pt x="346329" y="277971"/>
                    <a:pt x="351028" y="281146"/>
                    <a:pt x="357505" y="285750"/>
                  </a:cubicBezTo>
                  <a:cubicBezTo>
                    <a:pt x="376895" y="300773"/>
                    <a:pt x="403997" y="300773"/>
                    <a:pt x="423386" y="285750"/>
                  </a:cubicBezTo>
                  <a:cubicBezTo>
                    <a:pt x="427568" y="282373"/>
                    <a:pt x="432448" y="279966"/>
                    <a:pt x="437674" y="278702"/>
                  </a:cubicBezTo>
                  <a:lnTo>
                    <a:pt x="437674" y="437452"/>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65" name="Google Shape;1574;p92">
              <a:extLst>
                <a:ext uri="{FF2B5EF4-FFF2-40B4-BE49-F238E27FC236}">
                  <a16:creationId xmlns:a16="http://schemas.microsoft.com/office/drawing/2014/main" id="{B99D2B3F-B5A9-66C2-038C-63FCE7694E8C}"/>
                </a:ext>
              </a:extLst>
            </p:cNvPr>
            <p:cNvSpPr/>
            <p:nvPr/>
          </p:nvSpPr>
          <p:spPr>
            <a:xfrm>
              <a:off x="8515797" y="4267263"/>
              <a:ext cx="50800" cy="19526"/>
            </a:xfrm>
            <a:custGeom>
              <a:avLst/>
              <a:gdLst/>
              <a:ahLst/>
              <a:cxnLst/>
              <a:rect l="l" t="t" r="r" b="b"/>
              <a:pathLst>
                <a:path w="50800" h="19526" extrusionOk="0">
                  <a:moveTo>
                    <a:pt x="0" y="0"/>
                  </a:moveTo>
                  <a:lnTo>
                    <a:pt x="50800" y="0"/>
                  </a:lnTo>
                  <a:lnTo>
                    <a:pt x="50800" y="19526"/>
                  </a:lnTo>
                  <a:lnTo>
                    <a:pt x="0" y="19526"/>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66" name="Google Shape;1575;p92">
              <a:extLst>
                <a:ext uri="{FF2B5EF4-FFF2-40B4-BE49-F238E27FC236}">
                  <a16:creationId xmlns:a16="http://schemas.microsoft.com/office/drawing/2014/main" id="{E9A57BD3-332B-5C66-9305-4372D5A9EBAD}"/>
                </a:ext>
              </a:extLst>
            </p:cNvPr>
            <p:cNvSpPr/>
            <p:nvPr/>
          </p:nvSpPr>
          <p:spPr>
            <a:xfrm>
              <a:off x="8782497" y="4267263"/>
              <a:ext cx="50800" cy="19526"/>
            </a:xfrm>
            <a:custGeom>
              <a:avLst/>
              <a:gdLst/>
              <a:ahLst/>
              <a:cxnLst/>
              <a:rect l="l" t="t" r="r" b="b"/>
              <a:pathLst>
                <a:path w="50800" h="19526" extrusionOk="0">
                  <a:moveTo>
                    <a:pt x="0" y="0"/>
                  </a:moveTo>
                  <a:lnTo>
                    <a:pt x="50800" y="0"/>
                  </a:lnTo>
                  <a:lnTo>
                    <a:pt x="50800" y="19526"/>
                  </a:lnTo>
                  <a:lnTo>
                    <a:pt x="0" y="19526"/>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67" name="Google Shape;1576;p92">
              <a:extLst>
                <a:ext uri="{FF2B5EF4-FFF2-40B4-BE49-F238E27FC236}">
                  <a16:creationId xmlns:a16="http://schemas.microsoft.com/office/drawing/2014/main" id="{0444D4ED-5289-CCCE-26BB-EBB9153FC084}"/>
                </a:ext>
              </a:extLst>
            </p:cNvPr>
            <p:cNvSpPr/>
            <p:nvPr/>
          </p:nvSpPr>
          <p:spPr>
            <a:xfrm>
              <a:off x="8693597" y="4267263"/>
              <a:ext cx="50800" cy="19526"/>
            </a:xfrm>
            <a:custGeom>
              <a:avLst/>
              <a:gdLst/>
              <a:ahLst/>
              <a:cxnLst/>
              <a:rect l="l" t="t" r="r" b="b"/>
              <a:pathLst>
                <a:path w="50800" h="19526" extrusionOk="0">
                  <a:moveTo>
                    <a:pt x="0" y="0"/>
                  </a:moveTo>
                  <a:lnTo>
                    <a:pt x="50800" y="0"/>
                  </a:lnTo>
                  <a:lnTo>
                    <a:pt x="50800" y="19526"/>
                  </a:lnTo>
                  <a:lnTo>
                    <a:pt x="0" y="19526"/>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68" name="Google Shape;1577;p92">
              <a:extLst>
                <a:ext uri="{FF2B5EF4-FFF2-40B4-BE49-F238E27FC236}">
                  <a16:creationId xmlns:a16="http://schemas.microsoft.com/office/drawing/2014/main" id="{249AEE51-7C5E-6E4F-FABF-864BE9930990}"/>
                </a:ext>
              </a:extLst>
            </p:cNvPr>
            <p:cNvSpPr/>
            <p:nvPr/>
          </p:nvSpPr>
          <p:spPr>
            <a:xfrm>
              <a:off x="8604697" y="4267263"/>
              <a:ext cx="50800" cy="19526"/>
            </a:xfrm>
            <a:custGeom>
              <a:avLst/>
              <a:gdLst/>
              <a:ahLst/>
              <a:cxnLst/>
              <a:rect l="l" t="t" r="r" b="b"/>
              <a:pathLst>
                <a:path w="50800" h="19526" extrusionOk="0">
                  <a:moveTo>
                    <a:pt x="0" y="0"/>
                  </a:moveTo>
                  <a:lnTo>
                    <a:pt x="50800" y="0"/>
                  </a:lnTo>
                  <a:lnTo>
                    <a:pt x="50800" y="19526"/>
                  </a:lnTo>
                  <a:lnTo>
                    <a:pt x="0" y="19526"/>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grpSp>
      <p:sp>
        <p:nvSpPr>
          <p:cNvPr id="69" name="Google Shape;809;p80">
            <a:extLst>
              <a:ext uri="{FF2B5EF4-FFF2-40B4-BE49-F238E27FC236}">
                <a16:creationId xmlns:a16="http://schemas.microsoft.com/office/drawing/2014/main" id="{70C81FC0-D8FE-8C2E-F3AD-2F6B9F01C7B1}"/>
              </a:ext>
            </a:extLst>
          </p:cNvPr>
          <p:cNvSpPr/>
          <p:nvPr/>
        </p:nvSpPr>
        <p:spPr>
          <a:xfrm>
            <a:off x="2023691" y="4383203"/>
            <a:ext cx="360363" cy="360363"/>
          </a:xfrm>
          <a:custGeom>
            <a:avLst/>
            <a:gdLst/>
            <a:ahLst/>
            <a:cxnLst/>
            <a:rect l="l" t="t" r="r" b="b"/>
            <a:pathLst>
              <a:path w="347" h="346" extrusionOk="0">
                <a:moveTo>
                  <a:pt x="0" y="0"/>
                </a:moveTo>
                <a:cubicBezTo>
                  <a:pt x="0" y="346"/>
                  <a:pt x="0" y="346"/>
                  <a:pt x="0" y="346"/>
                </a:cubicBezTo>
                <a:cubicBezTo>
                  <a:pt x="347" y="346"/>
                  <a:pt x="347" y="346"/>
                  <a:pt x="347" y="346"/>
                </a:cubicBezTo>
                <a:cubicBezTo>
                  <a:pt x="347" y="0"/>
                  <a:pt x="347" y="0"/>
                  <a:pt x="347" y="0"/>
                </a:cubicBezTo>
                <a:lnTo>
                  <a:pt x="0" y="0"/>
                </a:lnTo>
                <a:close/>
                <a:moveTo>
                  <a:pt x="332" y="14"/>
                </a:moveTo>
                <a:cubicBezTo>
                  <a:pt x="332" y="163"/>
                  <a:pt x="332" y="163"/>
                  <a:pt x="332" y="163"/>
                </a:cubicBezTo>
                <a:cubicBezTo>
                  <a:pt x="325" y="154"/>
                  <a:pt x="310" y="137"/>
                  <a:pt x="289" y="120"/>
                </a:cubicBezTo>
                <a:cubicBezTo>
                  <a:pt x="251" y="88"/>
                  <a:pt x="211" y="71"/>
                  <a:pt x="174" y="71"/>
                </a:cubicBezTo>
                <a:cubicBezTo>
                  <a:pt x="136" y="71"/>
                  <a:pt x="96" y="88"/>
                  <a:pt x="58" y="120"/>
                </a:cubicBezTo>
                <a:cubicBezTo>
                  <a:pt x="37" y="137"/>
                  <a:pt x="22" y="154"/>
                  <a:pt x="15" y="163"/>
                </a:cubicBezTo>
                <a:cubicBezTo>
                  <a:pt x="15" y="14"/>
                  <a:pt x="15" y="14"/>
                  <a:pt x="15" y="14"/>
                </a:cubicBezTo>
                <a:lnTo>
                  <a:pt x="332" y="14"/>
                </a:lnTo>
                <a:close/>
                <a:moveTo>
                  <a:pt x="321" y="173"/>
                </a:moveTo>
                <a:cubicBezTo>
                  <a:pt x="306" y="191"/>
                  <a:pt x="245" y="260"/>
                  <a:pt x="174" y="260"/>
                </a:cubicBezTo>
                <a:cubicBezTo>
                  <a:pt x="102" y="260"/>
                  <a:pt x="41" y="191"/>
                  <a:pt x="26" y="173"/>
                </a:cubicBezTo>
                <a:cubicBezTo>
                  <a:pt x="41" y="155"/>
                  <a:pt x="102" y="86"/>
                  <a:pt x="174" y="86"/>
                </a:cubicBezTo>
                <a:cubicBezTo>
                  <a:pt x="245" y="86"/>
                  <a:pt x="306" y="155"/>
                  <a:pt x="321" y="173"/>
                </a:cubicBezTo>
                <a:close/>
                <a:moveTo>
                  <a:pt x="15" y="331"/>
                </a:moveTo>
                <a:cubicBezTo>
                  <a:pt x="15" y="183"/>
                  <a:pt x="15" y="183"/>
                  <a:pt x="15" y="183"/>
                </a:cubicBezTo>
                <a:cubicBezTo>
                  <a:pt x="22" y="191"/>
                  <a:pt x="37" y="208"/>
                  <a:pt x="58" y="226"/>
                </a:cubicBezTo>
                <a:cubicBezTo>
                  <a:pt x="96" y="258"/>
                  <a:pt x="136" y="275"/>
                  <a:pt x="174" y="275"/>
                </a:cubicBezTo>
                <a:cubicBezTo>
                  <a:pt x="211" y="275"/>
                  <a:pt x="251" y="258"/>
                  <a:pt x="289" y="226"/>
                </a:cubicBezTo>
                <a:cubicBezTo>
                  <a:pt x="310" y="208"/>
                  <a:pt x="325" y="191"/>
                  <a:pt x="332" y="183"/>
                </a:cubicBezTo>
                <a:cubicBezTo>
                  <a:pt x="332" y="331"/>
                  <a:pt x="332" y="331"/>
                  <a:pt x="332" y="331"/>
                </a:cubicBezTo>
                <a:lnTo>
                  <a:pt x="15" y="331"/>
                </a:lnTo>
                <a:close/>
                <a:moveTo>
                  <a:pt x="174" y="96"/>
                </a:moveTo>
                <a:cubicBezTo>
                  <a:pt x="131" y="96"/>
                  <a:pt x="96" y="130"/>
                  <a:pt x="96" y="173"/>
                </a:cubicBezTo>
                <a:cubicBezTo>
                  <a:pt x="96" y="215"/>
                  <a:pt x="131" y="250"/>
                  <a:pt x="174" y="250"/>
                </a:cubicBezTo>
                <a:cubicBezTo>
                  <a:pt x="216" y="250"/>
                  <a:pt x="251" y="215"/>
                  <a:pt x="251" y="173"/>
                </a:cubicBezTo>
                <a:cubicBezTo>
                  <a:pt x="251" y="130"/>
                  <a:pt x="216" y="96"/>
                  <a:pt x="174" y="96"/>
                </a:cubicBezTo>
                <a:close/>
                <a:moveTo>
                  <a:pt x="235" y="165"/>
                </a:moveTo>
                <a:cubicBezTo>
                  <a:pt x="181" y="165"/>
                  <a:pt x="181" y="165"/>
                  <a:pt x="181" y="165"/>
                </a:cubicBezTo>
                <a:cubicBezTo>
                  <a:pt x="181" y="111"/>
                  <a:pt x="181" y="111"/>
                  <a:pt x="181" y="111"/>
                </a:cubicBezTo>
                <a:cubicBezTo>
                  <a:pt x="209" y="114"/>
                  <a:pt x="232" y="137"/>
                  <a:pt x="235" y="165"/>
                </a:cubicBezTo>
                <a:close/>
                <a:moveTo>
                  <a:pt x="166" y="111"/>
                </a:moveTo>
                <a:cubicBezTo>
                  <a:pt x="166" y="165"/>
                  <a:pt x="166" y="165"/>
                  <a:pt x="166" y="165"/>
                </a:cubicBezTo>
                <a:cubicBezTo>
                  <a:pt x="112" y="165"/>
                  <a:pt x="112" y="165"/>
                  <a:pt x="112" y="165"/>
                </a:cubicBezTo>
                <a:cubicBezTo>
                  <a:pt x="115" y="137"/>
                  <a:pt x="138" y="114"/>
                  <a:pt x="166" y="111"/>
                </a:cubicBezTo>
                <a:close/>
                <a:moveTo>
                  <a:pt x="112" y="180"/>
                </a:moveTo>
                <a:cubicBezTo>
                  <a:pt x="166" y="180"/>
                  <a:pt x="166" y="180"/>
                  <a:pt x="166" y="180"/>
                </a:cubicBezTo>
                <a:cubicBezTo>
                  <a:pt x="166" y="235"/>
                  <a:pt x="166" y="235"/>
                  <a:pt x="166" y="235"/>
                </a:cubicBezTo>
                <a:cubicBezTo>
                  <a:pt x="138" y="231"/>
                  <a:pt x="115" y="209"/>
                  <a:pt x="112" y="180"/>
                </a:cubicBezTo>
                <a:close/>
                <a:moveTo>
                  <a:pt x="181" y="235"/>
                </a:moveTo>
                <a:cubicBezTo>
                  <a:pt x="181" y="180"/>
                  <a:pt x="181" y="180"/>
                  <a:pt x="181" y="180"/>
                </a:cubicBezTo>
                <a:cubicBezTo>
                  <a:pt x="235" y="180"/>
                  <a:pt x="235" y="180"/>
                  <a:pt x="235" y="180"/>
                </a:cubicBezTo>
                <a:cubicBezTo>
                  <a:pt x="232" y="209"/>
                  <a:pt x="209" y="231"/>
                  <a:pt x="181" y="235"/>
                </a:cubicBezTo>
                <a:close/>
              </a:path>
            </a:pathLst>
          </a:custGeom>
          <a:solidFill>
            <a:schemeClr val="bg1"/>
          </a:solidFill>
          <a:ln>
            <a:noFill/>
          </a:ln>
        </p:spPr>
        <p:txBody>
          <a:bodyPr spcFirstLastPara="1" wrap="square" lIns="68575" tIns="34275" rIns="68575" bIns="34275"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77" name="Group 76">
            <a:extLst>
              <a:ext uri="{FF2B5EF4-FFF2-40B4-BE49-F238E27FC236}">
                <a16:creationId xmlns:a16="http://schemas.microsoft.com/office/drawing/2014/main" id="{3E969E2E-7BC0-DAAB-FE4C-9F3B7600F87B}"/>
              </a:ext>
            </a:extLst>
          </p:cNvPr>
          <p:cNvGrpSpPr/>
          <p:nvPr/>
        </p:nvGrpSpPr>
        <p:grpSpPr>
          <a:xfrm>
            <a:off x="2023691" y="5642770"/>
            <a:ext cx="360363" cy="360363"/>
            <a:chOff x="2023691" y="5642770"/>
            <a:chExt cx="360363" cy="360363"/>
          </a:xfrm>
        </p:grpSpPr>
        <p:grpSp>
          <p:nvGrpSpPr>
            <p:cNvPr id="73" name="Group 72">
              <a:extLst>
                <a:ext uri="{FF2B5EF4-FFF2-40B4-BE49-F238E27FC236}">
                  <a16:creationId xmlns:a16="http://schemas.microsoft.com/office/drawing/2014/main" id="{0C9B8937-54FA-353F-3013-10049A195BD2}"/>
                </a:ext>
              </a:extLst>
            </p:cNvPr>
            <p:cNvGrpSpPr/>
            <p:nvPr/>
          </p:nvGrpSpPr>
          <p:grpSpPr>
            <a:xfrm>
              <a:off x="2023691" y="5642770"/>
              <a:ext cx="360363" cy="360363"/>
              <a:chOff x="-455905" y="4611921"/>
              <a:chExt cx="455905" cy="457200"/>
            </a:xfrm>
          </p:grpSpPr>
          <p:sp>
            <p:nvSpPr>
              <p:cNvPr id="75" name="Google Shape;616;p77">
                <a:extLst>
                  <a:ext uri="{FF2B5EF4-FFF2-40B4-BE49-F238E27FC236}">
                    <a16:creationId xmlns:a16="http://schemas.microsoft.com/office/drawing/2014/main" id="{2293C164-5533-AB8F-AC1C-F5597C77B61A}"/>
                  </a:ext>
                </a:extLst>
              </p:cNvPr>
              <p:cNvSpPr/>
              <p:nvPr/>
            </p:nvSpPr>
            <p:spPr>
              <a:xfrm>
                <a:off x="-455905" y="4611921"/>
                <a:ext cx="455905" cy="4572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551"/>
                    </a:moveTo>
                    <a:cubicBezTo>
                      <a:pt x="25" y="551"/>
                      <a:pt x="25" y="551"/>
                      <a:pt x="25" y="551"/>
                    </a:cubicBezTo>
                    <a:cubicBezTo>
                      <a:pt x="25" y="25"/>
                      <a:pt x="25" y="25"/>
                      <a:pt x="25" y="25"/>
                    </a:cubicBezTo>
                    <a:cubicBezTo>
                      <a:pt x="552" y="25"/>
                      <a:pt x="552" y="25"/>
                      <a:pt x="552" y="25"/>
                    </a:cubicBezTo>
                    <a:lnTo>
                      <a:pt x="552" y="551"/>
                    </a:lnTo>
                    <a:close/>
                    <a:moveTo>
                      <a:pt x="395" y="491"/>
                    </a:moveTo>
                    <a:cubicBezTo>
                      <a:pt x="378" y="491"/>
                      <a:pt x="362" y="487"/>
                      <a:pt x="345" y="482"/>
                    </a:cubicBezTo>
                    <a:cubicBezTo>
                      <a:pt x="326" y="477"/>
                      <a:pt x="307" y="472"/>
                      <a:pt x="285" y="472"/>
                    </a:cubicBezTo>
                    <a:cubicBezTo>
                      <a:pt x="264" y="472"/>
                      <a:pt x="245" y="477"/>
                      <a:pt x="226" y="482"/>
                    </a:cubicBezTo>
                    <a:cubicBezTo>
                      <a:pt x="206" y="487"/>
                      <a:pt x="188" y="492"/>
                      <a:pt x="168" y="491"/>
                    </a:cubicBezTo>
                    <a:cubicBezTo>
                      <a:pt x="152" y="489"/>
                      <a:pt x="138" y="473"/>
                      <a:pt x="130" y="446"/>
                    </a:cubicBezTo>
                    <a:cubicBezTo>
                      <a:pt x="122" y="418"/>
                      <a:pt x="122" y="384"/>
                      <a:pt x="141" y="370"/>
                    </a:cubicBezTo>
                    <a:cubicBezTo>
                      <a:pt x="150" y="364"/>
                      <a:pt x="157" y="360"/>
                      <a:pt x="164" y="356"/>
                    </a:cubicBezTo>
                    <a:cubicBezTo>
                      <a:pt x="174" y="351"/>
                      <a:pt x="181" y="348"/>
                      <a:pt x="189" y="336"/>
                    </a:cubicBezTo>
                    <a:cubicBezTo>
                      <a:pt x="192" y="332"/>
                      <a:pt x="195" y="325"/>
                      <a:pt x="198" y="319"/>
                    </a:cubicBezTo>
                    <a:cubicBezTo>
                      <a:pt x="210" y="292"/>
                      <a:pt x="229" y="251"/>
                      <a:pt x="285" y="251"/>
                    </a:cubicBezTo>
                    <a:cubicBezTo>
                      <a:pt x="342" y="251"/>
                      <a:pt x="361" y="292"/>
                      <a:pt x="373" y="319"/>
                    </a:cubicBezTo>
                    <a:cubicBezTo>
                      <a:pt x="376" y="325"/>
                      <a:pt x="379" y="332"/>
                      <a:pt x="382" y="336"/>
                    </a:cubicBezTo>
                    <a:cubicBezTo>
                      <a:pt x="390" y="348"/>
                      <a:pt x="396" y="351"/>
                      <a:pt x="407" y="356"/>
                    </a:cubicBezTo>
                    <a:cubicBezTo>
                      <a:pt x="414" y="360"/>
                      <a:pt x="421" y="364"/>
                      <a:pt x="430" y="370"/>
                    </a:cubicBezTo>
                    <a:cubicBezTo>
                      <a:pt x="449" y="384"/>
                      <a:pt x="449" y="418"/>
                      <a:pt x="441" y="446"/>
                    </a:cubicBezTo>
                    <a:cubicBezTo>
                      <a:pt x="433" y="473"/>
                      <a:pt x="419" y="489"/>
                      <a:pt x="402" y="491"/>
                    </a:cubicBezTo>
                    <a:cubicBezTo>
                      <a:pt x="400" y="491"/>
                      <a:pt x="398" y="491"/>
                      <a:pt x="395" y="491"/>
                    </a:cubicBezTo>
                    <a:close/>
                    <a:moveTo>
                      <a:pt x="285" y="447"/>
                    </a:moveTo>
                    <a:cubicBezTo>
                      <a:pt x="310" y="447"/>
                      <a:pt x="332" y="452"/>
                      <a:pt x="351" y="457"/>
                    </a:cubicBezTo>
                    <a:cubicBezTo>
                      <a:pt x="369" y="462"/>
                      <a:pt x="385" y="466"/>
                      <a:pt x="400" y="465"/>
                    </a:cubicBezTo>
                    <a:cubicBezTo>
                      <a:pt x="403" y="465"/>
                      <a:pt x="411" y="457"/>
                      <a:pt x="416" y="439"/>
                    </a:cubicBezTo>
                    <a:cubicBezTo>
                      <a:pt x="423" y="415"/>
                      <a:pt x="420" y="394"/>
                      <a:pt x="415" y="391"/>
                    </a:cubicBezTo>
                    <a:cubicBezTo>
                      <a:pt x="408" y="385"/>
                      <a:pt x="401" y="382"/>
                      <a:pt x="395" y="379"/>
                    </a:cubicBezTo>
                    <a:cubicBezTo>
                      <a:pt x="384" y="373"/>
                      <a:pt x="372" y="368"/>
                      <a:pt x="360" y="350"/>
                    </a:cubicBezTo>
                    <a:cubicBezTo>
                      <a:pt x="356" y="344"/>
                      <a:pt x="353" y="337"/>
                      <a:pt x="350" y="329"/>
                    </a:cubicBezTo>
                    <a:cubicBezTo>
                      <a:pt x="338" y="303"/>
                      <a:pt x="325" y="276"/>
                      <a:pt x="285" y="276"/>
                    </a:cubicBezTo>
                    <a:cubicBezTo>
                      <a:pt x="245" y="276"/>
                      <a:pt x="233" y="303"/>
                      <a:pt x="221" y="329"/>
                    </a:cubicBezTo>
                    <a:cubicBezTo>
                      <a:pt x="218" y="337"/>
                      <a:pt x="214" y="344"/>
                      <a:pt x="210" y="350"/>
                    </a:cubicBezTo>
                    <a:cubicBezTo>
                      <a:pt x="199" y="368"/>
                      <a:pt x="187" y="373"/>
                      <a:pt x="175" y="379"/>
                    </a:cubicBezTo>
                    <a:cubicBezTo>
                      <a:pt x="169" y="382"/>
                      <a:pt x="163" y="385"/>
                      <a:pt x="156" y="391"/>
                    </a:cubicBezTo>
                    <a:cubicBezTo>
                      <a:pt x="151" y="394"/>
                      <a:pt x="148" y="415"/>
                      <a:pt x="155" y="439"/>
                    </a:cubicBezTo>
                    <a:cubicBezTo>
                      <a:pt x="160" y="457"/>
                      <a:pt x="167" y="465"/>
                      <a:pt x="170" y="465"/>
                    </a:cubicBezTo>
                    <a:cubicBezTo>
                      <a:pt x="185" y="466"/>
                      <a:pt x="201" y="462"/>
                      <a:pt x="220" y="457"/>
                    </a:cubicBezTo>
                    <a:cubicBezTo>
                      <a:pt x="239" y="452"/>
                      <a:pt x="261" y="447"/>
                      <a:pt x="285" y="447"/>
                    </a:cubicBezTo>
                    <a:close/>
                    <a:moveTo>
                      <a:pt x="354" y="239"/>
                    </a:moveTo>
                    <a:cubicBezTo>
                      <a:pt x="351" y="239"/>
                      <a:pt x="348" y="238"/>
                      <a:pt x="346" y="238"/>
                    </a:cubicBezTo>
                    <a:cubicBezTo>
                      <a:pt x="329" y="235"/>
                      <a:pt x="314" y="223"/>
                      <a:pt x="306" y="205"/>
                    </a:cubicBezTo>
                    <a:cubicBezTo>
                      <a:pt x="298" y="188"/>
                      <a:pt x="295" y="168"/>
                      <a:pt x="299" y="147"/>
                    </a:cubicBezTo>
                    <a:cubicBezTo>
                      <a:pt x="303" y="127"/>
                      <a:pt x="312" y="108"/>
                      <a:pt x="325" y="95"/>
                    </a:cubicBezTo>
                    <a:cubicBezTo>
                      <a:pt x="340" y="81"/>
                      <a:pt x="357" y="75"/>
                      <a:pt x="374" y="78"/>
                    </a:cubicBezTo>
                    <a:cubicBezTo>
                      <a:pt x="391" y="81"/>
                      <a:pt x="405" y="93"/>
                      <a:pt x="414" y="111"/>
                    </a:cubicBezTo>
                    <a:cubicBezTo>
                      <a:pt x="422" y="128"/>
                      <a:pt x="424" y="148"/>
                      <a:pt x="420" y="169"/>
                    </a:cubicBezTo>
                    <a:cubicBezTo>
                      <a:pt x="420" y="169"/>
                      <a:pt x="420" y="169"/>
                      <a:pt x="420" y="169"/>
                    </a:cubicBezTo>
                    <a:cubicBezTo>
                      <a:pt x="413" y="210"/>
                      <a:pt x="385" y="239"/>
                      <a:pt x="354" y="239"/>
                    </a:cubicBezTo>
                    <a:close/>
                    <a:moveTo>
                      <a:pt x="365" y="103"/>
                    </a:moveTo>
                    <a:cubicBezTo>
                      <a:pt x="358" y="103"/>
                      <a:pt x="350" y="107"/>
                      <a:pt x="343" y="113"/>
                    </a:cubicBezTo>
                    <a:cubicBezTo>
                      <a:pt x="334" y="123"/>
                      <a:pt x="327" y="136"/>
                      <a:pt x="324" y="152"/>
                    </a:cubicBezTo>
                    <a:cubicBezTo>
                      <a:pt x="322" y="167"/>
                      <a:pt x="323" y="182"/>
                      <a:pt x="329" y="194"/>
                    </a:cubicBezTo>
                    <a:cubicBezTo>
                      <a:pt x="334" y="205"/>
                      <a:pt x="341" y="211"/>
                      <a:pt x="350" y="213"/>
                    </a:cubicBezTo>
                    <a:cubicBezTo>
                      <a:pt x="369" y="216"/>
                      <a:pt x="390" y="194"/>
                      <a:pt x="395" y="164"/>
                    </a:cubicBezTo>
                    <a:cubicBezTo>
                      <a:pt x="398" y="149"/>
                      <a:pt x="396" y="134"/>
                      <a:pt x="391" y="122"/>
                    </a:cubicBezTo>
                    <a:cubicBezTo>
                      <a:pt x="386" y="111"/>
                      <a:pt x="378" y="105"/>
                      <a:pt x="369" y="103"/>
                    </a:cubicBezTo>
                    <a:cubicBezTo>
                      <a:pt x="368" y="103"/>
                      <a:pt x="367" y="103"/>
                      <a:pt x="365" y="103"/>
                    </a:cubicBezTo>
                    <a:close/>
                    <a:moveTo>
                      <a:pt x="217" y="239"/>
                    </a:moveTo>
                    <a:cubicBezTo>
                      <a:pt x="186" y="239"/>
                      <a:pt x="158" y="210"/>
                      <a:pt x="150" y="169"/>
                    </a:cubicBezTo>
                    <a:cubicBezTo>
                      <a:pt x="147" y="148"/>
                      <a:pt x="149" y="128"/>
                      <a:pt x="157" y="111"/>
                    </a:cubicBezTo>
                    <a:cubicBezTo>
                      <a:pt x="166" y="93"/>
                      <a:pt x="180" y="81"/>
                      <a:pt x="197" y="78"/>
                    </a:cubicBezTo>
                    <a:cubicBezTo>
                      <a:pt x="214" y="75"/>
                      <a:pt x="231" y="81"/>
                      <a:pt x="246" y="95"/>
                    </a:cubicBezTo>
                    <a:cubicBezTo>
                      <a:pt x="259" y="108"/>
                      <a:pt x="268" y="127"/>
                      <a:pt x="272" y="147"/>
                    </a:cubicBezTo>
                    <a:cubicBezTo>
                      <a:pt x="275" y="168"/>
                      <a:pt x="273" y="188"/>
                      <a:pt x="265" y="205"/>
                    </a:cubicBezTo>
                    <a:cubicBezTo>
                      <a:pt x="256" y="223"/>
                      <a:pt x="242" y="235"/>
                      <a:pt x="225" y="238"/>
                    </a:cubicBezTo>
                    <a:cubicBezTo>
                      <a:pt x="222" y="238"/>
                      <a:pt x="219" y="239"/>
                      <a:pt x="217" y="239"/>
                    </a:cubicBezTo>
                    <a:close/>
                    <a:moveTo>
                      <a:pt x="205" y="103"/>
                    </a:moveTo>
                    <a:cubicBezTo>
                      <a:pt x="204" y="103"/>
                      <a:pt x="203" y="103"/>
                      <a:pt x="201" y="103"/>
                    </a:cubicBezTo>
                    <a:cubicBezTo>
                      <a:pt x="193" y="105"/>
                      <a:pt x="185" y="111"/>
                      <a:pt x="180" y="122"/>
                    </a:cubicBezTo>
                    <a:cubicBezTo>
                      <a:pt x="175" y="134"/>
                      <a:pt x="173" y="149"/>
                      <a:pt x="176" y="164"/>
                    </a:cubicBezTo>
                    <a:cubicBezTo>
                      <a:pt x="181" y="194"/>
                      <a:pt x="202" y="216"/>
                      <a:pt x="221" y="213"/>
                    </a:cubicBezTo>
                    <a:cubicBezTo>
                      <a:pt x="229" y="211"/>
                      <a:pt x="237" y="205"/>
                      <a:pt x="242" y="194"/>
                    </a:cubicBezTo>
                    <a:cubicBezTo>
                      <a:pt x="248" y="182"/>
                      <a:pt x="249" y="167"/>
                      <a:pt x="246" y="152"/>
                    </a:cubicBezTo>
                    <a:cubicBezTo>
                      <a:pt x="244" y="136"/>
                      <a:pt x="237" y="123"/>
                      <a:pt x="228" y="113"/>
                    </a:cubicBezTo>
                    <a:cubicBezTo>
                      <a:pt x="221" y="107"/>
                      <a:pt x="213" y="103"/>
                      <a:pt x="205" y="103"/>
                    </a:cubicBezTo>
                    <a:close/>
                    <a:moveTo>
                      <a:pt x="445" y="341"/>
                    </a:moveTo>
                    <a:cubicBezTo>
                      <a:pt x="440" y="341"/>
                      <a:pt x="434" y="340"/>
                      <a:pt x="429" y="338"/>
                    </a:cubicBezTo>
                    <a:cubicBezTo>
                      <a:pt x="400" y="327"/>
                      <a:pt x="386" y="290"/>
                      <a:pt x="399" y="254"/>
                    </a:cubicBezTo>
                    <a:cubicBezTo>
                      <a:pt x="412" y="219"/>
                      <a:pt x="447" y="198"/>
                      <a:pt x="476" y="209"/>
                    </a:cubicBezTo>
                    <a:cubicBezTo>
                      <a:pt x="491" y="214"/>
                      <a:pt x="502" y="226"/>
                      <a:pt x="507" y="243"/>
                    </a:cubicBezTo>
                    <a:cubicBezTo>
                      <a:pt x="513" y="258"/>
                      <a:pt x="512" y="276"/>
                      <a:pt x="506" y="293"/>
                    </a:cubicBezTo>
                    <a:cubicBezTo>
                      <a:pt x="495" y="322"/>
                      <a:pt x="470" y="341"/>
                      <a:pt x="445" y="341"/>
                    </a:cubicBezTo>
                    <a:close/>
                    <a:moveTo>
                      <a:pt x="460" y="232"/>
                    </a:moveTo>
                    <a:cubicBezTo>
                      <a:pt x="446" y="232"/>
                      <a:pt x="430" y="244"/>
                      <a:pt x="423" y="263"/>
                    </a:cubicBezTo>
                    <a:cubicBezTo>
                      <a:pt x="415" y="285"/>
                      <a:pt x="422" y="308"/>
                      <a:pt x="438" y="314"/>
                    </a:cubicBezTo>
                    <a:cubicBezTo>
                      <a:pt x="454" y="320"/>
                      <a:pt x="474" y="306"/>
                      <a:pt x="482" y="284"/>
                    </a:cubicBezTo>
                    <a:cubicBezTo>
                      <a:pt x="486" y="273"/>
                      <a:pt x="486" y="261"/>
                      <a:pt x="483" y="251"/>
                    </a:cubicBezTo>
                    <a:cubicBezTo>
                      <a:pt x="480" y="242"/>
                      <a:pt x="475" y="236"/>
                      <a:pt x="467" y="233"/>
                    </a:cubicBezTo>
                    <a:cubicBezTo>
                      <a:pt x="465" y="232"/>
                      <a:pt x="462" y="232"/>
                      <a:pt x="460" y="232"/>
                    </a:cubicBezTo>
                    <a:close/>
                    <a:moveTo>
                      <a:pt x="125" y="341"/>
                    </a:moveTo>
                    <a:cubicBezTo>
                      <a:pt x="100" y="341"/>
                      <a:pt x="75" y="322"/>
                      <a:pt x="65" y="293"/>
                    </a:cubicBezTo>
                    <a:cubicBezTo>
                      <a:pt x="59" y="276"/>
                      <a:pt x="58" y="258"/>
                      <a:pt x="63" y="243"/>
                    </a:cubicBezTo>
                    <a:cubicBezTo>
                      <a:pt x="69" y="226"/>
                      <a:pt x="80" y="214"/>
                      <a:pt x="95" y="209"/>
                    </a:cubicBezTo>
                    <a:cubicBezTo>
                      <a:pt x="124" y="198"/>
                      <a:pt x="158" y="219"/>
                      <a:pt x="171" y="254"/>
                    </a:cubicBezTo>
                    <a:cubicBezTo>
                      <a:pt x="184" y="290"/>
                      <a:pt x="171" y="327"/>
                      <a:pt x="142" y="338"/>
                    </a:cubicBezTo>
                    <a:cubicBezTo>
                      <a:pt x="136" y="340"/>
                      <a:pt x="131" y="341"/>
                      <a:pt x="125" y="341"/>
                    </a:cubicBezTo>
                    <a:close/>
                    <a:moveTo>
                      <a:pt x="111" y="232"/>
                    </a:moveTo>
                    <a:cubicBezTo>
                      <a:pt x="108" y="232"/>
                      <a:pt x="106" y="232"/>
                      <a:pt x="103" y="233"/>
                    </a:cubicBezTo>
                    <a:cubicBezTo>
                      <a:pt x="96" y="236"/>
                      <a:pt x="91" y="242"/>
                      <a:pt x="88" y="251"/>
                    </a:cubicBezTo>
                    <a:cubicBezTo>
                      <a:pt x="84" y="261"/>
                      <a:pt x="85" y="273"/>
                      <a:pt x="89" y="284"/>
                    </a:cubicBezTo>
                    <a:cubicBezTo>
                      <a:pt x="97" y="306"/>
                      <a:pt x="117" y="320"/>
                      <a:pt x="133" y="314"/>
                    </a:cubicBezTo>
                    <a:cubicBezTo>
                      <a:pt x="149" y="308"/>
                      <a:pt x="155" y="285"/>
                      <a:pt x="147" y="263"/>
                    </a:cubicBezTo>
                    <a:cubicBezTo>
                      <a:pt x="141" y="244"/>
                      <a:pt x="125" y="232"/>
                      <a:pt x="111" y="232"/>
                    </a:cubicBez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76" name="Rectangle 75">
                <a:extLst>
                  <a:ext uri="{FF2B5EF4-FFF2-40B4-BE49-F238E27FC236}">
                    <a16:creationId xmlns:a16="http://schemas.microsoft.com/office/drawing/2014/main" id="{2E21B927-F905-2298-4C4A-57D9CB30159F}"/>
                  </a:ext>
                </a:extLst>
              </p:cNvPr>
              <p:cNvSpPr/>
              <p:nvPr/>
            </p:nvSpPr>
            <p:spPr>
              <a:xfrm>
                <a:off x="-426720" y="4640580"/>
                <a:ext cx="398145" cy="39814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grpSp>
        <p:pic>
          <p:nvPicPr>
            <p:cNvPr id="71" name="Graphic 70" descr="Ear outline">
              <a:extLst>
                <a:ext uri="{FF2B5EF4-FFF2-40B4-BE49-F238E27FC236}">
                  <a16:creationId xmlns:a16="http://schemas.microsoft.com/office/drawing/2014/main" id="{8FF3C6E9-95F2-E3E6-B5F1-78EAF3D4689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23691" y="5642770"/>
              <a:ext cx="360363" cy="360363"/>
            </a:xfrm>
            <a:prstGeom prst="rect">
              <a:avLst/>
            </a:prstGeom>
          </p:spPr>
        </p:pic>
      </p:grpSp>
      <p:sp>
        <p:nvSpPr>
          <p:cNvPr id="2" name="Rectangle 1">
            <a:extLst>
              <a:ext uri="{FF2B5EF4-FFF2-40B4-BE49-F238E27FC236}">
                <a16:creationId xmlns:a16="http://schemas.microsoft.com/office/drawing/2014/main" id="{8EE1DE98-DB4B-314F-4BB5-97B8B97A8B14}"/>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sp>
        <p:nvSpPr>
          <p:cNvPr id="23" name="Content Placeholder 1">
            <a:extLst>
              <a:ext uri="{FF2B5EF4-FFF2-40B4-BE49-F238E27FC236}">
                <a16:creationId xmlns:a16="http://schemas.microsoft.com/office/drawing/2014/main" id="{A8F5CB7E-E6F8-F5E2-F17D-986545B54DCA}"/>
              </a:ext>
            </a:extLst>
          </p:cNvPr>
          <p:cNvSpPr txBox="1">
            <a:spLocks/>
          </p:cNvSpPr>
          <p:nvPr/>
        </p:nvSpPr>
        <p:spPr>
          <a:xfrm>
            <a:off x="2950502" y="2994715"/>
            <a:ext cx="630238" cy="28839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2</a:t>
            </a:r>
          </a:p>
        </p:txBody>
      </p:sp>
      <p:sp>
        <p:nvSpPr>
          <p:cNvPr id="24" name="Content Placeholder 1">
            <a:extLst>
              <a:ext uri="{FF2B5EF4-FFF2-40B4-BE49-F238E27FC236}">
                <a16:creationId xmlns:a16="http://schemas.microsoft.com/office/drawing/2014/main" id="{7060378A-C63A-BF3A-59CE-61675AFCA014}"/>
              </a:ext>
            </a:extLst>
          </p:cNvPr>
          <p:cNvSpPr txBox="1">
            <a:spLocks/>
          </p:cNvSpPr>
          <p:nvPr/>
        </p:nvSpPr>
        <p:spPr>
          <a:xfrm>
            <a:off x="2950502" y="3316187"/>
            <a:ext cx="630238" cy="28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3</a:t>
            </a:r>
          </a:p>
        </p:txBody>
      </p:sp>
      <p:sp>
        <p:nvSpPr>
          <p:cNvPr id="26" name="Content Placeholder 1">
            <a:extLst>
              <a:ext uri="{FF2B5EF4-FFF2-40B4-BE49-F238E27FC236}">
                <a16:creationId xmlns:a16="http://schemas.microsoft.com/office/drawing/2014/main" id="{A8172831-5A38-1225-34B8-55190510D1B3}"/>
              </a:ext>
            </a:extLst>
          </p:cNvPr>
          <p:cNvSpPr txBox="1">
            <a:spLocks/>
          </p:cNvSpPr>
          <p:nvPr/>
        </p:nvSpPr>
        <p:spPr>
          <a:xfrm>
            <a:off x="2950502" y="2679981"/>
            <a:ext cx="630238" cy="28839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rPr>
              <a:t>1</a:t>
            </a:r>
          </a:p>
        </p:txBody>
      </p:sp>
      <p:cxnSp>
        <p:nvCxnSpPr>
          <p:cNvPr id="27" name="Straight Connector 26">
            <a:extLst>
              <a:ext uri="{FF2B5EF4-FFF2-40B4-BE49-F238E27FC236}">
                <a16:creationId xmlns:a16="http://schemas.microsoft.com/office/drawing/2014/main" id="{8D488999-8DF6-7902-AED2-8B7C09115229}"/>
              </a:ext>
            </a:extLst>
          </p:cNvPr>
          <p:cNvCxnSpPr>
            <a:cxnSpLocks/>
            <a:stCxn id="28" idx="4"/>
            <a:endCxn id="29" idx="3"/>
          </p:cNvCxnSpPr>
          <p:nvPr/>
        </p:nvCxnSpPr>
        <p:spPr>
          <a:xfrm>
            <a:off x="3373179" y="2893774"/>
            <a:ext cx="0" cy="575871"/>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28" name="Oval 27">
            <a:extLst>
              <a:ext uri="{FF2B5EF4-FFF2-40B4-BE49-F238E27FC236}">
                <a16:creationId xmlns:a16="http://schemas.microsoft.com/office/drawing/2014/main" id="{D4993DD7-F54E-B0B9-1686-671B06ECB22C}"/>
              </a:ext>
            </a:extLst>
          </p:cNvPr>
          <p:cNvSpPr/>
          <p:nvPr/>
        </p:nvSpPr>
        <p:spPr>
          <a:xfrm>
            <a:off x="3300789" y="2748994"/>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9" name="Isosceles Triangle 28">
            <a:extLst>
              <a:ext uri="{FF2B5EF4-FFF2-40B4-BE49-F238E27FC236}">
                <a16:creationId xmlns:a16="http://schemas.microsoft.com/office/drawing/2014/main" id="{09B35BF0-9FD2-2CA9-A480-724018FEE070}"/>
              </a:ext>
            </a:extLst>
          </p:cNvPr>
          <p:cNvSpPr/>
          <p:nvPr/>
        </p:nvSpPr>
        <p:spPr>
          <a:xfrm flipV="1">
            <a:off x="3318410" y="3469645"/>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30" name="Isosceles Triangle 29">
            <a:extLst>
              <a:ext uri="{FF2B5EF4-FFF2-40B4-BE49-F238E27FC236}">
                <a16:creationId xmlns:a16="http://schemas.microsoft.com/office/drawing/2014/main" id="{972EC8A0-3980-BF7A-2C4D-3162D371741F}"/>
              </a:ext>
            </a:extLst>
          </p:cNvPr>
          <p:cNvSpPr/>
          <p:nvPr/>
        </p:nvSpPr>
        <p:spPr>
          <a:xfrm flipV="1">
            <a:off x="3199348" y="2967869"/>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31" name="Isosceles Triangle 30">
            <a:extLst>
              <a:ext uri="{FF2B5EF4-FFF2-40B4-BE49-F238E27FC236}">
                <a16:creationId xmlns:a16="http://schemas.microsoft.com/office/drawing/2014/main" id="{BD90D103-9EFA-9895-D8DB-2C2E0229A563}"/>
              </a:ext>
            </a:extLst>
          </p:cNvPr>
          <p:cNvSpPr/>
          <p:nvPr/>
        </p:nvSpPr>
        <p:spPr>
          <a:xfrm flipV="1">
            <a:off x="3199348" y="3278392"/>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pPr>
            <a:endParaRPr lang="en-GB" sz="1600"/>
          </a:p>
        </p:txBody>
      </p:sp>
      <p:sp>
        <p:nvSpPr>
          <p:cNvPr id="60" name="TextBox 59">
            <a:extLst>
              <a:ext uri="{FF2B5EF4-FFF2-40B4-BE49-F238E27FC236}">
                <a16:creationId xmlns:a16="http://schemas.microsoft.com/office/drawing/2014/main" id="{475B7D60-E90E-C6DE-CBA8-4EE5DB2931AF}"/>
              </a:ext>
            </a:extLst>
          </p:cNvPr>
          <p:cNvSpPr txBox="1"/>
          <p:nvPr/>
        </p:nvSpPr>
        <p:spPr>
          <a:xfrm>
            <a:off x="3614405" y="2672284"/>
            <a:ext cx="6096000" cy="307777"/>
          </a:xfrm>
          <a:prstGeom prst="rect">
            <a:avLst/>
          </a:prstGeom>
          <a:noFill/>
        </p:spPr>
        <p:txBody>
          <a:bodyPr wrap="square" rtlCol="0">
            <a:spAutoFit/>
          </a:bodyPr>
          <a:lstStyle/>
          <a:p>
            <a:pPr marL="0" lvl="1" rtl="0" hangingPunct="0">
              <a:tabLst>
                <a:tab pos="457200" algn="l"/>
                <a:tab pos="1586230" algn="l"/>
              </a:tabLst>
            </a:pPr>
            <a:r>
              <a:rPr lang="en-gb" sz="1400" dirty="0">
                <a:effectLst/>
                <a:ea typeface="Times New Roman" panose="02020603050405020304" pitchFamily="18" charset="0"/>
              </a:rPr>
              <a:t>Stop heavy bleeding.</a:t>
            </a:r>
          </a:p>
        </p:txBody>
      </p:sp>
      <p:sp>
        <p:nvSpPr>
          <p:cNvPr id="70" name="TextBox 69">
            <a:extLst>
              <a:ext uri="{FF2B5EF4-FFF2-40B4-BE49-F238E27FC236}">
                <a16:creationId xmlns:a16="http://schemas.microsoft.com/office/drawing/2014/main" id="{D403E95A-3EC0-1FAD-8167-D0561D80BE8A}"/>
              </a:ext>
            </a:extLst>
          </p:cNvPr>
          <p:cNvSpPr txBox="1"/>
          <p:nvPr/>
        </p:nvSpPr>
        <p:spPr>
          <a:xfrm>
            <a:off x="3614405" y="2990424"/>
            <a:ext cx="6096000" cy="307777"/>
          </a:xfrm>
          <a:prstGeom prst="rect">
            <a:avLst/>
          </a:prstGeom>
          <a:noFill/>
        </p:spPr>
        <p:txBody>
          <a:bodyPr wrap="square" rtlCol="0">
            <a:spAutoFit/>
          </a:bodyPr>
          <a:lstStyle/>
          <a:p>
            <a:pPr marL="0" lvl="1" rtl="0" hangingPunct="0">
              <a:tabLst>
                <a:tab pos="457200" algn="l"/>
                <a:tab pos="1586230" algn="l"/>
              </a:tabLst>
            </a:pPr>
            <a:r>
              <a:rPr lang="en-gb" sz="1400">
                <a:effectLst/>
                <a:ea typeface="Times New Roman" panose="02020603050405020304" pitchFamily="18" charset="0"/>
              </a:rPr>
              <a:t>Call an ambulance.</a:t>
            </a:r>
          </a:p>
        </p:txBody>
      </p:sp>
      <p:sp>
        <p:nvSpPr>
          <p:cNvPr id="74" name="TextBox 73">
            <a:extLst>
              <a:ext uri="{FF2B5EF4-FFF2-40B4-BE49-F238E27FC236}">
                <a16:creationId xmlns:a16="http://schemas.microsoft.com/office/drawing/2014/main" id="{F6939192-7E9B-F042-6F94-C92A889D5E4F}"/>
              </a:ext>
            </a:extLst>
          </p:cNvPr>
          <p:cNvSpPr txBox="1"/>
          <p:nvPr/>
        </p:nvSpPr>
        <p:spPr>
          <a:xfrm>
            <a:off x="3614405" y="3308565"/>
            <a:ext cx="6096000" cy="307777"/>
          </a:xfrm>
          <a:prstGeom prst="rect">
            <a:avLst/>
          </a:prstGeom>
          <a:noFill/>
        </p:spPr>
        <p:txBody>
          <a:bodyPr wrap="square" rtlCol="0">
            <a:spAutoFit/>
          </a:bodyPr>
          <a:lstStyle/>
          <a:p>
            <a:pPr marL="0" lvl="1" rtl="0" hangingPunct="0">
              <a:tabLst>
                <a:tab pos="457200" algn="l"/>
                <a:tab pos="1586230" algn="l"/>
              </a:tabLst>
            </a:pPr>
            <a:r>
              <a:rPr lang="en-gb" sz="1400">
                <a:effectLst/>
                <a:ea typeface="Times New Roman" panose="02020603050405020304" pitchFamily="18" charset="0"/>
              </a:rPr>
              <a:t>Care for, reassure the victim.</a:t>
            </a:r>
          </a:p>
        </p:txBody>
      </p:sp>
      <p:grpSp>
        <p:nvGrpSpPr>
          <p:cNvPr id="32" name="Group 31">
            <a:extLst>
              <a:ext uri="{FF2B5EF4-FFF2-40B4-BE49-F238E27FC236}">
                <a16:creationId xmlns:a16="http://schemas.microsoft.com/office/drawing/2014/main" id="{D2005991-8570-9E35-F692-CF8213DEC4AF}"/>
              </a:ext>
            </a:extLst>
          </p:cNvPr>
          <p:cNvGrpSpPr/>
          <p:nvPr/>
        </p:nvGrpSpPr>
        <p:grpSpPr>
          <a:xfrm>
            <a:off x="9842140" y="372216"/>
            <a:ext cx="1667215" cy="217488"/>
            <a:chOff x="9842140" y="372216"/>
            <a:chExt cx="1667215" cy="217488"/>
          </a:xfrm>
        </p:grpSpPr>
        <p:sp>
          <p:nvSpPr>
            <p:cNvPr id="33" name="TextBox 32">
              <a:extLst>
                <a:ext uri="{FF2B5EF4-FFF2-40B4-BE49-F238E27FC236}">
                  <a16:creationId xmlns:a16="http://schemas.microsoft.com/office/drawing/2014/main" id="{A4334331-5F84-6273-1AF0-089D538C43F6}"/>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rtl="0">
                <a:lnSpc>
                  <a:spcPct val="100000"/>
                </a:lnSpc>
                <a:spcAft>
                  <a:spcPts val="600"/>
                </a:spcAft>
                <a:buSzPct val="100000"/>
              </a:pPr>
              <a:r>
                <a:rPr lang="en-gb" sz="800">
                  <a:solidFill>
                    <a:schemeClr val="bg1"/>
                  </a:solidFill>
                </a:rPr>
                <a:t>Foreign bodies</a:t>
              </a:r>
            </a:p>
          </p:txBody>
        </p:sp>
        <p:sp>
          <p:nvSpPr>
            <p:cNvPr id="34" name="Freeform 49">
              <a:extLst>
                <a:ext uri="{FF2B5EF4-FFF2-40B4-BE49-F238E27FC236}">
                  <a16:creationId xmlns:a16="http://schemas.microsoft.com/office/drawing/2014/main" id="{A5134FB1-B788-69C1-DC74-5A91615C6113}"/>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p>
          </p:txBody>
        </p:sp>
      </p:grpSp>
      <p:grpSp>
        <p:nvGrpSpPr>
          <p:cNvPr id="25" name="Group 24">
            <a:extLst>
              <a:ext uri="{FF2B5EF4-FFF2-40B4-BE49-F238E27FC236}">
                <a16:creationId xmlns:a16="http://schemas.microsoft.com/office/drawing/2014/main" id="{0FA2201A-B784-505E-1592-10257CFF97A7}"/>
              </a:ext>
            </a:extLst>
          </p:cNvPr>
          <p:cNvGrpSpPr/>
          <p:nvPr/>
        </p:nvGrpSpPr>
        <p:grpSpPr>
          <a:xfrm>
            <a:off x="9122935" y="126781"/>
            <a:ext cx="2626153" cy="217488"/>
            <a:chOff x="9122935" y="126781"/>
            <a:chExt cx="2626153" cy="217488"/>
          </a:xfrm>
        </p:grpSpPr>
        <p:sp>
          <p:nvSpPr>
            <p:cNvPr id="35" name="Rectangle 34">
              <a:extLst>
                <a:ext uri="{FF2B5EF4-FFF2-40B4-BE49-F238E27FC236}">
                  <a16:creationId xmlns:a16="http://schemas.microsoft.com/office/drawing/2014/main" id="{B0128A2A-174D-9C28-C12C-A03690B7EA70}"/>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000000"/>
                  </a:solidFill>
                  <a:effectLst/>
                  <a:uLnTx/>
                  <a:uFillTx/>
                  <a:ea typeface="Georgia"/>
                  <a:cs typeface="Georgia"/>
                  <a:sym typeface="Georgia"/>
                </a:rPr>
                <a:t>First aid measures</a:t>
              </a:r>
            </a:p>
          </p:txBody>
        </p:sp>
        <p:sp>
          <p:nvSpPr>
            <p:cNvPr id="37" name="Rectangle 36">
              <a:extLst>
                <a:ext uri="{FF2B5EF4-FFF2-40B4-BE49-F238E27FC236}">
                  <a16:creationId xmlns:a16="http://schemas.microsoft.com/office/drawing/2014/main" id="{21315DA5-F168-0876-6AA7-51F441A8A084}"/>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9" name="Rectangle 38">
              <a:extLst>
                <a:ext uri="{FF2B5EF4-FFF2-40B4-BE49-F238E27FC236}">
                  <a16:creationId xmlns:a16="http://schemas.microsoft.com/office/drawing/2014/main" id="{38A16CC7-923A-03F6-6146-6BAAA3497B10}"/>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40" name="Rectangle 39">
              <a:extLst>
                <a:ext uri="{FF2B5EF4-FFF2-40B4-BE49-F238E27FC236}">
                  <a16:creationId xmlns:a16="http://schemas.microsoft.com/office/drawing/2014/main" id="{1072B6B1-853F-7106-48A7-77C35D077B1F}"/>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41" name="Rectangle 40">
              <a:extLst>
                <a:ext uri="{FF2B5EF4-FFF2-40B4-BE49-F238E27FC236}">
                  <a16:creationId xmlns:a16="http://schemas.microsoft.com/office/drawing/2014/main" id="{586D5336-A2A8-A8DC-76FE-F912B04A69CD}"/>
                </a:ext>
              </a:extLst>
            </p:cNvPr>
            <p:cNvSpPr/>
            <p:nvPr/>
          </p:nvSpPr>
          <p:spPr>
            <a:xfrm>
              <a:off x="9842140"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7</a:t>
              </a:r>
              <a:r>
                <a:rPr lang="en-gb" sz="800" b="1" i="0" u="none" strike="noStrike" kern="0" cap="none" spc="0" normalizeH="0" noProof="0">
                  <a:ln>
                    <a:noFill/>
                  </a:ln>
                  <a:effectLst/>
                  <a:uLnTx/>
                  <a:uFillTx/>
                  <a:ea typeface="Georgia"/>
                  <a:cs typeface="Georgia"/>
                  <a:sym typeface="Georgia"/>
                </a:rPr>
                <a:t>.4</a:t>
              </a:r>
              <a:endParaRPr kumimoji="0" lang="lv-LV" sz="800" b="1" i="0" u="none" strike="noStrike" kern="0" cap="none" spc="0" normalizeH="0" baseline="0" noProof="0" dirty="0">
                <a:ln>
                  <a:noFill/>
                </a:ln>
                <a:effectLst/>
                <a:uLnTx/>
                <a:uFillTx/>
                <a:ea typeface="Georgia"/>
                <a:cs typeface="Georgia"/>
                <a:sym typeface="Georgia"/>
              </a:endParaRPr>
            </a:p>
          </p:txBody>
        </p:sp>
        <p:sp>
          <p:nvSpPr>
            <p:cNvPr id="42" name="Rectangle 41">
              <a:extLst>
                <a:ext uri="{FF2B5EF4-FFF2-40B4-BE49-F238E27FC236}">
                  <a16:creationId xmlns:a16="http://schemas.microsoft.com/office/drawing/2014/main" id="{AC0ABADD-DE86-759E-B676-D308EE3BEFAF}"/>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36155848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B5F8EBF-52CC-2EDB-41E8-3667D4E9C17E}"/>
              </a:ext>
            </a:extLst>
          </p:cNvPr>
          <p:cNvGraphicFramePr>
            <a:graphicFrameLocks noChangeAspect="1"/>
          </p:cNvGraphicFramePr>
          <p:nvPr>
            <p:custDataLst>
              <p:tags r:id="rId1"/>
            </p:custDataLst>
            <p:extLst>
              <p:ext uri="{D42A27DB-BD31-4B8C-83A1-F6EECF244321}">
                <p14:modId xmlns:p14="http://schemas.microsoft.com/office/powerpoint/2010/main" val="3740606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6" name="think-cell data - do not delete" hidden="1">
                        <a:extLst>
                          <a:ext uri="{FF2B5EF4-FFF2-40B4-BE49-F238E27FC236}">
                            <a16:creationId xmlns:a16="http://schemas.microsoft.com/office/drawing/2014/main" id="{8B5F8EBF-52CC-2EDB-41E8-3667D4E9C1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DDDC1DA9-F0F8-4EDF-4943-D6FC81AF432D}"/>
              </a:ext>
            </a:extLst>
          </p:cNvPr>
          <p:cNvPicPr>
            <a:picLocks noGrp="1" noChangeAspect="1"/>
          </p:cNvPicPr>
          <p:nvPr>
            <p:ph type="pic" sz="quarter" idx="10"/>
          </p:nvPr>
        </p:nvPicPr>
        <p:blipFill>
          <a:blip r:embed="rId6"/>
          <a:srcRect t="20933" b="20933"/>
          <a:stretch>
            <a:fillRect/>
          </a:stretch>
        </p:blipFill>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sp>
        <p:nvSpPr>
          <p:cNvPr id="2" name="Title 1"/>
          <p:cNvSpPr>
            <a:spLocks noGrp="1"/>
          </p:cNvSpPr>
          <p:nvPr>
            <p:ph type="ctrTitle"/>
          </p:nvPr>
        </p:nvSpPr>
        <p:spPr>
          <a:xfrm>
            <a:off x="442913" y="1064850"/>
            <a:ext cx="7418387" cy="2428875"/>
          </a:xfrm>
        </p:spPr>
        <p:txBody>
          <a:bodyPr vert="horz" rtlCol="0">
            <a:normAutofit/>
          </a:bodyPr>
          <a:lstStyle/>
          <a:p>
            <a:pPr rtl="0"/>
            <a:r>
              <a:rPr lang="en-gb"/>
              <a:t>7.1. Introduction</a:t>
            </a:r>
            <a:endParaRPr lang="en-GB" dirty="0"/>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Tree>
    <p:extLst>
      <p:ext uri="{BB962C8B-B14F-4D97-AF65-F5344CB8AC3E}">
        <p14:creationId xmlns:p14="http://schemas.microsoft.com/office/powerpoint/2010/main" val="410712493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9799492-EA00-9029-E8DF-F6C2EB4468B4}"/>
              </a:ext>
            </a:extLst>
          </p:cNvPr>
          <p:cNvPicPr>
            <a:picLocks noChangeAspect="1"/>
          </p:cNvPicPr>
          <p:nvPr/>
        </p:nvPicPr>
        <p:blipFill>
          <a:blip r:embed="rId4"/>
          <a:stretch>
            <a:fillRect/>
          </a:stretch>
        </p:blipFill>
        <p:spPr>
          <a:xfrm>
            <a:off x="7620000" y="0"/>
            <a:ext cx="4572000" cy="6858000"/>
          </a:xfrm>
          <a:prstGeom prst="rect">
            <a:avLst/>
          </a:prstGeom>
        </p:spPr>
      </p:pic>
      <p:sp>
        <p:nvSpPr>
          <p:cNvPr id="7" name="Rectangle 6">
            <a:extLst>
              <a:ext uri="{FF2B5EF4-FFF2-40B4-BE49-F238E27FC236}">
                <a16:creationId xmlns:a16="http://schemas.microsoft.com/office/drawing/2014/main" id="{D301F691-DECC-2DA7-B7DD-3F2AD5A85A17}"/>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graphicFrame>
        <p:nvGraphicFramePr>
          <p:cNvPr id="12" name="think-cell data - do not delete" hidden="1">
            <a:extLst>
              <a:ext uri="{FF2B5EF4-FFF2-40B4-BE49-F238E27FC236}">
                <a16:creationId xmlns:a16="http://schemas.microsoft.com/office/drawing/2014/main" id="{F6E6AF23-7B86-113A-F559-513B41FEC1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12" name="think-cell data - do not delete" hidden="1">
                        <a:extLst>
                          <a:ext uri="{FF2B5EF4-FFF2-40B4-BE49-F238E27FC236}">
                            <a16:creationId xmlns:a16="http://schemas.microsoft.com/office/drawing/2014/main" id="{F6E6AF23-7B86-113A-F559-513B41FEC1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11306175" cy="1387274"/>
          </a:xfrm>
        </p:spPr>
        <p:txBody>
          <a:bodyPr vert="horz" rtlCol="0"/>
          <a:lstStyle/>
          <a:p>
            <a:pPr rtl="0"/>
            <a:r>
              <a:rPr lang="en-gb"/>
              <a:t>What if the victim has a seizure?</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rtlCol="0"/>
          <a:lstStyle/>
          <a:p>
            <a:pPr rtl="0"/>
            <a:fld id="{7870704B-CE94-48CC-AF30-84932A1262A7}" type="slidenum">
              <a:rPr lang="en-GB" smtClean="0">
                <a:solidFill>
                  <a:schemeClr val="bg1"/>
                </a:solidFill>
              </a:rPr>
              <a:pPr rtl="0"/>
              <a:t>40</a:t>
            </a:fld>
            <a:endParaRPr lang="en-GB">
              <a:solidFill>
                <a:schemeClr val="bg1"/>
              </a:solidFill>
            </a:endParaRPr>
          </a:p>
        </p:txBody>
      </p:sp>
      <p:sp>
        <p:nvSpPr>
          <p:cNvPr id="26" name="Rectangle 25">
            <a:extLst>
              <a:ext uri="{FF2B5EF4-FFF2-40B4-BE49-F238E27FC236}">
                <a16:creationId xmlns:a16="http://schemas.microsoft.com/office/drawing/2014/main" id="{5EC1F9AE-82A4-85FE-592B-EF659F76F7EC}"/>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tx1"/>
                </a:solidFill>
              </a:rPr>
              <a:t>How to proceed?</a:t>
            </a:r>
          </a:p>
        </p:txBody>
      </p:sp>
      <p:sp>
        <p:nvSpPr>
          <p:cNvPr id="29" name="Content Placeholder 1">
            <a:extLst>
              <a:ext uri="{FF2B5EF4-FFF2-40B4-BE49-F238E27FC236}">
                <a16:creationId xmlns:a16="http://schemas.microsoft.com/office/drawing/2014/main" id="{3915AD89-6428-4A75-0915-328643F1703C}"/>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30" name="Content Placeholder 1">
            <a:extLst>
              <a:ext uri="{FF2B5EF4-FFF2-40B4-BE49-F238E27FC236}">
                <a16:creationId xmlns:a16="http://schemas.microsoft.com/office/drawing/2014/main" id="{373AB206-F1F0-CC72-8C15-85605D9AF2AC}"/>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46" name="Google Shape;760;p79">
            <a:extLst>
              <a:ext uri="{FF2B5EF4-FFF2-40B4-BE49-F238E27FC236}">
                <a16:creationId xmlns:a16="http://schemas.microsoft.com/office/drawing/2014/main" id="{09BF84D6-F468-7005-FAB5-AA0B6AE5CFB4}"/>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0" name="Rectangle 49">
            <a:extLst>
              <a:ext uri="{FF2B5EF4-FFF2-40B4-BE49-F238E27FC236}">
                <a16:creationId xmlns:a16="http://schemas.microsoft.com/office/drawing/2014/main" id="{0130363F-7CE7-F3D0-4AB5-F295FAC2DCBC}"/>
              </a:ext>
            </a:extLst>
          </p:cNvPr>
          <p:cNvSpPr/>
          <p:nvPr/>
        </p:nvSpPr>
        <p:spPr>
          <a:xfrm>
            <a:off x="442913" y="963958"/>
            <a:ext cx="4470731" cy="628650"/>
          </a:xfrm>
          <a:prstGeom prst="rect">
            <a:avLst/>
          </a:prstGeom>
          <a:solidFill>
            <a:schemeClr val="bg1"/>
          </a:solidFill>
          <a:ln>
            <a:solidFill>
              <a:schemeClr val="accent2"/>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51" name="Rectangle 50">
            <a:extLst>
              <a:ext uri="{FF2B5EF4-FFF2-40B4-BE49-F238E27FC236}">
                <a16:creationId xmlns:a16="http://schemas.microsoft.com/office/drawing/2014/main" id="{AFEB1935-0849-FFDB-14A2-768E555E2F79}"/>
              </a:ext>
            </a:extLst>
          </p:cNvPr>
          <p:cNvSpPr/>
          <p:nvPr/>
        </p:nvSpPr>
        <p:spPr>
          <a:xfrm>
            <a:off x="1454989" y="1062283"/>
            <a:ext cx="3405187"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rIns="0" rtlCol="0" anchor="ctr"/>
          <a:lstStyle/>
          <a:p>
            <a:pPr rtl="0"/>
            <a:r>
              <a:rPr lang="en-gb" sz="1600" b="1" dirty="0">
                <a:solidFill>
                  <a:schemeClr val="tx1"/>
                </a:solidFill>
              </a:rPr>
              <a:t>What </a:t>
            </a:r>
            <a:r>
              <a:rPr lang="lv-LV" sz="1600" b="1" dirty="0" err="1">
                <a:solidFill>
                  <a:schemeClr val="tx1"/>
                </a:solidFill>
              </a:rPr>
              <a:t>does</a:t>
            </a:r>
            <a:r>
              <a:rPr lang="lv-LV" sz="1600" b="1" dirty="0">
                <a:solidFill>
                  <a:schemeClr val="tx1"/>
                </a:solidFill>
              </a:rPr>
              <a:t> a </a:t>
            </a:r>
            <a:r>
              <a:rPr lang="lv-LV" sz="1600" b="1" dirty="0" err="1">
                <a:solidFill>
                  <a:schemeClr val="tx1"/>
                </a:solidFill>
              </a:rPr>
              <a:t>seizure</a:t>
            </a:r>
            <a:r>
              <a:rPr lang="lv-LV" sz="1600" b="1" dirty="0">
                <a:solidFill>
                  <a:schemeClr val="tx1"/>
                </a:solidFill>
              </a:rPr>
              <a:t> </a:t>
            </a:r>
            <a:r>
              <a:rPr lang="lv-LV" sz="1600" b="1" dirty="0" err="1">
                <a:solidFill>
                  <a:schemeClr val="tx1"/>
                </a:solidFill>
              </a:rPr>
              <a:t>look</a:t>
            </a:r>
            <a:r>
              <a:rPr lang="lv-LV" sz="1600" b="1" dirty="0">
                <a:solidFill>
                  <a:schemeClr val="tx1"/>
                </a:solidFill>
              </a:rPr>
              <a:t> </a:t>
            </a:r>
            <a:r>
              <a:rPr lang="lv-LV" sz="1600" b="1" dirty="0" err="1">
                <a:solidFill>
                  <a:schemeClr val="tx1"/>
                </a:solidFill>
              </a:rPr>
              <a:t>like</a:t>
            </a:r>
            <a:r>
              <a:rPr lang="en-gb" sz="1600" b="1" dirty="0">
                <a:solidFill>
                  <a:schemeClr val="tx1"/>
                </a:solidFill>
              </a:rPr>
              <a:t>?</a:t>
            </a:r>
            <a:endParaRPr lang="en-GB" sz="1600" b="1" dirty="0">
              <a:solidFill>
                <a:schemeClr val="tx1"/>
              </a:solidFill>
            </a:endParaRPr>
          </a:p>
        </p:txBody>
      </p:sp>
      <p:cxnSp>
        <p:nvCxnSpPr>
          <p:cNvPr id="53" name="Straight Connector 52">
            <a:extLst>
              <a:ext uri="{FF2B5EF4-FFF2-40B4-BE49-F238E27FC236}">
                <a16:creationId xmlns:a16="http://schemas.microsoft.com/office/drawing/2014/main" id="{F358E754-064A-5B8C-B2FC-4E612BA07893}"/>
              </a:ext>
            </a:extLst>
          </p:cNvPr>
          <p:cNvCxnSpPr>
            <a:cxnSpLocks/>
          </p:cNvCxnSpPr>
          <p:nvPr/>
        </p:nvCxnSpPr>
        <p:spPr>
          <a:xfrm>
            <a:off x="1233531" y="1053947"/>
            <a:ext cx="0" cy="448673"/>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8" name="TextBox 7">
            <a:extLst>
              <a:ext uri="{FF2B5EF4-FFF2-40B4-BE49-F238E27FC236}">
                <a16:creationId xmlns:a16="http://schemas.microsoft.com/office/drawing/2014/main" id="{8F84A1C1-A3B2-78F7-2F05-EA937E442831}"/>
              </a:ext>
            </a:extLst>
          </p:cNvPr>
          <p:cNvSpPr txBox="1"/>
          <p:nvPr/>
        </p:nvSpPr>
        <p:spPr>
          <a:xfrm>
            <a:off x="442909" y="2398712"/>
            <a:ext cx="6734175" cy="1373216"/>
          </a:xfrm>
          <a:prstGeom prst="rect">
            <a:avLst/>
          </a:prstGeom>
          <a:solidFill>
            <a:schemeClr val="bg1">
              <a:lumMod val="95000"/>
            </a:schemeClr>
          </a:solidFill>
        </p:spPr>
        <p:txBody>
          <a:bodyPr wrap="square" lIns="72000" tIns="72000" rIns="72000" bIns="72000" rtlCol="0">
            <a:noAutofit/>
          </a:bodyPr>
          <a:lstStyle/>
          <a:p>
            <a:pPr marL="284400" lvl="0" indent="-284400" rtl="0">
              <a:spcAft>
                <a:spcPts val="600"/>
              </a:spcAft>
              <a:buBlip>
                <a:blip r:embed="rId7"/>
              </a:buBlip>
            </a:pPr>
            <a:r>
              <a:rPr lang="en-gb" sz="1400"/>
              <a:t>During a seizure, protect the victim from possible injury, especially the victim's head.</a:t>
            </a:r>
            <a:endParaRPr lang="en-GB" sz="1400"/>
          </a:p>
          <a:p>
            <a:pPr marL="284400" lvl="0" indent="-284400" rtl="0">
              <a:spcAft>
                <a:spcPts val="600"/>
              </a:spcAft>
              <a:buBlip>
                <a:blip r:embed="rId7"/>
              </a:buBlip>
            </a:pPr>
            <a:r>
              <a:rPr lang="en-gb" sz="1400"/>
              <a:t>Call an ambulance.</a:t>
            </a:r>
            <a:endParaRPr lang="en-GB" sz="1400"/>
          </a:p>
          <a:p>
            <a:pPr marL="284400" indent="-284400" rtl="0">
              <a:spcAft>
                <a:spcPts val="600"/>
              </a:spcAft>
              <a:buBlip>
                <a:blip r:embed="rId7"/>
              </a:buBlip>
            </a:pPr>
            <a:r>
              <a:rPr lang="en-gb" sz="1400"/>
              <a:t>If necessary, resuscitate only after a seizure, not during it.</a:t>
            </a:r>
            <a:endParaRPr lang="en-GB" sz="1400"/>
          </a:p>
        </p:txBody>
      </p:sp>
      <p:sp>
        <p:nvSpPr>
          <p:cNvPr id="2" name="Google Shape;764;p79">
            <a:extLst>
              <a:ext uri="{FF2B5EF4-FFF2-40B4-BE49-F238E27FC236}">
                <a16:creationId xmlns:a16="http://schemas.microsoft.com/office/drawing/2014/main" id="{5F735A8C-4418-CDE7-FDAD-A62BB616594E}"/>
              </a:ext>
            </a:extLst>
          </p:cNvPr>
          <p:cNvSpPr/>
          <p:nvPr/>
        </p:nvSpPr>
        <p:spPr>
          <a:xfrm>
            <a:off x="578685" y="1062283"/>
            <a:ext cx="433388" cy="4318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178" y="228"/>
                </a:moveTo>
                <a:cubicBezTo>
                  <a:pt x="178" y="210"/>
                  <a:pt x="180" y="194"/>
                  <a:pt x="186" y="180"/>
                </a:cubicBezTo>
                <a:cubicBezTo>
                  <a:pt x="191" y="165"/>
                  <a:pt x="199" y="153"/>
                  <a:pt x="209" y="143"/>
                </a:cubicBezTo>
                <a:cubicBezTo>
                  <a:pt x="219" y="132"/>
                  <a:pt x="231" y="124"/>
                  <a:pt x="246" y="119"/>
                </a:cubicBezTo>
                <a:cubicBezTo>
                  <a:pt x="260" y="113"/>
                  <a:pt x="276" y="110"/>
                  <a:pt x="294" y="110"/>
                </a:cubicBezTo>
                <a:cubicBezTo>
                  <a:pt x="309" y="110"/>
                  <a:pt x="322" y="112"/>
                  <a:pt x="335" y="117"/>
                </a:cubicBezTo>
                <a:cubicBezTo>
                  <a:pt x="348" y="121"/>
                  <a:pt x="359" y="127"/>
                  <a:pt x="369" y="136"/>
                </a:cubicBezTo>
                <a:cubicBezTo>
                  <a:pt x="378" y="144"/>
                  <a:pt x="386" y="154"/>
                  <a:pt x="391" y="166"/>
                </a:cubicBezTo>
                <a:cubicBezTo>
                  <a:pt x="397" y="179"/>
                  <a:pt x="399" y="192"/>
                  <a:pt x="399" y="208"/>
                </a:cubicBezTo>
                <a:cubicBezTo>
                  <a:pt x="399" y="219"/>
                  <a:pt x="398" y="229"/>
                  <a:pt x="396" y="237"/>
                </a:cubicBezTo>
                <a:cubicBezTo>
                  <a:pt x="393" y="245"/>
                  <a:pt x="390" y="253"/>
                  <a:pt x="386" y="258"/>
                </a:cubicBezTo>
                <a:cubicBezTo>
                  <a:pt x="382" y="264"/>
                  <a:pt x="377" y="270"/>
                  <a:pt x="372" y="274"/>
                </a:cubicBezTo>
                <a:cubicBezTo>
                  <a:pt x="367" y="279"/>
                  <a:pt x="362" y="284"/>
                  <a:pt x="357" y="288"/>
                </a:cubicBezTo>
                <a:cubicBezTo>
                  <a:pt x="351" y="293"/>
                  <a:pt x="345" y="298"/>
                  <a:pt x="340" y="303"/>
                </a:cubicBezTo>
                <a:cubicBezTo>
                  <a:pt x="335" y="308"/>
                  <a:pt x="330" y="313"/>
                  <a:pt x="326" y="319"/>
                </a:cubicBezTo>
                <a:cubicBezTo>
                  <a:pt x="322" y="325"/>
                  <a:pt x="319" y="332"/>
                  <a:pt x="317" y="341"/>
                </a:cubicBezTo>
                <a:cubicBezTo>
                  <a:pt x="315" y="349"/>
                  <a:pt x="314" y="358"/>
                  <a:pt x="314" y="370"/>
                </a:cubicBezTo>
                <a:cubicBezTo>
                  <a:pt x="262" y="370"/>
                  <a:pt x="262" y="370"/>
                  <a:pt x="262" y="370"/>
                </a:cubicBezTo>
                <a:cubicBezTo>
                  <a:pt x="262" y="356"/>
                  <a:pt x="263" y="344"/>
                  <a:pt x="264" y="334"/>
                </a:cubicBezTo>
                <a:cubicBezTo>
                  <a:pt x="266" y="324"/>
                  <a:pt x="268" y="316"/>
                  <a:pt x="271" y="308"/>
                </a:cubicBezTo>
                <a:cubicBezTo>
                  <a:pt x="274" y="301"/>
                  <a:pt x="278" y="294"/>
                  <a:pt x="283" y="288"/>
                </a:cubicBezTo>
                <a:cubicBezTo>
                  <a:pt x="288" y="283"/>
                  <a:pt x="293" y="277"/>
                  <a:pt x="300" y="272"/>
                </a:cubicBezTo>
                <a:cubicBezTo>
                  <a:pt x="305" y="267"/>
                  <a:pt x="310" y="263"/>
                  <a:pt x="314" y="259"/>
                </a:cubicBezTo>
                <a:cubicBezTo>
                  <a:pt x="319" y="255"/>
                  <a:pt x="323" y="251"/>
                  <a:pt x="327" y="246"/>
                </a:cubicBezTo>
                <a:cubicBezTo>
                  <a:pt x="331" y="242"/>
                  <a:pt x="334" y="236"/>
                  <a:pt x="336" y="231"/>
                </a:cubicBezTo>
                <a:cubicBezTo>
                  <a:pt x="338" y="225"/>
                  <a:pt x="339" y="218"/>
                  <a:pt x="339" y="210"/>
                </a:cubicBezTo>
                <a:cubicBezTo>
                  <a:pt x="339" y="200"/>
                  <a:pt x="337" y="192"/>
                  <a:pt x="334" y="185"/>
                </a:cubicBezTo>
                <a:cubicBezTo>
                  <a:pt x="330" y="178"/>
                  <a:pt x="326" y="172"/>
                  <a:pt x="321" y="168"/>
                </a:cubicBezTo>
                <a:cubicBezTo>
                  <a:pt x="317" y="164"/>
                  <a:pt x="311" y="161"/>
                  <a:pt x="306" y="159"/>
                </a:cubicBezTo>
                <a:cubicBezTo>
                  <a:pt x="300" y="157"/>
                  <a:pt x="296" y="156"/>
                  <a:pt x="291" y="156"/>
                </a:cubicBezTo>
                <a:cubicBezTo>
                  <a:pt x="271" y="156"/>
                  <a:pt x="257" y="163"/>
                  <a:pt x="247" y="176"/>
                </a:cubicBezTo>
                <a:cubicBezTo>
                  <a:pt x="238" y="189"/>
                  <a:pt x="233" y="206"/>
                  <a:pt x="233" y="228"/>
                </a:cubicBezTo>
                <a:lnTo>
                  <a:pt x="178" y="228"/>
                </a:lnTo>
                <a:close/>
                <a:moveTo>
                  <a:pt x="255" y="403"/>
                </a:moveTo>
                <a:cubicBezTo>
                  <a:pt x="319" y="403"/>
                  <a:pt x="319" y="403"/>
                  <a:pt x="319" y="403"/>
                </a:cubicBezTo>
                <a:cubicBezTo>
                  <a:pt x="319" y="464"/>
                  <a:pt x="319" y="464"/>
                  <a:pt x="319" y="464"/>
                </a:cubicBezTo>
                <a:cubicBezTo>
                  <a:pt x="255" y="464"/>
                  <a:pt x="255" y="464"/>
                  <a:pt x="255" y="464"/>
                </a:cubicBezTo>
                <a:lnTo>
                  <a:pt x="255" y="403"/>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5" name="Rectangle 24">
            <a:extLst>
              <a:ext uri="{FF2B5EF4-FFF2-40B4-BE49-F238E27FC236}">
                <a16:creationId xmlns:a16="http://schemas.microsoft.com/office/drawing/2014/main" id="{2B261BF4-92C6-462D-AA95-793AE54DD688}"/>
              </a:ext>
            </a:extLst>
          </p:cNvPr>
          <p:cNvSpPr/>
          <p:nvPr/>
        </p:nvSpPr>
        <p:spPr>
          <a:xfrm>
            <a:off x="442913" y="4747447"/>
            <a:ext cx="6734175" cy="142475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4400" indent="-284400" rtl="0">
              <a:spcAft>
                <a:spcPts val="600"/>
              </a:spcAft>
              <a:buBlip>
                <a:blip r:embed="rId7"/>
              </a:buBlip>
            </a:pPr>
            <a:r>
              <a:rPr lang="en-gb" sz="1400" dirty="0">
                <a:solidFill>
                  <a:schemeClr val="tx1"/>
                </a:solidFill>
              </a:rPr>
              <a:t>It is especially dangerous if the seizure lasts longer than 5 minutes or if the seizures are repeated over a short period of time.</a:t>
            </a:r>
          </a:p>
          <a:p>
            <a:pPr marL="284400" indent="-284400" rtl="0">
              <a:spcAft>
                <a:spcPts val="600"/>
              </a:spcAft>
              <a:buBlip>
                <a:blip r:embed="rId7"/>
              </a:buBlip>
            </a:pPr>
            <a:r>
              <a:rPr lang="en-gb" sz="1400" dirty="0">
                <a:solidFill>
                  <a:schemeClr val="tx1"/>
                </a:solidFill>
              </a:rPr>
              <a:t>Do not </a:t>
            </a:r>
            <a:r>
              <a:rPr lang="lv-LV" sz="1400" dirty="0" err="1">
                <a:solidFill>
                  <a:schemeClr val="tx1"/>
                </a:solidFill>
              </a:rPr>
              <a:t>hold</a:t>
            </a:r>
            <a:r>
              <a:rPr lang="lv-LV" sz="1400" dirty="0">
                <a:solidFill>
                  <a:schemeClr val="tx1"/>
                </a:solidFill>
              </a:rPr>
              <a:t> </a:t>
            </a:r>
            <a:r>
              <a:rPr lang="lv-LV" sz="1400" dirty="0" err="1">
                <a:solidFill>
                  <a:schemeClr val="tx1"/>
                </a:solidFill>
              </a:rPr>
              <a:t>down</a:t>
            </a:r>
            <a:r>
              <a:rPr lang="en-gb" sz="1400" dirty="0">
                <a:solidFill>
                  <a:schemeClr val="tx1"/>
                </a:solidFill>
              </a:rPr>
              <a:t> the victim during the attack, do not try to open the bitten teeth and do not put anything in </a:t>
            </a:r>
            <a:r>
              <a:rPr lang="lv-LV" sz="1400" dirty="0" err="1">
                <a:solidFill>
                  <a:schemeClr val="tx1"/>
                </a:solidFill>
              </a:rPr>
              <a:t>their</a:t>
            </a:r>
            <a:r>
              <a:rPr lang="en-gb" sz="1400" dirty="0">
                <a:solidFill>
                  <a:schemeClr val="tx1"/>
                </a:solidFill>
              </a:rPr>
              <a:t> mouth.</a:t>
            </a:r>
          </a:p>
          <a:p>
            <a:pPr marL="284400" indent="-284400" rtl="0">
              <a:spcAft>
                <a:spcPts val="600"/>
              </a:spcAft>
              <a:buBlip>
                <a:blip r:embed="rId7"/>
              </a:buBlip>
            </a:pPr>
            <a:r>
              <a:rPr lang="en-gb" sz="1400" dirty="0">
                <a:solidFill>
                  <a:schemeClr val="tx1"/>
                </a:solidFill>
              </a:rPr>
              <a:t>After a seizure, the victim may be confused, do not leave</a:t>
            </a:r>
            <a:r>
              <a:rPr lang="lv-LV" sz="1400" dirty="0">
                <a:solidFill>
                  <a:schemeClr val="tx1"/>
                </a:solidFill>
              </a:rPr>
              <a:t> </a:t>
            </a:r>
            <a:r>
              <a:rPr lang="lv-LV" sz="1400" dirty="0" err="1">
                <a:solidFill>
                  <a:schemeClr val="tx1"/>
                </a:solidFill>
              </a:rPr>
              <a:t>them</a:t>
            </a:r>
            <a:r>
              <a:rPr lang="en-gb" sz="1400" dirty="0">
                <a:solidFill>
                  <a:schemeClr val="tx1"/>
                </a:solidFill>
              </a:rPr>
              <a:t> alone.</a:t>
            </a:r>
          </a:p>
        </p:txBody>
      </p:sp>
      <p:sp>
        <p:nvSpPr>
          <p:cNvPr id="27" name="Rectangle 26">
            <a:extLst>
              <a:ext uri="{FF2B5EF4-FFF2-40B4-BE49-F238E27FC236}">
                <a16:creationId xmlns:a16="http://schemas.microsoft.com/office/drawing/2014/main" id="{72D802D4-B169-1594-D931-40179675E33A}"/>
              </a:ext>
            </a:extLst>
          </p:cNvPr>
          <p:cNvSpPr/>
          <p:nvPr/>
        </p:nvSpPr>
        <p:spPr>
          <a:xfrm>
            <a:off x="442913" y="4171447"/>
            <a:ext cx="673417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bg1"/>
                </a:solidFill>
              </a:rPr>
              <a:t>Important!</a:t>
            </a:r>
          </a:p>
        </p:txBody>
      </p:sp>
      <p:grpSp>
        <p:nvGrpSpPr>
          <p:cNvPr id="9" name="Group 8">
            <a:extLst>
              <a:ext uri="{FF2B5EF4-FFF2-40B4-BE49-F238E27FC236}">
                <a16:creationId xmlns:a16="http://schemas.microsoft.com/office/drawing/2014/main" id="{CD2C3658-A1D3-3144-1ED5-F2F246D99B5F}"/>
              </a:ext>
            </a:extLst>
          </p:cNvPr>
          <p:cNvGrpSpPr/>
          <p:nvPr/>
        </p:nvGrpSpPr>
        <p:grpSpPr>
          <a:xfrm>
            <a:off x="6529696" y="4171447"/>
            <a:ext cx="647388" cy="576000"/>
            <a:chOff x="3924613" y="3998595"/>
            <a:chExt cx="647388" cy="576000"/>
          </a:xfrm>
        </p:grpSpPr>
        <p:sp>
          <p:nvSpPr>
            <p:cNvPr id="44" name="Content Placeholder 1">
              <a:extLst>
                <a:ext uri="{FF2B5EF4-FFF2-40B4-BE49-F238E27FC236}">
                  <a16:creationId xmlns:a16="http://schemas.microsoft.com/office/drawing/2014/main" id="{37325A5C-F07F-2313-782A-18E3E98D15F0}"/>
                </a:ext>
              </a:extLst>
            </p:cNvPr>
            <p:cNvSpPr txBox="1">
              <a:spLocks/>
            </p:cNvSpPr>
            <p:nvPr/>
          </p:nvSpPr>
          <p:spPr>
            <a:xfrm>
              <a:off x="3996001" y="39985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45" name="Content Placeholder 1">
              <a:extLst>
                <a:ext uri="{FF2B5EF4-FFF2-40B4-BE49-F238E27FC236}">
                  <a16:creationId xmlns:a16="http://schemas.microsoft.com/office/drawing/2014/main" id="{5A4A472A-422C-56F4-A0F5-AE422E82D144}"/>
                </a:ext>
              </a:extLst>
            </p:cNvPr>
            <p:cNvSpPr txBox="1">
              <a:spLocks/>
            </p:cNvSpPr>
            <p:nvPr/>
          </p:nvSpPr>
          <p:spPr>
            <a:xfrm>
              <a:off x="3924613" y="39985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49" name="Google Shape;794;p79">
              <a:extLst>
                <a:ext uri="{FF2B5EF4-FFF2-40B4-BE49-F238E27FC236}">
                  <a16:creationId xmlns:a16="http://schemas.microsoft.com/office/drawing/2014/main" id="{DED3BED4-139F-CB4F-0A7B-7B90211550F4}"/>
                </a:ext>
              </a:extLst>
            </p:cNvPr>
            <p:cNvSpPr/>
            <p:nvPr/>
          </p:nvSpPr>
          <p:spPr>
            <a:xfrm>
              <a:off x="4104001" y="41065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10" name="Rectangle 9">
            <a:extLst>
              <a:ext uri="{FF2B5EF4-FFF2-40B4-BE49-F238E27FC236}">
                <a16:creationId xmlns:a16="http://schemas.microsoft.com/office/drawing/2014/main" id="{8CC33394-EBA6-F8B3-884F-79BAB196D95C}"/>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6" name="Group 5">
            <a:extLst>
              <a:ext uri="{FF2B5EF4-FFF2-40B4-BE49-F238E27FC236}">
                <a16:creationId xmlns:a16="http://schemas.microsoft.com/office/drawing/2014/main" id="{3B6105E1-77DC-1D76-8C8C-2948FA3BC95C}"/>
              </a:ext>
            </a:extLst>
          </p:cNvPr>
          <p:cNvGrpSpPr/>
          <p:nvPr/>
        </p:nvGrpSpPr>
        <p:grpSpPr>
          <a:xfrm>
            <a:off x="9842140" y="372216"/>
            <a:ext cx="1667215" cy="217488"/>
            <a:chOff x="9842140" y="372216"/>
            <a:chExt cx="1667215" cy="217488"/>
          </a:xfrm>
        </p:grpSpPr>
        <p:sp>
          <p:nvSpPr>
            <p:cNvPr id="20" name="TextBox 19">
              <a:extLst>
                <a:ext uri="{FF2B5EF4-FFF2-40B4-BE49-F238E27FC236}">
                  <a16:creationId xmlns:a16="http://schemas.microsoft.com/office/drawing/2014/main" id="{D3132C5D-B790-6958-7A5B-35741E3EEAFE}"/>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rtl="0">
                <a:lnSpc>
                  <a:spcPct val="100000"/>
                </a:lnSpc>
                <a:spcAft>
                  <a:spcPts val="600"/>
                </a:spcAft>
                <a:buSzPct val="100000"/>
              </a:pPr>
              <a:r>
                <a:rPr lang="en-gb" sz="800">
                  <a:solidFill>
                    <a:schemeClr val="bg1"/>
                  </a:solidFill>
                </a:rPr>
                <a:t>Diseases</a:t>
              </a:r>
            </a:p>
          </p:txBody>
        </p:sp>
        <p:sp>
          <p:nvSpPr>
            <p:cNvPr id="21" name="Freeform 49">
              <a:extLst>
                <a:ext uri="{FF2B5EF4-FFF2-40B4-BE49-F238E27FC236}">
                  <a16:creationId xmlns:a16="http://schemas.microsoft.com/office/drawing/2014/main" id="{86BC0698-7F41-B85F-1A94-879CD83DE818}"/>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p>
          </p:txBody>
        </p:sp>
      </p:grpSp>
      <p:grpSp>
        <p:nvGrpSpPr>
          <p:cNvPr id="19" name="Group 18">
            <a:extLst>
              <a:ext uri="{FF2B5EF4-FFF2-40B4-BE49-F238E27FC236}">
                <a16:creationId xmlns:a16="http://schemas.microsoft.com/office/drawing/2014/main" id="{77F40A71-4756-E1A8-F5BB-9D3C68C9E1AA}"/>
              </a:ext>
            </a:extLst>
          </p:cNvPr>
          <p:cNvGrpSpPr/>
          <p:nvPr/>
        </p:nvGrpSpPr>
        <p:grpSpPr>
          <a:xfrm>
            <a:off x="9122935" y="126781"/>
            <a:ext cx="2626153" cy="217488"/>
            <a:chOff x="9122935" y="126781"/>
            <a:chExt cx="2626153" cy="217488"/>
          </a:xfrm>
        </p:grpSpPr>
        <p:sp>
          <p:nvSpPr>
            <p:cNvPr id="22" name="Rectangle 21">
              <a:extLst>
                <a:ext uri="{FF2B5EF4-FFF2-40B4-BE49-F238E27FC236}">
                  <a16:creationId xmlns:a16="http://schemas.microsoft.com/office/drawing/2014/main" id="{5FEF93E6-3661-FB18-994D-FD9C77CACF09}"/>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000000"/>
                  </a:solidFill>
                  <a:effectLst/>
                  <a:uLnTx/>
                  <a:uFillTx/>
                  <a:ea typeface="Georgia"/>
                  <a:cs typeface="Georgia"/>
                  <a:sym typeface="Georgia"/>
                </a:rPr>
                <a:t>First aid measures</a:t>
              </a:r>
            </a:p>
          </p:txBody>
        </p:sp>
        <p:sp>
          <p:nvSpPr>
            <p:cNvPr id="23" name="Rectangle 22">
              <a:extLst>
                <a:ext uri="{FF2B5EF4-FFF2-40B4-BE49-F238E27FC236}">
                  <a16:creationId xmlns:a16="http://schemas.microsoft.com/office/drawing/2014/main" id="{1A471FBB-CBDE-07E6-EF89-4B23704000F7}"/>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24" name="Rectangle 23">
              <a:extLst>
                <a:ext uri="{FF2B5EF4-FFF2-40B4-BE49-F238E27FC236}">
                  <a16:creationId xmlns:a16="http://schemas.microsoft.com/office/drawing/2014/main" id="{AE62BBCE-F25A-B4CE-948C-CD97FD5E04C2}"/>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28" name="Rectangle 27">
              <a:extLst>
                <a:ext uri="{FF2B5EF4-FFF2-40B4-BE49-F238E27FC236}">
                  <a16:creationId xmlns:a16="http://schemas.microsoft.com/office/drawing/2014/main" id="{8A1AE69F-C4ED-2DE5-42D7-A1023CD2FC87}"/>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1B7AE801-7219-7B95-8577-2037F01F5027}"/>
                </a:ext>
              </a:extLst>
            </p:cNvPr>
            <p:cNvSpPr/>
            <p:nvPr/>
          </p:nvSpPr>
          <p:spPr>
            <a:xfrm>
              <a:off x="9842140"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7</a:t>
              </a:r>
              <a:r>
                <a:rPr lang="en-gb" sz="800" b="1" i="0" u="none" strike="noStrike" kern="0" cap="none" spc="0" normalizeH="0" noProof="0">
                  <a:ln>
                    <a:noFill/>
                  </a:ln>
                  <a:effectLst/>
                  <a:uLnTx/>
                  <a:uFillTx/>
                  <a:ea typeface="Georgia"/>
                  <a:cs typeface="Georgia"/>
                  <a:sym typeface="Georgia"/>
                </a:rPr>
                <a:t>.4</a:t>
              </a:r>
              <a:endParaRPr kumimoji="0" lang="lv-LV" sz="800" b="1" i="0" u="none" strike="noStrike" kern="0" cap="none" spc="0" normalizeH="0" baseline="0" noProof="0" dirty="0">
                <a:ln>
                  <a:noFill/>
                </a:ln>
                <a:effectLst/>
                <a:uLnTx/>
                <a:uFillTx/>
                <a:ea typeface="Georgia"/>
                <a:cs typeface="Georgia"/>
                <a:sym typeface="Georgia"/>
              </a:endParaRPr>
            </a:p>
          </p:txBody>
        </p:sp>
        <p:sp>
          <p:nvSpPr>
            <p:cNvPr id="32" name="Rectangle 31">
              <a:extLst>
                <a:ext uri="{FF2B5EF4-FFF2-40B4-BE49-F238E27FC236}">
                  <a16:creationId xmlns:a16="http://schemas.microsoft.com/office/drawing/2014/main" id="{E01AECEE-D27D-BEDE-4874-F64E6121656B}"/>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414119169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42484D8-B92F-3120-2EA3-19BDEF030AC7}"/>
              </a:ext>
            </a:extLst>
          </p:cNvPr>
          <p:cNvPicPr>
            <a:picLocks noChangeAspect="1"/>
          </p:cNvPicPr>
          <p:nvPr/>
        </p:nvPicPr>
        <p:blipFill>
          <a:blip r:embed="rId4"/>
          <a:stretch>
            <a:fillRect/>
          </a:stretch>
        </p:blipFill>
        <p:spPr>
          <a:xfrm>
            <a:off x="7620000" y="0"/>
            <a:ext cx="4572000" cy="6858000"/>
          </a:xfrm>
          <a:prstGeom prst="rect">
            <a:avLst/>
          </a:prstGeom>
        </p:spPr>
      </p:pic>
      <p:sp>
        <p:nvSpPr>
          <p:cNvPr id="10" name="Rectangle 9">
            <a:extLst>
              <a:ext uri="{FF2B5EF4-FFF2-40B4-BE49-F238E27FC236}">
                <a16:creationId xmlns:a16="http://schemas.microsoft.com/office/drawing/2014/main" id="{608520D7-EDD4-93AD-A51B-E10E55BFCDBF}"/>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graphicFrame>
        <p:nvGraphicFramePr>
          <p:cNvPr id="12" name="think-cell data - do not delete" hidden="1">
            <a:extLst>
              <a:ext uri="{FF2B5EF4-FFF2-40B4-BE49-F238E27FC236}">
                <a16:creationId xmlns:a16="http://schemas.microsoft.com/office/drawing/2014/main" id="{F6E6AF23-7B86-113A-F559-513B41FEC1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12" name="think-cell data - do not delete" hidden="1">
                        <a:extLst>
                          <a:ext uri="{FF2B5EF4-FFF2-40B4-BE49-F238E27FC236}">
                            <a16:creationId xmlns:a16="http://schemas.microsoft.com/office/drawing/2014/main" id="{F6E6AF23-7B86-113A-F559-513B41FEC1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3C02F18C-4E74-90B5-EC0B-78FCC94453E3}"/>
              </a:ext>
            </a:extLst>
          </p:cNvPr>
          <p:cNvSpPr txBox="1"/>
          <p:nvPr/>
        </p:nvSpPr>
        <p:spPr>
          <a:xfrm>
            <a:off x="442909" y="2398712"/>
            <a:ext cx="6734175" cy="1373216"/>
          </a:xfrm>
          <a:prstGeom prst="rect">
            <a:avLst/>
          </a:prstGeom>
          <a:solidFill>
            <a:schemeClr val="bg1">
              <a:lumMod val="95000"/>
            </a:schemeClr>
          </a:solidFill>
        </p:spPr>
        <p:txBody>
          <a:bodyPr wrap="square" lIns="72000" tIns="72000" rIns="72000" bIns="72000" rtlCol="0">
            <a:noAutofit/>
          </a:bodyPr>
          <a:lstStyle/>
          <a:p>
            <a:pPr marL="284400" lvl="0" indent="-284400" rtl="0">
              <a:spcAft>
                <a:spcPts val="600"/>
              </a:spcAft>
              <a:buBlip>
                <a:blip r:embed="rId7"/>
              </a:buBlip>
            </a:pPr>
            <a:r>
              <a:rPr lang="en-gb" sz="1400"/>
              <a:t>During a seizure, protect the victim from possible injury, especially the victim's head.</a:t>
            </a:r>
            <a:endParaRPr lang="en-GB" sz="1400"/>
          </a:p>
          <a:p>
            <a:pPr marL="284400" lvl="0" indent="-284400" rtl="0">
              <a:spcAft>
                <a:spcPts val="600"/>
              </a:spcAft>
              <a:buBlip>
                <a:blip r:embed="rId7"/>
              </a:buBlip>
            </a:pPr>
            <a:r>
              <a:rPr lang="en-gb" sz="1400"/>
              <a:t>Call an ambulance.</a:t>
            </a:r>
            <a:endParaRPr lang="en-GB" sz="1400"/>
          </a:p>
          <a:p>
            <a:pPr marL="284400" indent="-284400" rtl="0">
              <a:spcAft>
                <a:spcPts val="600"/>
              </a:spcAft>
              <a:buBlip>
                <a:blip r:embed="rId7"/>
              </a:buBlip>
            </a:pPr>
            <a:r>
              <a:rPr lang="en-gb" sz="1400"/>
              <a:t>If necessary, resuscitate only after a seizure, not during it.</a:t>
            </a:r>
            <a:endParaRPr lang="en-GB" sz="1400"/>
          </a:p>
        </p:txBody>
      </p:sp>
      <p:sp>
        <p:nvSpPr>
          <p:cNvPr id="11" name="Rectangle 10">
            <a:extLst>
              <a:ext uri="{FF2B5EF4-FFF2-40B4-BE49-F238E27FC236}">
                <a16:creationId xmlns:a16="http://schemas.microsoft.com/office/drawing/2014/main" id="{07889E6A-8E21-2803-30A1-A645AF04340F}"/>
              </a:ext>
            </a:extLst>
          </p:cNvPr>
          <p:cNvSpPr/>
          <p:nvPr/>
        </p:nvSpPr>
        <p:spPr>
          <a:xfrm>
            <a:off x="442913" y="4747447"/>
            <a:ext cx="6734175" cy="142475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4400" indent="-284400" rtl="0">
              <a:spcAft>
                <a:spcPts val="600"/>
              </a:spcAft>
              <a:buBlip>
                <a:blip r:embed="rId7"/>
              </a:buBlip>
            </a:pPr>
            <a:r>
              <a:rPr lang="en-gb" sz="1400" dirty="0">
                <a:solidFill>
                  <a:schemeClr val="tx1"/>
                </a:solidFill>
              </a:rPr>
              <a:t>It is especially dangerous if the seizure lasts longer than 5 minutes or if the seizures are repeated over a short period of time.</a:t>
            </a:r>
          </a:p>
          <a:p>
            <a:pPr marL="284400" indent="-284400" rtl="0">
              <a:spcAft>
                <a:spcPts val="600"/>
              </a:spcAft>
              <a:buBlip>
                <a:blip r:embed="rId7"/>
              </a:buBlip>
            </a:pPr>
            <a:r>
              <a:rPr lang="en-gb" sz="1400" dirty="0">
                <a:solidFill>
                  <a:schemeClr val="tx1"/>
                </a:solidFill>
              </a:rPr>
              <a:t>Do not </a:t>
            </a:r>
            <a:r>
              <a:rPr lang="lv-LV" sz="1400" dirty="0" err="1">
                <a:solidFill>
                  <a:schemeClr val="tx1"/>
                </a:solidFill>
              </a:rPr>
              <a:t>hold</a:t>
            </a:r>
            <a:r>
              <a:rPr lang="lv-LV" sz="1400" dirty="0">
                <a:solidFill>
                  <a:schemeClr val="tx1"/>
                </a:solidFill>
              </a:rPr>
              <a:t> </a:t>
            </a:r>
            <a:r>
              <a:rPr lang="lv-LV" sz="1400" dirty="0" err="1">
                <a:solidFill>
                  <a:schemeClr val="tx1"/>
                </a:solidFill>
              </a:rPr>
              <a:t>down</a:t>
            </a:r>
            <a:r>
              <a:rPr lang="en-gb" sz="1400" dirty="0">
                <a:solidFill>
                  <a:schemeClr val="tx1"/>
                </a:solidFill>
              </a:rPr>
              <a:t> the victim during the attack, do not try to open the bitten teeth and do not put anything in </a:t>
            </a:r>
            <a:r>
              <a:rPr lang="lv-LV" sz="1400" dirty="0" err="1">
                <a:solidFill>
                  <a:schemeClr val="tx1"/>
                </a:solidFill>
              </a:rPr>
              <a:t>their</a:t>
            </a:r>
            <a:r>
              <a:rPr lang="en-gb" sz="1400" dirty="0">
                <a:solidFill>
                  <a:schemeClr val="tx1"/>
                </a:solidFill>
              </a:rPr>
              <a:t> mouth.</a:t>
            </a:r>
          </a:p>
          <a:p>
            <a:pPr marL="284400" indent="-284400" rtl="0">
              <a:spcAft>
                <a:spcPts val="600"/>
              </a:spcAft>
              <a:buBlip>
                <a:blip r:embed="rId7"/>
              </a:buBlip>
            </a:pPr>
            <a:r>
              <a:rPr lang="en-gb" sz="1400" dirty="0">
                <a:solidFill>
                  <a:schemeClr val="tx1"/>
                </a:solidFill>
              </a:rPr>
              <a:t>After a seizure, the victim may be confused, do not leave</a:t>
            </a:r>
            <a:r>
              <a:rPr lang="lv-LV" sz="1400" dirty="0">
                <a:solidFill>
                  <a:schemeClr val="tx1"/>
                </a:solidFill>
              </a:rPr>
              <a:t> </a:t>
            </a:r>
            <a:r>
              <a:rPr lang="lv-LV" sz="1400" dirty="0" err="1">
                <a:solidFill>
                  <a:schemeClr val="tx1"/>
                </a:solidFill>
              </a:rPr>
              <a:t>them</a:t>
            </a:r>
            <a:r>
              <a:rPr lang="en-gb" sz="1400" dirty="0">
                <a:solidFill>
                  <a:schemeClr val="tx1"/>
                </a:solidFill>
              </a:rPr>
              <a:t> alone.</a:t>
            </a:r>
          </a:p>
        </p:txBody>
      </p:sp>
      <p:sp>
        <p:nvSpPr>
          <p:cNvPr id="13" name="Rectangle 12">
            <a:extLst>
              <a:ext uri="{FF2B5EF4-FFF2-40B4-BE49-F238E27FC236}">
                <a16:creationId xmlns:a16="http://schemas.microsoft.com/office/drawing/2014/main" id="{10ECE187-B3A4-BDE3-A3F3-430688A0658E}"/>
              </a:ext>
            </a:extLst>
          </p:cNvPr>
          <p:cNvSpPr/>
          <p:nvPr/>
        </p:nvSpPr>
        <p:spPr>
          <a:xfrm>
            <a:off x="442913" y="4171447"/>
            <a:ext cx="673417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bg1"/>
                </a:solidFill>
              </a:rPr>
              <a:t>Important!</a:t>
            </a:r>
          </a:p>
        </p:txBody>
      </p:sp>
      <p:grpSp>
        <p:nvGrpSpPr>
          <p:cNvPr id="14" name="Group 13">
            <a:extLst>
              <a:ext uri="{FF2B5EF4-FFF2-40B4-BE49-F238E27FC236}">
                <a16:creationId xmlns:a16="http://schemas.microsoft.com/office/drawing/2014/main" id="{267418C2-6F99-A659-AB11-419EED1354F6}"/>
              </a:ext>
            </a:extLst>
          </p:cNvPr>
          <p:cNvGrpSpPr/>
          <p:nvPr/>
        </p:nvGrpSpPr>
        <p:grpSpPr>
          <a:xfrm>
            <a:off x="6529696" y="4171447"/>
            <a:ext cx="647388" cy="576000"/>
            <a:chOff x="3924613" y="3998595"/>
            <a:chExt cx="647388" cy="576000"/>
          </a:xfrm>
        </p:grpSpPr>
        <p:sp>
          <p:nvSpPr>
            <p:cNvPr id="15" name="Content Placeholder 1">
              <a:extLst>
                <a:ext uri="{FF2B5EF4-FFF2-40B4-BE49-F238E27FC236}">
                  <a16:creationId xmlns:a16="http://schemas.microsoft.com/office/drawing/2014/main" id="{4CB45765-8E44-820A-9E40-C91FDDCB9B97}"/>
                </a:ext>
              </a:extLst>
            </p:cNvPr>
            <p:cNvSpPr txBox="1">
              <a:spLocks/>
            </p:cNvSpPr>
            <p:nvPr/>
          </p:nvSpPr>
          <p:spPr>
            <a:xfrm>
              <a:off x="3996001" y="39985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6" name="Content Placeholder 1">
              <a:extLst>
                <a:ext uri="{FF2B5EF4-FFF2-40B4-BE49-F238E27FC236}">
                  <a16:creationId xmlns:a16="http://schemas.microsoft.com/office/drawing/2014/main" id="{52A415CE-22D9-E6CE-20F0-E3F689A0DFF5}"/>
                </a:ext>
              </a:extLst>
            </p:cNvPr>
            <p:cNvSpPr txBox="1">
              <a:spLocks/>
            </p:cNvSpPr>
            <p:nvPr/>
          </p:nvSpPr>
          <p:spPr>
            <a:xfrm>
              <a:off x="3924613" y="39985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7" name="Google Shape;794;p79">
              <a:extLst>
                <a:ext uri="{FF2B5EF4-FFF2-40B4-BE49-F238E27FC236}">
                  <a16:creationId xmlns:a16="http://schemas.microsoft.com/office/drawing/2014/main" id="{37C289FF-B8DD-FBCD-F62C-1CC8FAE65FA8}"/>
                </a:ext>
              </a:extLst>
            </p:cNvPr>
            <p:cNvSpPr/>
            <p:nvPr/>
          </p:nvSpPr>
          <p:spPr>
            <a:xfrm>
              <a:off x="4104001" y="41065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11306175" cy="1387274"/>
          </a:xfrm>
        </p:spPr>
        <p:txBody>
          <a:bodyPr vert="horz" rtlCol="0"/>
          <a:lstStyle/>
          <a:p>
            <a:pPr rtl="0"/>
            <a:r>
              <a:rPr lang="en-gb"/>
              <a:t>What if the victim has a seizure?</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rtlCol="0"/>
          <a:lstStyle/>
          <a:p>
            <a:pPr rtl="0"/>
            <a:fld id="{7870704B-CE94-48CC-AF30-84932A1262A7}" type="slidenum">
              <a:rPr lang="en-GB" smtClean="0">
                <a:solidFill>
                  <a:schemeClr val="bg1"/>
                </a:solidFill>
              </a:rPr>
              <a:pPr rtl="0"/>
              <a:t>41</a:t>
            </a:fld>
            <a:endParaRPr lang="en-GB">
              <a:solidFill>
                <a:schemeClr val="bg1"/>
              </a:solidFill>
            </a:endParaRPr>
          </a:p>
        </p:txBody>
      </p:sp>
      <p:sp>
        <p:nvSpPr>
          <p:cNvPr id="26" name="Rectangle 25">
            <a:extLst>
              <a:ext uri="{FF2B5EF4-FFF2-40B4-BE49-F238E27FC236}">
                <a16:creationId xmlns:a16="http://schemas.microsoft.com/office/drawing/2014/main" id="{5EC1F9AE-82A4-85FE-592B-EF659F76F7EC}"/>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tx1"/>
                </a:solidFill>
              </a:rPr>
              <a:t>How to proceed?</a:t>
            </a:r>
          </a:p>
        </p:txBody>
      </p:sp>
      <p:sp>
        <p:nvSpPr>
          <p:cNvPr id="29" name="Content Placeholder 1">
            <a:extLst>
              <a:ext uri="{FF2B5EF4-FFF2-40B4-BE49-F238E27FC236}">
                <a16:creationId xmlns:a16="http://schemas.microsoft.com/office/drawing/2014/main" id="{3915AD89-6428-4A75-0915-328643F1703C}"/>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30" name="Content Placeholder 1">
            <a:extLst>
              <a:ext uri="{FF2B5EF4-FFF2-40B4-BE49-F238E27FC236}">
                <a16:creationId xmlns:a16="http://schemas.microsoft.com/office/drawing/2014/main" id="{373AB206-F1F0-CC72-8C15-85605D9AF2AC}"/>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46" name="Google Shape;760;p79">
            <a:extLst>
              <a:ext uri="{FF2B5EF4-FFF2-40B4-BE49-F238E27FC236}">
                <a16:creationId xmlns:a16="http://schemas.microsoft.com/office/drawing/2014/main" id="{09BF84D6-F468-7005-FAB5-AA0B6AE5CFB4}"/>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0" name="Rectangle 49">
            <a:extLst>
              <a:ext uri="{FF2B5EF4-FFF2-40B4-BE49-F238E27FC236}">
                <a16:creationId xmlns:a16="http://schemas.microsoft.com/office/drawing/2014/main" id="{0130363F-7CE7-F3D0-4AB5-F295FAC2DCBC}"/>
              </a:ext>
            </a:extLst>
          </p:cNvPr>
          <p:cNvSpPr/>
          <p:nvPr/>
        </p:nvSpPr>
        <p:spPr>
          <a:xfrm>
            <a:off x="442913" y="963958"/>
            <a:ext cx="6734171" cy="628650"/>
          </a:xfrm>
          <a:prstGeom prst="rect">
            <a:avLst/>
          </a:prstGeom>
          <a:solidFill>
            <a:schemeClr val="bg1"/>
          </a:solidFill>
          <a:ln>
            <a:solidFill>
              <a:schemeClr val="accent2"/>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51" name="Rectangle 50">
            <a:extLst>
              <a:ext uri="{FF2B5EF4-FFF2-40B4-BE49-F238E27FC236}">
                <a16:creationId xmlns:a16="http://schemas.microsoft.com/office/drawing/2014/main" id="{AFEB1935-0849-FFDB-14A2-768E555E2F79}"/>
              </a:ext>
            </a:extLst>
          </p:cNvPr>
          <p:cNvSpPr/>
          <p:nvPr/>
        </p:nvSpPr>
        <p:spPr>
          <a:xfrm>
            <a:off x="1454989" y="1062283"/>
            <a:ext cx="5614092"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rIns="0" rtlCol="0" anchor="ctr"/>
          <a:lstStyle/>
          <a:p>
            <a:pPr rtl="0"/>
            <a:r>
              <a:rPr lang="lv-LV" sz="1600" b="1" spc="-50" dirty="0" err="1">
                <a:solidFill>
                  <a:schemeClr val="tx1"/>
                </a:solidFill>
              </a:rPr>
              <a:t>They</a:t>
            </a:r>
            <a:r>
              <a:rPr lang="lv-LV" sz="1600" b="1" spc="-50" dirty="0">
                <a:solidFill>
                  <a:schemeClr val="tx1"/>
                </a:solidFill>
              </a:rPr>
              <a:t> </a:t>
            </a:r>
            <a:r>
              <a:rPr lang="lv-LV" sz="1600" b="1" spc="-50" dirty="0" err="1">
                <a:solidFill>
                  <a:schemeClr val="tx1"/>
                </a:solidFill>
              </a:rPr>
              <a:t>suddenly</a:t>
            </a:r>
            <a:r>
              <a:rPr lang="lv-LV" sz="1600" b="1" spc="-50" dirty="0">
                <a:solidFill>
                  <a:schemeClr val="tx1"/>
                </a:solidFill>
              </a:rPr>
              <a:t> </a:t>
            </a:r>
            <a:r>
              <a:rPr lang="lv-LV" sz="1600" b="1" spc="-50" dirty="0" err="1">
                <a:solidFill>
                  <a:schemeClr val="tx1"/>
                </a:solidFill>
              </a:rPr>
              <a:t>fall</a:t>
            </a:r>
            <a:r>
              <a:rPr lang="lv-LV" sz="1600" b="1" spc="-50" dirty="0">
                <a:solidFill>
                  <a:schemeClr val="tx1"/>
                </a:solidFill>
              </a:rPr>
              <a:t> to </a:t>
            </a:r>
            <a:r>
              <a:rPr lang="lv-LV" sz="1600" b="1" spc="-50" dirty="0" err="1">
                <a:solidFill>
                  <a:schemeClr val="tx1"/>
                </a:solidFill>
              </a:rPr>
              <a:t>the</a:t>
            </a:r>
            <a:r>
              <a:rPr lang="lv-LV" sz="1600" b="1" spc="-50" dirty="0">
                <a:solidFill>
                  <a:schemeClr val="tx1"/>
                </a:solidFill>
              </a:rPr>
              <a:t> </a:t>
            </a:r>
            <a:r>
              <a:rPr lang="lv-LV" sz="1600" b="1" spc="-50" dirty="0" err="1">
                <a:solidFill>
                  <a:schemeClr val="tx1"/>
                </a:solidFill>
              </a:rPr>
              <a:t>ground</a:t>
            </a:r>
            <a:r>
              <a:rPr lang="lv-LV" sz="1600" b="1" spc="-50" dirty="0">
                <a:solidFill>
                  <a:schemeClr val="tx1"/>
                </a:solidFill>
              </a:rPr>
              <a:t>. </a:t>
            </a:r>
            <a:r>
              <a:rPr lang="en-gb" sz="1600" b="1" spc="-50" dirty="0">
                <a:solidFill>
                  <a:schemeClr val="tx1"/>
                </a:solidFill>
              </a:rPr>
              <a:t>The body becomes stiff and tense. Twitching, crampy movements throughout the body.</a:t>
            </a:r>
          </a:p>
        </p:txBody>
      </p:sp>
      <p:sp>
        <p:nvSpPr>
          <p:cNvPr id="52" name="Google Shape;736;p79">
            <a:extLst>
              <a:ext uri="{FF2B5EF4-FFF2-40B4-BE49-F238E27FC236}">
                <a16:creationId xmlns:a16="http://schemas.microsoft.com/office/drawing/2014/main" id="{C28EBB85-E5E0-FA58-8077-AD15508F23C6}"/>
              </a:ext>
            </a:extLst>
          </p:cNvPr>
          <p:cNvSpPr/>
          <p:nvPr/>
        </p:nvSpPr>
        <p:spPr>
          <a:xfrm>
            <a:off x="580073" y="1062283"/>
            <a:ext cx="432000" cy="432000"/>
          </a:xfrm>
          <a:custGeom>
            <a:avLst/>
            <a:gdLst/>
            <a:ahLst/>
            <a:cxnLst/>
            <a:rect l="l" t="t" r="r" b="b"/>
            <a:pathLst>
              <a:path w="155" h="154" extrusionOk="0">
                <a:moveTo>
                  <a:pt x="155" y="0"/>
                </a:moveTo>
                <a:lnTo>
                  <a:pt x="155" y="50"/>
                </a:lnTo>
                <a:lnTo>
                  <a:pt x="148" y="50"/>
                </a:lnTo>
                <a:lnTo>
                  <a:pt x="148" y="7"/>
                </a:lnTo>
                <a:lnTo>
                  <a:pt x="7" y="7"/>
                </a:lnTo>
                <a:lnTo>
                  <a:pt x="7" y="121"/>
                </a:lnTo>
                <a:lnTo>
                  <a:pt x="28" y="121"/>
                </a:lnTo>
                <a:lnTo>
                  <a:pt x="28" y="139"/>
                </a:lnTo>
                <a:lnTo>
                  <a:pt x="46" y="121"/>
                </a:lnTo>
                <a:lnTo>
                  <a:pt x="56" y="121"/>
                </a:lnTo>
                <a:lnTo>
                  <a:pt x="56" y="127"/>
                </a:lnTo>
                <a:lnTo>
                  <a:pt x="49" y="127"/>
                </a:lnTo>
                <a:lnTo>
                  <a:pt x="21" y="154"/>
                </a:lnTo>
                <a:lnTo>
                  <a:pt x="21" y="127"/>
                </a:lnTo>
                <a:lnTo>
                  <a:pt x="0" y="127"/>
                </a:lnTo>
                <a:lnTo>
                  <a:pt x="0" y="0"/>
                </a:lnTo>
                <a:lnTo>
                  <a:pt x="155" y="0"/>
                </a:lnTo>
                <a:close/>
                <a:moveTo>
                  <a:pt x="126" y="33"/>
                </a:moveTo>
                <a:lnTo>
                  <a:pt x="29" y="33"/>
                </a:lnTo>
                <a:lnTo>
                  <a:pt x="29" y="39"/>
                </a:lnTo>
                <a:lnTo>
                  <a:pt x="126" y="39"/>
                </a:lnTo>
                <a:lnTo>
                  <a:pt x="126" y="33"/>
                </a:lnTo>
                <a:close/>
                <a:moveTo>
                  <a:pt x="29" y="67"/>
                </a:moveTo>
                <a:lnTo>
                  <a:pt x="56" y="67"/>
                </a:lnTo>
                <a:lnTo>
                  <a:pt x="56" y="60"/>
                </a:lnTo>
                <a:lnTo>
                  <a:pt x="29" y="60"/>
                </a:lnTo>
                <a:lnTo>
                  <a:pt x="29" y="67"/>
                </a:lnTo>
                <a:close/>
                <a:moveTo>
                  <a:pt x="29" y="95"/>
                </a:moveTo>
                <a:lnTo>
                  <a:pt x="56" y="95"/>
                </a:lnTo>
                <a:lnTo>
                  <a:pt x="56" y="89"/>
                </a:lnTo>
                <a:lnTo>
                  <a:pt x="29" y="89"/>
                </a:lnTo>
                <a:lnTo>
                  <a:pt x="29" y="95"/>
                </a:lnTo>
                <a:close/>
                <a:moveTo>
                  <a:pt x="130" y="89"/>
                </a:moveTo>
                <a:lnTo>
                  <a:pt x="94" y="89"/>
                </a:lnTo>
                <a:lnTo>
                  <a:pt x="94" y="95"/>
                </a:lnTo>
                <a:lnTo>
                  <a:pt x="130" y="95"/>
                </a:lnTo>
                <a:lnTo>
                  <a:pt x="130" y="89"/>
                </a:lnTo>
                <a:close/>
                <a:moveTo>
                  <a:pt x="71" y="60"/>
                </a:moveTo>
                <a:lnTo>
                  <a:pt x="155" y="60"/>
                </a:lnTo>
                <a:lnTo>
                  <a:pt x="155" y="127"/>
                </a:lnTo>
                <a:lnTo>
                  <a:pt x="135" y="127"/>
                </a:lnTo>
                <a:lnTo>
                  <a:pt x="135" y="154"/>
                </a:lnTo>
                <a:lnTo>
                  <a:pt x="107" y="127"/>
                </a:lnTo>
                <a:lnTo>
                  <a:pt x="71" y="127"/>
                </a:lnTo>
                <a:lnTo>
                  <a:pt x="71" y="60"/>
                </a:lnTo>
                <a:close/>
                <a:moveTo>
                  <a:pt x="77" y="121"/>
                </a:moveTo>
                <a:lnTo>
                  <a:pt x="110" y="121"/>
                </a:lnTo>
                <a:lnTo>
                  <a:pt x="128" y="139"/>
                </a:lnTo>
                <a:lnTo>
                  <a:pt x="128" y="121"/>
                </a:lnTo>
                <a:lnTo>
                  <a:pt x="148" y="121"/>
                </a:lnTo>
                <a:lnTo>
                  <a:pt x="148" y="67"/>
                </a:lnTo>
                <a:lnTo>
                  <a:pt x="77" y="67"/>
                </a:lnTo>
                <a:lnTo>
                  <a:pt x="77" y="121"/>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3600">
              <a:solidFill>
                <a:schemeClr val="accent1"/>
              </a:solidFill>
              <a:latin typeface="Arial"/>
              <a:ea typeface="Arial"/>
              <a:cs typeface="Arial"/>
              <a:sym typeface="Arial"/>
            </a:endParaRPr>
          </a:p>
        </p:txBody>
      </p:sp>
      <p:cxnSp>
        <p:nvCxnSpPr>
          <p:cNvPr id="53" name="Straight Connector 52">
            <a:extLst>
              <a:ext uri="{FF2B5EF4-FFF2-40B4-BE49-F238E27FC236}">
                <a16:creationId xmlns:a16="http://schemas.microsoft.com/office/drawing/2014/main" id="{F358E754-064A-5B8C-B2FC-4E612BA07893}"/>
              </a:ext>
            </a:extLst>
          </p:cNvPr>
          <p:cNvCxnSpPr>
            <a:cxnSpLocks/>
          </p:cNvCxnSpPr>
          <p:nvPr/>
        </p:nvCxnSpPr>
        <p:spPr>
          <a:xfrm>
            <a:off x="1233531" y="1053947"/>
            <a:ext cx="0" cy="448673"/>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2" name="Rectangle 1">
            <a:extLst>
              <a:ext uri="{FF2B5EF4-FFF2-40B4-BE49-F238E27FC236}">
                <a16:creationId xmlns:a16="http://schemas.microsoft.com/office/drawing/2014/main" id="{704047AB-6DDC-C2CE-C1C1-09F2077282B4}"/>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5" name="Group 4">
            <a:extLst>
              <a:ext uri="{FF2B5EF4-FFF2-40B4-BE49-F238E27FC236}">
                <a16:creationId xmlns:a16="http://schemas.microsoft.com/office/drawing/2014/main" id="{24ED0251-E6F5-B0EE-B964-3572CCBD8AA4}"/>
              </a:ext>
            </a:extLst>
          </p:cNvPr>
          <p:cNvGrpSpPr/>
          <p:nvPr/>
        </p:nvGrpSpPr>
        <p:grpSpPr>
          <a:xfrm>
            <a:off x="9842140" y="372216"/>
            <a:ext cx="1667215" cy="217488"/>
            <a:chOff x="9842140" y="372216"/>
            <a:chExt cx="1667215" cy="217488"/>
          </a:xfrm>
        </p:grpSpPr>
        <p:sp>
          <p:nvSpPr>
            <p:cNvPr id="24" name="TextBox 23">
              <a:extLst>
                <a:ext uri="{FF2B5EF4-FFF2-40B4-BE49-F238E27FC236}">
                  <a16:creationId xmlns:a16="http://schemas.microsoft.com/office/drawing/2014/main" id="{696B1991-436D-D11D-7462-6F57272F54B1}"/>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rtl="0">
                <a:lnSpc>
                  <a:spcPct val="100000"/>
                </a:lnSpc>
                <a:spcAft>
                  <a:spcPts val="600"/>
                </a:spcAft>
                <a:buSzPct val="100000"/>
              </a:pPr>
              <a:r>
                <a:rPr lang="en-gb" sz="800">
                  <a:solidFill>
                    <a:schemeClr val="bg1"/>
                  </a:solidFill>
                </a:rPr>
                <a:t>Diseases</a:t>
              </a:r>
            </a:p>
          </p:txBody>
        </p:sp>
        <p:sp>
          <p:nvSpPr>
            <p:cNvPr id="25" name="Freeform 49">
              <a:extLst>
                <a:ext uri="{FF2B5EF4-FFF2-40B4-BE49-F238E27FC236}">
                  <a16:creationId xmlns:a16="http://schemas.microsoft.com/office/drawing/2014/main" id="{99787729-FB28-0725-8182-7196CAE326ED}"/>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p>
          </p:txBody>
        </p:sp>
      </p:grpSp>
      <p:grpSp>
        <p:nvGrpSpPr>
          <p:cNvPr id="23" name="Group 22">
            <a:extLst>
              <a:ext uri="{FF2B5EF4-FFF2-40B4-BE49-F238E27FC236}">
                <a16:creationId xmlns:a16="http://schemas.microsoft.com/office/drawing/2014/main" id="{3F5EF839-D7BE-7BCE-210A-3BADB5405ED6}"/>
              </a:ext>
            </a:extLst>
          </p:cNvPr>
          <p:cNvGrpSpPr/>
          <p:nvPr/>
        </p:nvGrpSpPr>
        <p:grpSpPr>
          <a:xfrm>
            <a:off x="9122935" y="126781"/>
            <a:ext cx="2626153" cy="217488"/>
            <a:chOff x="9122935" y="126781"/>
            <a:chExt cx="2626153" cy="217488"/>
          </a:xfrm>
        </p:grpSpPr>
        <p:sp>
          <p:nvSpPr>
            <p:cNvPr id="27" name="Rectangle 26">
              <a:extLst>
                <a:ext uri="{FF2B5EF4-FFF2-40B4-BE49-F238E27FC236}">
                  <a16:creationId xmlns:a16="http://schemas.microsoft.com/office/drawing/2014/main" id="{1FA38FE2-B819-0F10-F4DA-3EB2085691EE}"/>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000000"/>
                  </a:solidFill>
                  <a:effectLst/>
                  <a:uLnTx/>
                  <a:uFillTx/>
                  <a:ea typeface="Georgia"/>
                  <a:cs typeface="Georgia"/>
                  <a:sym typeface="Georgia"/>
                </a:rPr>
                <a:t>First aid measures</a:t>
              </a:r>
            </a:p>
          </p:txBody>
        </p:sp>
        <p:sp>
          <p:nvSpPr>
            <p:cNvPr id="28" name="Rectangle 27">
              <a:extLst>
                <a:ext uri="{FF2B5EF4-FFF2-40B4-BE49-F238E27FC236}">
                  <a16:creationId xmlns:a16="http://schemas.microsoft.com/office/drawing/2014/main" id="{6D654D86-3797-D9EB-F1A6-B29D4C7C21E4}"/>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7BD73179-FF7D-4D50-3CED-8C4DC387872A}"/>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2" name="Rectangle 31">
              <a:extLst>
                <a:ext uri="{FF2B5EF4-FFF2-40B4-BE49-F238E27FC236}">
                  <a16:creationId xmlns:a16="http://schemas.microsoft.com/office/drawing/2014/main" id="{640111BB-544F-C37F-30C2-95F3A913D117}"/>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3" name="Rectangle 32">
              <a:extLst>
                <a:ext uri="{FF2B5EF4-FFF2-40B4-BE49-F238E27FC236}">
                  <a16:creationId xmlns:a16="http://schemas.microsoft.com/office/drawing/2014/main" id="{10B0B677-8CBE-4308-43DC-3861B79872A8}"/>
                </a:ext>
              </a:extLst>
            </p:cNvPr>
            <p:cNvSpPr/>
            <p:nvPr/>
          </p:nvSpPr>
          <p:spPr>
            <a:xfrm>
              <a:off x="9842140"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7</a:t>
              </a:r>
              <a:r>
                <a:rPr lang="en-gb" sz="800" b="1" i="0" u="none" strike="noStrike" kern="0" cap="none" spc="0" normalizeH="0" noProof="0">
                  <a:ln>
                    <a:noFill/>
                  </a:ln>
                  <a:effectLst/>
                  <a:uLnTx/>
                  <a:uFillTx/>
                  <a:ea typeface="Georgia"/>
                  <a:cs typeface="Georgia"/>
                  <a:sym typeface="Georgia"/>
                </a:rPr>
                <a:t>.4</a:t>
              </a:r>
              <a:endParaRPr kumimoji="0" lang="lv-LV" sz="800" b="1" i="0" u="none" strike="noStrike" kern="0" cap="none" spc="0" normalizeH="0" baseline="0" noProof="0" dirty="0">
                <a:ln>
                  <a:noFill/>
                </a:ln>
                <a:effectLst/>
                <a:uLnTx/>
                <a:uFillTx/>
                <a:ea typeface="Georgia"/>
                <a:cs typeface="Georgia"/>
                <a:sym typeface="Georgia"/>
              </a:endParaRPr>
            </a:p>
          </p:txBody>
        </p:sp>
        <p:sp>
          <p:nvSpPr>
            <p:cNvPr id="34" name="Rectangle 33">
              <a:extLst>
                <a:ext uri="{FF2B5EF4-FFF2-40B4-BE49-F238E27FC236}">
                  <a16:creationId xmlns:a16="http://schemas.microsoft.com/office/drawing/2014/main" id="{92493A1B-2C63-A047-7A22-4E58FB37CD9A}"/>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17859615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6E6AF23-7B86-113A-F559-513B41FEC1FE}"/>
              </a:ext>
            </a:extLst>
          </p:cNvPr>
          <p:cNvGraphicFramePr>
            <a:graphicFrameLocks noChangeAspect="1"/>
          </p:cNvGraphicFramePr>
          <p:nvPr>
            <p:custDataLst>
              <p:tags r:id="rId1"/>
            </p:custDataLst>
            <p:extLst>
              <p:ext uri="{D42A27DB-BD31-4B8C-83A1-F6EECF244321}">
                <p14:modId xmlns:p14="http://schemas.microsoft.com/office/powerpoint/2010/main" val="2583409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2" name="think-cell data - do not delete" hidden="1">
                        <a:extLst>
                          <a:ext uri="{FF2B5EF4-FFF2-40B4-BE49-F238E27FC236}">
                            <a16:creationId xmlns:a16="http://schemas.microsoft.com/office/drawing/2014/main" id="{F6E6AF23-7B86-113A-F559-513B41FEC1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074" name="Picture 2" descr="man in black adidas zip up jacket">
            <a:extLst>
              <a:ext uri="{FF2B5EF4-FFF2-40B4-BE49-F238E27FC236}">
                <a16:creationId xmlns:a16="http://schemas.microsoft.com/office/drawing/2014/main" id="{A956661B-FAE8-8EB1-7E90-80C772C59A2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5316" t="32240" r="32255" b="-1"/>
          <a:stretch/>
        </p:blipFill>
        <p:spPr bwMode="auto">
          <a:xfrm>
            <a:off x="7619100" y="-1"/>
            <a:ext cx="457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11306175" cy="1387274"/>
          </a:xfrm>
        </p:spPr>
        <p:txBody>
          <a:bodyPr vert="horz" rtlCol="0"/>
          <a:lstStyle/>
          <a:p>
            <a:pPr rtl="0"/>
            <a:r>
              <a:rPr lang="en-gb" dirty="0"/>
              <a:t>What to do if the victim </a:t>
            </a:r>
            <a:r>
              <a:rPr lang="lv-LV" dirty="0" err="1"/>
              <a:t>has</a:t>
            </a:r>
            <a:r>
              <a:rPr lang="lv-LV" dirty="0"/>
              <a:t> a </a:t>
            </a:r>
            <a:r>
              <a:rPr lang="en-gb" dirty="0"/>
              <a:t>pain </a:t>
            </a:r>
            <a:r>
              <a:rPr lang="lv-LV" dirty="0" err="1"/>
              <a:t>in</a:t>
            </a:r>
            <a:r>
              <a:rPr lang="lv-LV" dirty="0"/>
              <a:t> </a:t>
            </a:r>
            <a:br>
              <a:rPr lang="lv-LV" dirty="0"/>
            </a:br>
            <a:r>
              <a:rPr lang="lv-LV" dirty="0" err="1"/>
              <a:t>their</a:t>
            </a:r>
            <a:r>
              <a:rPr lang="lv-LV" dirty="0"/>
              <a:t> </a:t>
            </a:r>
            <a:r>
              <a:rPr lang="en-gb" dirty="0"/>
              <a:t>chest or shortness of breath?</a:t>
            </a:r>
            <a:endParaRPr lang="en-GB" dirty="0"/>
          </a:p>
        </p:txBody>
      </p:sp>
      <p:sp>
        <p:nvSpPr>
          <p:cNvPr id="26" name="Rectangle 25">
            <a:extLst>
              <a:ext uri="{FF2B5EF4-FFF2-40B4-BE49-F238E27FC236}">
                <a16:creationId xmlns:a16="http://schemas.microsoft.com/office/drawing/2014/main" id="{5EC1F9AE-82A4-85FE-592B-EF659F76F7EC}"/>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tx1"/>
                </a:solidFill>
              </a:rPr>
              <a:t>How to proceed?</a:t>
            </a:r>
          </a:p>
        </p:txBody>
      </p:sp>
      <p:sp>
        <p:nvSpPr>
          <p:cNvPr id="29" name="Content Placeholder 1">
            <a:extLst>
              <a:ext uri="{FF2B5EF4-FFF2-40B4-BE49-F238E27FC236}">
                <a16:creationId xmlns:a16="http://schemas.microsoft.com/office/drawing/2014/main" id="{3915AD89-6428-4A75-0915-328643F1703C}"/>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30" name="Content Placeholder 1">
            <a:extLst>
              <a:ext uri="{FF2B5EF4-FFF2-40B4-BE49-F238E27FC236}">
                <a16:creationId xmlns:a16="http://schemas.microsoft.com/office/drawing/2014/main" id="{373AB206-F1F0-CC72-8C15-85605D9AF2AC}"/>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46" name="Google Shape;760;p79">
            <a:extLst>
              <a:ext uri="{FF2B5EF4-FFF2-40B4-BE49-F238E27FC236}">
                <a16:creationId xmlns:a16="http://schemas.microsoft.com/office/drawing/2014/main" id="{09BF84D6-F468-7005-FAB5-AA0B6AE5CFB4}"/>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8" name="TextBox 7">
            <a:extLst>
              <a:ext uri="{FF2B5EF4-FFF2-40B4-BE49-F238E27FC236}">
                <a16:creationId xmlns:a16="http://schemas.microsoft.com/office/drawing/2014/main" id="{8F84A1C1-A3B2-78F7-2F05-EA937E442831}"/>
              </a:ext>
            </a:extLst>
          </p:cNvPr>
          <p:cNvSpPr txBox="1"/>
          <p:nvPr/>
        </p:nvSpPr>
        <p:spPr>
          <a:xfrm>
            <a:off x="442913" y="2398554"/>
            <a:ext cx="6734175" cy="1811705"/>
          </a:xfrm>
          <a:prstGeom prst="rect">
            <a:avLst/>
          </a:prstGeom>
          <a:solidFill>
            <a:schemeClr val="bg1">
              <a:lumMod val="95000"/>
            </a:schemeClr>
          </a:solidFill>
        </p:spPr>
        <p:txBody>
          <a:bodyPr wrap="square" lIns="72000" tIns="72000" rIns="72000" bIns="72000" rtlCol="0">
            <a:noAutofit/>
          </a:bodyPr>
          <a:lstStyle/>
          <a:p>
            <a:pPr marL="284400" lvl="0" indent="-284400" rtl="0">
              <a:spcAft>
                <a:spcPts val="600"/>
              </a:spcAft>
              <a:buBlip>
                <a:blip r:embed="rId7"/>
              </a:buBlip>
            </a:pPr>
            <a:r>
              <a:rPr lang="en-gb" sz="1400" dirty="0"/>
              <a:t>Provide the victim with </a:t>
            </a:r>
            <a:r>
              <a:rPr lang="lv-LV" sz="1400" dirty="0"/>
              <a:t>a </a:t>
            </a:r>
            <a:r>
              <a:rPr lang="lv-LV" sz="1400" dirty="0" err="1"/>
              <a:t>calm</a:t>
            </a:r>
            <a:r>
              <a:rPr lang="lv-LV" sz="1400" dirty="0"/>
              <a:t> </a:t>
            </a:r>
            <a:r>
              <a:rPr lang="lv-LV" sz="1400" dirty="0" err="1"/>
              <a:t>environment</a:t>
            </a:r>
            <a:r>
              <a:rPr lang="en-gb" sz="1400" dirty="0"/>
              <a:t> and fresh air.</a:t>
            </a:r>
          </a:p>
          <a:p>
            <a:pPr marL="284400" lvl="0" indent="-284400" rtl="0">
              <a:spcAft>
                <a:spcPts val="600"/>
              </a:spcAft>
              <a:buBlip>
                <a:blip r:embed="rId7"/>
              </a:buBlip>
            </a:pPr>
            <a:r>
              <a:rPr lang="en-gb" sz="1400" dirty="0"/>
              <a:t>Help/allow the victim to get into the most comfortable body position.</a:t>
            </a:r>
          </a:p>
          <a:p>
            <a:pPr marL="284400" lvl="0" indent="-284400" rtl="0">
              <a:spcAft>
                <a:spcPts val="600"/>
              </a:spcAft>
              <a:buBlip>
                <a:blip r:embed="rId7"/>
              </a:buBlip>
            </a:pPr>
            <a:r>
              <a:rPr lang="en-gb" sz="1400" dirty="0"/>
              <a:t>Help the victim to take the medicine they already </a:t>
            </a:r>
            <a:r>
              <a:rPr lang="lv-LV" sz="1400" dirty="0" err="1"/>
              <a:t>use</a:t>
            </a:r>
            <a:r>
              <a:rPr lang="en-gb" sz="1400" dirty="0"/>
              <a:t>.</a:t>
            </a:r>
          </a:p>
          <a:p>
            <a:pPr marL="284400" lvl="0" indent="-284400" rtl="0">
              <a:spcAft>
                <a:spcPts val="600"/>
              </a:spcAft>
              <a:buBlip>
                <a:blip r:embed="rId7"/>
              </a:buBlip>
            </a:pPr>
            <a:r>
              <a:rPr lang="en-gb" sz="1400" dirty="0"/>
              <a:t>Call an ambulance.</a:t>
            </a:r>
          </a:p>
          <a:p>
            <a:pPr marL="284400" lvl="0" indent="-284400" rtl="0">
              <a:spcAft>
                <a:spcPts val="600"/>
              </a:spcAft>
              <a:buBlip>
                <a:blip r:embed="rId7"/>
              </a:buBlip>
            </a:pPr>
            <a:r>
              <a:rPr lang="en-gb" sz="1400" dirty="0"/>
              <a:t>Care for, reassure the victim.</a:t>
            </a:r>
          </a:p>
          <a:p>
            <a:pPr marL="284400" lvl="0" indent="-284400" rtl="0">
              <a:spcAft>
                <a:spcPts val="600"/>
              </a:spcAft>
              <a:buBlip>
                <a:blip r:embed="rId7"/>
              </a:buBlip>
            </a:pPr>
            <a:r>
              <a:rPr lang="en-gb" sz="1400" dirty="0"/>
              <a:t>Take resuscitation measures if necessary.</a:t>
            </a:r>
          </a:p>
        </p:txBody>
      </p:sp>
      <p:sp>
        <p:nvSpPr>
          <p:cNvPr id="13" name="Rectangle 12">
            <a:extLst>
              <a:ext uri="{FF2B5EF4-FFF2-40B4-BE49-F238E27FC236}">
                <a16:creationId xmlns:a16="http://schemas.microsoft.com/office/drawing/2014/main" id="{799E30A1-ADE3-D083-090F-C1647AB7B5C5}"/>
              </a:ext>
            </a:extLst>
          </p:cNvPr>
          <p:cNvSpPr/>
          <p:nvPr/>
        </p:nvSpPr>
        <p:spPr>
          <a:xfrm>
            <a:off x="442913" y="5058137"/>
            <a:ext cx="6734175" cy="11140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4400" indent="-284400" rtl="0">
              <a:spcAft>
                <a:spcPts val="600"/>
              </a:spcAft>
              <a:buBlip>
                <a:blip r:embed="rId7"/>
              </a:buBlip>
            </a:pPr>
            <a:r>
              <a:rPr lang="en-gb" sz="1400">
                <a:solidFill>
                  <a:schemeClr val="tx1"/>
                </a:solidFill>
              </a:rPr>
              <a:t>Chest pain or shortness of breath can be a sign of life-threatening health problems!</a:t>
            </a:r>
          </a:p>
          <a:p>
            <a:pPr marL="284400" indent="-284400" rtl="0">
              <a:spcAft>
                <a:spcPts val="600"/>
              </a:spcAft>
              <a:buBlip>
                <a:blip r:embed="rId7"/>
              </a:buBlip>
            </a:pPr>
            <a:r>
              <a:rPr lang="en-gb" sz="1400">
                <a:solidFill>
                  <a:schemeClr val="tx1"/>
                </a:solidFill>
              </a:rPr>
              <a:t>Have someone bring the defibrillator in time to use it immediately if needed.</a:t>
            </a:r>
          </a:p>
        </p:txBody>
      </p:sp>
      <p:sp>
        <p:nvSpPr>
          <p:cNvPr id="14" name="Rectangle 13">
            <a:extLst>
              <a:ext uri="{FF2B5EF4-FFF2-40B4-BE49-F238E27FC236}">
                <a16:creationId xmlns:a16="http://schemas.microsoft.com/office/drawing/2014/main" id="{292427B9-6E56-4F0D-79C7-17E043506558}"/>
              </a:ext>
            </a:extLst>
          </p:cNvPr>
          <p:cNvSpPr/>
          <p:nvPr/>
        </p:nvSpPr>
        <p:spPr>
          <a:xfrm>
            <a:off x="442913" y="4481979"/>
            <a:ext cx="673417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bg1"/>
                </a:solidFill>
              </a:rPr>
              <a:t>Important!</a:t>
            </a:r>
          </a:p>
        </p:txBody>
      </p:sp>
      <p:grpSp>
        <p:nvGrpSpPr>
          <p:cNvPr id="15" name="Group 14">
            <a:extLst>
              <a:ext uri="{FF2B5EF4-FFF2-40B4-BE49-F238E27FC236}">
                <a16:creationId xmlns:a16="http://schemas.microsoft.com/office/drawing/2014/main" id="{32101DD0-0169-5B84-DBC1-4B151DF9F173}"/>
              </a:ext>
            </a:extLst>
          </p:cNvPr>
          <p:cNvGrpSpPr/>
          <p:nvPr/>
        </p:nvGrpSpPr>
        <p:grpSpPr>
          <a:xfrm>
            <a:off x="6529696" y="4481979"/>
            <a:ext cx="647388" cy="576000"/>
            <a:chOff x="3924613" y="3998595"/>
            <a:chExt cx="647388" cy="576000"/>
          </a:xfrm>
        </p:grpSpPr>
        <p:sp>
          <p:nvSpPr>
            <p:cNvPr id="16" name="Content Placeholder 1">
              <a:extLst>
                <a:ext uri="{FF2B5EF4-FFF2-40B4-BE49-F238E27FC236}">
                  <a16:creationId xmlns:a16="http://schemas.microsoft.com/office/drawing/2014/main" id="{C4E3C697-34B5-AF79-CE8B-161F546C2C96}"/>
                </a:ext>
              </a:extLst>
            </p:cNvPr>
            <p:cNvSpPr txBox="1">
              <a:spLocks/>
            </p:cNvSpPr>
            <p:nvPr/>
          </p:nvSpPr>
          <p:spPr>
            <a:xfrm>
              <a:off x="3996001" y="39985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7" name="Content Placeholder 1">
              <a:extLst>
                <a:ext uri="{FF2B5EF4-FFF2-40B4-BE49-F238E27FC236}">
                  <a16:creationId xmlns:a16="http://schemas.microsoft.com/office/drawing/2014/main" id="{034E459C-1C6F-D20C-CC3C-A54DA127F08F}"/>
                </a:ext>
              </a:extLst>
            </p:cNvPr>
            <p:cNvSpPr txBox="1">
              <a:spLocks/>
            </p:cNvSpPr>
            <p:nvPr/>
          </p:nvSpPr>
          <p:spPr>
            <a:xfrm>
              <a:off x="3924613" y="39985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8" name="Google Shape;794;p79">
              <a:extLst>
                <a:ext uri="{FF2B5EF4-FFF2-40B4-BE49-F238E27FC236}">
                  <a16:creationId xmlns:a16="http://schemas.microsoft.com/office/drawing/2014/main" id="{82F94A97-9D89-A1CA-2D3C-C0AB208BD788}"/>
                </a:ext>
              </a:extLst>
            </p:cNvPr>
            <p:cNvSpPr/>
            <p:nvPr/>
          </p:nvSpPr>
          <p:spPr>
            <a:xfrm>
              <a:off x="4104001" y="41065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2" name="Rectangle 1">
            <a:extLst>
              <a:ext uri="{FF2B5EF4-FFF2-40B4-BE49-F238E27FC236}">
                <a16:creationId xmlns:a16="http://schemas.microsoft.com/office/drawing/2014/main" id="{34F1EF69-F6E7-494E-E505-1BE8F9572B6E}"/>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sp>
        <p:nvSpPr>
          <p:cNvPr id="24" name="Rectangle 23">
            <a:extLst>
              <a:ext uri="{FF2B5EF4-FFF2-40B4-BE49-F238E27FC236}">
                <a16:creationId xmlns:a16="http://schemas.microsoft.com/office/drawing/2014/main" id="{EEBDB999-8D80-71A0-1735-572EAA4ECF55}"/>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grpSp>
        <p:nvGrpSpPr>
          <p:cNvPr id="5" name="Group 4">
            <a:extLst>
              <a:ext uri="{FF2B5EF4-FFF2-40B4-BE49-F238E27FC236}">
                <a16:creationId xmlns:a16="http://schemas.microsoft.com/office/drawing/2014/main" id="{73F90D89-8440-1431-AC27-9F5B146FABF9}"/>
              </a:ext>
            </a:extLst>
          </p:cNvPr>
          <p:cNvGrpSpPr/>
          <p:nvPr/>
        </p:nvGrpSpPr>
        <p:grpSpPr>
          <a:xfrm>
            <a:off x="9842140" y="372216"/>
            <a:ext cx="1667215" cy="217488"/>
            <a:chOff x="9842140" y="372216"/>
            <a:chExt cx="1667215" cy="217488"/>
          </a:xfrm>
        </p:grpSpPr>
        <p:sp>
          <p:nvSpPr>
            <p:cNvPr id="6" name="TextBox 5">
              <a:extLst>
                <a:ext uri="{FF2B5EF4-FFF2-40B4-BE49-F238E27FC236}">
                  <a16:creationId xmlns:a16="http://schemas.microsoft.com/office/drawing/2014/main" id="{9BC8FF52-DDEE-8B16-9044-3BA3DF596E96}"/>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rtl="0">
                <a:lnSpc>
                  <a:spcPct val="100000"/>
                </a:lnSpc>
                <a:spcAft>
                  <a:spcPts val="600"/>
                </a:spcAft>
                <a:buSzPct val="100000"/>
              </a:pPr>
              <a:r>
                <a:rPr lang="en-gb" sz="800">
                  <a:solidFill>
                    <a:schemeClr val="bg1"/>
                  </a:solidFill>
                </a:rPr>
                <a:t>Diseases</a:t>
              </a:r>
            </a:p>
          </p:txBody>
        </p:sp>
        <p:sp>
          <p:nvSpPr>
            <p:cNvPr id="7" name="Freeform 49">
              <a:extLst>
                <a:ext uri="{FF2B5EF4-FFF2-40B4-BE49-F238E27FC236}">
                  <a16:creationId xmlns:a16="http://schemas.microsoft.com/office/drawing/2014/main" id="{C96AAF72-B438-117B-01C7-91AC4C893B12}"/>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p>
          </p:txBody>
        </p:sp>
      </p:gr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rtlCol="0"/>
          <a:lstStyle/>
          <a:p>
            <a:pPr rtl="0"/>
            <a:fld id="{7870704B-CE94-48CC-AF30-84932A1262A7}" type="slidenum">
              <a:rPr lang="en-GB" smtClean="0">
                <a:solidFill>
                  <a:schemeClr val="bg1"/>
                </a:solidFill>
              </a:rPr>
              <a:pPr rtl="0"/>
              <a:t>42</a:t>
            </a:fld>
            <a:endParaRPr lang="en-GB">
              <a:solidFill>
                <a:schemeClr val="bg1"/>
              </a:solidFill>
            </a:endParaRPr>
          </a:p>
        </p:txBody>
      </p:sp>
      <p:grpSp>
        <p:nvGrpSpPr>
          <p:cNvPr id="23" name="Group 22">
            <a:extLst>
              <a:ext uri="{FF2B5EF4-FFF2-40B4-BE49-F238E27FC236}">
                <a16:creationId xmlns:a16="http://schemas.microsoft.com/office/drawing/2014/main" id="{01D0352C-5EFF-8890-A8CD-7A69E06720E7}"/>
              </a:ext>
            </a:extLst>
          </p:cNvPr>
          <p:cNvGrpSpPr/>
          <p:nvPr/>
        </p:nvGrpSpPr>
        <p:grpSpPr>
          <a:xfrm>
            <a:off x="9122935" y="126781"/>
            <a:ext cx="2626153" cy="217488"/>
            <a:chOff x="9122935" y="126781"/>
            <a:chExt cx="2626153" cy="217488"/>
          </a:xfrm>
        </p:grpSpPr>
        <p:sp>
          <p:nvSpPr>
            <p:cNvPr id="25" name="Rectangle 24">
              <a:extLst>
                <a:ext uri="{FF2B5EF4-FFF2-40B4-BE49-F238E27FC236}">
                  <a16:creationId xmlns:a16="http://schemas.microsoft.com/office/drawing/2014/main" id="{8DFD0639-E0A6-1482-F96A-D84909B32286}"/>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000000"/>
                  </a:solidFill>
                  <a:effectLst/>
                  <a:uLnTx/>
                  <a:uFillTx/>
                  <a:ea typeface="Georgia"/>
                  <a:cs typeface="Georgia"/>
                  <a:sym typeface="Georgia"/>
                </a:rPr>
                <a:t>First aid measures</a:t>
              </a:r>
            </a:p>
          </p:txBody>
        </p:sp>
        <p:sp>
          <p:nvSpPr>
            <p:cNvPr id="27" name="Rectangle 26">
              <a:extLst>
                <a:ext uri="{FF2B5EF4-FFF2-40B4-BE49-F238E27FC236}">
                  <a16:creationId xmlns:a16="http://schemas.microsoft.com/office/drawing/2014/main" id="{33550B1D-0A47-232A-607D-ACE632E0B026}"/>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28" name="Rectangle 27">
              <a:extLst>
                <a:ext uri="{FF2B5EF4-FFF2-40B4-BE49-F238E27FC236}">
                  <a16:creationId xmlns:a16="http://schemas.microsoft.com/office/drawing/2014/main" id="{6AFEBD7E-52F7-7B47-F68A-184F4A9CCEFE}"/>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1F75C7C9-9620-7FD2-67BF-FAF7EFB18924}"/>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2" name="Rectangle 31">
              <a:extLst>
                <a:ext uri="{FF2B5EF4-FFF2-40B4-BE49-F238E27FC236}">
                  <a16:creationId xmlns:a16="http://schemas.microsoft.com/office/drawing/2014/main" id="{BE8CBFB7-FBA1-EFA4-D940-4F75E912D6C9}"/>
                </a:ext>
              </a:extLst>
            </p:cNvPr>
            <p:cNvSpPr/>
            <p:nvPr/>
          </p:nvSpPr>
          <p:spPr>
            <a:xfrm>
              <a:off x="9842140"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7</a:t>
              </a:r>
              <a:r>
                <a:rPr lang="en-gb" sz="800" b="1" i="0" u="none" strike="noStrike" kern="0" cap="none" spc="0" normalizeH="0" noProof="0">
                  <a:ln>
                    <a:noFill/>
                  </a:ln>
                  <a:effectLst/>
                  <a:uLnTx/>
                  <a:uFillTx/>
                  <a:ea typeface="Georgia"/>
                  <a:cs typeface="Georgia"/>
                  <a:sym typeface="Georgia"/>
                </a:rPr>
                <a:t>.4</a:t>
              </a:r>
              <a:endParaRPr kumimoji="0" lang="lv-LV" sz="800" b="1" i="0" u="none" strike="noStrike" kern="0" cap="none" spc="0" normalizeH="0" baseline="0" noProof="0" dirty="0">
                <a:ln>
                  <a:noFill/>
                </a:ln>
                <a:effectLst/>
                <a:uLnTx/>
                <a:uFillTx/>
                <a:ea typeface="Georgia"/>
                <a:cs typeface="Georgia"/>
                <a:sym typeface="Georgia"/>
              </a:endParaRPr>
            </a:p>
          </p:txBody>
        </p:sp>
        <p:sp>
          <p:nvSpPr>
            <p:cNvPr id="33" name="Rectangle 32">
              <a:extLst>
                <a:ext uri="{FF2B5EF4-FFF2-40B4-BE49-F238E27FC236}">
                  <a16:creationId xmlns:a16="http://schemas.microsoft.com/office/drawing/2014/main" id="{8226868D-98A4-29A2-4326-22B5E3B7DA75}"/>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4251282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man in red shirt driving car">
            <a:extLst>
              <a:ext uri="{FF2B5EF4-FFF2-40B4-BE49-F238E27FC236}">
                <a16:creationId xmlns:a16="http://schemas.microsoft.com/office/drawing/2014/main" id="{7EA85A7F-61BE-A112-2A26-6DD2522CD8D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7305" r="18229"/>
          <a:stretch/>
        </p:blipFill>
        <p:spPr bwMode="auto">
          <a:xfrm>
            <a:off x="7619999" y="0"/>
            <a:ext cx="4572001" cy="685800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a:extLst>
              <a:ext uri="{FF2B5EF4-FFF2-40B4-BE49-F238E27FC236}">
                <a16:creationId xmlns:a16="http://schemas.microsoft.com/office/drawing/2014/main" id="{50830596-224D-A11D-D251-21B0CA3EB02E}"/>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graphicFrame>
        <p:nvGraphicFramePr>
          <p:cNvPr id="12" name="think-cell data - do not delete" hidden="1">
            <a:extLst>
              <a:ext uri="{FF2B5EF4-FFF2-40B4-BE49-F238E27FC236}">
                <a16:creationId xmlns:a16="http://schemas.microsoft.com/office/drawing/2014/main" id="{F6E6AF23-7B86-113A-F559-513B41FEC1FE}"/>
              </a:ext>
            </a:extLst>
          </p:cNvPr>
          <p:cNvGraphicFramePr>
            <a:graphicFrameLocks noChangeAspect="1"/>
          </p:cNvGraphicFramePr>
          <p:nvPr>
            <p:custDataLst>
              <p:tags r:id="rId1"/>
            </p:custDataLst>
            <p:extLst>
              <p:ext uri="{D42A27DB-BD31-4B8C-83A1-F6EECF244321}">
                <p14:modId xmlns:p14="http://schemas.microsoft.com/office/powerpoint/2010/main" val="955900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12" name="think-cell data - do not delete" hidden="1">
                        <a:extLst>
                          <a:ext uri="{FF2B5EF4-FFF2-40B4-BE49-F238E27FC236}">
                            <a16:creationId xmlns:a16="http://schemas.microsoft.com/office/drawing/2014/main" id="{F6E6AF23-7B86-113A-F559-513B41FEC1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11306175" cy="1387274"/>
          </a:xfrm>
        </p:spPr>
        <p:txBody>
          <a:bodyPr vert="horz" rtlCol="0"/>
          <a:lstStyle/>
          <a:p>
            <a:pPr rtl="0"/>
            <a:r>
              <a:rPr lang="en-gb"/>
              <a:t>What to do if the victim has </a:t>
            </a:r>
            <a:br>
              <a:rPr lang="en-US"/>
            </a:br>
            <a:r>
              <a:rPr lang="en-gb"/>
              <a:t>severe abdominal pain?</a:t>
            </a:r>
            <a:endParaRPr lang="en-GB"/>
          </a:p>
        </p:txBody>
      </p:sp>
      <p:sp>
        <p:nvSpPr>
          <p:cNvPr id="26" name="Rectangle 25">
            <a:extLst>
              <a:ext uri="{FF2B5EF4-FFF2-40B4-BE49-F238E27FC236}">
                <a16:creationId xmlns:a16="http://schemas.microsoft.com/office/drawing/2014/main" id="{5EC1F9AE-82A4-85FE-592B-EF659F76F7EC}"/>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tx1"/>
                </a:solidFill>
              </a:rPr>
              <a:t>How to proceed?</a:t>
            </a:r>
          </a:p>
        </p:txBody>
      </p:sp>
      <p:sp>
        <p:nvSpPr>
          <p:cNvPr id="29" name="Content Placeholder 1">
            <a:extLst>
              <a:ext uri="{FF2B5EF4-FFF2-40B4-BE49-F238E27FC236}">
                <a16:creationId xmlns:a16="http://schemas.microsoft.com/office/drawing/2014/main" id="{3915AD89-6428-4A75-0915-328643F1703C}"/>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30" name="Content Placeholder 1">
            <a:extLst>
              <a:ext uri="{FF2B5EF4-FFF2-40B4-BE49-F238E27FC236}">
                <a16:creationId xmlns:a16="http://schemas.microsoft.com/office/drawing/2014/main" id="{373AB206-F1F0-CC72-8C15-85605D9AF2AC}"/>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46" name="Google Shape;760;p79">
            <a:extLst>
              <a:ext uri="{FF2B5EF4-FFF2-40B4-BE49-F238E27FC236}">
                <a16:creationId xmlns:a16="http://schemas.microsoft.com/office/drawing/2014/main" id="{09BF84D6-F468-7005-FAB5-AA0B6AE5CFB4}"/>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8" name="TextBox 7">
            <a:extLst>
              <a:ext uri="{FF2B5EF4-FFF2-40B4-BE49-F238E27FC236}">
                <a16:creationId xmlns:a16="http://schemas.microsoft.com/office/drawing/2014/main" id="{8F84A1C1-A3B2-78F7-2F05-EA937E442831}"/>
              </a:ext>
            </a:extLst>
          </p:cNvPr>
          <p:cNvSpPr txBox="1"/>
          <p:nvPr/>
        </p:nvSpPr>
        <p:spPr>
          <a:xfrm>
            <a:off x="442913" y="2398555"/>
            <a:ext cx="6734175" cy="1264126"/>
          </a:xfrm>
          <a:prstGeom prst="rect">
            <a:avLst/>
          </a:prstGeom>
          <a:solidFill>
            <a:schemeClr val="bg1">
              <a:lumMod val="95000"/>
            </a:schemeClr>
          </a:solidFill>
        </p:spPr>
        <p:txBody>
          <a:bodyPr wrap="square" lIns="72000" tIns="72000" rIns="72000" bIns="72000" rtlCol="0">
            <a:noAutofit/>
          </a:bodyPr>
          <a:lstStyle/>
          <a:p>
            <a:pPr marL="284400" lvl="0" indent="-284400" rtl="0">
              <a:spcAft>
                <a:spcPts val="600"/>
              </a:spcAft>
              <a:buBlip>
                <a:blip r:embed="rId7"/>
              </a:buBlip>
            </a:pPr>
            <a:r>
              <a:rPr lang="en-gb" sz="1400" dirty="0"/>
              <a:t>Help/allow the victim to get into the most comfortable position.</a:t>
            </a:r>
          </a:p>
          <a:p>
            <a:pPr marL="284400" lvl="0" indent="-284400" rtl="0">
              <a:spcAft>
                <a:spcPts val="600"/>
              </a:spcAft>
              <a:buBlip>
                <a:blip r:embed="rId7"/>
              </a:buBlip>
            </a:pPr>
            <a:r>
              <a:rPr lang="en-gb" sz="1400" dirty="0"/>
              <a:t>Call an ambulance.</a:t>
            </a:r>
          </a:p>
          <a:p>
            <a:pPr marL="284400" lvl="0" indent="-284400" rtl="0">
              <a:spcAft>
                <a:spcPts val="600"/>
              </a:spcAft>
              <a:buBlip>
                <a:blip r:embed="rId7"/>
              </a:buBlip>
            </a:pPr>
            <a:r>
              <a:rPr lang="en-gb" sz="1400" dirty="0"/>
              <a:t>Care for, reassure the victim.</a:t>
            </a:r>
          </a:p>
          <a:p>
            <a:pPr marL="284400" lvl="0" indent="-284400" rtl="0">
              <a:spcAft>
                <a:spcPts val="600"/>
              </a:spcAft>
              <a:buBlip>
                <a:blip r:embed="rId7"/>
              </a:buBlip>
            </a:pPr>
            <a:r>
              <a:rPr lang="en-gb" sz="1400" dirty="0"/>
              <a:t>Take resuscitation measures if necessary.</a:t>
            </a:r>
          </a:p>
        </p:txBody>
      </p:sp>
      <p:sp>
        <p:nvSpPr>
          <p:cNvPr id="6" name="Rectangle 5">
            <a:extLst>
              <a:ext uri="{FF2B5EF4-FFF2-40B4-BE49-F238E27FC236}">
                <a16:creationId xmlns:a16="http://schemas.microsoft.com/office/drawing/2014/main" id="{33073C2D-7A64-3891-000E-CBC2D879D3D6}"/>
              </a:ext>
            </a:extLst>
          </p:cNvPr>
          <p:cNvSpPr/>
          <p:nvPr/>
        </p:nvSpPr>
        <p:spPr>
          <a:xfrm>
            <a:off x="442913" y="4626637"/>
            <a:ext cx="6734175" cy="154556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4400" indent="-284400" rtl="0">
              <a:spcAft>
                <a:spcPts val="600"/>
              </a:spcAft>
              <a:buBlip>
                <a:blip r:embed="rId7"/>
              </a:buBlip>
            </a:pPr>
            <a:r>
              <a:rPr lang="en-gb" sz="1400" dirty="0">
                <a:solidFill>
                  <a:schemeClr val="tx1"/>
                </a:solidFill>
              </a:rPr>
              <a:t>The most comfortable positions for the victim might be lying on their back with </a:t>
            </a:r>
            <a:r>
              <a:rPr lang="lv-LV" sz="1400" dirty="0">
                <a:solidFill>
                  <a:schemeClr val="tx1"/>
                </a:solidFill>
              </a:rPr>
              <a:t>a</a:t>
            </a:r>
            <a:r>
              <a:rPr lang="en-gb" sz="1400" dirty="0">
                <a:solidFill>
                  <a:schemeClr val="tx1"/>
                </a:solidFill>
              </a:rPr>
              <a:t> roll under their knees or lying on their side with their knees bent.</a:t>
            </a:r>
          </a:p>
          <a:p>
            <a:pPr marL="284400" indent="-284400" rtl="0">
              <a:spcAft>
                <a:spcPts val="600"/>
              </a:spcAft>
              <a:buBlip>
                <a:blip r:embed="rId7"/>
              </a:buBlip>
            </a:pPr>
            <a:r>
              <a:rPr lang="en-gb" sz="1400" dirty="0">
                <a:solidFill>
                  <a:schemeClr val="tx1"/>
                </a:solidFill>
              </a:rPr>
              <a:t>Do not give medication, warm the abdomen, give food or drink</a:t>
            </a:r>
            <a:r>
              <a:rPr lang="lv-LV" sz="1400" dirty="0">
                <a:solidFill>
                  <a:schemeClr val="tx1"/>
                </a:solidFill>
              </a:rPr>
              <a:t>s</a:t>
            </a:r>
            <a:r>
              <a:rPr lang="en-gb" sz="1400" dirty="0">
                <a:solidFill>
                  <a:schemeClr val="tx1"/>
                </a:solidFill>
              </a:rPr>
              <a:t>.</a:t>
            </a:r>
          </a:p>
          <a:p>
            <a:pPr marL="284400" indent="-284400" rtl="0">
              <a:spcAft>
                <a:spcPts val="600"/>
              </a:spcAft>
              <a:buBlip>
                <a:blip r:embed="rId7"/>
              </a:buBlip>
            </a:pPr>
            <a:r>
              <a:rPr lang="en-gb" sz="1400" dirty="0">
                <a:solidFill>
                  <a:schemeClr val="tx1"/>
                </a:solidFill>
              </a:rPr>
              <a:t>Regardless of the presence of pain, vomiting with black or bloody contents or a black abdominal discharge can be a sign of bleeding in the abdominal organs, which is life-threatening.</a:t>
            </a:r>
          </a:p>
        </p:txBody>
      </p:sp>
      <p:sp>
        <p:nvSpPr>
          <p:cNvPr id="7" name="Rectangle 6">
            <a:extLst>
              <a:ext uri="{FF2B5EF4-FFF2-40B4-BE49-F238E27FC236}">
                <a16:creationId xmlns:a16="http://schemas.microsoft.com/office/drawing/2014/main" id="{476838B8-1342-3A4D-BDA8-A2B47757767A}"/>
              </a:ext>
            </a:extLst>
          </p:cNvPr>
          <p:cNvSpPr/>
          <p:nvPr/>
        </p:nvSpPr>
        <p:spPr>
          <a:xfrm>
            <a:off x="442913" y="4050637"/>
            <a:ext cx="673417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bg1"/>
                </a:solidFill>
              </a:rPr>
              <a:t>Important!</a:t>
            </a:r>
          </a:p>
        </p:txBody>
      </p:sp>
      <p:grpSp>
        <p:nvGrpSpPr>
          <p:cNvPr id="9" name="Group 8">
            <a:extLst>
              <a:ext uri="{FF2B5EF4-FFF2-40B4-BE49-F238E27FC236}">
                <a16:creationId xmlns:a16="http://schemas.microsoft.com/office/drawing/2014/main" id="{05942C02-ABC3-6D55-D5DF-35A9DC4B4128}"/>
              </a:ext>
            </a:extLst>
          </p:cNvPr>
          <p:cNvGrpSpPr/>
          <p:nvPr/>
        </p:nvGrpSpPr>
        <p:grpSpPr>
          <a:xfrm>
            <a:off x="6529696" y="4050637"/>
            <a:ext cx="647388" cy="576000"/>
            <a:chOff x="3924613" y="3998595"/>
            <a:chExt cx="647388" cy="576000"/>
          </a:xfrm>
        </p:grpSpPr>
        <p:sp>
          <p:nvSpPr>
            <p:cNvPr id="11" name="Content Placeholder 1">
              <a:extLst>
                <a:ext uri="{FF2B5EF4-FFF2-40B4-BE49-F238E27FC236}">
                  <a16:creationId xmlns:a16="http://schemas.microsoft.com/office/drawing/2014/main" id="{B97EA9FE-6F32-F712-7E51-B2E8E01944AA}"/>
                </a:ext>
              </a:extLst>
            </p:cNvPr>
            <p:cNvSpPr txBox="1">
              <a:spLocks/>
            </p:cNvSpPr>
            <p:nvPr/>
          </p:nvSpPr>
          <p:spPr>
            <a:xfrm>
              <a:off x="3996001" y="39985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3" name="Content Placeholder 1">
              <a:extLst>
                <a:ext uri="{FF2B5EF4-FFF2-40B4-BE49-F238E27FC236}">
                  <a16:creationId xmlns:a16="http://schemas.microsoft.com/office/drawing/2014/main" id="{CA412EFC-5F90-18DC-6BD2-BA6ECB68F4B4}"/>
                </a:ext>
              </a:extLst>
            </p:cNvPr>
            <p:cNvSpPr txBox="1">
              <a:spLocks/>
            </p:cNvSpPr>
            <p:nvPr/>
          </p:nvSpPr>
          <p:spPr>
            <a:xfrm>
              <a:off x="3924613" y="39985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14" name="Google Shape;794;p79">
              <a:extLst>
                <a:ext uri="{FF2B5EF4-FFF2-40B4-BE49-F238E27FC236}">
                  <a16:creationId xmlns:a16="http://schemas.microsoft.com/office/drawing/2014/main" id="{52E26734-CD51-88AC-27C1-16D226149857}"/>
                </a:ext>
              </a:extLst>
            </p:cNvPr>
            <p:cNvSpPr/>
            <p:nvPr/>
          </p:nvSpPr>
          <p:spPr>
            <a:xfrm>
              <a:off x="4104001" y="41065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rtlCol="0"/>
          <a:lstStyle/>
          <a:p>
            <a:pPr rtl="0"/>
            <a:fld id="{7870704B-CE94-48CC-AF30-84932A1262A7}" type="slidenum">
              <a:rPr lang="en-GB" smtClean="0">
                <a:solidFill>
                  <a:schemeClr val="bg1"/>
                </a:solidFill>
              </a:rPr>
              <a:pPr rtl="0"/>
              <a:t>43</a:t>
            </a:fld>
            <a:endParaRPr lang="en-GB">
              <a:solidFill>
                <a:schemeClr val="bg1"/>
              </a:solidFill>
            </a:endParaRPr>
          </a:p>
        </p:txBody>
      </p:sp>
      <p:sp>
        <p:nvSpPr>
          <p:cNvPr id="2" name="Rectangle 1">
            <a:extLst>
              <a:ext uri="{FF2B5EF4-FFF2-40B4-BE49-F238E27FC236}">
                <a16:creationId xmlns:a16="http://schemas.microsoft.com/office/drawing/2014/main" id="{4C2946A7-6CE6-A78A-F248-0C0A646E970B}"/>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5" name="Group 4">
            <a:extLst>
              <a:ext uri="{FF2B5EF4-FFF2-40B4-BE49-F238E27FC236}">
                <a16:creationId xmlns:a16="http://schemas.microsoft.com/office/drawing/2014/main" id="{B51EE77F-1A13-13EC-99B5-675A5A78C732}"/>
              </a:ext>
            </a:extLst>
          </p:cNvPr>
          <p:cNvGrpSpPr/>
          <p:nvPr/>
        </p:nvGrpSpPr>
        <p:grpSpPr>
          <a:xfrm>
            <a:off x="9842140" y="372216"/>
            <a:ext cx="1667215" cy="217488"/>
            <a:chOff x="9842140" y="372216"/>
            <a:chExt cx="1667215" cy="217488"/>
          </a:xfrm>
        </p:grpSpPr>
        <p:sp>
          <p:nvSpPr>
            <p:cNvPr id="17" name="TextBox 16">
              <a:extLst>
                <a:ext uri="{FF2B5EF4-FFF2-40B4-BE49-F238E27FC236}">
                  <a16:creationId xmlns:a16="http://schemas.microsoft.com/office/drawing/2014/main" id="{D71C372B-9CBA-6149-8C68-05B504C8427B}"/>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rtl="0">
                <a:lnSpc>
                  <a:spcPct val="100000"/>
                </a:lnSpc>
                <a:spcAft>
                  <a:spcPts val="600"/>
                </a:spcAft>
                <a:buSzPct val="100000"/>
              </a:pPr>
              <a:r>
                <a:rPr lang="en-gb" sz="800">
                  <a:solidFill>
                    <a:schemeClr val="bg1"/>
                  </a:solidFill>
                </a:rPr>
                <a:t>Diseases</a:t>
              </a:r>
            </a:p>
          </p:txBody>
        </p:sp>
        <p:sp>
          <p:nvSpPr>
            <p:cNvPr id="23" name="Freeform 49">
              <a:extLst>
                <a:ext uri="{FF2B5EF4-FFF2-40B4-BE49-F238E27FC236}">
                  <a16:creationId xmlns:a16="http://schemas.microsoft.com/office/drawing/2014/main" id="{D599EDDA-17A7-7C56-D6A0-942E29CED5AE}"/>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p>
          </p:txBody>
        </p:sp>
      </p:grpSp>
      <p:grpSp>
        <p:nvGrpSpPr>
          <p:cNvPr id="22" name="Group 21">
            <a:extLst>
              <a:ext uri="{FF2B5EF4-FFF2-40B4-BE49-F238E27FC236}">
                <a16:creationId xmlns:a16="http://schemas.microsoft.com/office/drawing/2014/main" id="{B554D50F-33AA-D6DA-25FA-3A9EEB9D3339}"/>
              </a:ext>
            </a:extLst>
          </p:cNvPr>
          <p:cNvGrpSpPr/>
          <p:nvPr/>
        </p:nvGrpSpPr>
        <p:grpSpPr>
          <a:xfrm>
            <a:off x="9122935" y="126781"/>
            <a:ext cx="2626153" cy="217488"/>
            <a:chOff x="9122935" y="126781"/>
            <a:chExt cx="2626153" cy="217488"/>
          </a:xfrm>
        </p:grpSpPr>
        <p:sp>
          <p:nvSpPr>
            <p:cNvPr id="24" name="Rectangle 23">
              <a:extLst>
                <a:ext uri="{FF2B5EF4-FFF2-40B4-BE49-F238E27FC236}">
                  <a16:creationId xmlns:a16="http://schemas.microsoft.com/office/drawing/2014/main" id="{8B0BAACD-49F1-F651-28CE-02B57C5A6436}"/>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000000"/>
                  </a:solidFill>
                  <a:effectLst/>
                  <a:uLnTx/>
                  <a:uFillTx/>
                  <a:ea typeface="Georgia"/>
                  <a:cs typeface="Georgia"/>
                  <a:sym typeface="Georgia"/>
                </a:rPr>
                <a:t>First aid measures</a:t>
              </a:r>
            </a:p>
          </p:txBody>
        </p:sp>
        <p:sp>
          <p:nvSpPr>
            <p:cNvPr id="25" name="Rectangle 24">
              <a:extLst>
                <a:ext uri="{FF2B5EF4-FFF2-40B4-BE49-F238E27FC236}">
                  <a16:creationId xmlns:a16="http://schemas.microsoft.com/office/drawing/2014/main" id="{8CD5F17D-766C-D19E-7B8C-3DAADB7DDC36}"/>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27" name="Rectangle 26">
              <a:extLst>
                <a:ext uri="{FF2B5EF4-FFF2-40B4-BE49-F238E27FC236}">
                  <a16:creationId xmlns:a16="http://schemas.microsoft.com/office/drawing/2014/main" id="{DCB5CD63-0850-83F0-DA11-942078B43FA9}"/>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28" name="Rectangle 27">
              <a:extLst>
                <a:ext uri="{FF2B5EF4-FFF2-40B4-BE49-F238E27FC236}">
                  <a16:creationId xmlns:a16="http://schemas.microsoft.com/office/drawing/2014/main" id="{E30B6976-7B3D-9E48-2A5A-614ED746F191}"/>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B514DBC8-2F9E-7BF7-384B-C32C27F9378C}"/>
                </a:ext>
              </a:extLst>
            </p:cNvPr>
            <p:cNvSpPr/>
            <p:nvPr/>
          </p:nvSpPr>
          <p:spPr>
            <a:xfrm>
              <a:off x="9842140"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7</a:t>
              </a:r>
              <a:r>
                <a:rPr lang="en-gb" sz="800" b="1" i="0" u="none" strike="noStrike" kern="0" cap="none" spc="0" normalizeH="0" noProof="0">
                  <a:ln>
                    <a:noFill/>
                  </a:ln>
                  <a:effectLst/>
                  <a:uLnTx/>
                  <a:uFillTx/>
                  <a:ea typeface="Georgia"/>
                  <a:cs typeface="Georgia"/>
                  <a:sym typeface="Georgia"/>
                </a:rPr>
                <a:t>.4</a:t>
              </a:r>
              <a:endParaRPr kumimoji="0" lang="lv-LV" sz="800" b="1" i="0" u="none" strike="noStrike" kern="0" cap="none" spc="0" normalizeH="0" baseline="0" noProof="0" dirty="0">
                <a:ln>
                  <a:noFill/>
                </a:ln>
                <a:effectLst/>
                <a:uLnTx/>
                <a:uFillTx/>
                <a:ea typeface="Georgia"/>
                <a:cs typeface="Georgia"/>
                <a:sym typeface="Georgia"/>
              </a:endParaRPr>
            </a:p>
          </p:txBody>
        </p:sp>
        <p:sp>
          <p:nvSpPr>
            <p:cNvPr id="32" name="Rectangle 31">
              <a:extLst>
                <a:ext uri="{FF2B5EF4-FFF2-40B4-BE49-F238E27FC236}">
                  <a16:creationId xmlns:a16="http://schemas.microsoft.com/office/drawing/2014/main" id="{1EDDF72C-3014-9776-9828-BC94198CCA8F}"/>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26035953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6E6AF23-7B86-113A-F559-513B41FEC1FE}"/>
              </a:ext>
            </a:extLst>
          </p:cNvPr>
          <p:cNvGraphicFramePr>
            <a:graphicFrameLocks noChangeAspect="1"/>
          </p:cNvGraphicFramePr>
          <p:nvPr>
            <p:custDataLst>
              <p:tags r:id="rId1"/>
            </p:custDataLst>
            <p:extLst>
              <p:ext uri="{D42A27DB-BD31-4B8C-83A1-F6EECF244321}">
                <p14:modId xmlns:p14="http://schemas.microsoft.com/office/powerpoint/2010/main" val="2319015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2" name="think-cell data - do not delete" hidden="1">
                        <a:extLst>
                          <a:ext uri="{FF2B5EF4-FFF2-40B4-BE49-F238E27FC236}">
                            <a16:creationId xmlns:a16="http://schemas.microsoft.com/office/drawing/2014/main" id="{F6E6AF23-7B86-113A-F559-513B41FEC1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6C899CEF-87FE-63E9-4F7C-FA60BC973504}"/>
              </a:ext>
            </a:extLst>
          </p:cNvPr>
          <p:cNvPicPr>
            <a:picLocks noChangeAspect="1"/>
          </p:cNvPicPr>
          <p:nvPr/>
        </p:nvPicPr>
        <p:blipFill rotWithShape="1">
          <a:blip r:embed="rId6"/>
          <a:srcRect l="11937" r="43669"/>
          <a:stretch/>
        </p:blipFill>
        <p:spPr>
          <a:xfrm flipH="1">
            <a:off x="7629217" y="0"/>
            <a:ext cx="4562782" cy="6858000"/>
          </a:xfrm>
          <a:prstGeom prst="rect">
            <a:avLst/>
          </a:prstGeom>
        </p:spPr>
      </p:pic>
      <p:sp>
        <p:nvSpPr>
          <p:cNvPr id="42" name="Rectangle 41">
            <a:extLst>
              <a:ext uri="{FF2B5EF4-FFF2-40B4-BE49-F238E27FC236}">
                <a16:creationId xmlns:a16="http://schemas.microsoft.com/office/drawing/2014/main" id="{50830596-224D-A11D-D251-21B0CA3EB02E}"/>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5" name="Rectangle 24">
            <a:extLst>
              <a:ext uri="{FF2B5EF4-FFF2-40B4-BE49-F238E27FC236}">
                <a16:creationId xmlns:a16="http://schemas.microsoft.com/office/drawing/2014/main" id="{2B261BF4-92C6-462D-AA95-793AE54DD688}"/>
              </a:ext>
            </a:extLst>
          </p:cNvPr>
          <p:cNvSpPr/>
          <p:nvPr/>
        </p:nvSpPr>
        <p:spPr>
          <a:xfrm>
            <a:off x="7619998" y="2398554"/>
            <a:ext cx="4129089" cy="377364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4400" indent="-284400" rtl="0">
              <a:spcAft>
                <a:spcPts val="600"/>
              </a:spcAft>
              <a:buBlip>
                <a:blip r:embed="rId7"/>
              </a:buBlip>
            </a:pPr>
            <a:r>
              <a:rPr lang="en-gb" sz="1400">
                <a:solidFill>
                  <a:schemeClr val="tx1"/>
                </a:solidFill>
              </a:rPr>
              <a:t>Identify people with diabetes among your acquaintances.</a:t>
            </a:r>
          </a:p>
          <a:p>
            <a:pPr marL="284400" indent="-284400" rtl="0">
              <a:spcAft>
                <a:spcPts val="600"/>
              </a:spcAft>
              <a:buBlip>
                <a:blip r:embed="rId7"/>
              </a:buBlip>
            </a:pPr>
            <a:r>
              <a:rPr lang="en-gb" sz="1400">
                <a:solidFill>
                  <a:schemeClr val="tx1"/>
                </a:solidFill>
              </a:rPr>
              <a:t>Give 3-4 teaspoons of sugar with water or a glass of sweetened drink (fruit juice, lemonade) at a time. Do not use sugar substitutes, they will not help.</a:t>
            </a: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11306175" cy="1387274"/>
          </a:xfrm>
        </p:spPr>
        <p:txBody>
          <a:bodyPr vert="horz" rtlCol="0"/>
          <a:lstStyle/>
          <a:p>
            <a:pPr rtl="0"/>
            <a:r>
              <a:rPr lang="en-gb"/>
              <a:t>How to help someone with diabetes?</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rtlCol="0"/>
          <a:lstStyle/>
          <a:p>
            <a:pPr rtl="0"/>
            <a:fld id="{7870704B-CE94-48CC-AF30-84932A1262A7}" type="slidenum">
              <a:rPr lang="en-GB" smtClean="0"/>
              <a:pPr rtl="0"/>
              <a:t>44</a:t>
            </a:fld>
            <a:endParaRPr lang="en-GB"/>
          </a:p>
        </p:txBody>
      </p:sp>
      <p:sp>
        <p:nvSpPr>
          <p:cNvPr id="26" name="Rectangle 25">
            <a:extLst>
              <a:ext uri="{FF2B5EF4-FFF2-40B4-BE49-F238E27FC236}">
                <a16:creationId xmlns:a16="http://schemas.microsoft.com/office/drawing/2014/main" id="{5EC1F9AE-82A4-85FE-592B-EF659F76F7EC}"/>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tx1"/>
                </a:solidFill>
              </a:rPr>
              <a:t>How to proceed?</a:t>
            </a:r>
          </a:p>
        </p:txBody>
      </p:sp>
      <p:sp>
        <p:nvSpPr>
          <p:cNvPr id="27" name="Rectangle 26">
            <a:extLst>
              <a:ext uri="{FF2B5EF4-FFF2-40B4-BE49-F238E27FC236}">
                <a16:creationId xmlns:a16="http://schemas.microsoft.com/office/drawing/2014/main" id="{72D802D4-B169-1594-D931-40179675E33A}"/>
              </a:ext>
            </a:extLst>
          </p:cNvPr>
          <p:cNvSpPr/>
          <p:nvPr/>
        </p:nvSpPr>
        <p:spPr>
          <a:xfrm>
            <a:off x="7619998" y="1822554"/>
            <a:ext cx="4129089"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bg1"/>
                </a:solidFill>
              </a:rPr>
              <a:t>Important!</a:t>
            </a:r>
          </a:p>
        </p:txBody>
      </p:sp>
      <p:sp>
        <p:nvSpPr>
          <p:cNvPr id="29" name="Content Placeholder 1">
            <a:extLst>
              <a:ext uri="{FF2B5EF4-FFF2-40B4-BE49-F238E27FC236}">
                <a16:creationId xmlns:a16="http://schemas.microsoft.com/office/drawing/2014/main" id="{3915AD89-6428-4A75-0915-328643F1703C}"/>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30" name="Content Placeholder 1">
            <a:extLst>
              <a:ext uri="{FF2B5EF4-FFF2-40B4-BE49-F238E27FC236}">
                <a16:creationId xmlns:a16="http://schemas.microsoft.com/office/drawing/2014/main" id="{373AB206-F1F0-CC72-8C15-85605D9AF2AC}"/>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44" name="Content Placeholder 1">
            <a:extLst>
              <a:ext uri="{FF2B5EF4-FFF2-40B4-BE49-F238E27FC236}">
                <a16:creationId xmlns:a16="http://schemas.microsoft.com/office/drawing/2014/main" id="{37325A5C-F07F-2313-782A-18E3E98D15F0}"/>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45" name="Content Placeholder 1">
            <a:extLst>
              <a:ext uri="{FF2B5EF4-FFF2-40B4-BE49-F238E27FC236}">
                <a16:creationId xmlns:a16="http://schemas.microsoft.com/office/drawing/2014/main" id="{5A4A472A-422C-56F4-A0F5-AE422E82D144}"/>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46" name="Google Shape;760;p79">
            <a:extLst>
              <a:ext uri="{FF2B5EF4-FFF2-40B4-BE49-F238E27FC236}">
                <a16:creationId xmlns:a16="http://schemas.microsoft.com/office/drawing/2014/main" id="{09BF84D6-F468-7005-FAB5-AA0B6AE5CFB4}"/>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9" name="Google Shape;794;p79">
            <a:extLst>
              <a:ext uri="{FF2B5EF4-FFF2-40B4-BE49-F238E27FC236}">
                <a16:creationId xmlns:a16="http://schemas.microsoft.com/office/drawing/2014/main" id="{DED3BED4-139F-CB4F-0A7B-7B90211550F4}"/>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0" name="Rectangle 49">
            <a:extLst>
              <a:ext uri="{FF2B5EF4-FFF2-40B4-BE49-F238E27FC236}">
                <a16:creationId xmlns:a16="http://schemas.microsoft.com/office/drawing/2014/main" id="{0130363F-7CE7-F3D0-4AB5-F295FAC2DCBC}"/>
              </a:ext>
            </a:extLst>
          </p:cNvPr>
          <p:cNvSpPr/>
          <p:nvPr/>
        </p:nvSpPr>
        <p:spPr>
          <a:xfrm>
            <a:off x="442913" y="963958"/>
            <a:ext cx="6724951" cy="628650"/>
          </a:xfrm>
          <a:prstGeom prst="rect">
            <a:avLst/>
          </a:prstGeom>
          <a:solidFill>
            <a:schemeClr val="bg1"/>
          </a:solidFill>
          <a:ln>
            <a:solidFill>
              <a:schemeClr val="accent2"/>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51" name="Rectangle 50">
            <a:extLst>
              <a:ext uri="{FF2B5EF4-FFF2-40B4-BE49-F238E27FC236}">
                <a16:creationId xmlns:a16="http://schemas.microsoft.com/office/drawing/2014/main" id="{AFEB1935-0849-FFDB-14A2-768E555E2F79}"/>
              </a:ext>
            </a:extLst>
          </p:cNvPr>
          <p:cNvSpPr/>
          <p:nvPr/>
        </p:nvSpPr>
        <p:spPr>
          <a:xfrm>
            <a:off x="1454989" y="1062283"/>
            <a:ext cx="3405187"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rIns="0" rtlCol="0" anchor="ctr"/>
          <a:lstStyle/>
          <a:p>
            <a:pPr rtl="0"/>
            <a:r>
              <a:rPr lang="en-gb" sz="1600" b="1" dirty="0">
                <a:solidFill>
                  <a:schemeClr val="tx1"/>
                </a:solidFill>
              </a:rPr>
              <a:t>What </a:t>
            </a:r>
            <a:r>
              <a:rPr lang="lv-LV" sz="1600" b="1" dirty="0" err="1">
                <a:solidFill>
                  <a:schemeClr val="tx1"/>
                </a:solidFill>
              </a:rPr>
              <a:t>does</a:t>
            </a:r>
            <a:r>
              <a:rPr lang="en-gb" sz="1600" b="1" dirty="0">
                <a:solidFill>
                  <a:schemeClr val="tx1"/>
                </a:solidFill>
              </a:rPr>
              <a:t> it look like?</a:t>
            </a:r>
            <a:endParaRPr lang="en-GB" sz="1600" b="1" dirty="0">
              <a:solidFill>
                <a:schemeClr val="tx1"/>
              </a:solidFill>
            </a:endParaRPr>
          </a:p>
        </p:txBody>
      </p:sp>
      <p:cxnSp>
        <p:nvCxnSpPr>
          <p:cNvPr id="53" name="Straight Connector 52">
            <a:extLst>
              <a:ext uri="{FF2B5EF4-FFF2-40B4-BE49-F238E27FC236}">
                <a16:creationId xmlns:a16="http://schemas.microsoft.com/office/drawing/2014/main" id="{F358E754-064A-5B8C-B2FC-4E612BA07893}"/>
              </a:ext>
            </a:extLst>
          </p:cNvPr>
          <p:cNvCxnSpPr>
            <a:cxnSpLocks/>
          </p:cNvCxnSpPr>
          <p:nvPr/>
        </p:nvCxnSpPr>
        <p:spPr>
          <a:xfrm>
            <a:off x="1233531" y="1053947"/>
            <a:ext cx="0" cy="448673"/>
          </a:xfrm>
          <a:prstGeom prst="line">
            <a:avLst/>
          </a:prstGeom>
          <a:ln w="12700" cap="sq"/>
        </p:spPr>
        <p:style>
          <a:lnRef idx="1">
            <a:schemeClr val="accent1"/>
          </a:lnRef>
          <a:fillRef idx="0">
            <a:schemeClr val="accent1"/>
          </a:fillRef>
          <a:effectRef idx="0">
            <a:schemeClr val="dk1"/>
          </a:effectRef>
          <a:fontRef idx="minor">
            <a:schemeClr val="lt1"/>
          </a:fontRef>
        </p:style>
      </p:cxnSp>
      <p:grpSp>
        <p:nvGrpSpPr>
          <p:cNvPr id="7" name="Group 6">
            <a:extLst>
              <a:ext uri="{FF2B5EF4-FFF2-40B4-BE49-F238E27FC236}">
                <a16:creationId xmlns:a16="http://schemas.microsoft.com/office/drawing/2014/main" id="{0C7C54A4-AC5D-5A5E-2CED-7EC3CEA9DE86}"/>
              </a:ext>
            </a:extLst>
          </p:cNvPr>
          <p:cNvGrpSpPr/>
          <p:nvPr/>
        </p:nvGrpSpPr>
        <p:grpSpPr>
          <a:xfrm>
            <a:off x="442915" y="2649101"/>
            <a:ext cx="6734169" cy="1095822"/>
            <a:chOff x="442915" y="2536378"/>
            <a:chExt cx="6734169" cy="1095822"/>
          </a:xfrm>
        </p:grpSpPr>
        <p:sp>
          <p:nvSpPr>
            <p:cNvPr id="93" name="Rectangle 92">
              <a:extLst>
                <a:ext uri="{FF2B5EF4-FFF2-40B4-BE49-F238E27FC236}">
                  <a16:creationId xmlns:a16="http://schemas.microsoft.com/office/drawing/2014/main" id="{5A55EC81-0AD5-CE05-4AAF-6599399D9BD3}"/>
                </a:ext>
              </a:extLst>
            </p:cNvPr>
            <p:cNvSpPr/>
            <p:nvPr/>
          </p:nvSpPr>
          <p:spPr>
            <a:xfrm>
              <a:off x="442915" y="2536378"/>
              <a:ext cx="6734169" cy="1095822"/>
            </a:xfrm>
            <a:prstGeom prst="rect">
              <a:avLst/>
            </a:prstGeom>
            <a:solidFill>
              <a:schemeClr val="bg1"/>
            </a:solidFill>
            <a:ln>
              <a:solidFill>
                <a:schemeClr val="accent2"/>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94" name="Rectangle 93">
              <a:extLst>
                <a:ext uri="{FF2B5EF4-FFF2-40B4-BE49-F238E27FC236}">
                  <a16:creationId xmlns:a16="http://schemas.microsoft.com/office/drawing/2014/main" id="{2945AFC3-C832-6045-1DDE-A189FFBEDD95}"/>
                </a:ext>
              </a:extLst>
            </p:cNvPr>
            <p:cNvSpPr/>
            <p:nvPr/>
          </p:nvSpPr>
          <p:spPr>
            <a:xfrm>
              <a:off x="1454989" y="2536378"/>
              <a:ext cx="5712876" cy="1095822"/>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rIns="0" rtlCol="0" anchor="ctr"/>
            <a:lstStyle/>
            <a:p>
              <a:pPr rtl="0"/>
              <a:r>
                <a:rPr lang="en-gb" sz="1600" b="1" dirty="0">
                  <a:solidFill>
                    <a:schemeClr val="tx1"/>
                  </a:solidFill>
                </a:rPr>
                <a:t>Diabetics can have high blood sugar levels or sometimes a sharp drop</a:t>
              </a:r>
              <a:r>
                <a:rPr lang="lv-LV" sz="1600" b="1" dirty="0">
                  <a:solidFill>
                    <a:schemeClr val="tx1"/>
                  </a:solidFill>
                </a:rPr>
                <a:t> </a:t>
              </a:r>
              <a:r>
                <a:rPr lang="lv-LV" sz="1600" b="1" dirty="0" err="1">
                  <a:solidFill>
                    <a:schemeClr val="tx1"/>
                  </a:solidFill>
                </a:rPr>
                <a:t>in</a:t>
              </a:r>
              <a:r>
                <a:rPr lang="lv-LV" sz="1600" b="1" dirty="0">
                  <a:solidFill>
                    <a:schemeClr val="tx1"/>
                  </a:solidFill>
                </a:rPr>
                <a:t> </a:t>
              </a:r>
              <a:r>
                <a:rPr lang="lv-LV" sz="1600" b="1" dirty="0" err="1">
                  <a:solidFill>
                    <a:schemeClr val="tx1"/>
                  </a:solidFill>
                </a:rPr>
                <a:t>them</a:t>
              </a:r>
              <a:r>
                <a:rPr lang="en-gb" sz="1600" b="1" dirty="0">
                  <a:solidFill>
                    <a:schemeClr val="tx1"/>
                  </a:solidFill>
                </a:rPr>
                <a:t>.</a:t>
              </a:r>
            </a:p>
            <a:p>
              <a:pPr rtl="0"/>
              <a:r>
                <a:rPr lang="en-gb" sz="1600" b="1" dirty="0">
                  <a:solidFill>
                    <a:schemeClr val="tx1"/>
                  </a:solidFill>
                </a:rPr>
                <a:t>A drop in blood sugar levels can lead to a life-threatening condition.</a:t>
              </a:r>
            </a:p>
          </p:txBody>
        </p:sp>
        <p:cxnSp>
          <p:nvCxnSpPr>
            <p:cNvPr id="95" name="Straight Connector 94">
              <a:extLst>
                <a:ext uri="{FF2B5EF4-FFF2-40B4-BE49-F238E27FC236}">
                  <a16:creationId xmlns:a16="http://schemas.microsoft.com/office/drawing/2014/main" id="{D4EEEA95-3B5D-59D7-CC7D-E49C940EDFA8}"/>
                </a:ext>
              </a:extLst>
            </p:cNvPr>
            <p:cNvCxnSpPr>
              <a:cxnSpLocks/>
            </p:cNvCxnSpPr>
            <p:nvPr/>
          </p:nvCxnSpPr>
          <p:spPr>
            <a:xfrm>
              <a:off x="1233533" y="2669496"/>
              <a:ext cx="0" cy="829586"/>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96" name="Google Shape;778;p79">
              <a:extLst>
                <a:ext uri="{FF2B5EF4-FFF2-40B4-BE49-F238E27FC236}">
                  <a16:creationId xmlns:a16="http://schemas.microsoft.com/office/drawing/2014/main" id="{2A913932-8BE1-F1EB-2C97-BB1A5EF0C629}"/>
                </a:ext>
              </a:extLst>
            </p:cNvPr>
            <p:cNvSpPr/>
            <p:nvPr/>
          </p:nvSpPr>
          <p:spPr>
            <a:xfrm>
              <a:off x="598373" y="2868289"/>
              <a:ext cx="468000" cy="432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sp>
        <p:nvSpPr>
          <p:cNvPr id="105" name="TextBox 104">
            <a:extLst>
              <a:ext uri="{FF2B5EF4-FFF2-40B4-BE49-F238E27FC236}">
                <a16:creationId xmlns:a16="http://schemas.microsoft.com/office/drawing/2014/main" id="{C73B42A3-EA68-B90F-A6C9-5F7FF93DD187}"/>
              </a:ext>
            </a:extLst>
          </p:cNvPr>
          <p:cNvSpPr txBox="1"/>
          <p:nvPr/>
        </p:nvSpPr>
        <p:spPr>
          <a:xfrm>
            <a:off x="442913" y="3995469"/>
            <a:ext cx="6724951" cy="2176732"/>
          </a:xfrm>
          <a:prstGeom prst="rect">
            <a:avLst/>
          </a:prstGeom>
          <a:solidFill>
            <a:schemeClr val="bg1">
              <a:lumMod val="95000"/>
            </a:schemeClr>
          </a:solidFill>
        </p:spPr>
        <p:txBody>
          <a:bodyPr wrap="square" lIns="72000" tIns="72000" rIns="72000" bIns="72000" rtlCol="0">
            <a:spAutoFit/>
          </a:bodyPr>
          <a:lstStyle/>
          <a:p>
            <a:pPr marL="284400" lvl="0" indent="-284400" rtl="0">
              <a:spcAft>
                <a:spcPts val="600"/>
              </a:spcAft>
              <a:buBlip>
                <a:blip r:embed="rId7"/>
              </a:buBlip>
            </a:pPr>
            <a:r>
              <a:rPr lang="en-gb" sz="1400" dirty="0"/>
              <a:t>If a diabetic starts to feel unwell but is able to follow commands and swallow, give sugar or sugary drinks.</a:t>
            </a:r>
          </a:p>
          <a:p>
            <a:pPr marL="284400" lvl="0" indent="-284400" rtl="0">
              <a:spcAft>
                <a:spcPts val="600"/>
              </a:spcAft>
              <a:buBlip>
                <a:blip r:embed="rId7"/>
              </a:buBlip>
            </a:pPr>
            <a:r>
              <a:rPr lang="en-gb" sz="1400" dirty="0"/>
              <a:t>If the situation does not improve after 15 minutes, call an ambulance and give sugar or sugar-containing drinks again.</a:t>
            </a:r>
          </a:p>
          <a:p>
            <a:pPr marL="284400" lvl="0" indent="-284400" rtl="0">
              <a:spcAft>
                <a:spcPts val="600"/>
              </a:spcAft>
              <a:buBlip>
                <a:blip r:embed="rId7"/>
              </a:buBlip>
            </a:pPr>
            <a:r>
              <a:rPr lang="en-gb" sz="1400" dirty="0"/>
              <a:t>If the patient improves within 15 minutes, give a light snack (e.g. a slice of bread, biscuits).</a:t>
            </a:r>
          </a:p>
          <a:p>
            <a:pPr marL="284400" lvl="0" indent="-284400" rtl="0">
              <a:spcAft>
                <a:spcPts val="600"/>
              </a:spcAft>
              <a:buBlip>
                <a:blip r:embed="rId7"/>
              </a:buBlip>
            </a:pPr>
            <a:r>
              <a:rPr lang="en-gb" sz="1400" dirty="0"/>
              <a:t>Care for, calm the sick.</a:t>
            </a:r>
          </a:p>
          <a:p>
            <a:pPr marL="284400" lvl="0" indent="-284400" rtl="0">
              <a:spcAft>
                <a:spcPts val="600"/>
              </a:spcAft>
              <a:buBlip>
                <a:blip r:embed="rId7"/>
              </a:buBlip>
            </a:pPr>
            <a:r>
              <a:rPr lang="en-gb" sz="1400" dirty="0"/>
              <a:t>Take resuscitation measures if necessary.</a:t>
            </a:r>
          </a:p>
        </p:txBody>
      </p:sp>
      <p:sp>
        <p:nvSpPr>
          <p:cNvPr id="8" name="Google Shape;764;p79">
            <a:extLst>
              <a:ext uri="{FF2B5EF4-FFF2-40B4-BE49-F238E27FC236}">
                <a16:creationId xmlns:a16="http://schemas.microsoft.com/office/drawing/2014/main" id="{6FBF7AD7-A09B-9F41-3430-A5D30668AE55}"/>
              </a:ext>
            </a:extLst>
          </p:cNvPr>
          <p:cNvSpPr/>
          <p:nvPr/>
        </p:nvSpPr>
        <p:spPr>
          <a:xfrm>
            <a:off x="578685" y="1062283"/>
            <a:ext cx="433388" cy="4318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178" y="228"/>
                </a:moveTo>
                <a:cubicBezTo>
                  <a:pt x="178" y="210"/>
                  <a:pt x="180" y="194"/>
                  <a:pt x="186" y="180"/>
                </a:cubicBezTo>
                <a:cubicBezTo>
                  <a:pt x="191" y="165"/>
                  <a:pt x="199" y="153"/>
                  <a:pt x="209" y="143"/>
                </a:cubicBezTo>
                <a:cubicBezTo>
                  <a:pt x="219" y="132"/>
                  <a:pt x="231" y="124"/>
                  <a:pt x="246" y="119"/>
                </a:cubicBezTo>
                <a:cubicBezTo>
                  <a:pt x="260" y="113"/>
                  <a:pt x="276" y="110"/>
                  <a:pt x="294" y="110"/>
                </a:cubicBezTo>
                <a:cubicBezTo>
                  <a:pt x="309" y="110"/>
                  <a:pt x="322" y="112"/>
                  <a:pt x="335" y="117"/>
                </a:cubicBezTo>
                <a:cubicBezTo>
                  <a:pt x="348" y="121"/>
                  <a:pt x="359" y="127"/>
                  <a:pt x="369" y="136"/>
                </a:cubicBezTo>
                <a:cubicBezTo>
                  <a:pt x="378" y="144"/>
                  <a:pt x="386" y="154"/>
                  <a:pt x="391" y="166"/>
                </a:cubicBezTo>
                <a:cubicBezTo>
                  <a:pt x="397" y="179"/>
                  <a:pt x="399" y="192"/>
                  <a:pt x="399" y="208"/>
                </a:cubicBezTo>
                <a:cubicBezTo>
                  <a:pt x="399" y="219"/>
                  <a:pt x="398" y="229"/>
                  <a:pt x="396" y="237"/>
                </a:cubicBezTo>
                <a:cubicBezTo>
                  <a:pt x="393" y="245"/>
                  <a:pt x="390" y="253"/>
                  <a:pt x="386" y="258"/>
                </a:cubicBezTo>
                <a:cubicBezTo>
                  <a:pt x="382" y="264"/>
                  <a:pt x="377" y="270"/>
                  <a:pt x="372" y="274"/>
                </a:cubicBezTo>
                <a:cubicBezTo>
                  <a:pt x="367" y="279"/>
                  <a:pt x="362" y="284"/>
                  <a:pt x="357" y="288"/>
                </a:cubicBezTo>
                <a:cubicBezTo>
                  <a:pt x="351" y="293"/>
                  <a:pt x="345" y="298"/>
                  <a:pt x="340" y="303"/>
                </a:cubicBezTo>
                <a:cubicBezTo>
                  <a:pt x="335" y="308"/>
                  <a:pt x="330" y="313"/>
                  <a:pt x="326" y="319"/>
                </a:cubicBezTo>
                <a:cubicBezTo>
                  <a:pt x="322" y="325"/>
                  <a:pt x="319" y="332"/>
                  <a:pt x="317" y="341"/>
                </a:cubicBezTo>
                <a:cubicBezTo>
                  <a:pt x="315" y="349"/>
                  <a:pt x="314" y="358"/>
                  <a:pt x="314" y="370"/>
                </a:cubicBezTo>
                <a:cubicBezTo>
                  <a:pt x="262" y="370"/>
                  <a:pt x="262" y="370"/>
                  <a:pt x="262" y="370"/>
                </a:cubicBezTo>
                <a:cubicBezTo>
                  <a:pt x="262" y="356"/>
                  <a:pt x="263" y="344"/>
                  <a:pt x="264" y="334"/>
                </a:cubicBezTo>
                <a:cubicBezTo>
                  <a:pt x="266" y="324"/>
                  <a:pt x="268" y="316"/>
                  <a:pt x="271" y="308"/>
                </a:cubicBezTo>
                <a:cubicBezTo>
                  <a:pt x="274" y="301"/>
                  <a:pt x="278" y="294"/>
                  <a:pt x="283" y="288"/>
                </a:cubicBezTo>
                <a:cubicBezTo>
                  <a:pt x="288" y="283"/>
                  <a:pt x="293" y="277"/>
                  <a:pt x="300" y="272"/>
                </a:cubicBezTo>
                <a:cubicBezTo>
                  <a:pt x="305" y="267"/>
                  <a:pt x="310" y="263"/>
                  <a:pt x="314" y="259"/>
                </a:cubicBezTo>
                <a:cubicBezTo>
                  <a:pt x="319" y="255"/>
                  <a:pt x="323" y="251"/>
                  <a:pt x="327" y="246"/>
                </a:cubicBezTo>
                <a:cubicBezTo>
                  <a:pt x="331" y="242"/>
                  <a:pt x="334" y="236"/>
                  <a:pt x="336" y="231"/>
                </a:cubicBezTo>
                <a:cubicBezTo>
                  <a:pt x="338" y="225"/>
                  <a:pt x="339" y="218"/>
                  <a:pt x="339" y="210"/>
                </a:cubicBezTo>
                <a:cubicBezTo>
                  <a:pt x="339" y="200"/>
                  <a:pt x="337" y="192"/>
                  <a:pt x="334" y="185"/>
                </a:cubicBezTo>
                <a:cubicBezTo>
                  <a:pt x="330" y="178"/>
                  <a:pt x="326" y="172"/>
                  <a:pt x="321" y="168"/>
                </a:cubicBezTo>
                <a:cubicBezTo>
                  <a:pt x="317" y="164"/>
                  <a:pt x="311" y="161"/>
                  <a:pt x="306" y="159"/>
                </a:cubicBezTo>
                <a:cubicBezTo>
                  <a:pt x="300" y="157"/>
                  <a:pt x="296" y="156"/>
                  <a:pt x="291" y="156"/>
                </a:cubicBezTo>
                <a:cubicBezTo>
                  <a:pt x="271" y="156"/>
                  <a:pt x="257" y="163"/>
                  <a:pt x="247" y="176"/>
                </a:cubicBezTo>
                <a:cubicBezTo>
                  <a:pt x="238" y="189"/>
                  <a:pt x="233" y="206"/>
                  <a:pt x="233" y="228"/>
                </a:cubicBezTo>
                <a:lnTo>
                  <a:pt x="178" y="228"/>
                </a:lnTo>
                <a:close/>
                <a:moveTo>
                  <a:pt x="255" y="403"/>
                </a:moveTo>
                <a:cubicBezTo>
                  <a:pt x="319" y="403"/>
                  <a:pt x="319" y="403"/>
                  <a:pt x="319" y="403"/>
                </a:cubicBezTo>
                <a:cubicBezTo>
                  <a:pt x="319" y="464"/>
                  <a:pt x="319" y="464"/>
                  <a:pt x="319" y="464"/>
                </a:cubicBezTo>
                <a:cubicBezTo>
                  <a:pt x="255" y="464"/>
                  <a:pt x="255" y="464"/>
                  <a:pt x="255" y="464"/>
                </a:cubicBezTo>
                <a:lnTo>
                  <a:pt x="255" y="403"/>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 name="Rectangle 1">
            <a:extLst>
              <a:ext uri="{FF2B5EF4-FFF2-40B4-BE49-F238E27FC236}">
                <a16:creationId xmlns:a16="http://schemas.microsoft.com/office/drawing/2014/main" id="{8119AA81-D51B-6287-E979-F71003D27C65}"/>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21" name="Group 20">
            <a:extLst>
              <a:ext uri="{FF2B5EF4-FFF2-40B4-BE49-F238E27FC236}">
                <a16:creationId xmlns:a16="http://schemas.microsoft.com/office/drawing/2014/main" id="{377E7149-E9FB-3F6A-82D4-20995D3A1387}"/>
              </a:ext>
            </a:extLst>
          </p:cNvPr>
          <p:cNvGrpSpPr/>
          <p:nvPr/>
        </p:nvGrpSpPr>
        <p:grpSpPr>
          <a:xfrm>
            <a:off x="9842140" y="372216"/>
            <a:ext cx="1667215" cy="217488"/>
            <a:chOff x="9842140" y="372216"/>
            <a:chExt cx="1667215" cy="217488"/>
          </a:xfrm>
        </p:grpSpPr>
        <p:sp>
          <p:nvSpPr>
            <p:cNvPr id="22" name="TextBox 21">
              <a:extLst>
                <a:ext uri="{FF2B5EF4-FFF2-40B4-BE49-F238E27FC236}">
                  <a16:creationId xmlns:a16="http://schemas.microsoft.com/office/drawing/2014/main" id="{F7592D35-71D7-FC31-E5F5-A596135BB344}"/>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rtl="0">
                <a:lnSpc>
                  <a:spcPct val="100000"/>
                </a:lnSpc>
                <a:spcAft>
                  <a:spcPts val="600"/>
                </a:spcAft>
                <a:buSzPct val="100000"/>
              </a:pPr>
              <a:r>
                <a:rPr lang="en-gb" sz="800">
                  <a:solidFill>
                    <a:schemeClr val="bg1"/>
                  </a:solidFill>
                </a:rPr>
                <a:t>Diseases</a:t>
              </a:r>
            </a:p>
          </p:txBody>
        </p:sp>
        <p:sp>
          <p:nvSpPr>
            <p:cNvPr id="23" name="Freeform 49">
              <a:extLst>
                <a:ext uri="{FF2B5EF4-FFF2-40B4-BE49-F238E27FC236}">
                  <a16:creationId xmlns:a16="http://schemas.microsoft.com/office/drawing/2014/main" id="{C6FA446D-273B-A146-7DA0-AF820BAB40BF}"/>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p>
          </p:txBody>
        </p:sp>
      </p:grpSp>
      <p:grpSp>
        <p:nvGrpSpPr>
          <p:cNvPr id="16" name="Group 15">
            <a:extLst>
              <a:ext uri="{FF2B5EF4-FFF2-40B4-BE49-F238E27FC236}">
                <a16:creationId xmlns:a16="http://schemas.microsoft.com/office/drawing/2014/main" id="{4C84B26D-9DC5-7E20-FAE6-955793FCDBDE}"/>
              </a:ext>
            </a:extLst>
          </p:cNvPr>
          <p:cNvGrpSpPr/>
          <p:nvPr/>
        </p:nvGrpSpPr>
        <p:grpSpPr>
          <a:xfrm>
            <a:off x="9122935" y="126781"/>
            <a:ext cx="2626153" cy="217488"/>
            <a:chOff x="9122935" y="126781"/>
            <a:chExt cx="2626153" cy="217488"/>
          </a:xfrm>
        </p:grpSpPr>
        <p:sp>
          <p:nvSpPr>
            <p:cNvPr id="17" name="Rectangle 16">
              <a:extLst>
                <a:ext uri="{FF2B5EF4-FFF2-40B4-BE49-F238E27FC236}">
                  <a16:creationId xmlns:a16="http://schemas.microsoft.com/office/drawing/2014/main" id="{B0B9666E-A862-136A-6F06-92B3EC2F697C}"/>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000000"/>
                  </a:solidFill>
                  <a:effectLst/>
                  <a:uLnTx/>
                  <a:uFillTx/>
                  <a:ea typeface="Georgia"/>
                  <a:cs typeface="Georgia"/>
                  <a:sym typeface="Georgia"/>
                </a:rPr>
                <a:t>First aid measures</a:t>
              </a:r>
            </a:p>
          </p:txBody>
        </p:sp>
        <p:sp>
          <p:nvSpPr>
            <p:cNvPr id="18" name="Rectangle 17">
              <a:extLst>
                <a:ext uri="{FF2B5EF4-FFF2-40B4-BE49-F238E27FC236}">
                  <a16:creationId xmlns:a16="http://schemas.microsoft.com/office/drawing/2014/main" id="{B2FBABB8-87CE-FED5-A6DA-D677534A97BE}"/>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249473E5-18DE-4649-CDB0-4F0D683461DF}"/>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977527A2-C8AC-E2CA-C1B4-18FF4D066B6B}"/>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24" name="Rectangle 23">
              <a:extLst>
                <a:ext uri="{FF2B5EF4-FFF2-40B4-BE49-F238E27FC236}">
                  <a16:creationId xmlns:a16="http://schemas.microsoft.com/office/drawing/2014/main" id="{183CCE56-9286-B8DD-98FB-591F2AAB54DE}"/>
                </a:ext>
              </a:extLst>
            </p:cNvPr>
            <p:cNvSpPr/>
            <p:nvPr/>
          </p:nvSpPr>
          <p:spPr>
            <a:xfrm>
              <a:off x="9842140"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7</a:t>
              </a:r>
              <a:r>
                <a:rPr lang="en-gb" sz="800" b="1" i="0" u="none" strike="noStrike" kern="0" cap="none" spc="0" normalizeH="0" noProof="0">
                  <a:ln>
                    <a:noFill/>
                  </a:ln>
                  <a:effectLst/>
                  <a:uLnTx/>
                  <a:uFillTx/>
                  <a:ea typeface="Georgia"/>
                  <a:cs typeface="Georgia"/>
                  <a:sym typeface="Georgia"/>
                </a:rPr>
                <a:t>.4</a:t>
              </a:r>
              <a:endParaRPr kumimoji="0" lang="lv-LV" sz="800" b="1" i="0" u="none" strike="noStrike" kern="0" cap="none" spc="0" normalizeH="0" baseline="0" noProof="0" dirty="0">
                <a:ln>
                  <a:noFill/>
                </a:ln>
                <a:effectLst/>
                <a:uLnTx/>
                <a:uFillTx/>
                <a:ea typeface="Georgia"/>
                <a:cs typeface="Georgia"/>
                <a:sym typeface="Georgia"/>
              </a:endParaRPr>
            </a:p>
          </p:txBody>
        </p:sp>
        <p:sp>
          <p:nvSpPr>
            <p:cNvPr id="28" name="Rectangle 27">
              <a:extLst>
                <a:ext uri="{FF2B5EF4-FFF2-40B4-BE49-F238E27FC236}">
                  <a16:creationId xmlns:a16="http://schemas.microsoft.com/office/drawing/2014/main" id="{BCB3CF5C-A1F1-D544-E9AB-3F9C8C325555}"/>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348882848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6E6AF23-7B86-113A-F559-513B41FEC1FE}"/>
              </a:ext>
            </a:extLst>
          </p:cNvPr>
          <p:cNvGraphicFramePr>
            <a:graphicFrameLocks noChangeAspect="1"/>
          </p:cNvGraphicFramePr>
          <p:nvPr>
            <p:custDataLst>
              <p:tags r:id="rId1"/>
            </p:custDataLst>
            <p:extLst>
              <p:ext uri="{D42A27DB-BD31-4B8C-83A1-F6EECF244321}">
                <p14:modId xmlns:p14="http://schemas.microsoft.com/office/powerpoint/2010/main" val="2127200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2" name="think-cell data - do not delete" hidden="1">
                        <a:extLst>
                          <a:ext uri="{FF2B5EF4-FFF2-40B4-BE49-F238E27FC236}">
                            <a16:creationId xmlns:a16="http://schemas.microsoft.com/office/drawing/2014/main" id="{F6E6AF23-7B86-113A-F559-513B41FEC1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a:extLst>
              <a:ext uri="{FF2B5EF4-FFF2-40B4-BE49-F238E27FC236}">
                <a16:creationId xmlns:a16="http://schemas.microsoft.com/office/drawing/2014/main" id="{ED29780A-B6AD-A143-BFF4-CA656A9FBED7}"/>
              </a:ext>
            </a:extLst>
          </p:cNvPr>
          <p:cNvPicPr>
            <a:picLocks noChangeAspect="1"/>
          </p:cNvPicPr>
          <p:nvPr/>
        </p:nvPicPr>
        <p:blipFill rotWithShape="1">
          <a:blip r:embed="rId6"/>
          <a:srcRect l="32020" r="20772"/>
          <a:stretch/>
        </p:blipFill>
        <p:spPr>
          <a:xfrm>
            <a:off x="7620000" y="0"/>
            <a:ext cx="4572000" cy="6858000"/>
          </a:xfrm>
          <a:prstGeom prst="rect">
            <a:avLst/>
          </a:prstGeom>
        </p:spPr>
      </p:pic>
      <p:sp>
        <p:nvSpPr>
          <p:cNvPr id="42" name="Rectangle 41">
            <a:extLst>
              <a:ext uri="{FF2B5EF4-FFF2-40B4-BE49-F238E27FC236}">
                <a16:creationId xmlns:a16="http://schemas.microsoft.com/office/drawing/2014/main" id="{50830596-224D-A11D-D251-21B0CA3EB02E}"/>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11306175" cy="1387274"/>
          </a:xfrm>
        </p:spPr>
        <p:txBody>
          <a:bodyPr vert="horz" rtlCol="0"/>
          <a:lstStyle/>
          <a:p>
            <a:pPr rtl="0"/>
            <a:r>
              <a:rPr lang="en-gb" dirty="0"/>
              <a:t>How to help in case of</a:t>
            </a:r>
            <a:r>
              <a:rPr lang="lv-LV" dirty="0"/>
              <a:t> a</a:t>
            </a:r>
            <a:r>
              <a:rPr lang="en-gb" dirty="0"/>
              <a:t> stroke?</a:t>
            </a:r>
            <a:endParaRPr lang="en-GB" dirty="0"/>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rtlCol="0"/>
          <a:lstStyle/>
          <a:p>
            <a:pPr rtl="0"/>
            <a:fld id="{7870704B-CE94-48CC-AF30-84932A1262A7}" type="slidenum">
              <a:rPr lang="en-GB" smtClean="0"/>
              <a:pPr rtl="0"/>
              <a:t>45</a:t>
            </a:fld>
            <a:endParaRPr lang="en-GB"/>
          </a:p>
        </p:txBody>
      </p:sp>
      <p:sp>
        <p:nvSpPr>
          <p:cNvPr id="26" name="Rectangle 25">
            <a:extLst>
              <a:ext uri="{FF2B5EF4-FFF2-40B4-BE49-F238E27FC236}">
                <a16:creationId xmlns:a16="http://schemas.microsoft.com/office/drawing/2014/main" id="{5EC1F9AE-82A4-85FE-592B-EF659F76F7EC}"/>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rtl="0"/>
            <a:r>
              <a:rPr lang="en-gb" sz="1400" b="1">
                <a:solidFill>
                  <a:schemeClr val="tx1"/>
                </a:solidFill>
              </a:rPr>
              <a:t>How to proceed?</a:t>
            </a:r>
          </a:p>
        </p:txBody>
      </p:sp>
      <p:sp>
        <p:nvSpPr>
          <p:cNvPr id="29" name="Content Placeholder 1">
            <a:extLst>
              <a:ext uri="{FF2B5EF4-FFF2-40B4-BE49-F238E27FC236}">
                <a16:creationId xmlns:a16="http://schemas.microsoft.com/office/drawing/2014/main" id="{3915AD89-6428-4A75-0915-328643F1703C}"/>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30" name="Content Placeholder 1">
            <a:extLst>
              <a:ext uri="{FF2B5EF4-FFF2-40B4-BE49-F238E27FC236}">
                <a16:creationId xmlns:a16="http://schemas.microsoft.com/office/drawing/2014/main" id="{373AB206-F1F0-CC72-8C15-85605D9AF2AC}"/>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46" name="Google Shape;760;p79">
            <a:extLst>
              <a:ext uri="{FF2B5EF4-FFF2-40B4-BE49-F238E27FC236}">
                <a16:creationId xmlns:a16="http://schemas.microsoft.com/office/drawing/2014/main" id="{09BF84D6-F468-7005-FAB5-AA0B6AE5CFB4}"/>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0" name="Rectangle 49">
            <a:extLst>
              <a:ext uri="{FF2B5EF4-FFF2-40B4-BE49-F238E27FC236}">
                <a16:creationId xmlns:a16="http://schemas.microsoft.com/office/drawing/2014/main" id="{0130363F-7CE7-F3D0-4AB5-F295FAC2DCBC}"/>
              </a:ext>
            </a:extLst>
          </p:cNvPr>
          <p:cNvSpPr/>
          <p:nvPr/>
        </p:nvSpPr>
        <p:spPr>
          <a:xfrm>
            <a:off x="442913" y="963958"/>
            <a:ext cx="6734171" cy="628650"/>
          </a:xfrm>
          <a:prstGeom prst="rect">
            <a:avLst/>
          </a:prstGeom>
          <a:solidFill>
            <a:schemeClr val="bg1"/>
          </a:solidFill>
          <a:ln>
            <a:solidFill>
              <a:schemeClr val="accent2"/>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51" name="Rectangle 50">
            <a:extLst>
              <a:ext uri="{FF2B5EF4-FFF2-40B4-BE49-F238E27FC236}">
                <a16:creationId xmlns:a16="http://schemas.microsoft.com/office/drawing/2014/main" id="{AFEB1935-0849-FFDB-14A2-768E555E2F79}"/>
              </a:ext>
            </a:extLst>
          </p:cNvPr>
          <p:cNvSpPr/>
          <p:nvPr/>
        </p:nvSpPr>
        <p:spPr>
          <a:xfrm>
            <a:off x="1454989" y="1062283"/>
            <a:ext cx="3405187"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rIns="0" rtlCol="0" anchor="ctr"/>
          <a:lstStyle/>
          <a:p>
            <a:pPr rtl="0"/>
            <a:r>
              <a:rPr lang="en-gb" sz="1600" b="1" dirty="0">
                <a:solidFill>
                  <a:schemeClr val="tx1"/>
                </a:solidFill>
              </a:rPr>
              <a:t>What </a:t>
            </a:r>
            <a:r>
              <a:rPr lang="lv-LV" sz="1600" b="1" dirty="0" err="1">
                <a:solidFill>
                  <a:schemeClr val="tx1"/>
                </a:solidFill>
              </a:rPr>
              <a:t>does</a:t>
            </a:r>
            <a:r>
              <a:rPr lang="en-gb" sz="1600" b="1" dirty="0">
                <a:solidFill>
                  <a:schemeClr val="tx1"/>
                </a:solidFill>
              </a:rPr>
              <a:t> it look like?</a:t>
            </a:r>
            <a:endParaRPr lang="en-GB" sz="1600" b="1" dirty="0">
              <a:solidFill>
                <a:schemeClr val="tx1"/>
              </a:solidFill>
            </a:endParaRPr>
          </a:p>
        </p:txBody>
      </p:sp>
      <p:cxnSp>
        <p:nvCxnSpPr>
          <p:cNvPr id="53" name="Straight Connector 52">
            <a:extLst>
              <a:ext uri="{FF2B5EF4-FFF2-40B4-BE49-F238E27FC236}">
                <a16:creationId xmlns:a16="http://schemas.microsoft.com/office/drawing/2014/main" id="{F358E754-064A-5B8C-B2FC-4E612BA07893}"/>
              </a:ext>
            </a:extLst>
          </p:cNvPr>
          <p:cNvCxnSpPr>
            <a:cxnSpLocks/>
          </p:cNvCxnSpPr>
          <p:nvPr/>
        </p:nvCxnSpPr>
        <p:spPr>
          <a:xfrm>
            <a:off x="1233531" y="1053947"/>
            <a:ext cx="0" cy="448673"/>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105" name="TextBox 104">
            <a:extLst>
              <a:ext uri="{FF2B5EF4-FFF2-40B4-BE49-F238E27FC236}">
                <a16:creationId xmlns:a16="http://schemas.microsoft.com/office/drawing/2014/main" id="{C73B42A3-EA68-B90F-A6C9-5F7FF93DD187}"/>
              </a:ext>
            </a:extLst>
          </p:cNvPr>
          <p:cNvSpPr txBox="1"/>
          <p:nvPr/>
        </p:nvSpPr>
        <p:spPr>
          <a:xfrm>
            <a:off x="442915" y="2398554"/>
            <a:ext cx="6734169" cy="3777466"/>
          </a:xfrm>
          <a:prstGeom prst="rect">
            <a:avLst/>
          </a:prstGeom>
          <a:solidFill>
            <a:schemeClr val="bg1">
              <a:lumMod val="95000"/>
            </a:schemeClr>
          </a:solidFill>
        </p:spPr>
        <p:txBody>
          <a:bodyPr wrap="square" lIns="72000" tIns="72000" rIns="72000" bIns="72000" rtlCol="0">
            <a:noAutofit/>
          </a:bodyPr>
          <a:lstStyle/>
          <a:p>
            <a:pPr marL="284400" lvl="0" indent="-284400" rtl="0">
              <a:spcAft>
                <a:spcPts val="1200"/>
              </a:spcAft>
              <a:buBlip>
                <a:blip r:embed="rId7"/>
              </a:buBlip>
            </a:pPr>
            <a:r>
              <a:rPr lang="en-gb" sz="1400" dirty="0"/>
              <a:t>Recognise the stroke and follow the "FAST" route.</a:t>
            </a:r>
          </a:p>
          <a:p>
            <a:pPr marL="756000" lvl="1" rtl="0">
              <a:spcAft>
                <a:spcPts val="1200"/>
              </a:spcAft>
            </a:pPr>
            <a:r>
              <a:rPr lang="en-US" sz="1400" dirty="0"/>
              <a:t>Does one side of the face droop or is it numb? Ask the person to smile. Is the person's smile uneven?</a:t>
            </a:r>
            <a:endParaRPr lang="lv-LV" sz="1400" dirty="0"/>
          </a:p>
          <a:p>
            <a:pPr marL="756000" lvl="1" rtl="0">
              <a:spcAft>
                <a:spcPts val="1800"/>
              </a:spcAft>
            </a:pPr>
            <a:r>
              <a:rPr lang="en-US" sz="1400" dirty="0"/>
              <a:t>Is one arm weak or numb? Ask the person to raise both arms. Does one arm drift downward?</a:t>
            </a:r>
            <a:endParaRPr lang="lv-LV" sz="1400" dirty="0"/>
          </a:p>
          <a:p>
            <a:pPr marL="756000" lvl="1" rtl="0">
              <a:spcAft>
                <a:spcPts val="1800"/>
              </a:spcAft>
            </a:pPr>
            <a:r>
              <a:rPr lang="en-US" sz="1400" dirty="0"/>
              <a:t>Speech Difficulty – Is speech slurred?</a:t>
            </a:r>
            <a:endParaRPr lang="lv-LV" sz="1400" dirty="0"/>
          </a:p>
          <a:p>
            <a:pPr marL="756000" lvl="1" rtl="0">
              <a:spcAft>
                <a:spcPts val="1200"/>
              </a:spcAft>
            </a:pPr>
            <a:r>
              <a:rPr lang="en-US" sz="1400" dirty="0"/>
              <a:t>Time to call 911 – Stroke is an emergency. Every minute counts. Call 911 immediately. Note the time when any of the symptoms first appear.</a:t>
            </a:r>
            <a:r>
              <a:rPr lang="en-gb" sz="1400" dirty="0"/>
              <a:t>Care for, calm the sick.</a:t>
            </a:r>
          </a:p>
          <a:p>
            <a:pPr marL="284400" lvl="0" indent="-284400" rtl="0">
              <a:spcAft>
                <a:spcPts val="600"/>
              </a:spcAft>
              <a:buBlip>
                <a:blip r:embed="rId7"/>
              </a:buBlip>
            </a:pPr>
            <a:r>
              <a:rPr lang="en-gb" sz="1400" dirty="0"/>
              <a:t>Take resuscitation measures if necessary.</a:t>
            </a:r>
          </a:p>
        </p:txBody>
      </p:sp>
      <p:sp>
        <p:nvSpPr>
          <p:cNvPr id="2" name="Google Shape;764;p79">
            <a:extLst>
              <a:ext uri="{FF2B5EF4-FFF2-40B4-BE49-F238E27FC236}">
                <a16:creationId xmlns:a16="http://schemas.microsoft.com/office/drawing/2014/main" id="{C3F516C4-CBBA-ADF7-B862-CB2C85E36114}"/>
              </a:ext>
            </a:extLst>
          </p:cNvPr>
          <p:cNvSpPr/>
          <p:nvPr/>
        </p:nvSpPr>
        <p:spPr>
          <a:xfrm>
            <a:off x="578685" y="1062283"/>
            <a:ext cx="433388" cy="4318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178" y="228"/>
                </a:moveTo>
                <a:cubicBezTo>
                  <a:pt x="178" y="210"/>
                  <a:pt x="180" y="194"/>
                  <a:pt x="186" y="180"/>
                </a:cubicBezTo>
                <a:cubicBezTo>
                  <a:pt x="191" y="165"/>
                  <a:pt x="199" y="153"/>
                  <a:pt x="209" y="143"/>
                </a:cubicBezTo>
                <a:cubicBezTo>
                  <a:pt x="219" y="132"/>
                  <a:pt x="231" y="124"/>
                  <a:pt x="246" y="119"/>
                </a:cubicBezTo>
                <a:cubicBezTo>
                  <a:pt x="260" y="113"/>
                  <a:pt x="276" y="110"/>
                  <a:pt x="294" y="110"/>
                </a:cubicBezTo>
                <a:cubicBezTo>
                  <a:pt x="309" y="110"/>
                  <a:pt x="322" y="112"/>
                  <a:pt x="335" y="117"/>
                </a:cubicBezTo>
                <a:cubicBezTo>
                  <a:pt x="348" y="121"/>
                  <a:pt x="359" y="127"/>
                  <a:pt x="369" y="136"/>
                </a:cubicBezTo>
                <a:cubicBezTo>
                  <a:pt x="378" y="144"/>
                  <a:pt x="386" y="154"/>
                  <a:pt x="391" y="166"/>
                </a:cubicBezTo>
                <a:cubicBezTo>
                  <a:pt x="397" y="179"/>
                  <a:pt x="399" y="192"/>
                  <a:pt x="399" y="208"/>
                </a:cubicBezTo>
                <a:cubicBezTo>
                  <a:pt x="399" y="219"/>
                  <a:pt x="398" y="229"/>
                  <a:pt x="396" y="237"/>
                </a:cubicBezTo>
                <a:cubicBezTo>
                  <a:pt x="393" y="245"/>
                  <a:pt x="390" y="253"/>
                  <a:pt x="386" y="258"/>
                </a:cubicBezTo>
                <a:cubicBezTo>
                  <a:pt x="382" y="264"/>
                  <a:pt x="377" y="270"/>
                  <a:pt x="372" y="274"/>
                </a:cubicBezTo>
                <a:cubicBezTo>
                  <a:pt x="367" y="279"/>
                  <a:pt x="362" y="284"/>
                  <a:pt x="357" y="288"/>
                </a:cubicBezTo>
                <a:cubicBezTo>
                  <a:pt x="351" y="293"/>
                  <a:pt x="345" y="298"/>
                  <a:pt x="340" y="303"/>
                </a:cubicBezTo>
                <a:cubicBezTo>
                  <a:pt x="335" y="308"/>
                  <a:pt x="330" y="313"/>
                  <a:pt x="326" y="319"/>
                </a:cubicBezTo>
                <a:cubicBezTo>
                  <a:pt x="322" y="325"/>
                  <a:pt x="319" y="332"/>
                  <a:pt x="317" y="341"/>
                </a:cubicBezTo>
                <a:cubicBezTo>
                  <a:pt x="315" y="349"/>
                  <a:pt x="314" y="358"/>
                  <a:pt x="314" y="370"/>
                </a:cubicBezTo>
                <a:cubicBezTo>
                  <a:pt x="262" y="370"/>
                  <a:pt x="262" y="370"/>
                  <a:pt x="262" y="370"/>
                </a:cubicBezTo>
                <a:cubicBezTo>
                  <a:pt x="262" y="356"/>
                  <a:pt x="263" y="344"/>
                  <a:pt x="264" y="334"/>
                </a:cubicBezTo>
                <a:cubicBezTo>
                  <a:pt x="266" y="324"/>
                  <a:pt x="268" y="316"/>
                  <a:pt x="271" y="308"/>
                </a:cubicBezTo>
                <a:cubicBezTo>
                  <a:pt x="274" y="301"/>
                  <a:pt x="278" y="294"/>
                  <a:pt x="283" y="288"/>
                </a:cubicBezTo>
                <a:cubicBezTo>
                  <a:pt x="288" y="283"/>
                  <a:pt x="293" y="277"/>
                  <a:pt x="300" y="272"/>
                </a:cubicBezTo>
                <a:cubicBezTo>
                  <a:pt x="305" y="267"/>
                  <a:pt x="310" y="263"/>
                  <a:pt x="314" y="259"/>
                </a:cubicBezTo>
                <a:cubicBezTo>
                  <a:pt x="319" y="255"/>
                  <a:pt x="323" y="251"/>
                  <a:pt x="327" y="246"/>
                </a:cubicBezTo>
                <a:cubicBezTo>
                  <a:pt x="331" y="242"/>
                  <a:pt x="334" y="236"/>
                  <a:pt x="336" y="231"/>
                </a:cubicBezTo>
                <a:cubicBezTo>
                  <a:pt x="338" y="225"/>
                  <a:pt x="339" y="218"/>
                  <a:pt x="339" y="210"/>
                </a:cubicBezTo>
                <a:cubicBezTo>
                  <a:pt x="339" y="200"/>
                  <a:pt x="337" y="192"/>
                  <a:pt x="334" y="185"/>
                </a:cubicBezTo>
                <a:cubicBezTo>
                  <a:pt x="330" y="178"/>
                  <a:pt x="326" y="172"/>
                  <a:pt x="321" y="168"/>
                </a:cubicBezTo>
                <a:cubicBezTo>
                  <a:pt x="317" y="164"/>
                  <a:pt x="311" y="161"/>
                  <a:pt x="306" y="159"/>
                </a:cubicBezTo>
                <a:cubicBezTo>
                  <a:pt x="300" y="157"/>
                  <a:pt x="296" y="156"/>
                  <a:pt x="291" y="156"/>
                </a:cubicBezTo>
                <a:cubicBezTo>
                  <a:pt x="271" y="156"/>
                  <a:pt x="257" y="163"/>
                  <a:pt x="247" y="176"/>
                </a:cubicBezTo>
                <a:cubicBezTo>
                  <a:pt x="238" y="189"/>
                  <a:pt x="233" y="206"/>
                  <a:pt x="233" y="228"/>
                </a:cubicBezTo>
                <a:lnTo>
                  <a:pt x="178" y="228"/>
                </a:lnTo>
                <a:close/>
                <a:moveTo>
                  <a:pt x="255" y="403"/>
                </a:moveTo>
                <a:cubicBezTo>
                  <a:pt x="319" y="403"/>
                  <a:pt x="319" y="403"/>
                  <a:pt x="319" y="403"/>
                </a:cubicBezTo>
                <a:cubicBezTo>
                  <a:pt x="319" y="464"/>
                  <a:pt x="319" y="464"/>
                  <a:pt x="319" y="464"/>
                </a:cubicBezTo>
                <a:cubicBezTo>
                  <a:pt x="255" y="464"/>
                  <a:pt x="255" y="464"/>
                  <a:pt x="255" y="464"/>
                </a:cubicBezTo>
                <a:lnTo>
                  <a:pt x="255" y="403"/>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6" name="Rectangle 5">
            <a:extLst>
              <a:ext uri="{FF2B5EF4-FFF2-40B4-BE49-F238E27FC236}">
                <a16:creationId xmlns:a16="http://schemas.microsoft.com/office/drawing/2014/main" id="{2B4ED087-A352-17EE-A9D6-33782A1F4144}"/>
              </a:ext>
            </a:extLst>
          </p:cNvPr>
          <p:cNvSpPr/>
          <p:nvPr/>
        </p:nvSpPr>
        <p:spPr>
          <a:xfrm>
            <a:off x="8053696" y="4549140"/>
            <a:ext cx="3704610" cy="1606560"/>
          </a:xfrm>
          <a:prstGeom prst="rect">
            <a:avLst/>
          </a:prstGeom>
          <a:solidFill>
            <a:schemeClr val="bg1">
              <a:alpha val="7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7" name="Rectangle 6">
            <a:extLst>
              <a:ext uri="{FF2B5EF4-FFF2-40B4-BE49-F238E27FC236}">
                <a16:creationId xmlns:a16="http://schemas.microsoft.com/office/drawing/2014/main" id="{2FBFC548-6771-3663-E6BE-BB4CC33B41A9}"/>
              </a:ext>
            </a:extLst>
          </p:cNvPr>
          <p:cNvSpPr/>
          <p:nvPr/>
        </p:nvSpPr>
        <p:spPr>
          <a:xfrm>
            <a:off x="9106304" y="4549139"/>
            <a:ext cx="2642784" cy="1606561"/>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rIns="0" rtlCol="0" anchor="ctr"/>
          <a:lstStyle/>
          <a:p>
            <a:pPr rtl="0"/>
            <a:r>
              <a:rPr lang="en-gb" sz="1600" b="1">
                <a:solidFill>
                  <a:schemeClr val="tx1"/>
                </a:solidFill>
              </a:rPr>
              <a:t>A stroke is a brain injury caused by a disturbance in the blood flow to the brain that threatens the victim's life.</a:t>
            </a:r>
          </a:p>
        </p:txBody>
      </p:sp>
      <p:cxnSp>
        <p:nvCxnSpPr>
          <p:cNvPr id="8" name="Straight Connector 7">
            <a:extLst>
              <a:ext uri="{FF2B5EF4-FFF2-40B4-BE49-F238E27FC236}">
                <a16:creationId xmlns:a16="http://schemas.microsoft.com/office/drawing/2014/main" id="{EE51AD4F-3E95-E56F-5B86-5C86629EA0F7}"/>
              </a:ext>
            </a:extLst>
          </p:cNvPr>
          <p:cNvCxnSpPr>
            <a:cxnSpLocks/>
          </p:cNvCxnSpPr>
          <p:nvPr/>
        </p:nvCxnSpPr>
        <p:spPr>
          <a:xfrm>
            <a:off x="8830548" y="4937626"/>
            <a:ext cx="0" cy="829586"/>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9" name="Google Shape;778;p79">
            <a:extLst>
              <a:ext uri="{FF2B5EF4-FFF2-40B4-BE49-F238E27FC236}">
                <a16:creationId xmlns:a16="http://schemas.microsoft.com/office/drawing/2014/main" id="{5A200844-DA1F-317B-8566-3C4F0705FD2A}"/>
              </a:ext>
            </a:extLst>
          </p:cNvPr>
          <p:cNvSpPr/>
          <p:nvPr/>
        </p:nvSpPr>
        <p:spPr>
          <a:xfrm>
            <a:off x="8195388" y="5136419"/>
            <a:ext cx="468000" cy="432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0" name="Rectangle 9">
            <a:extLst>
              <a:ext uri="{FF2B5EF4-FFF2-40B4-BE49-F238E27FC236}">
                <a16:creationId xmlns:a16="http://schemas.microsoft.com/office/drawing/2014/main" id="{117540F8-A58D-7804-1B3D-347E9F3DB635}"/>
              </a:ext>
            </a:extLst>
          </p:cNvPr>
          <p:cNvSpPr/>
          <p:nvPr/>
        </p:nvSpPr>
        <p:spPr>
          <a:xfrm>
            <a:off x="795379" y="2837394"/>
            <a:ext cx="350520" cy="35052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lv-LV" sz="1600" b="1" dirty="0"/>
              <a:t>F</a:t>
            </a:r>
            <a:endParaRPr lang="en-GB" sz="1600" dirty="0"/>
          </a:p>
        </p:txBody>
      </p:sp>
      <p:sp>
        <p:nvSpPr>
          <p:cNvPr id="11" name="Rectangle 10">
            <a:extLst>
              <a:ext uri="{FF2B5EF4-FFF2-40B4-BE49-F238E27FC236}">
                <a16:creationId xmlns:a16="http://schemas.microsoft.com/office/drawing/2014/main" id="{FC6ECF3B-7D0F-5ED4-1023-D069420F907E}"/>
              </a:ext>
            </a:extLst>
          </p:cNvPr>
          <p:cNvSpPr/>
          <p:nvPr/>
        </p:nvSpPr>
        <p:spPr>
          <a:xfrm>
            <a:off x="795379" y="3438738"/>
            <a:ext cx="350520" cy="35052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lv-LV" sz="1600" b="1" dirty="0"/>
              <a:t>A</a:t>
            </a:r>
            <a:endParaRPr lang="en-GB" sz="1600" dirty="0"/>
          </a:p>
        </p:txBody>
      </p:sp>
      <p:sp>
        <p:nvSpPr>
          <p:cNvPr id="13" name="Rectangle 12">
            <a:extLst>
              <a:ext uri="{FF2B5EF4-FFF2-40B4-BE49-F238E27FC236}">
                <a16:creationId xmlns:a16="http://schemas.microsoft.com/office/drawing/2014/main" id="{AF9D086A-BD99-812E-3B8D-AC1D9F9FB376}"/>
              </a:ext>
            </a:extLst>
          </p:cNvPr>
          <p:cNvSpPr/>
          <p:nvPr/>
        </p:nvSpPr>
        <p:spPr>
          <a:xfrm>
            <a:off x="795379" y="4040082"/>
            <a:ext cx="350520" cy="35052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lv-LV" sz="1600" b="1" dirty="0"/>
              <a:t>S</a:t>
            </a:r>
            <a:endParaRPr lang="en-GB" sz="1600" dirty="0"/>
          </a:p>
        </p:txBody>
      </p:sp>
      <p:sp>
        <p:nvSpPr>
          <p:cNvPr id="14" name="Rectangle 13">
            <a:extLst>
              <a:ext uri="{FF2B5EF4-FFF2-40B4-BE49-F238E27FC236}">
                <a16:creationId xmlns:a16="http://schemas.microsoft.com/office/drawing/2014/main" id="{1501B85D-102B-8D13-E6E4-D12AFF7DE72F}"/>
              </a:ext>
            </a:extLst>
          </p:cNvPr>
          <p:cNvSpPr/>
          <p:nvPr/>
        </p:nvSpPr>
        <p:spPr>
          <a:xfrm>
            <a:off x="795379" y="4641427"/>
            <a:ext cx="350520" cy="35052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lv-LV" sz="1600" b="1" dirty="0"/>
              <a:t>T</a:t>
            </a:r>
            <a:endParaRPr lang="en-GB" sz="1600" dirty="0"/>
          </a:p>
        </p:txBody>
      </p:sp>
      <p:sp>
        <p:nvSpPr>
          <p:cNvPr id="5" name="Rectangle 4">
            <a:extLst>
              <a:ext uri="{FF2B5EF4-FFF2-40B4-BE49-F238E27FC236}">
                <a16:creationId xmlns:a16="http://schemas.microsoft.com/office/drawing/2014/main" id="{CE8DF088-308E-1DA3-B78E-2A403A65AD68}"/>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24" name="Group 23">
            <a:extLst>
              <a:ext uri="{FF2B5EF4-FFF2-40B4-BE49-F238E27FC236}">
                <a16:creationId xmlns:a16="http://schemas.microsoft.com/office/drawing/2014/main" id="{2629CC0D-66C6-97C9-9470-DD97EFC6CD5F}"/>
              </a:ext>
            </a:extLst>
          </p:cNvPr>
          <p:cNvGrpSpPr/>
          <p:nvPr/>
        </p:nvGrpSpPr>
        <p:grpSpPr>
          <a:xfrm>
            <a:off x="9842140" y="372216"/>
            <a:ext cx="1667215" cy="217488"/>
            <a:chOff x="9842140" y="372216"/>
            <a:chExt cx="1667215" cy="217488"/>
          </a:xfrm>
        </p:grpSpPr>
        <p:sp>
          <p:nvSpPr>
            <p:cNvPr id="25" name="TextBox 24">
              <a:extLst>
                <a:ext uri="{FF2B5EF4-FFF2-40B4-BE49-F238E27FC236}">
                  <a16:creationId xmlns:a16="http://schemas.microsoft.com/office/drawing/2014/main" id="{C6FF4E10-BB5B-FF1A-C519-4B5DD6405406}"/>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rtl="0">
                <a:lnSpc>
                  <a:spcPct val="100000"/>
                </a:lnSpc>
                <a:spcAft>
                  <a:spcPts val="600"/>
                </a:spcAft>
                <a:buSzPct val="100000"/>
              </a:pPr>
              <a:r>
                <a:rPr lang="en-gb" sz="800">
                  <a:solidFill>
                    <a:schemeClr val="bg1"/>
                  </a:solidFill>
                </a:rPr>
                <a:t>Diseases</a:t>
              </a:r>
            </a:p>
          </p:txBody>
        </p:sp>
        <p:sp>
          <p:nvSpPr>
            <p:cNvPr id="27" name="Freeform 49">
              <a:extLst>
                <a:ext uri="{FF2B5EF4-FFF2-40B4-BE49-F238E27FC236}">
                  <a16:creationId xmlns:a16="http://schemas.microsoft.com/office/drawing/2014/main" id="{8735C16F-BB31-CB26-3073-71C2D6B6EFFC}"/>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p>
          </p:txBody>
        </p:sp>
      </p:grpSp>
      <p:grpSp>
        <p:nvGrpSpPr>
          <p:cNvPr id="36" name="Group 35">
            <a:extLst>
              <a:ext uri="{FF2B5EF4-FFF2-40B4-BE49-F238E27FC236}">
                <a16:creationId xmlns:a16="http://schemas.microsoft.com/office/drawing/2014/main" id="{6EB1C011-7FAB-69F0-A456-CC6D290979BB}"/>
              </a:ext>
            </a:extLst>
          </p:cNvPr>
          <p:cNvGrpSpPr/>
          <p:nvPr/>
        </p:nvGrpSpPr>
        <p:grpSpPr>
          <a:xfrm>
            <a:off x="9122935" y="126781"/>
            <a:ext cx="2626153" cy="217488"/>
            <a:chOff x="9122935" y="126781"/>
            <a:chExt cx="2626153" cy="217488"/>
          </a:xfrm>
        </p:grpSpPr>
        <p:sp>
          <p:nvSpPr>
            <p:cNvPr id="37" name="Rectangle 36">
              <a:extLst>
                <a:ext uri="{FF2B5EF4-FFF2-40B4-BE49-F238E27FC236}">
                  <a16:creationId xmlns:a16="http://schemas.microsoft.com/office/drawing/2014/main" id="{01101845-0932-F9B5-A810-9F3CF51FBBB5}"/>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000000"/>
                  </a:solidFill>
                  <a:effectLst/>
                  <a:uLnTx/>
                  <a:uFillTx/>
                  <a:ea typeface="Georgia"/>
                  <a:cs typeface="Georgia"/>
                  <a:sym typeface="Georgia"/>
                </a:rPr>
                <a:t>First aid measures</a:t>
              </a:r>
            </a:p>
          </p:txBody>
        </p:sp>
        <p:sp>
          <p:nvSpPr>
            <p:cNvPr id="38" name="Rectangle 37">
              <a:extLst>
                <a:ext uri="{FF2B5EF4-FFF2-40B4-BE49-F238E27FC236}">
                  <a16:creationId xmlns:a16="http://schemas.microsoft.com/office/drawing/2014/main" id="{7732B637-2E23-DDE9-3AC7-189C334F7A2D}"/>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39" name="Rectangle 38">
              <a:extLst>
                <a:ext uri="{FF2B5EF4-FFF2-40B4-BE49-F238E27FC236}">
                  <a16:creationId xmlns:a16="http://schemas.microsoft.com/office/drawing/2014/main" id="{D0ADB288-1909-9FCC-AEB0-B3A9676482DC}"/>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40" name="Rectangle 39">
              <a:extLst>
                <a:ext uri="{FF2B5EF4-FFF2-40B4-BE49-F238E27FC236}">
                  <a16:creationId xmlns:a16="http://schemas.microsoft.com/office/drawing/2014/main" id="{52D3B301-1C56-057F-70C3-599686D5894B}"/>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41" name="Rectangle 40">
              <a:extLst>
                <a:ext uri="{FF2B5EF4-FFF2-40B4-BE49-F238E27FC236}">
                  <a16:creationId xmlns:a16="http://schemas.microsoft.com/office/drawing/2014/main" id="{686AE110-8722-2159-9CBF-E99621E4B1B9}"/>
                </a:ext>
              </a:extLst>
            </p:cNvPr>
            <p:cNvSpPr/>
            <p:nvPr/>
          </p:nvSpPr>
          <p:spPr>
            <a:xfrm>
              <a:off x="9842140"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7</a:t>
              </a:r>
              <a:r>
                <a:rPr lang="en-gb" sz="800" b="1" i="0" u="none" strike="noStrike" kern="0" cap="none" spc="0" normalizeH="0" noProof="0">
                  <a:ln>
                    <a:noFill/>
                  </a:ln>
                  <a:effectLst/>
                  <a:uLnTx/>
                  <a:uFillTx/>
                  <a:ea typeface="Georgia"/>
                  <a:cs typeface="Georgia"/>
                  <a:sym typeface="Georgia"/>
                </a:rPr>
                <a:t>.4</a:t>
              </a:r>
              <a:endParaRPr kumimoji="0" lang="lv-LV" sz="800" b="1" i="0" u="none" strike="noStrike" kern="0" cap="none" spc="0" normalizeH="0" baseline="0" noProof="0" dirty="0">
                <a:ln>
                  <a:noFill/>
                </a:ln>
                <a:effectLst/>
                <a:uLnTx/>
                <a:uFillTx/>
                <a:ea typeface="Georgia"/>
                <a:cs typeface="Georgia"/>
                <a:sym typeface="Georgia"/>
              </a:endParaRPr>
            </a:p>
          </p:txBody>
        </p:sp>
        <p:sp>
          <p:nvSpPr>
            <p:cNvPr id="43" name="Rectangle 42">
              <a:extLst>
                <a:ext uri="{FF2B5EF4-FFF2-40B4-BE49-F238E27FC236}">
                  <a16:creationId xmlns:a16="http://schemas.microsoft.com/office/drawing/2014/main" id="{230FFF20-0417-CD8C-6D43-4132710D647E}"/>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20177709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B5F8EBF-52CC-2EDB-41E8-3667D4E9C17E}"/>
              </a:ext>
            </a:extLst>
          </p:cNvPr>
          <p:cNvGraphicFramePr>
            <a:graphicFrameLocks noChangeAspect="1"/>
          </p:cNvGraphicFramePr>
          <p:nvPr>
            <p:custDataLst>
              <p:tags r:id="rId1"/>
            </p:custDataLst>
            <p:extLst>
              <p:ext uri="{D42A27DB-BD31-4B8C-83A1-F6EECF244321}">
                <p14:modId xmlns:p14="http://schemas.microsoft.com/office/powerpoint/2010/main" val="433015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6" name="think-cell data - do not delete" hidden="1">
                        <a:extLst>
                          <a:ext uri="{FF2B5EF4-FFF2-40B4-BE49-F238E27FC236}">
                            <a16:creationId xmlns:a16="http://schemas.microsoft.com/office/drawing/2014/main" id="{8B5F8EBF-52CC-2EDB-41E8-3667D4E9C1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B93D0FA8-7084-38F8-C9F0-6E8EA50695F6}"/>
              </a:ext>
            </a:extLst>
          </p:cNvPr>
          <p:cNvPicPr>
            <a:picLocks noGrp="1" noChangeAspect="1"/>
          </p:cNvPicPr>
          <p:nvPr>
            <p:ph type="pic" sz="quarter" idx="10"/>
          </p:nvPr>
        </p:nvPicPr>
        <p:blipFill>
          <a:blip r:embed="rId6"/>
          <a:srcRect t="20933" b="20933"/>
          <a:stretch>
            <a:fillRect/>
          </a:stretch>
        </p:blipFill>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sp>
        <p:nvSpPr>
          <p:cNvPr id="2" name="Title 1"/>
          <p:cNvSpPr>
            <a:spLocks noGrp="1"/>
          </p:cNvSpPr>
          <p:nvPr>
            <p:ph type="ctrTitle"/>
          </p:nvPr>
        </p:nvSpPr>
        <p:spPr>
          <a:xfrm>
            <a:off x="442913" y="1064850"/>
            <a:ext cx="7418387" cy="2428875"/>
          </a:xfrm>
        </p:spPr>
        <p:txBody>
          <a:bodyPr vert="horz" rtlCol="0">
            <a:normAutofit/>
          </a:bodyPr>
          <a:lstStyle/>
          <a:p>
            <a:pPr rtl="0"/>
            <a:r>
              <a:rPr lang="en-gb" dirty="0"/>
              <a:t>7.5. Contents of the </a:t>
            </a:r>
            <a:r>
              <a:rPr lang="lv-LV" dirty="0"/>
              <a:t>first aid </a:t>
            </a:r>
            <a:r>
              <a:rPr lang="lv-LV" dirty="0" err="1"/>
              <a:t>kit</a:t>
            </a:r>
            <a:endParaRPr lang="en-GB" dirty="0"/>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Tree>
    <p:extLst>
      <p:ext uri="{BB962C8B-B14F-4D97-AF65-F5344CB8AC3E}">
        <p14:creationId xmlns:p14="http://schemas.microsoft.com/office/powerpoint/2010/main" val="293791686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8CA96A2-A01D-FA94-92E8-A765979AB49D}"/>
              </a:ext>
            </a:extLst>
          </p:cNvPr>
          <p:cNvSpPr>
            <a:spLocks noGrp="1"/>
          </p:cNvSpPr>
          <p:nvPr>
            <p:ph type="title"/>
          </p:nvPr>
        </p:nvSpPr>
        <p:spPr/>
        <p:txBody>
          <a:bodyPr rtlCol="0"/>
          <a:lstStyle/>
          <a:p>
            <a:pPr rtl="0"/>
            <a:r>
              <a:rPr lang="en-gb" dirty="0"/>
              <a:t>Minimum contents of a first aid kit</a:t>
            </a:r>
            <a:endParaRPr lang="en-GB" dirty="0"/>
          </a:p>
        </p:txBody>
      </p:sp>
      <p:sp>
        <p:nvSpPr>
          <p:cNvPr id="7" name="Slide Number Placeholder 6">
            <a:extLst>
              <a:ext uri="{FF2B5EF4-FFF2-40B4-BE49-F238E27FC236}">
                <a16:creationId xmlns:a16="http://schemas.microsoft.com/office/drawing/2014/main" id="{885B7A5C-CCC0-5F63-DE94-AEFF55067EAE}"/>
              </a:ext>
            </a:extLst>
          </p:cNvPr>
          <p:cNvSpPr>
            <a:spLocks noGrp="1"/>
          </p:cNvSpPr>
          <p:nvPr>
            <p:ph type="sldNum" sz="quarter" idx="22"/>
          </p:nvPr>
        </p:nvSpPr>
        <p:spPr/>
        <p:txBody>
          <a:bodyPr rtlCol="0"/>
          <a:lstStyle/>
          <a:p>
            <a:pPr rtl="0"/>
            <a:fld id="{7870704B-CE94-48CC-AF30-84932A1262A7}" type="slidenum">
              <a:rPr lang="en-GB" smtClean="0"/>
              <a:pPr rtl="0"/>
              <a:t>47</a:t>
            </a:fld>
            <a:endParaRPr lang="en-GB"/>
          </a:p>
        </p:txBody>
      </p:sp>
      <p:graphicFrame>
        <p:nvGraphicFramePr>
          <p:cNvPr id="10" name="Table 9">
            <a:extLst>
              <a:ext uri="{FF2B5EF4-FFF2-40B4-BE49-F238E27FC236}">
                <a16:creationId xmlns:a16="http://schemas.microsoft.com/office/drawing/2014/main" id="{DD430830-1913-0D22-CCB5-64EB0C593545}"/>
              </a:ext>
            </a:extLst>
          </p:cNvPr>
          <p:cNvGraphicFramePr>
            <a:graphicFrameLocks noGrp="1"/>
          </p:cNvGraphicFramePr>
          <p:nvPr>
            <p:extLst>
              <p:ext uri="{D42A27DB-BD31-4B8C-83A1-F6EECF244321}">
                <p14:modId xmlns:p14="http://schemas.microsoft.com/office/powerpoint/2010/main" val="1720118354"/>
              </p:ext>
            </p:extLst>
          </p:nvPr>
        </p:nvGraphicFramePr>
        <p:xfrm>
          <a:off x="442913" y="1819275"/>
          <a:ext cx="11306173" cy="3996000"/>
        </p:xfrm>
        <a:graphic>
          <a:graphicData uri="http://schemas.openxmlformats.org/drawingml/2006/table">
            <a:tbl>
              <a:tblPr>
                <a:tableStyleId>{5C22544A-7EE6-4342-B048-85BDC9FD1C3A}</a:tableStyleId>
              </a:tblPr>
              <a:tblGrid>
                <a:gridCol w="776287">
                  <a:extLst>
                    <a:ext uri="{9D8B030D-6E8A-4147-A177-3AD203B41FA5}">
                      <a16:colId xmlns:a16="http://schemas.microsoft.com/office/drawing/2014/main" val="1644794205"/>
                    </a:ext>
                  </a:extLst>
                </a:gridCol>
                <a:gridCol w="8792901">
                  <a:extLst>
                    <a:ext uri="{9D8B030D-6E8A-4147-A177-3AD203B41FA5}">
                      <a16:colId xmlns:a16="http://schemas.microsoft.com/office/drawing/2014/main" val="1320062855"/>
                    </a:ext>
                  </a:extLst>
                </a:gridCol>
                <a:gridCol w="1736985">
                  <a:extLst>
                    <a:ext uri="{9D8B030D-6E8A-4147-A177-3AD203B41FA5}">
                      <a16:colId xmlns:a16="http://schemas.microsoft.com/office/drawing/2014/main" val="1382196044"/>
                    </a:ext>
                  </a:extLst>
                </a:gridCol>
              </a:tblGrid>
              <a:tr h="252000">
                <a:tc>
                  <a:txBody>
                    <a:bodyPr/>
                    <a:lstStyle/>
                    <a:p>
                      <a:pPr algn="ctr" rtl="0"/>
                      <a:r>
                        <a:rPr lang="en-gb" sz="1400" b="1" dirty="0" err="1">
                          <a:solidFill>
                            <a:schemeClr val="bg1"/>
                          </a:solidFill>
                          <a:effectLst/>
                        </a:rPr>
                        <a:t>Nr.p.k</a:t>
                      </a:r>
                      <a:r>
                        <a:rPr lang="en-gb" sz="1400" b="1" dirty="0">
                          <a:solidFill>
                            <a:schemeClr val="bg1"/>
                          </a:solidFill>
                          <a:effectLst/>
                        </a:rPr>
                        <a:t>.</a:t>
                      </a:r>
                      <a:endParaRPr lang="en-GB" sz="1400" b="1" dirty="0">
                        <a:solidFill>
                          <a:schemeClr val="bg1"/>
                        </a:solidFill>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algn="l" rtl="0"/>
                      <a:r>
                        <a:rPr lang="en-gb" sz="1400" b="1">
                          <a:solidFill>
                            <a:schemeClr val="bg1"/>
                          </a:solidFill>
                          <a:effectLst/>
                        </a:rPr>
                        <a:t>Names, sizes, type of packaging for first aid kit medical supplies</a:t>
                      </a:r>
                      <a:endParaRPr lang="en-GB" sz="1400" b="1">
                        <a:solidFill>
                          <a:schemeClr val="bg1"/>
                        </a:solidFill>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algn="ctr" rtl="0"/>
                      <a:r>
                        <a:rPr lang="en-gb" sz="1400" b="1">
                          <a:solidFill>
                            <a:schemeClr val="bg1"/>
                          </a:solidFill>
                          <a:effectLst/>
                        </a:rPr>
                        <a:t>Minimum number</a:t>
                      </a:r>
                      <a:endParaRPr lang="en-GB" sz="1400" b="1">
                        <a:solidFill>
                          <a:schemeClr val="bg1"/>
                        </a:solidFill>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510278492"/>
                  </a:ext>
                </a:extLst>
              </a:tr>
              <a:tr h="234000">
                <a:tc>
                  <a:txBody>
                    <a:bodyPr/>
                    <a:lstStyle/>
                    <a:p>
                      <a:pPr algn="ctr" rtl="0"/>
                      <a:r>
                        <a:rPr lang="en-gb" sz="1400">
                          <a:effectLst/>
                        </a:rPr>
                        <a:t>1.</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rtl="0"/>
                      <a:r>
                        <a:rPr lang="en-gb" sz="1400" dirty="0">
                          <a:effectLst/>
                        </a:rPr>
                        <a:t>List of medical supplies in the national language</a:t>
                      </a:r>
                      <a:endParaRPr lang="en-GB" sz="1400" dirty="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n-gb" sz="1400">
                          <a:effectLst/>
                        </a:rPr>
                        <a:t>1</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1154435"/>
                  </a:ext>
                </a:extLst>
              </a:tr>
              <a:tr h="234000">
                <a:tc>
                  <a:txBody>
                    <a:bodyPr/>
                    <a:lstStyle/>
                    <a:p>
                      <a:pPr algn="ctr" rtl="0"/>
                      <a:r>
                        <a:rPr lang="en-gb" sz="1400">
                          <a:effectLst/>
                        </a:rPr>
                        <a:t>2.</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rtl="0"/>
                      <a:r>
                        <a:rPr lang="en-gb" sz="1400">
                          <a:effectLst/>
                        </a:rPr>
                        <a:t>Disposable gloves in packaging</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n-gb" sz="1400">
                          <a:effectLst/>
                        </a:rPr>
                        <a:t>2 pairs</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9840684"/>
                  </a:ext>
                </a:extLst>
              </a:tr>
              <a:tr h="234000">
                <a:tc>
                  <a:txBody>
                    <a:bodyPr/>
                    <a:lstStyle/>
                    <a:p>
                      <a:pPr algn="ctr" rtl="0"/>
                      <a:r>
                        <a:rPr lang="en-gb" sz="1400">
                          <a:effectLst/>
                        </a:rPr>
                        <a:t>3.</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rtl="0"/>
                      <a:r>
                        <a:rPr lang="lv-LV" sz="1400" dirty="0" err="1">
                          <a:effectLst/>
                        </a:rPr>
                        <a:t>Safety</a:t>
                      </a:r>
                      <a:r>
                        <a:rPr lang="lv-LV" sz="1400" dirty="0">
                          <a:effectLst/>
                        </a:rPr>
                        <a:t> </a:t>
                      </a:r>
                      <a:r>
                        <a:rPr lang="lv-LV" sz="1400" dirty="0" err="1">
                          <a:effectLst/>
                        </a:rPr>
                        <a:t>pins</a:t>
                      </a:r>
                      <a:endParaRPr lang="en-GB" sz="1400" dirty="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n-gb" sz="1400">
                          <a:effectLst/>
                        </a:rPr>
                        <a:t>4</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97127235"/>
                  </a:ext>
                </a:extLst>
              </a:tr>
              <a:tr h="234000">
                <a:tc>
                  <a:txBody>
                    <a:bodyPr/>
                    <a:lstStyle/>
                    <a:p>
                      <a:pPr algn="ctr" rtl="0"/>
                      <a:r>
                        <a:rPr lang="en-gb" sz="1400">
                          <a:effectLst/>
                        </a:rPr>
                        <a:t>4.</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rtl="0"/>
                      <a:r>
                        <a:rPr lang="en-gb" sz="1400">
                          <a:effectLst/>
                        </a:rPr>
                        <a:t>Scissors (10 - 14 cm) with rounded ends</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n-gb" sz="1400">
                          <a:effectLst/>
                        </a:rPr>
                        <a:t>1</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2709168"/>
                  </a:ext>
                </a:extLst>
              </a:tr>
              <a:tr h="234000">
                <a:tc>
                  <a:txBody>
                    <a:bodyPr/>
                    <a:lstStyle/>
                    <a:p>
                      <a:pPr algn="ctr" rtl="0"/>
                      <a:r>
                        <a:rPr lang="en-gb" sz="1400">
                          <a:effectLst/>
                        </a:rPr>
                        <a:t>5.</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rtl="0"/>
                      <a:r>
                        <a:rPr lang="lv-LV" sz="1400" dirty="0">
                          <a:effectLst/>
                        </a:rPr>
                        <a:t>CPR </a:t>
                      </a:r>
                      <a:r>
                        <a:rPr lang="lv-LV" sz="1400" dirty="0" err="1">
                          <a:effectLst/>
                        </a:rPr>
                        <a:t>breathing</a:t>
                      </a:r>
                      <a:r>
                        <a:rPr lang="lv-LV" sz="1400" dirty="0">
                          <a:effectLst/>
                        </a:rPr>
                        <a:t> </a:t>
                      </a:r>
                      <a:r>
                        <a:rPr lang="lv-LV" sz="1400" dirty="0" err="1">
                          <a:effectLst/>
                        </a:rPr>
                        <a:t>barriers</a:t>
                      </a:r>
                      <a:r>
                        <a:rPr lang="lv-LV" sz="1400" dirty="0">
                          <a:effectLst/>
                        </a:rPr>
                        <a:t> </a:t>
                      </a:r>
                      <a:r>
                        <a:rPr lang="en-gb" sz="1400" dirty="0">
                          <a:effectLst/>
                        </a:rPr>
                        <a:t>with one-way air valve</a:t>
                      </a:r>
                      <a:r>
                        <a:rPr lang="lv-LV" sz="1400" dirty="0">
                          <a:effectLst/>
                        </a:rPr>
                        <a:t>s</a:t>
                      </a:r>
                      <a:r>
                        <a:rPr lang="en-gb" sz="1400" dirty="0">
                          <a:effectLst/>
                        </a:rPr>
                        <a:t> </a:t>
                      </a:r>
                      <a:r>
                        <a:rPr lang="lv-LV" sz="1400" dirty="0" err="1">
                          <a:effectLst/>
                        </a:rPr>
                        <a:t>in</a:t>
                      </a:r>
                      <a:r>
                        <a:rPr lang="lv-LV" sz="1400" dirty="0">
                          <a:effectLst/>
                        </a:rPr>
                        <a:t> </a:t>
                      </a:r>
                      <a:r>
                        <a:rPr lang="lv-LV" sz="1400" dirty="0" err="1">
                          <a:effectLst/>
                        </a:rPr>
                        <a:t>packaging</a:t>
                      </a:r>
                      <a:endParaRPr lang="en-GB" sz="1400" dirty="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n-gb" sz="1400">
                          <a:effectLst/>
                        </a:rPr>
                        <a:t>1</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67298144"/>
                  </a:ext>
                </a:extLst>
              </a:tr>
              <a:tr h="234000">
                <a:tc>
                  <a:txBody>
                    <a:bodyPr/>
                    <a:lstStyle/>
                    <a:p>
                      <a:pPr algn="ctr" rtl="0"/>
                      <a:r>
                        <a:rPr lang="en-gb" sz="1400">
                          <a:effectLst/>
                        </a:rPr>
                        <a:t>6.</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rtl="0"/>
                      <a:r>
                        <a:rPr lang="en-gb" sz="1400">
                          <a:effectLst/>
                        </a:rPr>
                        <a:t>Triangular dressing (96 x 96 x 136 cm) per pack</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n-gb" sz="1400">
                          <a:effectLst/>
                        </a:rPr>
                        <a:t>2</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42533731"/>
                  </a:ext>
                </a:extLst>
              </a:tr>
              <a:tr h="234000">
                <a:tc>
                  <a:txBody>
                    <a:bodyPr/>
                    <a:lstStyle/>
                    <a:p>
                      <a:pPr algn="ctr" rtl="0"/>
                      <a:r>
                        <a:rPr lang="en-gb" sz="1400">
                          <a:effectLst/>
                        </a:rPr>
                        <a:t>7.</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rtl="0"/>
                      <a:r>
                        <a:rPr lang="en-gb" sz="1400">
                          <a:effectLst/>
                        </a:rPr>
                        <a:t>Leucoplast (2 - 3 cm) in a coil</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n-gb" sz="1400">
                          <a:effectLst/>
                        </a:rPr>
                        <a:t>1</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86275946"/>
                  </a:ext>
                </a:extLst>
              </a:tr>
              <a:tr h="234000">
                <a:tc>
                  <a:txBody>
                    <a:bodyPr/>
                    <a:lstStyle/>
                    <a:p>
                      <a:pPr algn="ctr" rtl="0"/>
                      <a:r>
                        <a:rPr lang="en-gb" sz="1400">
                          <a:effectLst/>
                        </a:rPr>
                        <a:t>8.</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rtl="0"/>
                      <a:r>
                        <a:rPr lang="en-gb" sz="1400" dirty="0">
                          <a:effectLst/>
                        </a:rPr>
                        <a:t>Wound </a:t>
                      </a:r>
                      <a:r>
                        <a:rPr lang="lv-LV" sz="1400" dirty="0" err="1">
                          <a:effectLst/>
                        </a:rPr>
                        <a:t>bandages</a:t>
                      </a:r>
                      <a:r>
                        <a:rPr lang="en-gb" sz="1400" dirty="0">
                          <a:effectLst/>
                        </a:rPr>
                        <a:t> (various sizes) in sterile packaging</a:t>
                      </a:r>
                      <a:endParaRPr lang="en-GB" sz="1400" dirty="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n-gb" sz="1400">
                          <a:effectLst/>
                        </a:rPr>
                        <a:t>15</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59494948"/>
                  </a:ext>
                </a:extLst>
              </a:tr>
              <a:tr h="234000">
                <a:tc>
                  <a:txBody>
                    <a:bodyPr/>
                    <a:lstStyle/>
                    <a:p>
                      <a:pPr algn="ctr" rtl="0"/>
                      <a:r>
                        <a:rPr lang="en-gb" sz="1400">
                          <a:effectLst/>
                        </a:rPr>
                        <a:t>9.</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rtl="0"/>
                      <a:r>
                        <a:rPr lang="en-gb" sz="1400" dirty="0">
                          <a:effectLst/>
                        </a:rPr>
                        <a:t>Mesh bandage No 3 (40 cm)</a:t>
                      </a:r>
                      <a:endParaRPr lang="en-GB" sz="1400" dirty="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n-gb" sz="1400">
                          <a:effectLst/>
                        </a:rPr>
                        <a:t>3</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1584699"/>
                  </a:ext>
                </a:extLst>
              </a:tr>
              <a:tr h="234000">
                <a:tc>
                  <a:txBody>
                    <a:bodyPr/>
                    <a:lstStyle/>
                    <a:p>
                      <a:pPr algn="ctr" rtl="0"/>
                      <a:r>
                        <a:rPr lang="en-gb" sz="1400">
                          <a:effectLst/>
                        </a:rPr>
                        <a:t>10.</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rtl="0"/>
                      <a:r>
                        <a:rPr lang="en-gb" sz="1400">
                          <a:effectLst/>
                        </a:rPr>
                        <a:t>Foil blanket (one side metallized, the other brightly coloured) in a pack</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n-gb" sz="1400">
                          <a:effectLst/>
                        </a:rPr>
                        <a:t>1</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30638"/>
                  </a:ext>
                </a:extLst>
              </a:tr>
              <a:tr h="234000">
                <a:tc>
                  <a:txBody>
                    <a:bodyPr/>
                    <a:lstStyle/>
                    <a:p>
                      <a:pPr algn="ctr" rtl="0"/>
                      <a:r>
                        <a:rPr lang="en-gb" sz="1400">
                          <a:effectLst/>
                        </a:rPr>
                        <a:t>11.</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rtl="0"/>
                      <a:r>
                        <a:rPr lang="en-gb" sz="1400">
                          <a:effectLst/>
                        </a:rPr>
                        <a:t>Gauze dressings (4 m x 10 cm) in sterile packaging</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n-gb" sz="1400">
                          <a:effectLst/>
                        </a:rPr>
                        <a:t>4</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46567659"/>
                  </a:ext>
                </a:extLst>
              </a:tr>
              <a:tr h="234000">
                <a:tc>
                  <a:txBody>
                    <a:bodyPr/>
                    <a:lstStyle/>
                    <a:p>
                      <a:pPr algn="ctr" rtl="0"/>
                      <a:r>
                        <a:rPr lang="en-gb" sz="1400">
                          <a:effectLst/>
                        </a:rPr>
                        <a:t>12.</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rtl="0"/>
                      <a:r>
                        <a:rPr lang="en-gb" sz="1400">
                          <a:effectLst/>
                        </a:rPr>
                        <a:t>Gauze dressings (4 m x 5 cm) in sterile packaging</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n-gb" sz="1400">
                          <a:effectLst/>
                        </a:rPr>
                        <a:t>2</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28766621"/>
                  </a:ext>
                </a:extLst>
              </a:tr>
              <a:tr h="234000">
                <a:tc>
                  <a:txBody>
                    <a:bodyPr/>
                    <a:lstStyle/>
                    <a:p>
                      <a:pPr algn="ctr" rtl="0"/>
                      <a:r>
                        <a:rPr lang="en-gb" sz="1400">
                          <a:effectLst/>
                        </a:rPr>
                        <a:t>13.</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rtl="0"/>
                      <a:r>
                        <a:rPr lang="en-gb" sz="1400">
                          <a:effectLst/>
                        </a:rPr>
                        <a:t>Dressing packs in sterile packaging</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n-gb" sz="1400">
                          <a:effectLst/>
                        </a:rPr>
                        <a:t>2</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99754628"/>
                  </a:ext>
                </a:extLst>
              </a:tr>
              <a:tr h="234000">
                <a:tc>
                  <a:txBody>
                    <a:bodyPr/>
                    <a:lstStyle/>
                    <a:p>
                      <a:pPr algn="ctr" rtl="0"/>
                      <a:r>
                        <a:rPr lang="en-gb" sz="1400">
                          <a:effectLst/>
                        </a:rPr>
                        <a:t>14.</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rtl="0"/>
                      <a:r>
                        <a:rPr lang="lv-LV" sz="1400" dirty="0" err="1">
                          <a:effectLst/>
                        </a:rPr>
                        <a:t>Gauze</a:t>
                      </a:r>
                      <a:r>
                        <a:rPr lang="lv-LV" sz="1400" dirty="0">
                          <a:effectLst/>
                        </a:rPr>
                        <a:t> </a:t>
                      </a:r>
                      <a:r>
                        <a:rPr lang="lv-LV" sz="1400" dirty="0" err="1">
                          <a:effectLst/>
                        </a:rPr>
                        <a:t>compress</a:t>
                      </a:r>
                      <a:r>
                        <a:rPr lang="lv-LV" sz="1400" dirty="0">
                          <a:effectLst/>
                        </a:rPr>
                        <a:t> </a:t>
                      </a:r>
                      <a:r>
                        <a:rPr lang="en-gb" sz="1400" dirty="0">
                          <a:effectLst/>
                        </a:rPr>
                        <a:t>(600 x 800 mm) in sterile packaging</a:t>
                      </a:r>
                      <a:endParaRPr lang="en-GB" sz="1400" dirty="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n-gb" sz="1400">
                          <a:effectLst/>
                        </a:rPr>
                        <a:t>1</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52778"/>
                  </a:ext>
                </a:extLst>
              </a:tr>
              <a:tr h="234000">
                <a:tc>
                  <a:txBody>
                    <a:bodyPr/>
                    <a:lstStyle/>
                    <a:p>
                      <a:pPr algn="ctr" rtl="0"/>
                      <a:r>
                        <a:rPr lang="en-gb" sz="1400">
                          <a:effectLst/>
                        </a:rPr>
                        <a:t>15.</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rtl="0"/>
                      <a:r>
                        <a:rPr lang="lv-LV" sz="1400" dirty="0" err="1">
                          <a:effectLst/>
                        </a:rPr>
                        <a:t>Gauze</a:t>
                      </a:r>
                      <a:r>
                        <a:rPr lang="lv-LV" sz="1400" dirty="0">
                          <a:effectLst/>
                        </a:rPr>
                        <a:t> </a:t>
                      </a:r>
                      <a:r>
                        <a:rPr lang="lv-LV" sz="1400" dirty="0" err="1">
                          <a:effectLst/>
                        </a:rPr>
                        <a:t>compress</a:t>
                      </a:r>
                      <a:r>
                        <a:rPr lang="lv-LV" sz="1400" dirty="0">
                          <a:effectLst/>
                        </a:rPr>
                        <a:t> </a:t>
                      </a:r>
                      <a:r>
                        <a:rPr lang="en-gb" sz="1400" dirty="0">
                          <a:effectLst/>
                        </a:rPr>
                        <a:t>(400 x 600 mm) in sterile packaging</a:t>
                      </a:r>
                      <a:endParaRPr lang="en-GB" sz="1400" dirty="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n-gb" sz="1400">
                          <a:effectLst/>
                        </a:rPr>
                        <a:t>1</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4983841"/>
                  </a:ext>
                </a:extLst>
              </a:tr>
              <a:tr h="234000">
                <a:tc>
                  <a:txBody>
                    <a:bodyPr/>
                    <a:lstStyle/>
                    <a:p>
                      <a:pPr algn="ctr" rtl="0"/>
                      <a:r>
                        <a:rPr lang="en-gb" sz="1400">
                          <a:effectLst/>
                        </a:rPr>
                        <a:t>16.</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solidFill>
                  </a:tcPr>
                </a:tc>
                <a:tc>
                  <a:txBody>
                    <a:bodyPr/>
                    <a:lstStyle/>
                    <a:p>
                      <a:pPr algn="l" rtl="0"/>
                      <a:r>
                        <a:rPr lang="lv-LV" sz="1400" dirty="0" err="1">
                          <a:effectLst/>
                        </a:rPr>
                        <a:t>Gauze</a:t>
                      </a:r>
                      <a:r>
                        <a:rPr lang="lv-LV" sz="1400" dirty="0">
                          <a:effectLst/>
                        </a:rPr>
                        <a:t> </a:t>
                      </a:r>
                      <a:r>
                        <a:rPr lang="lv-LV" sz="1400" dirty="0" err="1">
                          <a:effectLst/>
                        </a:rPr>
                        <a:t>compress</a:t>
                      </a:r>
                      <a:r>
                        <a:rPr lang="lv-LV" sz="1400">
                          <a:effectLst/>
                        </a:rPr>
                        <a:t> </a:t>
                      </a:r>
                      <a:r>
                        <a:rPr lang="en-gb" sz="1400">
                          <a:effectLst/>
                        </a:rPr>
                        <a:t>(</a:t>
                      </a:r>
                      <a:r>
                        <a:rPr lang="en-gb" sz="1400" dirty="0">
                          <a:effectLst/>
                        </a:rPr>
                        <a:t>100 x 100 mm) in sterile packaging </a:t>
                      </a:r>
                      <a:endParaRPr lang="en-GB" sz="1400" dirty="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0"/>
                      <a:r>
                        <a:rPr lang="en-gb" sz="1400" dirty="0">
                          <a:effectLst/>
                        </a:rPr>
                        <a:t>5</a:t>
                      </a:r>
                      <a:endParaRPr lang="en-GB" sz="1400" dirty="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54672451"/>
                  </a:ext>
                </a:extLst>
              </a:tr>
            </a:tbl>
          </a:graphicData>
        </a:graphic>
      </p:graphicFrame>
      <p:sp>
        <p:nvSpPr>
          <p:cNvPr id="11" name="Rectangle 1">
            <a:extLst>
              <a:ext uri="{FF2B5EF4-FFF2-40B4-BE49-F238E27FC236}">
                <a16:creationId xmlns:a16="http://schemas.microsoft.com/office/drawing/2014/main" id="{E0158CBF-80D1-8041-5978-AE6FC3BEB22F}"/>
              </a:ext>
            </a:extLst>
          </p:cNvPr>
          <p:cNvSpPr>
            <a:spLocks noChangeArrowheads="1"/>
          </p:cNvSpPr>
          <p:nvPr/>
        </p:nvSpPr>
        <p:spPr bwMode="auto">
          <a:xfrm>
            <a:off x="442913" y="5949062"/>
            <a:ext cx="11306175" cy="476937"/>
          </a:xfrm>
          <a:prstGeom prst="rect">
            <a:avLst/>
          </a:prstGeom>
          <a:solidFill>
            <a:schemeClr val="accent2"/>
          </a:solidFill>
          <a:ln>
            <a:noFill/>
          </a:ln>
          <a:effectLst/>
        </p:spPr>
        <p:txBody>
          <a:bodyPr vert="horz" wrap="square" lIns="72000" tIns="0" rIns="72000" bIns="0" numCol="1" rtlCol="0" anchor="ctr" anchorCtr="0" compatLnSpc="1">
            <a:prstTxWarp prst="textNoShape">
              <a:avLst/>
            </a:prstTxWarp>
            <a:noAutofit/>
          </a:bodyPr>
          <a:lstStyle/>
          <a:p>
            <a:pPr marL="0" marR="0" lvl="0" indent="0" defTabSz="914400" rtl="0" eaLnBrk="0" fontAlgn="base" latinLnBrk="0" hangingPunct="0">
              <a:lnSpc>
                <a:spcPct val="100000"/>
              </a:lnSpc>
              <a:spcBef>
                <a:spcPct val="0"/>
              </a:spcBef>
              <a:spcAft>
                <a:spcPct val="0"/>
              </a:spcAft>
              <a:buClrTx/>
              <a:buSzTx/>
              <a:buFontTx/>
              <a:buNone/>
              <a:tabLst/>
            </a:pPr>
            <a:r>
              <a:rPr lang="en-gb" sz="1400" b="0" i="0" u="none" strike="noStrike" cap="none" normalizeH="0">
                <a:ln>
                  <a:noFill/>
                </a:ln>
                <a:solidFill>
                  <a:schemeClr val="bg1"/>
                </a:solidFill>
                <a:effectLst/>
                <a:ea typeface="Arial Unicode MS"/>
                <a:cs typeface="Times New Roman" panose="02020603050405020304" pitchFamily="18" charset="0"/>
              </a:rPr>
              <a:t>It is recommended to supplement the contents of the first aid kit with at least two medical face masks or non-vented respirators with a safety rating of FFP2 - FFP3.</a:t>
            </a:r>
            <a:r>
              <a:rPr lang="en-gb" sz="1400" b="0" i="0" u="none" strike="noStrike" cap="none" normalizeH="0">
                <a:ln>
                  <a:noFill/>
                </a:ln>
                <a:solidFill>
                  <a:schemeClr val="bg1"/>
                </a:solidFill>
                <a:effectLst/>
              </a:rPr>
              <a:t> </a:t>
            </a:r>
          </a:p>
        </p:txBody>
      </p:sp>
      <p:sp>
        <p:nvSpPr>
          <p:cNvPr id="2" name="Rectangle 1">
            <a:extLst>
              <a:ext uri="{FF2B5EF4-FFF2-40B4-BE49-F238E27FC236}">
                <a16:creationId xmlns:a16="http://schemas.microsoft.com/office/drawing/2014/main" id="{8AECEEF7-147C-69E9-7E85-66789CF569A3}"/>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15" name="Group 14">
            <a:extLst>
              <a:ext uri="{FF2B5EF4-FFF2-40B4-BE49-F238E27FC236}">
                <a16:creationId xmlns:a16="http://schemas.microsoft.com/office/drawing/2014/main" id="{388FE7B1-ADE2-6B6B-234C-B8C1E1FB8F5A}"/>
              </a:ext>
            </a:extLst>
          </p:cNvPr>
          <p:cNvGrpSpPr/>
          <p:nvPr/>
        </p:nvGrpSpPr>
        <p:grpSpPr>
          <a:xfrm>
            <a:off x="8631937" y="126781"/>
            <a:ext cx="3117152" cy="238978"/>
            <a:chOff x="9590295" y="126781"/>
            <a:chExt cx="2158793" cy="217488"/>
          </a:xfrm>
        </p:grpSpPr>
        <p:sp>
          <p:nvSpPr>
            <p:cNvPr id="4" name="Rectangle 3">
              <a:extLst>
                <a:ext uri="{FF2B5EF4-FFF2-40B4-BE49-F238E27FC236}">
                  <a16:creationId xmlns:a16="http://schemas.microsoft.com/office/drawing/2014/main" id="{94F88B90-71DF-CB0B-C0DB-103040ABD828}"/>
                </a:ext>
              </a:extLst>
            </p:cNvPr>
            <p:cNvSpPr/>
            <p:nvPr/>
          </p:nvSpPr>
          <p:spPr>
            <a:xfrm>
              <a:off x="10791488" y="126781"/>
              <a:ext cx="957600"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800" b="1" i="0" u="none" strike="noStrike" kern="0" cap="none" spc="0" normalizeH="0" noProof="0" dirty="0">
                  <a:ln>
                    <a:noFill/>
                  </a:ln>
                  <a:solidFill>
                    <a:srgbClr val="000000"/>
                  </a:solidFill>
                  <a:effectLst/>
                  <a:uLnTx/>
                  <a:uFillTx/>
                  <a:ea typeface="Georgia"/>
                  <a:cs typeface="Georgia"/>
                  <a:sym typeface="Georgia"/>
                </a:rPr>
                <a:t>First aid </a:t>
              </a:r>
              <a:r>
                <a:rPr lang="lv-LV" sz="800" b="1" i="0" u="none" strike="noStrike" kern="0" cap="none" spc="0" normalizeH="0" noProof="0" dirty="0" err="1">
                  <a:ln>
                    <a:noFill/>
                  </a:ln>
                  <a:solidFill>
                    <a:srgbClr val="000000"/>
                  </a:solidFill>
                  <a:effectLst/>
                  <a:uLnTx/>
                  <a:uFillTx/>
                  <a:ea typeface="Georgia"/>
                  <a:cs typeface="Georgia"/>
                  <a:sym typeface="Georgia"/>
                </a:rPr>
                <a:t>kit</a:t>
              </a:r>
              <a:endParaRPr lang="en-gb" sz="800" b="1" i="0" u="none" strike="noStrike" kern="0" cap="none" spc="0" normalizeH="0" noProof="0" dirty="0">
                <a:ln>
                  <a:noFill/>
                </a:ln>
                <a:solidFill>
                  <a:srgbClr val="000000"/>
                </a:solidFill>
                <a:effectLst/>
                <a:uLnTx/>
                <a:uFillTx/>
                <a:ea typeface="Georgia"/>
                <a:cs typeface="Georgia"/>
                <a:sym typeface="Georgia"/>
              </a:endParaRPr>
            </a:p>
          </p:txBody>
        </p:sp>
        <p:sp>
          <p:nvSpPr>
            <p:cNvPr id="5" name="Rectangle 4">
              <a:extLst>
                <a:ext uri="{FF2B5EF4-FFF2-40B4-BE49-F238E27FC236}">
                  <a16:creationId xmlns:a16="http://schemas.microsoft.com/office/drawing/2014/main" id="{9D24C125-C618-6790-4D00-61A80DDD6B9D}"/>
                </a:ext>
              </a:extLst>
            </p:cNvPr>
            <p:cNvSpPr/>
            <p:nvPr/>
          </p:nvSpPr>
          <p:spPr>
            <a:xfrm>
              <a:off x="959029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7644DD63-5811-99E1-647A-595A8918858E}"/>
                </a:ext>
              </a:extLst>
            </p:cNvPr>
            <p:cNvSpPr/>
            <p:nvPr/>
          </p:nvSpPr>
          <p:spPr>
            <a:xfrm>
              <a:off x="9830030"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DBDE7AC3-D08B-9A3D-1C99-C78111D41ABC}"/>
                </a:ext>
              </a:extLst>
            </p:cNvPr>
            <p:cNvSpPr/>
            <p:nvPr/>
          </p:nvSpPr>
          <p:spPr>
            <a:xfrm>
              <a:off x="1006976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12" name="Rectangle 11">
              <a:extLst>
                <a:ext uri="{FF2B5EF4-FFF2-40B4-BE49-F238E27FC236}">
                  <a16:creationId xmlns:a16="http://schemas.microsoft.com/office/drawing/2014/main" id="{D5A08CA3-F120-5E05-B055-BFCCCC1962A8}"/>
                </a:ext>
              </a:extLst>
            </p:cNvPr>
            <p:cNvSpPr/>
            <p:nvPr/>
          </p:nvSpPr>
          <p:spPr>
            <a:xfrm>
              <a:off x="10309500"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noProof="0">
                  <a:ln>
                    <a:noFill/>
                  </a:ln>
                  <a:solidFill>
                    <a:schemeClr val="accent1"/>
                  </a:solidFill>
                  <a:effectLst/>
                  <a:uLnTx/>
                  <a:uFillTx/>
                  <a:ea typeface="Georgia"/>
                  <a:cs typeface="Georgia"/>
                  <a:sym typeface="Georgia"/>
                </a:rPr>
                <a:t>.4</a:t>
              </a:r>
              <a:endParaRPr kumimoji="0" lang="lv-LV" sz="800" b="1" i="0" u="none" strike="noStrike" kern="0" cap="none" spc="0" normalizeH="0" baseline="0" noProof="0" dirty="0">
                <a:ln>
                  <a:noFill/>
                </a:ln>
                <a:solidFill>
                  <a:schemeClr val="accent1"/>
                </a:solidFill>
                <a:effectLst/>
                <a:uLnTx/>
                <a:uFillTx/>
                <a:ea typeface="Georgia"/>
                <a:cs typeface="Georgia"/>
                <a:sym typeface="Georgia"/>
              </a:endParaRPr>
            </a:p>
          </p:txBody>
        </p:sp>
        <p:sp>
          <p:nvSpPr>
            <p:cNvPr id="13" name="Rectangle 12">
              <a:extLst>
                <a:ext uri="{FF2B5EF4-FFF2-40B4-BE49-F238E27FC236}">
                  <a16:creationId xmlns:a16="http://schemas.microsoft.com/office/drawing/2014/main" id="{861DE81F-8637-BBE0-7241-48E15C38E7A7}"/>
                </a:ext>
              </a:extLst>
            </p:cNvPr>
            <p:cNvSpPr/>
            <p:nvPr/>
          </p:nvSpPr>
          <p:spPr>
            <a:xfrm>
              <a:off x="10549235"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7</a:t>
              </a:r>
              <a:r>
                <a:rPr lang="en-gb" sz="800" b="1" i="0" u="none" strike="noStrike" kern="0" cap="none" spc="0" normalizeH="0" noProof="0">
                  <a:ln>
                    <a:noFill/>
                  </a:ln>
                  <a:effectLst/>
                  <a:uLnTx/>
                  <a:uFillTx/>
                  <a:ea typeface="Georgia"/>
                  <a:cs typeface="Georgia"/>
                  <a:sym typeface="Georgia"/>
                </a:rPr>
                <a:t>.5</a:t>
              </a:r>
              <a:endParaRPr kumimoji="0" lang="lv-LV" sz="800" b="1" i="0" u="none" strike="noStrike" kern="0" cap="none" spc="0" normalizeH="0" baseline="0" noProof="0" dirty="0">
                <a:ln>
                  <a:noFill/>
                </a:ln>
                <a:effectLst/>
                <a:uLnTx/>
                <a:uFillTx/>
                <a:ea typeface="Georgia"/>
                <a:cs typeface="Georgia"/>
                <a:sym typeface="Georgia"/>
              </a:endParaRPr>
            </a:p>
          </p:txBody>
        </p:sp>
      </p:grpSp>
    </p:spTree>
    <p:extLst>
      <p:ext uri="{BB962C8B-B14F-4D97-AF65-F5344CB8AC3E}">
        <p14:creationId xmlns:p14="http://schemas.microsoft.com/office/powerpoint/2010/main" val="17134500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A03CC50-9C61-256C-1A44-DC0EDAE80704}"/>
              </a:ext>
            </a:extLst>
          </p:cNvPr>
          <p:cNvGraphicFramePr>
            <a:graphicFrameLocks noChangeAspect="1"/>
          </p:cNvGraphicFramePr>
          <p:nvPr>
            <p:custDataLst>
              <p:tags r:id="rId1"/>
            </p:custDataLst>
            <p:extLst>
              <p:ext uri="{D42A27DB-BD31-4B8C-83A1-F6EECF244321}">
                <p14:modId xmlns:p14="http://schemas.microsoft.com/office/powerpoint/2010/main" val="775786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BA03CC50-9C61-256C-1A44-DC0EDAE807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1" name="Picture 90">
            <a:extLst>
              <a:ext uri="{FF2B5EF4-FFF2-40B4-BE49-F238E27FC236}">
                <a16:creationId xmlns:a16="http://schemas.microsoft.com/office/drawing/2014/main" id="{76FDAB38-B63D-7CD4-14A0-D25CF75F9D4B}"/>
              </a:ext>
            </a:extLst>
          </p:cNvPr>
          <p:cNvPicPr>
            <a:picLocks noChangeAspect="1"/>
          </p:cNvPicPr>
          <p:nvPr/>
        </p:nvPicPr>
        <p:blipFill rotWithShape="1">
          <a:blip r:embed="rId6"/>
          <a:srcRect t="39441" b="33373"/>
          <a:stretch/>
        </p:blipFill>
        <p:spPr>
          <a:xfrm>
            <a:off x="0" y="4648200"/>
            <a:ext cx="12192000" cy="2209800"/>
          </a:xfrm>
          <a:prstGeom prst="rect">
            <a:avLst/>
          </a:prstGeom>
        </p:spPr>
      </p:pic>
      <p:sp>
        <p:nvSpPr>
          <p:cNvPr id="92" name="Rectangle 91">
            <a:extLst>
              <a:ext uri="{FF2B5EF4-FFF2-40B4-BE49-F238E27FC236}">
                <a16:creationId xmlns:a16="http://schemas.microsoft.com/office/drawing/2014/main" id="{9A291FD0-DB23-DD5D-0DB3-0069513F81E0}"/>
              </a:ext>
            </a:extLst>
          </p:cNvPr>
          <p:cNvSpPr/>
          <p:nvPr/>
        </p:nvSpPr>
        <p:spPr>
          <a:xfrm>
            <a:off x="0" y="4648200"/>
            <a:ext cx="12192000" cy="22098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3" name="Title 2">
            <a:extLst>
              <a:ext uri="{FF2B5EF4-FFF2-40B4-BE49-F238E27FC236}">
                <a16:creationId xmlns:a16="http://schemas.microsoft.com/office/drawing/2014/main" id="{AAFE076C-9B8C-9BB3-8680-7E4B60DEC21C}"/>
              </a:ext>
            </a:extLst>
          </p:cNvPr>
          <p:cNvSpPr>
            <a:spLocks noGrp="1"/>
          </p:cNvSpPr>
          <p:nvPr>
            <p:ph type="title"/>
          </p:nvPr>
        </p:nvSpPr>
        <p:spPr>
          <a:xfrm>
            <a:off x="442913" y="432001"/>
            <a:ext cx="11306175" cy="1387274"/>
          </a:xfrm>
        </p:spPr>
        <p:txBody>
          <a:bodyPr vert="horz" rtlCol="0"/>
          <a:lstStyle/>
          <a:p>
            <a:pPr rtl="0"/>
            <a:r>
              <a:rPr lang="en-gb" dirty="0"/>
              <a:t>Do you know what first aid is? How is it different from </a:t>
            </a:r>
            <a:r>
              <a:rPr lang="lv-LV" dirty="0" err="1"/>
              <a:t>emergency</a:t>
            </a:r>
            <a:r>
              <a:rPr lang="lv-LV" dirty="0"/>
              <a:t> </a:t>
            </a:r>
            <a:r>
              <a:rPr lang="lv-LV" dirty="0" err="1"/>
              <a:t>medical</a:t>
            </a:r>
            <a:r>
              <a:rPr lang="lv-LV" dirty="0"/>
              <a:t> </a:t>
            </a:r>
            <a:r>
              <a:rPr lang="lv-LV" dirty="0" err="1"/>
              <a:t>assistance</a:t>
            </a:r>
            <a:r>
              <a:rPr lang="en-gb" dirty="0"/>
              <a:t>?</a:t>
            </a:r>
            <a:br>
              <a:rPr lang="lv-LV" dirty="0"/>
            </a:br>
            <a:endParaRPr lang="lv-LV" dirty="0"/>
          </a:p>
        </p:txBody>
      </p:sp>
      <p:sp>
        <p:nvSpPr>
          <p:cNvPr id="4" name="Slide Number Placeholder 3">
            <a:extLst>
              <a:ext uri="{FF2B5EF4-FFF2-40B4-BE49-F238E27FC236}">
                <a16:creationId xmlns:a16="http://schemas.microsoft.com/office/drawing/2014/main" id="{51A056F4-4CF2-BBE9-52F6-908FF9154948}"/>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lv-LV" smtClean="0">
                <a:solidFill>
                  <a:schemeClr val="bg1"/>
                </a:solidFill>
              </a:rPr>
              <a:pPr rtl="0"/>
              <a:t>5</a:t>
            </a:fld>
            <a:endParaRPr lang="lv-LV">
              <a:solidFill>
                <a:schemeClr val="bg1"/>
              </a:solidFill>
            </a:endParaRPr>
          </a:p>
        </p:txBody>
      </p:sp>
      <p:sp>
        <p:nvSpPr>
          <p:cNvPr id="43" name="Text Placeholder 42">
            <a:extLst>
              <a:ext uri="{FF2B5EF4-FFF2-40B4-BE49-F238E27FC236}">
                <a16:creationId xmlns:a16="http://schemas.microsoft.com/office/drawing/2014/main" id="{E8E63795-2ECA-7132-F643-55B4A59C7A85}"/>
              </a:ext>
            </a:extLst>
          </p:cNvPr>
          <p:cNvSpPr>
            <a:spLocks noGrp="1"/>
          </p:cNvSpPr>
          <p:nvPr>
            <p:ph type="body" sz="quarter" idx="13"/>
          </p:nvPr>
        </p:nvSpPr>
        <p:spPr>
          <a:xfrm>
            <a:off x="442913" y="6491287"/>
            <a:ext cx="3600000" cy="138113"/>
          </a:xfrm>
        </p:spPr>
        <p:txBody>
          <a:bodyPr rtlCol="0"/>
          <a:lstStyle/>
          <a:p>
            <a:pPr rtl="0"/>
            <a:r>
              <a:rPr lang="en-gb">
                <a:solidFill>
                  <a:schemeClr val="bg1"/>
                </a:solidFill>
              </a:rPr>
              <a:t>Article 1 of the Law on Medical Treatment </a:t>
            </a:r>
          </a:p>
        </p:txBody>
      </p:sp>
      <p:sp>
        <p:nvSpPr>
          <p:cNvPr id="64" name="Content Placeholder 1">
            <a:extLst>
              <a:ext uri="{FF2B5EF4-FFF2-40B4-BE49-F238E27FC236}">
                <a16:creationId xmlns:a16="http://schemas.microsoft.com/office/drawing/2014/main" id="{F5198B29-4548-5C2A-0DEF-90C53FD5EF11}"/>
              </a:ext>
            </a:extLst>
          </p:cNvPr>
          <p:cNvSpPr txBox="1">
            <a:spLocks/>
          </p:cNvSpPr>
          <p:nvPr/>
        </p:nvSpPr>
        <p:spPr>
          <a:xfrm>
            <a:off x="442913" y="1819275"/>
            <a:ext cx="5473699" cy="576000"/>
          </a:xfrm>
          <a:prstGeom prst="rect">
            <a:avLst/>
          </a:prstGeom>
          <a:solidFill>
            <a:schemeClr val="accent2"/>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400">
                <a:solidFill>
                  <a:schemeClr val="bg1"/>
                </a:solidFill>
              </a:rPr>
              <a:t>First aid</a:t>
            </a:r>
          </a:p>
        </p:txBody>
      </p:sp>
      <p:sp>
        <p:nvSpPr>
          <p:cNvPr id="65" name="Content Placeholder 1">
            <a:extLst>
              <a:ext uri="{FF2B5EF4-FFF2-40B4-BE49-F238E27FC236}">
                <a16:creationId xmlns:a16="http://schemas.microsoft.com/office/drawing/2014/main" id="{7F6756C5-2CE3-DBCB-913A-8EAD5564B5E9}"/>
              </a:ext>
            </a:extLst>
          </p:cNvPr>
          <p:cNvSpPr txBox="1">
            <a:spLocks/>
          </p:cNvSpPr>
          <p:nvPr/>
        </p:nvSpPr>
        <p:spPr>
          <a:xfrm>
            <a:off x="6275388" y="1819275"/>
            <a:ext cx="5473700" cy="576000"/>
          </a:xfrm>
          <a:prstGeom prst="rect">
            <a:avLst/>
          </a:prstGeom>
          <a:solidFill>
            <a:schemeClr val="accent3"/>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400">
                <a:solidFill>
                  <a:schemeClr val="bg1"/>
                </a:solidFill>
              </a:rPr>
              <a:t>Emergency medical assistance</a:t>
            </a:r>
          </a:p>
        </p:txBody>
      </p:sp>
      <p:sp>
        <p:nvSpPr>
          <p:cNvPr id="66" name="Content Placeholder 1">
            <a:extLst>
              <a:ext uri="{FF2B5EF4-FFF2-40B4-BE49-F238E27FC236}">
                <a16:creationId xmlns:a16="http://schemas.microsoft.com/office/drawing/2014/main" id="{71E65A8B-1A0E-7189-CB1E-7B85B0FCDF92}"/>
              </a:ext>
            </a:extLst>
          </p:cNvPr>
          <p:cNvSpPr txBox="1">
            <a:spLocks/>
          </p:cNvSpPr>
          <p:nvPr/>
        </p:nvSpPr>
        <p:spPr>
          <a:xfrm>
            <a:off x="11173088" y="181927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lv-LV" sz="1400">
              <a:solidFill>
                <a:schemeClr val="bg1"/>
              </a:solidFill>
            </a:endParaRPr>
          </a:p>
        </p:txBody>
      </p:sp>
      <p:sp>
        <p:nvSpPr>
          <p:cNvPr id="67" name="Content Placeholder 1">
            <a:extLst>
              <a:ext uri="{FF2B5EF4-FFF2-40B4-BE49-F238E27FC236}">
                <a16:creationId xmlns:a16="http://schemas.microsoft.com/office/drawing/2014/main" id="{C7BD28FD-69AC-2308-FAFB-928853CF7082}"/>
              </a:ext>
            </a:extLst>
          </p:cNvPr>
          <p:cNvSpPr txBox="1">
            <a:spLocks/>
          </p:cNvSpPr>
          <p:nvPr/>
        </p:nvSpPr>
        <p:spPr>
          <a:xfrm>
            <a:off x="11105135" y="181927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lv-LV" sz="1400">
              <a:solidFill>
                <a:schemeClr val="bg1"/>
              </a:solidFill>
            </a:endParaRPr>
          </a:p>
        </p:txBody>
      </p:sp>
      <p:sp>
        <p:nvSpPr>
          <p:cNvPr id="68" name="Content Placeholder 1">
            <a:extLst>
              <a:ext uri="{FF2B5EF4-FFF2-40B4-BE49-F238E27FC236}">
                <a16:creationId xmlns:a16="http://schemas.microsoft.com/office/drawing/2014/main" id="{F3C0F73D-96F5-2632-9996-CB5D4313F69F}"/>
              </a:ext>
            </a:extLst>
          </p:cNvPr>
          <p:cNvSpPr txBox="1">
            <a:spLocks/>
          </p:cNvSpPr>
          <p:nvPr/>
        </p:nvSpPr>
        <p:spPr>
          <a:xfrm>
            <a:off x="5340612" y="181927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lv-LV" sz="1400">
              <a:solidFill>
                <a:schemeClr val="bg1"/>
              </a:solidFill>
            </a:endParaRPr>
          </a:p>
        </p:txBody>
      </p:sp>
      <p:grpSp>
        <p:nvGrpSpPr>
          <p:cNvPr id="69" name="Google Shape;1543;p92">
            <a:extLst>
              <a:ext uri="{FF2B5EF4-FFF2-40B4-BE49-F238E27FC236}">
                <a16:creationId xmlns:a16="http://schemas.microsoft.com/office/drawing/2014/main" id="{3E85C73C-761E-2FBC-4444-75116D559392}"/>
              </a:ext>
            </a:extLst>
          </p:cNvPr>
          <p:cNvGrpSpPr/>
          <p:nvPr/>
        </p:nvGrpSpPr>
        <p:grpSpPr>
          <a:xfrm>
            <a:off x="5448612" y="1927275"/>
            <a:ext cx="360000" cy="360000"/>
            <a:chOff x="11403518" y="3895566"/>
            <a:chExt cx="457200" cy="457200"/>
          </a:xfrm>
          <a:solidFill>
            <a:schemeClr val="tx1"/>
          </a:solidFill>
        </p:grpSpPr>
        <p:sp>
          <p:nvSpPr>
            <p:cNvPr id="70" name="Google Shape;1544;p92">
              <a:extLst>
                <a:ext uri="{FF2B5EF4-FFF2-40B4-BE49-F238E27FC236}">
                  <a16:creationId xmlns:a16="http://schemas.microsoft.com/office/drawing/2014/main" id="{F5955A8F-5764-221D-4746-8286D1ED814F}"/>
                </a:ext>
              </a:extLst>
            </p:cNvPr>
            <p:cNvSpPr/>
            <p:nvPr/>
          </p:nvSpPr>
          <p:spPr>
            <a:xfrm>
              <a:off x="11403518" y="3895566"/>
              <a:ext cx="457200" cy="457200"/>
            </a:xfrm>
            <a:custGeom>
              <a:avLst/>
              <a:gdLst/>
              <a:ahLst/>
              <a:cxnLst/>
              <a:rect l="l" t="t" r="r" b="b"/>
              <a:pathLst>
                <a:path w="457200" h="457200" extrusionOk="0">
                  <a:moveTo>
                    <a:pt x="358426" y="48038"/>
                  </a:moveTo>
                  <a:lnTo>
                    <a:pt x="358426" y="0"/>
                  </a:lnTo>
                  <a:lnTo>
                    <a:pt x="98774" y="0"/>
                  </a:lnTo>
                  <a:lnTo>
                    <a:pt x="98774" y="48038"/>
                  </a:lnTo>
                  <a:lnTo>
                    <a:pt x="0" y="48038"/>
                  </a:lnTo>
                  <a:lnTo>
                    <a:pt x="0" y="457200"/>
                  </a:lnTo>
                  <a:lnTo>
                    <a:pt x="457200" y="457200"/>
                  </a:lnTo>
                  <a:lnTo>
                    <a:pt x="457200" y="48038"/>
                  </a:lnTo>
                  <a:close/>
                  <a:moveTo>
                    <a:pt x="118300" y="19463"/>
                  </a:moveTo>
                  <a:lnTo>
                    <a:pt x="338900" y="19463"/>
                  </a:lnTo>
                  <a:lnTo>
                    <a:pt x="338900" y="47625"/>
                  </a:lnTo>
                  <a:lnTo>
                    <a:pt x="118300" y="47625"/>
                  </a:lnTo>
                  <a:close/>
                  <a:moveTo>
                    <a:pt x="19526" y="225679"/>
                  </a:moveTo>
                  <a:lnTo>
                    <a:pt x="86201" y="225679"/>
                  </a:lnTo>
                  <a:cubicBezTo>
                    <a:pt x="84633" y="234301"/>
                    <a:pt x="83836" y="243046"/>
                    <a:pt x="83820" y="251809"/>
                  </a:cubicBezTo>
                  <a:cubicBezTo>
                    <a:pt x="83817" y="261123"/>
                    <a:pt x="84711" y="270416"/>
                    <a:pt x="86487" y="279559"/>
                  </a:cubicBezTo>
                  <a:lnTo>
                    <a:pt x="19526" y="279559"/>
                  </a:lnTo>
                  <a:close/>
                  <a:moveTo>
                    <a:pt x="437674" y="437674"/>
                  </a:moveTo>
                  <a:lnTo>
                    <a:pt x="19526" y="437674"/>
                  </a:lnTo>
                  <a:lnTo>
                    <a:pt x="19526" y="299085"/>
                  </a:lnTo>
                  <a:lnTo>
                    <a:pt x="92075" y="299085"/>
                  </a:lnTo>
                  <a:cubicBezTo>
                    <a:pt x="118172" y="374574"/>
                    <a:pt x="200523" y="414614"/>
                    <a:pt x="276012" y="388515"/>
                  </a:cubicBezTo>
                  <a:cubicBezTo>
                    <a:pt x="317967" y="374012"/>
                    <a:pt x="350939" y="341039"/>
                    <a:pt x="365443" y="299085"/>
                  </a:cubicBezTo>
                  <a:lnTo>
                    <a:pt x="437832" y="299085"/>
                  </a:lnTo>
                  <a:close/>
                  <a:moveTo>
                    <a:pt x="103505" y="251809"/>
                  </a:moveTo>
                  <a:cubicBezTo>
                    <a:pt x="103502" y="243026"/>
                    <a:pt x="104428" y="234267"/>
                    <a:pt x="106267" y="225679"/>
                  </a:cubicBezTo>
                  <a:cubicBezTo>
                    <a:pt x="107691" y="219018"/>
                    <a:pt x="109666" y="212487"/>
                    <a:pt x="112173" y="206153"/>
                  </a:cubicBezTo>
                  <a:cubicBezTo>
                    <a:pt x="137346" y="141852"/>
                    <a:pt x="209879" y="110133"/>
                    <a:pt x="274180" y="135306"/>
                  </a:cubicBezTo>
                  <a:cubicBezTo>
                    <a:pt x="306639" y="148013"/>
                    <a:pt x="332321" y="173694"/>
                    <a:pt x="345027" y="206153"/>
                  </a:cubicBezTo>
                  <a:cubicBezTo>
                    <a:pt x="347532" y="212487"/>
                    <a:pt x="349510" y="219018"/>
                    <a:pt x="350933" y="225679"/>
                  </a:cubicBezTo>
                  <a:cubicBezTo>
                    <a:pt x="365373" y="293241"/>
                    <a:pt x="322307" y="359715"/>
                    <a:pt x="254743" y="374155"/>
                  </a:cubicBezTo>
                  <a:cubicBezTo>
                    <a:pt x="187181" y="388595"/>
                    <a:pt x="120706" y="345529"/>
                    <a:pt x="106267" y="277965"/>
                  </a:cubicBezTo>
                  <a:cubicBezTo>
                    <a:pt x="104430" y="269368"/>
                    <a:pt x="103504" y="260601"/>
                    <a:pt x="103505" y="251809"/>
                  </a:cubicBezTo>
                  <a:close/>
                  <a:moveTo>
                    <a:pt x="437674" y="279559"/>
                  </a:moveTo>
                  <a:lnTo>
                    <a:pt x="370554" y="279559"/>
                  </a:lnTo>
                  <a:cubicBezTo>
                    <a:pt x="372332" y="270416"/>
                    <a:pt x="373224" y="261123"/>
                    <a:pt x="373221" y="251809"/>
                  </a:cubicBezTo>
                  <a:cubicBezTo>
                    <a:pt x="373205" y="243046"/>
                    <a:pt x="372408" y="234301"/>
                    <a:pt x="370840" y="225679"/>
                  </a:cubicBezTo>
                  <a:lnTo>
                    <a:pt x="437515" y="225679"/>
                  </a:lnTo>
                  <a:close/>
                  <a:moveTo>
                    <a:pt x="437674" y="206153"/>
                  </a:moveTo>
                  <a:lnTo>
                    <a:pt x="365824" y="206153"/>
                  </a:lnTo>
                  <a:cubicBezTo>
                    <a:pt x="340604" y="130366"/>
                    <a:pt x="258724" y="89373"/>
                    <a:pt x="182938" y="114591"/>
                  </a:cubicBezTo>
                  <a:cubicBezTo>
                    <a:pt x="139696" y="128980"/>
                    <a:pt x="105766" y="162911"/>
                    <a:pt x="91377" y="206153"/>
                  </a:cubicBezTo>
                  <a:lnTo>
                    <a:pt x="19526" y="206153"/>
                  </a:lnTo>
                  <a:lnTo>
                    <a:pt x="19526" y="67564"/>
                  </a:lnTo>
                  <a:lnTo>
                    <a:pt x="437674" y="67564"/>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71" name="Google Shape;1545;p92">
              <a:extLst>
                <a:ext uri="{FF2B5EF4-FFF2-40B4-BE49-F238E27FC236}">
                  <a16:creationId xmlns:a16="http://schemas.microsoft.com/office/drawing/2014/main" id="{89B91E98-FEBB-72AD-374C-0CAE052B6574}"/>
                </a:ext>
              </a:extLst>
            </p:cNvPr>
            <p:cNvSpPr/>
            <p:nvPr/>
          </p:nvSpPr>
          <p:spPr>
            <a:xfrm>
              <a:off x="11539503" y="4054760"/>
              <a:ext cx="185229" cy="185229"/>
            </a:xfrm>
            <a:custGeom>
              <a:avLst/>
              <a:gdLst/>
              <a:ahLst/>
              <a:cxnLst/>
              <a:rect l="l" t="t" r="r" b="b"/>
              <a:pathLst>
                <a:path w="185229" h="185229" extrusionOk="0">
                  <a:moveTo>
                    <a:pt x="54959" y="185230"/>
                  </a:moveTo>
                  <a:lnTo>
                    <a:pt x="130270" y="185230"/>
                  </a:lnTo>
                  <a:lnTo>
                    <a:pt x="130270" y="130270"/>
                  </a:lnTo>
                  <a:lnTo>
                    <a:pt x="185229" y="130270"/>
                  </a:lnTo>
                  <a:lnTo>
                    <a:pt x="185229" y="54959"/>
                  </a:lnTo>
                  <a:lnTo>
                    <a:pt x="130270" y="54959"/>
                  </a:lnTo>
                  <a:lnTo>
                    <a:pt x="130270" y="0"/>
                  </a:lnTo>
                  <a:lnTo>
                    <a:pt x="54959" y="0"/>
                  </a:lnTo>
                  <a:lnTo>
                    <a:pt x="54959" y="54959"/>
                  </a:lnTo>
                  <a:lnTo>
                    <a:pt x="0" y="54959"/>
                  </a:lnTo>
                  <a:lnTo>
                    <a:pt x="0" y="130270"/>
                  </a:lnTo>
                  <a:lnTo>
                    <a:pt x="54959" y="130270"/>
                  </a:lnTo>
                  <a:close/>
                  <a:moveTo>
                    <a:pt x="19590" y="110681"/>
                  </a:moveTo>
                  <a:lnTo>
                    <a:pt x="19590" y="74486"/>
                  </a:lnTo>
                  <a:lnTo>
                    <a:pt x="74486" y="74486"/>
                  </a:lnTo>
                  <a:lnTo>
                    <a:pt x="74486" y="19526"/>
                  </a:lnTo>
                  <a:lnTo>
                    <a:pt x="110744" y="19526"/>
                  </a:lnTo>
                  <a:lnTo>
                    <a:pt x="110744" y="74486"/>
                  </a:lnTo>
                  <a:lnTo>
                    <a:pt x="165640" y="74486"/>
                  </a:lnTo>
                  <a:lnTo>
                    <a:pt x="165640" y="110681"/>
                  </a:lnTo>
                  <a:lnTo>
                    <a:pt x="110744" y="110681"/>
                  </a:lnTo>
                  <a:lnTo>
                    <a:pt x="110744" y="165640"/>
                  </a:lnTo>
                  <a:lnTo>
                    <a:pt x="74486" y="165640"/>
                  </a:lnTo>
                  <a:lnTo>
                    <a:pt x="74486" y="110681"/>
                  </a:lnTo>
                  <a:lnTo>
                    <a:pt x="19590" y="110681"/>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grpSp>
      <p:grpSp>
        <p:nvGrpSpPr>
          <p:cNvPr id="72" name="Google Shape;1654;p92">
            <a:extLst>
              <a:ext uri="{FF2B5EF4-FFF2-40B4-BE49-F238E27FC236}">
                <a16:creationId xmlns:a16="http://schemas.microsoft.com/office/drawing/2014/main" id="{8FEA0D19-AAD4-085C-E5AD-B7997ACDC4C3}"/>
              </a:ext>
            </a:extLst>
          </p:cNvPr>
          <p:cNvGrpSpPr/>
          <p:nvPr/>
        </p:nvGrpSpPr>
        <p:grpSpPr>
          <a:xfrm>
            <a:off x="11281088" y="1927275"/>
            <a:ext cx="360000" cy="360000"/>
            <a:chOff x="3523866" y="3895566"/>
            <a:chExt cx="457200" cy="457200"/>
          </a:xfrm>
          <a:solidFill>
            <a:schemeClr val="tx1"/>
          </a:solidFill>
        </p:grpSpPr>
        <p:sp>
          <p:nvSpPr>
            <p:cNvPr id="73" name="Google Shape;1655;p92">
              <a:extLst>
                <a:ext uri="{FF2B5EF4-FFF2-40B4-BE49-F238E27FC236}">
                  <a16:creationId xmlns:a16="http://schemas.microsoft.com/office/drawing/2014/main" id="{7B6212B5-AEF3-09C7-BF95-F185ECA402E0}"/>
                </a:ext>
              </a:extLst>
            </p:cNvPr>
            <p:cNvSpPr/>
            <p:nvPr/>
          </p:nvSpPr>
          <p:spPr>
            <a:xfrm>
              <a:off x="3721986" y="4124166"/>
              <a:ext cx="60959" cy="22828"/>
            </a:xfrm>
            <a:custGeom>
              <a:avLst/>
              <a:gdLst/>
              <a:ahLst/>
              <a:cxnLst/>
              <a:rect l="l" t="t" r="r" b="b"/>
              <a:pathLst>
                <a:path w="60959" h="22828" extrusionOk="0">
                  <a:moveTo>
                    <a:pt x="0" y="0"/>
                  </a:moveTo>
                  <a:lnTo>
                    <a:pt x="60960" y="0"/>
                  </a:lnTo>
                  <a:lnTo>
                    <a:pt x="60960" y="22828"/>
                  </a:lnTo>
                  <a:lnTo>
                    <a:pt x="0" y="22828"/>
                  </a:lnTo>
                  <a:lnTo>
                    <a:pt x="0" y="0"/>
                  </a:lnTo>
                  <a:lnTo>
                    <a:pt x="0"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74" name="Google Shape;1656;p92">
              <a:extLst>
                <a:ext uri="{FF2B5EF4-FFF2-40B4-BE49-F238E27FC236}">
                  <a16:creationId xmlns:a16="http://schemas.microsoft.com/office/drawing/2014/main" id="{0B2A879E-1978-42B5-0487-C00DB0806B7F}"/>
                </a:ext>
              </a:extLst>
            </p:cNvPr>
            <p:cNvSpPr/>
            <p:nvPr/>
          </p:nvSpPr>
          <p:spPr>
            <a:xfrm>
              <a:off x="3721986" y="4154614"/>
              <a:ext cx="60959" cy="22891"/>
            </a:xfrm>
            <a:custGeom>
              <a:avLst/>
              <a:gdLst/>
              <a:ahLst/>
              <a:cxnLst/>
              <a:rect l="l" t="t" r="r" b="b"/>
              <a:pathLst>
                <a:path w="60959" h="22891" extrusionOk="0">
                  <a:moveTo>
                    <a:pt x="0" y="0"/>
                  </a:moveTo>
                  <a:lnTo>
                    <a:pt x="60960" y="0"/>
                  </a:lnTo>
                  <a:lnTo>
                    <a:pt x="60960" y="22892"/>
                  </a:lnTo>
                  <a:lnTo>
                    <a:pt x="0" y="22892"/>
                  </a:lnTo>
                  <a:lnTo>
                    <a:pt x="0" y="0"/>
                  </a:lnTo>
                  <a:lnTo>
                    <a:pt x="0"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75" name="Google Shape;1657;p92">
              <a:extLst>
                <a:ext uri="{FF2B5EF4-FFF2-40B4-BE49-F238E27FC236}">
                  <a16:creationId xmlns:a16="http://schemas.microsoft.com/office/drawing/2014/main" id="{99BB8356-A0C8-58E3-691C-EFB85DCB4F5C}"/>
                </a:ext>
              </a:extLst>
            </p:cNvPr>
            <p:cNvSpPr/>
            <p:nvPr/>
          </p:nvSpPr>
          <p:spPr>
            <a:xfrm>
              <a:off x="3523866" y="3895566"/>
              <a:ext cx="457200" cy="457200"/>
            </a:xfrm>
            <a:custGeom>
              <a:avLst/>
              <a:gdLst/>
              <a:ahLst/>
              <a:cxnLst/>
              <a:rect l="l" t="t" r="r" b="b"/>
              <a:pathLst>
                <a:path w="457200" h="457200" extrusionOk="0">
                  <a:moveTo>
                    <a:pt x="0" y="0"/>
                  </a:moveTo>
                  <a:lnTo>
                    <a:pt x="0" y="457200"/>
                  </a:lnTo>
                  <a:lnTo>
                    <a:pt x="457200" y="457200"/>
                  </a:lnTo>
                  <a:lnTo>
                    <a:pt x="457200" y="0"/>
                  </a:lnTo>
                  <a:close/>
                  <a:moveTo>
                    <a:pt x="154813" y="436880"/>
                  </a:moveTo>
                  <a:lnTo>
                    <a:pt x="75438" y="436880"/>
                  </a:lnTo>
                  <a:lnTo>
                    <a:pt x="75438" y="167862"/>
                  </a:lnTo>
                  <a:lnTo>
                    <a:pt x="154813" y="167862"/>
                  </a:lnTo>
                  <a:lnTo>
                    <a:pt x="154813" y="436880"/>
                  </a:lnTo>
                  <a:close/>
                  <a:moveTo>
                    <a:pt x="240538" y="436880"/>
                  </a:moveTo>
                  <a:lnTo>
                    <a:pt x="215900" y="436880"/>
                  </a:lnTo>
                  <a:lnTo>
                    <a:pt x="215900" y="358966"/>
                  </a:lnTo>
                  <a:lnTo>
                    <a:pt x="240570" y="358966"/>
                  </a:lnTo>
                  <a:lnTo>
                    <a:pt x="240570" y="436880"/>
                  </a:lnTo>
                  <a:close/>
                  <a:moveTo>
                    <a:pt x="281813" y="147955"/>
                  </a:moveTo>
                  <a:lnTo>
                    <a:pt x="281813" y="436880"/>
                  </a:lnTo>
                  <a:lnTo>
                    <a:pt x="260350" y="436880"/>
                  </a:lnTo>
                  <a:lnTo>
                    <a:pt x="260350" y="339122"/>
                  </a:lnTo>
                  <a:lnTo>
                    <a:pt x="195929" y="339122"/>
                  </a:lnTo>
                  <a:lnTo>
                    <a:pt x="195929" y="436880"/>
                  </a:lnTo>
                  <a:lnTo>
                    <a:pt x="174625" y="436880"/>
                  </a:lnTo>
                  <a:lnTo>
                    <a:pt x="174625" y="81280"/>
                  </a:lnTo>
                  <a:lnTo>
                    <a:pt x="281591" y="81280"/>
                  </a:lnTo>
                  <a:lnTo>
                    <a:pt x="281591" y="147955"/>
                  </a:lnTo>
                  <a:close/>
                  <a:moveTo>
                    <a:pt x="381476" y="436880"/>
                  </a:moveTo>
                  <a:lnTo>
                    <a:pt x="302387" y="436880"/>
                  </a:lnTo>
                  <a:lnTo>
                    <a:pt x="302387" y="167862"/>
                  </a:lnTo>
                  <a:lnTo>
                    <a:pt x="381254" y="167862"/>
                  </a:lnTo>
                  <a:lnTo>
                    <a:pt x="381254" y="436880"/>
                  </a:lnTo>
                  <a:close/>
                  <a:moveTo>
                    <a:pt x="437579" y="436880"/>
                  </a:moveTo>
                  <a:lnTo>
                    <a:pt x="401066" y="436880"/>
                  </a:lnTo>
                  <a:lnTo>
                    <a:pt x="401066" y="147955"/>
                  </a:lnTo>
                  <a:lnTo>
                    <a:pt x="302387" y="147955"/>
                  </a:lnTo>
                  <a:lnTo>
                    <a:pt x="302387" y="61436"/>
                  </a:lnTo>
                  <a:lnTo>
                    <a:pt x="154813" y="61436"/>
                  </a:lnTo>
                  <a:lnTo>
                    <a:pt x="154813" y="148019"/>
                  </a:lnTo>
                  <a:lnTo>
                    <a:pt x="55626" y="148019"/>
                  </a:lnTo>
                  <a:lnTo>
                    <a:pt x="55626" y="436944"/>
                  </a:lnTo>
                  <a:lnTo>
                    <a:pt x="19844" y="436944"/>
                  </a:lnTo>
                  <a:lnTo>
                    <a:pt x="19844" y="19812"/>
                  </a:lnTo>
                  <a:lnTo>
                    <a:pt x="437356" y="19812"/>
                  </a:lnTo>
                  <a:lnTo>
                    <a:pt x="437356" y="43688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76" name="Google Shape;1658;p92">
              <a:extLst>
                <a:ext uri="{FF2B5EF4-FFF2-40B4-BE49-F238E27FC236}">
                  <a16:creationId xmlns:a16="http://schemas.microsoft.com/office/drawing/2014/main" id="{54E37425-B29E-D086-F8C5-72CECA15201B}"/>
                </a:ext>
              </a:extLst>
            </p:cNvPr>
            <p:cNvSpPr/>
            <p:nvPr/>
          </p:nvSpPr>
          <p:spPr>
            <a:xfrm>
              <a:off x="3721986" y="4002214"/>
              <a:ext cx="60959" cy="53371"/>
            </a:xfrm>
            <a:custGeom>
              <a:avLst/>
              <a:gdLst/>
              <a:ahLst/>
              <a:cxnLst/>
              <a:rect l="l" t="t" r="r" b="b"/>
              <a:pathLst>
                <a:path w="60959" h="53371" extrusionOk="0">
                  <a:moveTo>
                    <a:pt x="19463" y="53372"/>
                  </a:moveTo>
                  <a:lnTo>
                    <a:pt x="40481" y="53372"/>
                  </a:lnTo>
                  <a:lnTo>
                    <a:pt x="40481" y="35719"/>
                  </a:lnTo>
                  <a:lnTo>
                    <a:pt x="60960" y="35719"/>
                  </a:lnTo>
                  <a:lnTo>
                    <a:pt x="60960" y="17208"/>
                  </a:lnTo>
                  <a:lnTo>
                    <a:pt x="40481" y="17208"/>
                  </a:lnTo>
                  <a:lnTo>
                    <a:pt x="40481" y="0"/>
                  </a:lnTo>
                  <a:lnTo>
                    <a:pt x="19463" y="0"/>
                  </a:lnTo>
                  <a:lnTo>
                    <a:pt x="19463" y="17208"/>
                  </a:lnTo>
                  <a:lnTo>
                    <a:pt x="0" y="17208"/>
                  </a:lnTo>
                  <a:lnTo>
                    <a:pt x="0" y="35719"/>
                  </a:lnTo>
                  <a:lnTo>
                    <a:pt x="19463" y="35719"/>
                  </a:lnTo>
                  <a:lnTo>
                    <a:pt x="19463" y="53372"/>
                  </a:lnTo>
                  <a:lnTo>
                    <a:pt x="19463" y="53372"/>
                  </a:lnTo>
                  <a:lnTo>
                    <a:pt x="19463" y="53372"/>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77" name="Google Shape;1659;p92">
              <a:extLst>
                <a:ext uri="{FF2B5EF4-FFF2-40B4-BE49-F238E27FC236}">
                  <a16:creationId xmlns:a16="http://schemas.microsoft.com/office/drawing/2014/main" id="{C04E4FD5-21F3-B258-F123-DBF326A6E4A3}"/>
                </a:ext>
              </a:extLst>
            </p:cNvPr>
            <p:cNvSpPr/>
            <p:nvPr/>
          </p:nvSpPr>
          <p:spPr>
            <a:xfrm>
              <a:off x="3622926" y="4116514"/>
              <a:ext cx="30479" cy="15240"/>
            </a:xfrm>
            <a:custGeom>
              <a:avLst/>
              <a:gdLst/>
              <a:ahLst/>
              <a:cxnLst/>
              <a:rect l="l" t="t" r="r" b="b"/>
              <a:pathLst>
                <a:path w="30479" h="15240" extrusionOk="0">
                  <a:moveTo>
                    <a:pt x="0" y="0"/>
                  </a:moveTo>
                  <a:lnTo>
                    <a:pt x="30480" y="0"/>
                  </a:lnTo>
                  <a:lnTo>
                    <a:pt x="30480" y="15240"/>
                  </a:lnTo>
                  <a:lnTo>
                    <a:pt x="0" y="15240"/>
                  </a:lnTo>
                  <a:lnTo>
                    <a:pt x="0" y="0"/>
                  </a:lnTo>
                  <a:lnTo>
                    <a:pt x="0"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78" name="Google Shape;1660;p92">
              <a:extLst>
                <a:ext uri="{FF2B5EF4-FFF2-40B4-BE49-F238E27FC236}">
                  <a16:creationId xmlns:a16="http://schemas.microsoft.com/office/drawing/2014/main" id="{C38BDBA8-C60E-3B32-804B-9C21599C1EB3}"/>
                </a:ext>
              </a:extLst>
            </p:cNvPr>
            <p:cNvSpPr/>
            <p:nvPr/>
          </p:nvSpPr>
          <p:spPr>
            <a:xfrm>
              <a:off x="3622926" y="4146994"/>
              <a:ext cx="30479" cy="22859"/>
            </a:xfrm>
            <a:custGeom>
              <a:avLst/>
              <a:gdLst/>
              <a:ahLst/>
              <a:cxnLst/>
              <a:rect l="l" t="t" r="r" b="b"/>
              <a:pathLst>
                <a:path w="30479" h="22859" extrusionOk="0">
                  <a:moveTo>
                    <a:pt x="0" y="0"/>
                  </a:moveTo>
                  <a:lnTo>
                    <a:pt x="30480" y="0"/>
                  </a:lnTo>
                  <a:lnTo>
                    <a:pt x="30480" y="22860"/>
                  </a:lnTo>
                  <a:lnTo>
                    <a:pt x="0" y="22860"/>
                  </a:lnTo>
                  <a:lnTo>
                    <a:pt x="0" y="0"/>
                  </a:lnTo>
                  <a:lnTo>
                    <a:pt x="0"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79" name="Google Shape;1661;p92">
              <a:extLst>
                <a:ext uri="{FF2B5EF4-FFF2-40B4-BE49-F238E27FC236}">
                  <a16:creationId xmlns:a16="http://schemas.microsoft.com/office/drawing/2014/main" id="{B8D8F72C-74AE-8317-14F4-B64632432806}"/>
                </a:ext>
              </a:extLst>
            </p:cNvPr>
            <p:cNvSpPr/>
            <p:nvPr/>
          </p:nvSpPr>
          <p:spPr>
            <a:xfrm>
              <a:off x="3622926" y="4185094"/>
              <a:ext cx="30479" cy="15271"/>
            </a:xfrm>
            <a:custGeom>
              <a:avLst/>
              <a:gdLst/>
              <a:ahLst/>
              <a:cxnLst/>
              <a:rect l="l" t="t" r="r" b="b"/>
              <a:pathLst>
                <a:path w="30479" h="15271" extrusionOk="0">
                  <a:moveTo>
                    <a:pt x="0" y="0"/>
                  </a:moveTo>
                  <a:lnTo>
                    <a:pt x="30480" y="0"/>
                  </a:lnTo>
                  <a:lnTo>
                    <a:pt x="30480" y="15272"/>
                  </a:lnTo>
                  <a:lnTo>
                    <a:pt x="0" y="15272"/>
                  </a:lnTo>
                  <a:lnTo>
                    <a:pt x="0" y="0"/>
                  </a:lnTo>
                  <a:lnTo>
                    <a:pt x="0"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0" name="Google Shape;1662;p92">
              <a:extLst>
                <a:ext uri="{FF2B5EF4-FFF2-40B4-BE49-F238E27FC236}">
                  <a16:creationId xmlns:a16="http://schemas.microsoft.com/office/drawing/2014/main" id="{E4966998-2A81-4222-FAB6-08407DCDE413}"/>
                </a:ext>
              </a:extLst>
            </p:cNvPr>
            <p:cNvSpPr/>
            <p:nvPr/>
          </p:nvSpPr>
          <p:spPr>
            <a:xfrm>
              <a:off x="3622926" y="4215606"/>
              <a:ext cx="30479" cy="22859"/>
            </a:xfrm>
            <a:custGeom>
              <a:avLst/>
              <a:gdLst/>
              <a:ahLst/>
              <a:cxnLst/>
              <a:rect l="l" t="t" r="r" b="b"/>
              <a:pathLst>
                <a:path w="30479" h="22859" extrusionOk="0">
                  <a:moveTo>
                    <a:pt x="0" y="0"/>
                  </a:moveTo>
                  <a:lnTo>
                    <a:pt x="30480" y="0"/>
                  </a:lnTo>
                  <a:lnTo>
                    <a:pt x="30480" y="22860"/>
                  </a:lnTo>
                  <a:lnTo>
                    <a:pt x="0" y="22860"/>
                  </a:lnTo>
                  <a:lnTo>
                    <a:pt x="0" y="0"/>
                  </a:lnTo>
                  <a:lnTo>
                    <a:pt x="0"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1" name="Google Shape;1663;p92">
              <a:extLst>
                <a:ext uri="{FF2B5EF4-FFF2-40B4-BE49-F238E27FC236}">
                  <a16:creationId xmlns:a16="http://schemas.microsoft.com/office/drawing/2014/main" id="{C27D324E-78CF-5109-A4A8-3FB8E8A86526}"/>
                </a:ext>
              </a:extLst>
            </p:cNvPr>
            <p:cNvSpPr/>
            <p:nvPr/>
          </p:nvSpPr>
          <p:spPr>
            <a:xfrm>
              <a:off x="3622926" y="4253706"/>
              <a:ext cx="30479" cy="22859"/>
            </a:xfrm>
            <a:custGeom>
              <a:avLst/>
              <a:gdLst/>
              <a:ahLst/>
              <a:cxnLst/>
              <a:rect l="l" t="t" r="r" b="b"/>
              <a:pathLst>
                <a:path w="30479" h="22859" extrusionOk="0">
                  <a:moveTo>
                    <a:pt x="0" y="0"/>
                  </a:moveTo>
                  <a:lnTo>
                    <a:pt x="30480" y="0"/>
                  </a:lnTo>
                  <a:lnTo>
                    <a:pt x="30480" y="22860"/>
                  </a:lnTo>
                  <a:lnTo>
                    <a:pt x="0" y="22860"/>
                  </a:lnTo>
                  <a:lnTo>
                    <a:pt x="0" y="0"/>
                  </a:lnTo>
                  <a:lnTo>
                    <a:pt x="0"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2" name="Google Shape;1664;p92">
              <a:extLst>
                <a:ext uri="{FF2B5EF4-FFF2-40B4-BE49-F238E27FC236}">
                  <a16:creationId xmlns:a16="http://schemas.microsoft.com/office/drawing/2014/main" id="{1FA250DF-AA7A-C867-726E-0599271CD262}"/>
                </a:ext>
              </a:extLst>
            </p:cNvPr>
            <p:cNvSpPr/>
            <p:nvPr/>
          </p:nvSpPr>
          <p:spPr>
            <a:xfrm>
              <a:off x="3622926" y="4291806"/>
              <a:ext cx="30479" cy="15208"/>
            </a:xfrm>
            <a:custGeom>
              <a:avLst/>
              <a:gdLst/>
              <a:ahLst/>
              <a:cxnLst/>
              <a:rect l="l" t="t" r="r" b="b"/>
              <a:pathLst>
                <a:path w="30479" h="15208" extrusionOk="0">
                  <a:moveTo>
                    <a:pt x="0" y="0"/>
                  </a:moveTo>
                  <a:lnTo>
                    <a:pt x="30480" y="0"/>
                  </a:lnTo>
                  <a:lnTo>
                    <a:pt x="30480" y="15208"/>
                  </a:lnTo>
                  <a:lnTo>
                    <a:pt x="0" y="15208"/>
                  </a:lnTo>
                  <a:lnTo>
                    <a:pt x="0" y="0"/>
                  </a:lnTo>
                  <a:lnTo>
                    <a:pt x="0"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3" name="Google Shape;1665;p92">
              <a:extLst>
                <a:ext uri="{FF2B5EF4-FFF2-40B4-BE49-F238E27FC236}">
                  <a16:creationId xmlns:a16="http://schemas.microsoft.com/office/drawing/2014/main" id="{7EAE60EC-5F19-C235-B8C9-161E7B875E14}"/>
                </a:ext>
              </a:extLst>
            </p:cNvPr>
            <p:cNvSpPr/>
            <p:nvPr/>
          </p:nvSpPr>
          <p:spPr>
            <a:xfrm>
              <a:off x="3851525" y="4116514"/>
              <a:ext cx="22860" cy="15240"/>
            </a:xfrm>
            <a:custGeom>
              <a:avLst/>
              <a:gdLst/>
              <a:ahLst/>
              <a:cxnLst/>
              <a:rect l="l" t="t" r="r" b="b"/>
              <a:pathLst>
                <a:path w="22860" h="15240" extrusionOk="0">
                  <a:moveTo>
                    <a:pt x="0" y="0"/>
                  </a:moveTo>
                  <a:lnTo>
                    <a:pt x="22860" y="0"/>
                  </a:lnTo>
                  <a:lnTo>
                    <a:pt x="22860" y="15240"/>
                  </a:lnTo>
                  <a:lnTo>
                    <a:pt x="0" y="15240"/>
                  </a:lnTo>
                  <a:lnTo>
                    <a:pt x="0" y="0"/>
                  </a:lnTo>
                  <a:lnTo>
                    <a:pt x="0"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4" name="Google Shape;1666;p92">
              <a:extLst>
                <a:ext uri="{FF2B5EF4-FFF2-40B4-BE49-F238E27FC236}">
                  <a16:creationId xmlns:a16="http://schemas.microsoft.com/office/drawing/2014/main" id="{0DE1B29D-4A8B-427A-55FD-CBD5DE51C8B7}"/>
                </a:ext>
              </a:extLst>
            </p:cNvPr>
            <p:cNvSpPr/>
            <p:nvPr/>
          </p:nvSpPr>
          <p:spPr>
            <a:xfrm>
              <a:off x="3851525" y="4146994"/>
              <a:ext cx="22860" cy="22859"/>
            </a:xfrm>
            <a:custGeom>
              <a:avLst/>
              <a:gdLst/>
              <a:ahLst/>
              <a:cxnLst/>
              <a:rect l="l" t="t" r="r" b="b"/>
              <a:pathLst>
                <a:path w="22860" h="22859" extrusionOk="0">
                  <a:moveTo>
                    <a:pt x="0" y="0"/>
                  </a:moveTo>
                  <a:lnTo>
                    <a:pt x="22860" y="0"/>
                  </a:lnTo>
                  <a:lnTo>
                    <a:pt x="22860" y="22860"/>
                  </a:lnTo>
                  <a:lnTo>
                    <a:pt x="0" y="22860"/>
                  </a:lnTo>
                  <a:lnTo>
                    <a:pt x="0" y="0"/>
                  </a:lnTo>
                  <a:lnTo>
                    <a:pt x="0"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5" name="Google Shape;1667;p92">
              <a:extLst>
                <a:ext uri="{FF2B5EF4-FFF2-40B4-BE49-F238E27FC236}">
                  <a16:creationId xmlns:a16="http://schemas.microsoft.com/office/drawing/2014/main" id="{CC31E929-99A2-84E9-A833-965C75326A58}"/>
                </a:ext>
              </a:extLst>
            </p:cNvPr>
            <p:cNvSpPr/>
            <p:nvPr/>
          </p:nvSpPr>
          <p:spPr>
            <a:xfrm>
              <a:off x="3851525" y="4185094"/>
              <a:ext cx="22860" cy="15271"/>
            </a:xfrm>
            <a:custGeom>
              <a:avLst/>
              <a:gdLst/>
              <a:ahLst/>
              <a:cxnLst/>
              <a:rect l="l" t="t" r="r" b="b"/>
              <a:pathLst>
                <a:path w="22860" h="15271" extrusionOk="0">
                  <a:moveTo>
                    <a:pt x="0" y="0"/>
                  </a:moveTo>
                  <a:lnTo>
                    <a:pt x="22860" y="0"/>
                  </a:lnTo>
                  <a:lnTo>
                    <a:pt x="22860" y="15272"/>
                  </a:lnTo>
                  <a:lnTo>
                    <a:pt x="0" y="15272"/>
                  </a:lnTo>
                  <a:lnTo>
                    <a:pt x="0" y="0"/>
                  </a:lnTo>
                  <a:lnTo>
                    <a:pt x="0"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6" name="Google Shape;1668;p92">
              <a:extLst>
                <a:ext uri="{FF2B5EF4-FFF2-40B4-BE49-F238E27FC236}">
                  <a16:creationId xmlns:a16="http://schemas.microsoft.com/office/drawing/2014/main" id="{15545845-7745-1ECB-BF84-9C7592183F7A}"/>
                </a:ext>
              </a:extLst>
            </p:cNvPr>
            <p:cNvSpPr/>
            <p:nvPr/>
          </p:nvSpPr>
          <p:spPr>
            <a:xfrm>
              <a:off x="3851525" y="4215606"/>
              <a:ext cx="22860" cy="22859"/>
            </a:xfrm>
            <a:custGeom>
              <a:avLst/>
              <a:gdLst/>
              <a:ahLst/>
              <a:cxnLst/>
              <a:rect l="l" t="t" r="r" b="b"/>
              <a:pathLst>
                <a:path w="22860" h="22859" extrusionOk="0">
                  <a:moveTo>
                    <a:pt x="0" y="0"/>
                  </a:moveTo>
                  <a:lnTo>
                    <a:pt x="22860" y="0"/>
                  </a:lnTo>
                  <a:lnTo>
                    <a:pt x="22860" y="22860"/>
                  </a:lnTo>
                  <a:lnTo>
                    <a:pt x="0" y="22860"/>
                  </a:lnTo>
                  <a:lnTo>
                    <a:pt x="0" y="0"/>
                  </a:lnTo>
                  <a:lnTo>
                    <a:pt x="0"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7" name="Google Shape;1669;p92">
              <a:extLst>
                <a:ext uri="{FF2B5EF4-FFF2-40B4-BE49-F238E27FC236}">
                  <a16:creationId xmlns:a16="http://schemas.microsoft.com/office/drawing/2014/main" id="{FDFD5712-4ACE-BB16-5B8D-25F96EC1BC2B}"/>
                </a:ext>
              </a:extLst>
            </p:cNvPr>
            <p:cNvSpPr/>
            <p:nvPr/>
          </p:nvSpPr>
          <p:spPr>
            <a:xfrm>
              <a:off x="3851525" y="4253706"/>
              <a:ext cx="22860" cy="22859"/>
            </a:xfrm>
            <a:custGeom>
              <a:avLst/>
              <a:gdLst/>
              <a:ahLst/>
              <a:cxnLst/>
              <a:rect l="l" t="t" r="r" b="b"/>
              <a:pathLst>
                <a:path w="22860" h="22859" extrusionOk="0">
                  <a:moveTo>
                    <a:pt x="0" y="0"/>
                  </a:moveTo>
                  <a:lnTo>
                    <a:pt x="22860" y="0"/>
                  </a:lnTo>
                  <a:lnTo>
                    <a:pt x="22860" y="22860"/>
                  </a:lnTo>
                  <a:lnTo>
                    <a:pt x="0" y="22860"/>
                  </a:lnTo>
                  <a:lnTo>
                    <a:pt x="0" y="0"/>
                  </a:lnTo>
                  <a:lnTo>
                    <a:pt x="0"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8" name="Google Shape;1670;p92">
              <a:extLst>
                <a:ext uri="{FF2B5EF4-FFF2-40B4-BE49-F238E27FC236}">
                  <a16:creationId xmlns:a16="http://schemas.microsoft.com/office/drawing/2014/main" id="{DD248765-9838-3FD8-E6D3-1C7FFEEF9D7D}"/>
                </a:ext>
              </a:extLst>
            </p:cNvPr>
            <p:cNvSpPr/>
            <p:nvPr/>
          </p:nvSpPr>
          <p:spPr>
            <a:xfrm>
              <a:off x="3851525" y="4291806"/>
              <a:ext cx="22860" cy="15208"/>
            </a:xfrm>
            <a:custGeom>
              <a:avLst/>
              <a:gdLst/>
              <a:ahLst/>
              <a:cxnLst/>
              <a:rect l="l" t="t" r="r" b="b"/>
              <a:pathLst>
                <a:path w="22860" h="15208" extrusionOk="0">
                  <a:moveTo>
                    <a:pt x="0" y="0"/>
                  </a:moveTo>
                  <a:lnTo>
                    <a:pt x="22860" y="0"/>
                  </a:lnTo>
                  <a:lnTo>
                    <a:pt x="22860" y="15208"/>
                  </a:lnTo>
                  <a:lnTo>
                    <a:pt x="0" y="15208"/>
                  </a:lnTo>
                  <a:lnTo>
                    <a:pt x="0" y="0"/>
                  </a:lnTo>
                  <a:lnTo>
                    <a:pt x="0"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grpSp>
      <p:sp>
        <p:nvSpPr>
          <p:cNvPr id="89" name="Content Placeholder 1">
            <a:extLst>
              <a:ext uri="{FF2B5EF4-FFF2-40B4-BE49-F238E27FC236}">
                <a16:creationId xmlns:a16="http://schemas.microsoft.com/office/drawing/2014/main" id="{B8B03AD2-01F2-EE79-5FD2-B6C5C3225B69}"/>
              </a:ext>
            </a:extLst>
          </p:cNvPr>
          <p:cNvSpPr txBox="1">
            <a:spLocks/>
          </p:cNvSpPr>
          <p:nvPr/>
        </p:nvSpPr>
        <p:spPr>
          <a:xfrm>
            <a:off x="5269224" y="181927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lv-LV" sz="1400">
              <a:solidFill>
                <a:schemeClr val="bg1"/>
              </a:solidFill>
            </a:endParaRPr>
          </a:p>
        </p:txBody>
      </p:sp>
      <p:sp>
        <p:nvSpPr>
          <p:cNvPr id="93" name="Content Placeholder 1">
            <a:extLst>
              <a:ext uri="{FF2B5EF4-FFF2-40B4-BE49-F238E27FC236}">
                <a16:creationId xmlns:a16="http://schemas.microsoft.com/office/drawing/2014/main" id="{5D366C9B-225E-CEA0-72EB-D85F0DA52B9E}"/>
              </a:ext>
            </a:extLst>
          </p:cNvPr>
          <p:cNvSpPr txBox="1">
            <a:spLocks/>
          </p:cNvSpPr>
          <p:nvPr/>
        </p:nvSpPr>
        <p:spPr>
          <a:xfrm>
            <a:off x="6275388" y="2617366"/>
            <a:ext cx="5473700" cy="1654874"/>
          </a:xfrm>
          <a:prstGeom prst="rect">
            <a:avLst/>
          </a:prstGeom>
          <a:solidFill>
            <a:schemeClr val="bg1">
              <a:lumMod val="95000"/>
            </a:schemeClr>
          </a:solidFill>
        </p:spPr>
        <p:txBody>
          <a:bodyPr vert="horz" lIns="72000" tIns="72000" rIns="72000" bIns="7200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pPr>
            <a:endParaRPr lang="lv-LV" sz="1400" b="0">
              <a:solidFill>
                <a:schemeClr val="tx1"/>
              </a:solidFill>
            </a:endParaRPr>
          </a:p>
        </p:txBody>
      </p:sp>
      <p:sp>
        <p:nvSpPr>
          <p:cNvPr id="94" name="TextBox 93">
            <a:extLst>
              <a:ext uri="{FF2B5EF4-FFF2-40B4-BE49-F238E27FC236}">
                <a16:creationId xmlns:a16="http://schemas.microsoft.com/office/drawing/2014/main" id="{ECEF0416-3FCC-3A4B-65C3-F9459EDEFA45}"/>
              </a:ext>
            </a:extLst>
          </p:cNvPr>
          <p:cNvSpPr txBox="1"/>
          <p:nvPr/>
        </p:nvSpPr>
        <p:spPr>
          <a:xfrm>
            <a:off x="442912" y="2618031"/>
            <a:ext cx="5473700" cy="1652934"/>
          </a:xfrm>
          <a:prstGeom prst="rect">
            <a:avLst/>
          </a:prstGeom>
          <a:solidFill>
            <a:schemeClr val="bg1">
              <a:lumMod val="95000"/>
            </a:schemeClr>
          </a:solidFill>
        </p:spPr>
        <p:txBody>
          <a:bodyPr wrap="square" lIns="72000" tIns="72000" rIns="72000" bIns="72000" rtlCol="0">
            <a:noAutofit/>
          </a:bodyPr>
          <a:lstStyle/>
          <a:p>
            <a:pPr rtl="0"/>
            <a:endParaRPr lang="lv-LV" sz="1400"/>
          </a:p>
        </p:txBody>
      </p:sp>
      <p:sp>
        <p:nvSpPr>
          <p:cNvPr id="2" name="Rectangle 1">
            <a:extLst>
              <a:ext uri="{FF2B5EF4-FFF2-40B4-BE49-F238E27FC236}">
                <a16:creationId xmlns:a16="http://schemas.microsoft.com/office/drawing/2014/main" id="{06CA5123-FA6E-5376-B3D9-BDF5B08EA25B}"/>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18" name="Group 17">
            <a:extLst>
              <a:ext uri="{FF2B5EF4-FFF2-40B4-BE49-F238E27FC236}">
                <a16:creationId xmlns:a16="http://schemas.microsoft.com/office/drawing/2014/main" id="{9B759D3A-70EC-3263-D767-3E553E4C2434}"/>
              </a:ext>
            </a:extLst>
          </p:cNvPr>
          <p:cNvGrpSpPr/>
          <p:nvPr/>
        </p:nvGrpSpPr>
        <p:grpSpPr>
          <a:xfrm>
            <a:off x="9361966" y="126781"/>
            <a:ext cx="2279122" cy="251219"/>
            <a:chOff x="10133935" y="126781"/>
            <a:chExt cx="1615153" cy="217488"/>
          </a:xfrm>
        </p:grpSpPr>
        <p:sp>
          <p:nvSpPr>
            <p:cNvPr id="12" name="Rectangle 11">
              <a:extLst>
                <a:ext uri="{FF2B5EF4-FFF2-40B4-BE49-F238E27FC236}">
                  <a16:creationId xmlns:a16="http://schemas.microsoft.com/office/drawing/2014/main" id="{437AFA95-4629-E445-8011-A1331848A9C1}"/>
                </a:ext>
              </a:extLst>
            </p:cNvPr>
            <p:cNvSpPr/>
            <p:nvPr/>
          </p:nvSpPr>
          <p:spPr>
            <a:xfrm>
              <a:off x="10133935"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000000"/>
                  </a:solidFill>
                  <a:ea typeface="Georgia"/>
                  <a:cs typeface="Georgia"/>
                  <a:sym typeface="Georgia"/>
                </a:rPr>
                <a:t>7</a:t>
              </a:r>
              <a:r>
                <a:rPr lang="en-gb" sz="800" b="1" i="0" u="none" strike="noStrike" kern="0" cap="none" spc="0" normalizeH="0">
                  <a:ln>
                    <a:noFill/>
                  </a:ln>
                  <a:solidFill>
                    <a:srgbClr val="000000"/>
                  </a:solidFill>
                  <a:effectLst/>
                  <a:uLnTx/>
                  <a:uFillTx/>
                  <a:ea typeface="Georgia"/>
                  <a:cs typeface="Georgia"/>
                  <a:sym typeface="Georgia"/>
                </a:rPr>
                <a:t>.1</a:t>
              </a:r>
            </a:p>
          </p:txBody>
        </p:sp>
        <p:sp>
          <p:nvSpPr>
            <p:cNvPr id="13" name="Rectangle 12">
              <a:extLst>
                <a:ext uri="{FF2B5EF4-FFF2-40B4-BE49-F238E27FC236}">
                  <a16:creationId xmlns:a16="http://schemas.microsoft.com/office/drawing/2014/main" id="{07F853EE-4954-F93E-0658-251452786CF6}"/>
                </a:ext>
              </a:extLst>
            </p:cNvPr>
            <p:cNvSpPr/>
            <p:nvPr/>
          </p:nvSpPr>
          <p:spPr>
            <a:xfrm>
              <a:off x="10374320" y="126781"/>
              <a:ext cx="413227"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000000"/>
                  </a:solidFill>
                  <a:effectLst/>
                  <a:uLnTx/>
                  <a:uFillTx/>
                  <a:ea typeface="Georgia"/>
                  <a:cs typeface="Georgia"/>
                  <a:sym typeface="Georgia"/>
                </a:rPr>
                <a:t>Introduction</a:t>
              </a:r>
            </a:p>
          </p:txBody>
        </p:sp>
        <p:sp>
          <p:nvSpPr>
            <p:cNvPr id="14" name="Rectangle 13">
              <a:extLst>
                <a:ext uri="{FF2B5EF4-FFF2-40B4-BE49-F238E27FC236}">
                  <a16:creationId xmlns:a16="http://schemas.microsoft.com/office/drawing/2014/main" id="{47611A2B-87DE-E012-FBEB-CD8C3F27162D}"/>
                </a:ext>
              </a:extLst>
            </p:cNvPr>
            <p:cNvSpPr/>
            <p:nvPr/>
          </p:nvSpPr>
          <p:spPr>
            <a:xfrm>
              <a:off x="10811932"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a:ln>
                    <a:noFill/>
                  </a:ln>
                  <a:solidFill>
                    <a:schemeClr val="accent1"/>
                  </a:solidFill>
                  <a:effectLst/>
                  <a:uLnTx/>
                  <a:uFillTx/>
                  <a:ea typeface="Georgia"/>
                  <a:cs typeface="Georgia"/>
                  <a:sym typeface="Georgia"/>
                </a:rPr>
                <a:t>.2</a:t>
              </a:r>
            </a:p>
          </p:txBody>
        </p:sp>
        <p:sp>
          <p:nvSpPr>
            <p:cNvPr id="15" name="Rectangle 14">
              <a:extLst>
                <a:ext uri="{FF2B5EF4-FFF2-40B4-BE49-F238E27FC236}">
                  <a16:creationId xmlns:a16="http://schemas.microsoft.com/office/drawing/2014/main" id="{F075C420-0F8B-D5BA-BC4C-BE0D5D4A9645}"/>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a:ln>
                    <a:noFill/>
                  </a:ln>
                  <a:solidFill>
                    <a:schemeClr val="accent1"/>
                  </a:solidFill>
                  <a:effectLst/>
                  <a:uLnTx/>
                  <a:uFillTx/>
                  <a:ea typeface="Georgia"/>
                  <a:cs typeface="Georgia"/>
                  <a:sym typeface="Georgia"/>
                </a:rPr>
                <a:t>.3</a:t>
              </a:r>
            </a:p>
          </p:txBody>
        </p:sp>
        <p:sp>
          <p:nvSpPr>
            <p:cNvPr id="16" name="Rectangle 15">
              <a:extLst>
                <a:ext uri="{FF2B5EF4-FFF2-40B4-BE49-F238E27FC236}">
                  <a16:creationId xmlns:a16="http://schemas.microsoft.com/office/drawing/2014/main" id="{E8603D44-7F97-0FEA-D908-A5DDE8A41CC8}"/>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a:ln>
                    <a:noFill/>
                  </a:ln>
                  <a:solidFill>
                    <a:schemeClr val="accent1"/>
                  </a:solidFill>
                  <a:effectLst/>
                  <a:uLnTx/>
                  <a:uFillTx/>
                  <a:ea typeface="Georgia"/>
                  <a:cs typeface="Georgia"/>
                  <a:sym typeface="Georgia"/>
                </a:rPr>
                <a:t>.4</a:t>
              </a:r>
            </a:p>
          </p:txBody>
        </p:sp>
        <p:sp>
          <p:nvSpPr>
            <p:cNvPr id="17" name="Rectangle 16">
              <a:extLst>
                <a:ext uri="{FF2B5EF4-FFF2-40B4-BE49-F238E27FC236}">
                  <a16:creationId xmlns:a16="http://schemas.microsoft.com/office/drawing/2014/main" id="{F94A9033-6BFC-B403-C388-86F98F207B0B}"/>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chemeClr val="accent1"/>
                  </a:solidFill>
                  <a:effectLst/>
                  <a:uLnTx/>
                  <a:uFillTx/>
                  <a:ea typeface="Georgia"/>
                  <a:cs typeface="Georgia"/>
                  <a:sym typeface="Georgia"/>
                </a:rPr>
                <a:t>7.5</a:t>
              </a:r>
            </a:p>
          </p:txBody>
        </p:sp>
      </p:grpSp>
    </p:spTree>
    <p:extLst>
      <p:ext uri="{BB962C8B-B14F-4D97-AF65-F5344CB8AC3E}">
        <p14:creationId xmlns:p14="http://schemas.microsoft.com/office/powerpoint/2010/main" val="3993284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C2DF85F-5191-4C4E-A171-D5D7BF03C769}"/>
              </a:ext>
            </a:extLst>
          </p:cNvPr>
          <p:cNvGraphicFramePr>
            <a:graphicFrameLocks noChangeAspect="1"/>
          </p:cNvGraphicFramePr>
          <p:nvPr>
            <p:custDataLst>
              <p:tags r:id="rId1"/>
            </p:custDataLst>
            <p:extLst>
              <p:ext uri="{D42A27DB-BD31-4B8C-83A1-F6EECF244321}">
                <p14:modId xmlns:p14="http://schemas.microsoft.com/office/powerpoint/2010/main" val="3450959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3" name="think-cell data - do not delete" hidden="1">
                        <a:extLst>
                          <a:ext uri="{FF2B5EF4-FFF2-40B4-BE49-F238E27FC236}">
                            <a16:creationId xmlns:a16="http://schemas.microsoft.com/office/drawing/2014/main" id="{DC2DF85F-5191-4C4E-A171-D5D7BF03C7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4" name="Picture 63">
            <a:extLst>
              <a:ext uri="{FF2B5EF4-FFF2-40B4-BE49-F238E27FC236}">
                <a16:creationId xmlns:a16="http://schemas.microsoft.com/office/drawing/2014/main" id="{36D90A11-D58F-ADC1-FEA3-0420A9354C0F}"/>
              </a:ext>
            </a:extLst>
          </p:cNvPr>
          <p:cNvPicPr>
            <a:picLocks noChangeAspect="1"/>
          </p:cNvPicPr>
          <p:nvPr/>
        </p:nvPicPr>
        <p:blipFill rotWithShape="1">
          <a:blip r:embed="rId5"/>
          <a:srcRect t="39441" b="33373"/>
          <a:stretch/>
        </p:blipFill>
        <p:spPr>
          <a:xfrm>
            <a:off x="0" y="4648200"/>
            <a:ext cx="12192000" cy="2209800"/>
          </a:xfrm>
          <a:prstGeom prst="rect">
            <a:avLst/>
          </a:prstGeom>
        </p:spPr>
      </p:pic>
      <p:sp>
        <p:nvSpPr>
          <p:cNvPr id="65" name="Rectangle 64">
            <a:extLst>
              <a:ext uri="{FF2B5EF4-FFF2-40B4-BE49-F238E27FC236}">
                <a16:creationId xmlns:a16="http://schemas.microsoft.com/office/drawing/2014/main" id="{6D2F5831-19CB-8E2E-E436-E08C83663D19}"/>
              </a:ext>
            </a:extLst>
          </p:cNvPr>
          <p:cNvSpPr/>
          <p:nvPr/>
        </p:nvSpPr>
        <p:spPr>
          <a:xfrm>
            <a:off x="0" y="4648200"/>
            <a:ext cx="12192000" cy="22098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3" name="Title 2">
            <a:extLst>
              <a:ext uri="{FF2B5EF4-FFF2-40B4-BE49-F238E27FC236}">
                <a16:creationId xmlns:a16="http://schemas.microsoft.com/office/drawing/2014/main" id="{AAFE076C-9B8C-9BB3-8680-7E4B60DEC21C}"/>
              </a:ext>
            </a:extLst>
          </p:cNvPr>
          <p:cNvSpPr>
            <a:spLocks noGrp="1"/>
          </p:cNvSpPr>
          <p:nvPr>
            <p:ph type="title"/>
          </p:nvPr>
        </p:nvSpPr>
        <p:spPr>
          <a:xfrm>
            <a:off x="442913" y="432001"/>
            <a:ext cx="11306175" cy="1387274"/>
          </a:xfrm>
        </p:spPr>
        <p:txBody>
          <a:bodyPr vert="horz" rtlCol="0"/>
          <a:lstStyle/>
          <a:p>
            <a:pPr rtl="0"/>
            <a:r>
              <a:rPr lang="en-gb" dirty="0"/>
              <a:t>Do you know what first aid is? How is it different from </a:t>
            </a:r>
            <a:r>
              <a:rPr lang="lv-LV" dirty="0" err="1"/>
              <a:t>emergency</a:t>
            </a:r>
            <a:r>
              <a:rPr lang="lv-LV" dirty="0"/>
              <a:t> </a:t>
            </a:r>
            <a:r>
              <a:rPr lang="lv-LV" dirty="0" err="1"/>
              <a:t>medical</a:t>
            </a:r>
            <a:r>
              <a:rPr lang="lv-LV" dirty="0"/>
              <a:t> </a:t>
            </a:r>
            <a:r>
              <a:rPr lang="lv-LV" dirty="0" err="1"/>
              <a:t>assistance</a:t>
            </a:r>
            <a:r>
              <a:rPr lang="en-gb" dirty="0"/>
              <a:t>?</a:t>
            </a:r>
            <a:br>
              <a:rPr lang="lv-LV" dirty="0"/>
            </a:br>
            <a:endParaRPr lang="lv-LV" dirty="0"/>
          </a:p>
        </p:txBody>
      </p:sp>
      <p:sp>
        <p:nvSpPr>
          <p:cNvPr id="4" name="Slide Number Placeholder 3">
            <a:extLst>
              <a:ext uri="{FF2B5EF4-FFF2-40B4-BE49-F238E27FC236}">
                <a16:creationId xmlns:a16="http://schemas.microsoft.com/office/drawing/2014/main" id="{51A056F4-4CF2-BBE9-52F6-908FF9154948}"/>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lv-LV" smtClean="0">
                <a:solidFill>
                  <a:schemeClr val="bg1"/>
                </a:solidFill>
              </a:rPr>
              <a:pPr rtl="0"/>
              <a:t>6</a:t>
            </a:fld>
            <a:endParaRPr lang="lv-LV">
              <a:solidFill>
                <a:schemeClr val="bg1"/>
              </a:solidFill>
            </a:endParaRPr>
          </a:p>
        </p:txBody>
      </p:sp>
      <p:sp>
        <p:nvSpPr>
          <p:cNvPr id="2" name="Content Placeholder 1">
            <a:extLst>
              <a:ext uri="{FF2B5EF4-FFF2-40B4-BE49-F238E27FC236}">
                <a16:creationId xmlns:a16="http://schemas.microsoft.com/office/drawing/2014/main" id="{20E40FBF-934F-95FE-8778-92F849DEC1EA}"/>
              </a:ext>
            </a:extLst>
          </p:cNvPr>
          <p:cNvSpPr>
            <a:spLocks noGrp="1"/>
          </p:cNvSpPr>
          <p:nvPr>
            <p:ph type="body" sz="quarter" idx="13"/>
          </p:nvPr>
        </p:nvSpPr>
        <p:spPr>
          <a:xfrm>
            <a:off x="442913" y="6491287"/>
            <a:ext cx="3600000" cy="138113"/>
          </a:xfrm>
        </p:spPr>
        <p:txBody>
          <a:bodyPr rtlCol="0"/>
          <a:lstStyle/>
          <a:p>
            <a:pPr rtl="0"/>
            <a:r>
              <a:rPr lang="en-gb" dirty="0">
                <a:solidFill>
                  <a:schemeClr val="bg1"/>
                </a:solidFill>
              </a:rPr>
              <a:t>Article 1 of the </a:t>
            </a:r>
            <a:r>
              <a:rPr lang="en-GB" dirty="0">
                <a:solidFill>
                  <a:schemeClr val="bg1"/>
                </a:solidFill>
              </a:rPr>
              <a:t>Medical Treatment Law</a:t>
            </a:r>
          </a:p>
          <a:p>
            <a:pPr rtl="0"/>
            <a:endParaRPr lang="en-gb" dirty="0">
              <a:solidFill>
                <a:schemeClr val="bg1"/>
              </a:solidFill>
            </a:endParaRPr>
          </a:p>
        </p:txBody>
      </p:sp>
      <p:sp>
        <p:nvSpPr>
          <p:cNvPr id="7" name="Content Placeholder 1">
            <a:extLst>
              <a:ext uri="{FF2B5EF4-FFF2-40B4-BE49-F238E27FC236}">
                <a16:creationId xmlns:a16="http://schemas.microsoft.com/office/drawing/2014/main" id="{11B054F7-BD3F-CC04-8F9A-A47566ADA21E}"/>
              </a:ext>
            </a:extLst>
          </p:cNvPr>
          <p:cNvSpPr txBox="1">
            <a:spLocks/>
          </p:cNvSpPr>
          <p:nvPr/>
        </p:nvSpPr>
        <p:spPr>
          <a:xfrm>
            <a:off x="6275388" y="2617366"/>
            <a:ext cx="5473700" cy="1654874"/>
          </a:xfrm>
          <a:prstGeom prst="rect">
            <a:avLst/>
          </a:prstGeom>
          <a:solidFill>
            <a:schemeClr val="bg1">
              <a:lumMod val="95000"/>
            </a:schemeClr>
          </a:solidFill>
        </p:spPr>
        <p:txBody>
          <a:bodyPr vert="horz" lIns="72000" tIns="72000" rIns="72000" bIns="7200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pPr>
            <a:r>
              <a:rPr lang="lv-LV" sz="1400" b="0" dirty="0">
                <a:solidFill>
                  <a:schemeClr val="tx1"/>
                </a:solidFill>
              </a:rPr>
              <a:t>A</a:t>
            </a:r>
            <a:r>
              <a:rPr lang="en-US" sz="1400" b="0" dirty="0" err="1">
                <a:solidFill>
                  <a:schemeClr val="tx1"/>
                </a:solidFill>
              </a:rPr>
              <a:t>ssistance</a:t>
            </a:r>
            <a:r>
              <a:rPr lang="en-US" sz="1400" b="0" dirty="0">
                <a:solidFill>
                  <a:schemeClr val="tx1"/>
                </a:solidFill>
              </a:rPr>
              <a:t> to victims (persons who have been taken ill) in a critical state of danger to life or health, provided by persons specially prepared (trained, equipped) for such cases with relevant qualifications in medicine who in accordance with such qualifications have legal liability for their actions or omissions and the consequences of such actions or omissions</a:t>
            </a:r>
            <a:r>
              <a:rPr lang="lv-LV" sz="1400" b="0" dirty="0">
                <a:solidFill>
                  <a:schemeClr val="tx1"/>
                </a:solidFill>
              </a:rPr>
              <a:t>.</a:t>
            </a:r>
            <a:endParaRPr lang="en-gb" sz="1400" b="0" dirty="0">
              <a:solidFill>
                <a:schemeClr val="tx1"/>
              </a:solidFill>
            </a:endParaRPr>
          </a:p>
        </p:txBody>
      </p:sp>
      <p:sp>
        <p:nvSpPr>
          <p:cNvPr id="44" name="TextBox 43">
            <a:extLst>
              <a:ext uri="{FF2B5EF4-FFF2-40B4-BE49-F238E27FC236}">
                <a16:creationId xmlns:a16="http://schemas.microsoft.com/office/drawing/2014/main" id="{D451C3AD-BF06-A491-5B76-787F273C0C52}"/>
              </a:ext>
            </a:extLst>
          </p:cNvPr>
          <p:cNvSpPr txBox="1"/>
          <p:nvPr/>
        </p:nvSpPr>
        <p:spPr>
          <a:xfrm>
            <a:off x="442912" y="2618031"/>
            <a:ext cx="5473700" cy="1652934"/>
          </a:xfrm>
          <a:prstGeom prst="rect">
            <a:avLst/>
          </a:prstGeom>
          <a:solidFill>
            <a:schemeClr val="bg1">
              <a:lumMod val="95000"/>
            </a:schemeClr>
          </a:solidFill>
        </p:spPr>
        <p:txBody>
          <a:bodyPr wrap="square" lIns="72000" tIns="72000" rIns="72000" bIns="72000" rtlCol="0">
            <a:noAutofit/>
          </a:bodyPr>
          <a:lstStyle/>
          <a:p>
            <a:pPr rtl="0"/>
            <a:r>
              <a:rPr lang="lv-LV" sz="1400" dirty="0"/>
              <a:t>A</a:t>
            </a:r>
            <a:r>
              <a:rPr lang="en-US" sz="1400" dirty="0" err="1"/>
              <a:t>ssistance</a:t>
            </a:r>
            <a:r>
              <a:rPr lang="en-US" sz="1400" dirty="0"/>
              <a:t> provided to victims (persons who have been taken ill) in a critical state of danger to life or health by persons with or without medical qualifications, within the scope of their knowledge and possibilities irrespective of their proficiency and equipment</a:t>
            </a:r>
            <a:r>
              <a:rPr lang="lv-LV" sz="1400" dirty="0"/>
              <a:t>.</a:t>
            </a:r>
            <a:endParaRPr lang="en-gb" sz="1400" dirty="0"/>
          </a:p>
        </p:txBody>
      </p:sp>
      <p:sp>
        <p:nvSpPr>
          <p:cNvPr id="49" name="Content Placeholder 1">
            <a:extLst>
              <a:ext uri="{FF2B5EF4-FFF2-40B4-BE49-F238E27FC236}">
                <a16:creationId xmlns:a16="http://schemas.microsoft.com/office/drawing/2014/main" id="{A6C28A3C-A620-B16D-4B58-91E913FDA302}"/>
              </a:ext>
            </a:extLst>
          </p:cNvPr>
          <p:cNvSpPr txBox="1">
            <a:spLocks/>
          </p:cNvSpPr>
          <p:nvPr/>
        </p:nvSpPr>
        <p:spPr>
          <a:xfrm>
            <a:off x="442913" y="1819275"/>
            <a:ext cx="5473699" cy="576000"/>
          </a:xfrm>
          <a:prstGeom prst="rect">
            <a:avLst/>
          </a:prstGeom>
          <a:solidFill>
            <a:schemeClr val="accent2"/>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400">
                <a:solidFill>
                  <a:schemeClr val="bg1"/>
                </a:solidFill>
              </a:rPr>
              <a:t>First aid</a:t>
            </a:r>
          </a:p>
        </p:txBody>
      </p:sp>
      <p:sp>
        <p:nvSpPr>
          <p:cNvPr id="50" name="Content Placeholder 1">
            <a:extLst>
              <a:ext uri="{FF2B5EF4-FFF2-40B4-BE49-F238E27FC236}">
                <a16:creationId xmlns:a16="http://schemas.microsoft.com/office/drawing/2014/main" id="{B5ED44FD-99B9-EA5D-A6CA-13027AC18E14}"/>
              </a:ext>
            </a:extLst>
          </p:cNvPr>
          <p:cNvSpPr txBox="1">
            <a:spLocks/>
          </p:cNvSpPr>
          <p:nvPr/>
        </p:nvSpPr>
        <p:spPr>
          <a:xfrm>
            <a:off x="6275388" y="1819275"/>
            <a:ext cx="5473700" cy="576000"/>
          </a:xfrm>
          <a:prstGeom prst="rect">
            <a:avLst/>
          </a:prstGeom>
          <a:solidFill>
            <a:schemeClr val="accent3"/>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400">
                <a:solidFill>
                  <a:schemeClr val="bg1"/>
                </a:solidFill>
              </a:rPr>
              <a:t>Emergency medical assistance</a:t>
            </a:r>
          </a:p>
        </p:txBody>
      </p:sp>
      <p:sp>
        <p:nvSpPr>
          <p:cNvPr id="53" name="Content Placeholder 1">
            <a:extLst>
              <a:ext uri="{FF2B5EF4-FFF2-40B4-BE49-F238E27FC236}">
                <a16:creationId xmlns:a16="http://schemas.microsoft.com/office/drawing/2014/main" id="{E81B126C-1DE6-E834-F45C-027ED60209BD}"/>
              </a:ext>
            </a:extLst>
          </p:cNvPr>
          <p:cNvSpPr txBox="1">
            <a:spLocks/>
          </p:cNvSpPr>
          <p:nvPr/>
        </p:nvSpPr>
        <p:spPr>
          <a:xfrm>
            <a:off x="11173088" y="181927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lv-LV" sz="1400">
              <a:solidFill>
                <a:schemeClr val="bg1"/>
              </a:solidFill>
            </a:endParaRPr>
          </a:p>
        </p:txBody>
      </p:sp>
      <p:sp>
        <p:nvSpPr>
          <p:cNvPr id="56" name="Content Placeholder 1">
            <a:extLst>
              <a:ext uri="{FF2B5EF4-FFF2-40B4-BE49-F238E27FC236}">
                <a16:creationId xmlns:a16="http://schemas.microsoft.com/office/drawing/2014/main" id="{91FD7191-EBCA-832B-EE38-C0AD6980C89C}"/>
              </a:ext>
            </a:extLst>
          </p:cNvPr>
          <p:cNvSpPr txBox="1">
            <a:spLocks/>
          </p:cNvSpPr>
          <p:nvPr/>
        </p:nvSpPr>
        <p:spPr>
          <a:xfrm>
            <a:off x="11105135" y="181927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lv-LV" sz="1400">
              <a:solidFill>
                <a:schemeClr val="bg1"/>
              </a:solidFill>
            </a:endParaRPr>
          </a:p>
        </p:txBody>
      </p:sp>
      <p:sp>
        <p:nvSpPr>
          <p:cNvPr id="54" name="Content Placeholder 1">
            <a:extLst>
              <a:ext uri="{FF2B5EF4-FFF2-40B4-BE49-F238E27FC236}">
                <a16:creationId xmlns:a16="http://schemas.microsoft.com/office/drawing/2014/main" id="{24C1A375-8C7A-FB4D-7F47-F1622BECD0DA}"/>
              </a:ext>
            </a:extLst>
          </p:cNvPr>
          <p:cNvSpPr txBox="1">
            <a:spLocks/>
          </p:cNvSpPr>
          <p:nvPr/>
        </p:nvSpPr>
        <p:spPr>
          <a:xfrm>
            <a:off x="5340612" y="181927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lv-LV" sz="1400">
              <a:solidFill>
                <a:schemeClr val="bg1"/>
              </a:solidFill>
            </a:endParaRPr>
          </a:p>
        </p:txBody>
      </p:sp>
      <p:sp>
        <p:nvSpPr>
          <p:cNvPr id="59" name="TextBox 58">
            <a:extLst>
              <a:ext uri="{FF2B5EF4-FFF2-40B4-BE49-F238E27FC236}">
                <a16:creationId xmlns:a16="http://schemas.microsoft.com/office/drawing/2014/main" id="{0B9A482D-D6B8-5CBF-C3DA-64F6DB0BD51D}"/>
              </a:ext>
            </a:extLst>
          </p:cNvPr>
          <p:cNvSpPr txBox="1"/>
          <p:nvPr/>
        </p:nvSpPr>
        <p:spPr>
          <a:xfrm>
            <a:off x="442912" y="3694702"/>
            <a:ext cx="5473700" cy="576263"/>
          </a:xfrm>
          <a:prstGeom prst="rect">
            <a:avLst/>
          </a:prstGeom>
          <a:solidFill>
            <a:schemeClr val="accent5"/>
          </a:solidFill>
        </p:spPr>
        <p:txBody>
          <a:bodyPr wrap="square" lIns="72000" tIns="72000" rIns="72000" bIns="72000" rtlCol="0" anchor="ctr">
            <a:noAutofit/>
          </a:bodyPr>
          <a:lstStyle/>
          <a:p>
            <a:pPr algn="ctr" rtl="0">
              <a:lnSpc>
                <a:spcPct val="100000"/>
              </a:lnSpc>
              <a:spcAft>
                <a:spcPts val="600"/>
              </a:spcAft>
              <a:buSzPct val="100000"/>
            </a:pPr>
            <a:r>
              <a:rPr lang="en-gb" sz="1600" b="1"/>
              <a:t>The focus of this course</a:t>
            </a:r>
          </a:p>
        </p:txBody>
      </p:sp>
      <p:sp>
        <p:nvSpPr>
          <p:cNvPr id="8" name="Freeform 60">
            <a:extLst>
              <a:ext uri="{FF2B5EF4-FFF2-40B4-BE49-F238E27FC236}">
                <a16:creationId xmlns:a16="http://schemas.microsoft.com/office/drawing/2014/main" id="{A2A4EF95-EBC5-2113-75C0-757B07E343F3}"/>
              </a:ext>
            </a:extLst>
          </p:cNvPr>
          <p:cNvSpPr>
            <a:spLocks noChangeAspect="1" noEditPoints="1"/>
          </p:cNvSpPr>
          <p:nvPr/>
        </p:nvSpPr>
        <p:spPr bwMode="auto">
          <a:xfrm>
            <a:off x="1638840" y="3808642"/>
            <a:ext cx="348382" cy="34838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chemeClr val="accent3"/>
          </a:solidFill>
          <a:ln>
            <a:noFill/>
          </a:ln>
        </p:spPr>
        <p:txBody>
          <a:bodyPr vert="horz" wrap="square" lIns="49923" tIns="24961" rIns="49923" bIns="24961" numCol="1" rtlCol="0" anchor="t" anchorCtr="0" compatLnSpc="1">
            <a:prstTxWarp prst="textNoShape">
              <a:avLst/>
            </a:prstTxWarp>
          </a:bodyPr>
          <a:lstStyle/>
          <a:p>
            <a:pPr rtl="0"/>
            <a:endParaRPr lang="lv-LV" sz="983">
              <a:solidFill>
                <a:schemeClr val="accent1"/>
              </a:solidFill>
            </a:endParaRPr>
          </a:p>
        </p:txBody>
      </p:sp>
      <p:sp>
        <p:nvSpPr>
          <p:cNvPr id="90" name="Content Placeholder 1">
            <a:extLst>
              <a:ext uri="{FF2B5EF4-FFF2-40B4-BE49-F238E27FC236}">
                <a16:creationId xmlns:a16="http://schemas.microsoft.com/office/drawing/2014/main" id="{D00B4179-08F8-09B5-BD0A-9A04267AF1DF}"/>
              </a:ext>
            </a:extLst>
          </p:cNvPr>
          <p:cNvSpPr txBox="1">
            <a:spLocks/>
          </p:cNvSpPr>
          <p:nvPr/>
        </p:nvSpPr>
        <p:spPr>
          <a:xfrm>
            <a:off x="5269224" y="181927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lv-LV" sz="1400">
              <a:solidFill>
                <a:schemeClr val="bg1"/>
              </a:solidFill>
            </a:endParaRPr>
          </a:p>
        </p:txBody>
      </p:sp>
      <p:grpSp>
        <p:nvGrpSpPr>
          <p:cNvPr id="5" name="Google Shape;1543;p92">
            <a:extLst>
              <a:ext uri="{FF2B5EF4-FFF2-40B4-BE49-F238E27FC236}">
                <a16:creationId xmlns:a16="http://schemas.microsoft.com/office/drawing/2014/main" id="{F3DC2FB6-68B5-BA33-86F8-F122CDF00F85}"/>
              </a:ext>
            </a:extLst>
          </p:cNvPr>
          <p:cNvGrpSpPr/>
          <p:nvPr/>
        </p:nvGrpSpPr>
        <p:grpSpPr>
          <a:xfrm>
            <a:off x="5448612" y="1927275"/>
            <a:ext cx="360000" cy="360000"/>
            <a:chOff x="11403518" y="3895566"/>
            <a:chExt cx="457200" cy="457200"/>
          </a:xfrm>
          <a:solidFill>
            <a:schemeClr val="tx1"/>
          </a:solidFill>
        </p:grpSpPr>
        <p:sp>
          <p:nvSpPr>
            <p:cNvPr id="6" name="Google Shape;1544;p92">
              <a:extLst>
                <a:ext uri="{FF2B5EF4-FFF2-40B4-BE49-F238E27FC236}">
                  <a16:creationId xmlns:a16="http://schemas.microsoft.com/office/drawing/2014/main" id="{2433D90B-E7DC-1074-506C-53A72F530B6D}"/>
                </a:ext>
              </a:extLst>
            </p:cNvPr>
            <p:cNvSpPr/>
            <p:nvPr/>
          </p:nvSpPr>
          <p:spPr>
            <a:xfrm>
              <a:off x="11403518" y="3895566"/>
              <a:ext cx="457200" cy="457200"/>
            </a:xfrm>
            <a:custGeom>
              <a:avLst/>
              <a:gdLst/>
              <a:ahLst/>
              <a:cxnLst/>
              <a:rect l="l" t="t" r="r" b="b"/>
              <a:pathLst>
                <a:path w="457200" h="457200" extrusionOk="0">
                  <a:moveTo>
                    <a:pt x="358426" y="48038"/>
                  </a:moveTo>
                  <a:lnTo>
                    <a:pt x="358426" y="0"/>
                  </a:lnTo>
                  <a:lnTo>
                    <a:pt x="98774" y="0"/>
                  </a:lnTo>
                  <a:lnTo>
                    <a:pt x="98774" y="48038"/>
                  </a:lnTo>
                  <a:lnTo>
                    <a:pt x="0" y="48038"/>
                  </a:lnTo>
                  <a:lnTo>
                    <a:pt x="0" y="457200"/>
                  </a:lnTo>
                  <a:lnTo>
                    <a:pt x="457200" y="457200"/>
                  </a:lnTo>
                  <a:lnTo>
                    <a:pt x="457200" y="48038"/>
                  </a:lnTo>
                  <a:close/>
                  <a:moveTo>
                    <a:pt x="118300" y="19463"/>
                  </a:moveTo>
                  <a:lnTo>
                    <a:pt x="338900" y="19463"/>
                  </a:lnTo>
                  <a:lnTo>
                    <a:pt x="338900" y="47625"/>
                  </a:lnTo>
                  <a:lnTo>
                    <a:pt x="118300" y="47625"/>
                  </a:lnTo>
                  <a:close/>
                  <a:moveTo>
                    <a:pt x="19526" y="225679"/>
                  </a:moveTo>
                  <a:lnTo>
                    <a:pt x="86201" y="225679"/>
                  </a:lnTo>
                  <a:cubicBezTo>
                    <a:pt x="84633" y="234301"/>
                    <a:pt x="83836" y="243046"/>
                    <a:pt x="83820" y="251809"/>
                  </a:cubicBezTo>
                  <a:cubicBezTo>
                    <a:pt x="83817" y="261123"/>
                    <a:pt x="84711" y="270416"/>
                    <a:pt x="86487" y="279559"/>
                  </a:cubicBezTo>
                  <a:lnTo>
                    <a:pt x="19526" y="279559"/>
                  </a:lnTo>
                  <a:close/>
                  <a:moveTo>
                    <a:pt x="437674" y="437674"/>
                  </a:moveTo>
                  <a:lnTo>
                    <a:pt x="19526" y="437674"/>
                  </a:lnTo>
                  <a:lnTo>
                    <a:pt x="19526" y="299085"/>
                  </a:lnTo>
                  <a:lnTo>
                    <a:pt x="92075" y="299085"/>
                  </a:lnTo>
                  <a:cubicBezTo>
                    <a:pt x="118172" y="374574"/>
                    <a:pt x="200523" y="414614"/>
                    <a:pt x="276012" y="388515"/>
                  </a:cubicBezTo>
                  <a:cubicBezTo>
                    <a:pt x="317967" y="374012"/>
                    <a:pt x="350939" y="341039"/>
                    <a:pt x="365443" y="299085"/>
                  </a:cubicBezTo>
                  <a:lnTo>
                    <a:pt x="437832" y="299085"/>
                  </a:lnTo>
                  <a:close/>
                  <a:moveTo>
                    <a:pt x="103505" y="251809"/>
                  </a:moveTo>
                  <a:cubicBezTo>
                    <a:pt x="103502" y="243026"/>
                    <a:pt x="104428" y="234267"/>
                    <a:pt x="106267" y="225679"/>
                  </a:cubicBezTo>
                  <a:cubicBezTo>
                    <a:pt x="107691" y="219018"/>
                    <a:pt x="109666" y="212487"/>
                    <a:pt x="112173" y="206153"/>
                  </a:cubicBezTo>
                  <a:cubicBezTo>
                    <a:pt x="137346" y="141852"/>
                    <a:pt x="209879" y="110133"/>
                    <a:pt x="274180" y="135306"/>
                  </a:cubicBezTo>
                  <a:cubicBezTo>
                    <a:pt x="306639" y="148013"/>
                    <a:pt x="332321" y="173694"/>
                    <a:pt x="345027" y="206153"/>
                  </a:cubicBezTo>
                  <a:cubicBezTo>
                    <a:pt x="347532" y="212487"/>
                    <a:pt x="349510" y="219018"/>
                    <a:pt x="350933" y="225679"/>
                  </a:cubicBezTo>
                  <a:cubicBezTo>
                    <a:pt x="365373" y="293241"/>
                    <a:pt x="322307" y="359715"/>
                    <a:pt x="254743" y="374155"/>
                  </a:cubicBezTo>
                  <a:cubicBezTo>
                    <a:pt x="187181" y="388595"/>
                    <a:pt x="120706" y="345529"/>
                    <a:pt x="106267" y="277965"/>
                  </a:cubicBezTo>
                  <a:cubicBezTo>
                    <a:pt x="104430" y="269368"/>
                    <a:pt x="103504" y="260601"/>
                    <a:pt x="103505" y="251809"/>
                  </a:cubicBezTo>
                  <a:close/>
                  <a:moveTo>
                    <a:pt x="437674" y="279559"/>
                  </a:moveTo>
                  <a:lnTo>
                    <a:pt x="370554" y="279559"/>
                  </a:lnTo>
                  <a:cubicBezTo>
                    <a:pt x="372332" y="270416"/>
                    <a:pt x="373224" y="261123"/>
                    <a:pt x="373221" y="251809"/>
                  </a:cubicBezTo>
                  <a:cubicBezTo>
                    <a:pt x="373205" y="243046"/>
                    <a:pt x="372408" y="234301"/>
                    <a:pt x="370840" y="225679"/>
                  </a:cubicBezTo>
                  <a:lnTo>
                    <a:pt x="437515" y="225679"/>
                  </a:lnTo>
                  <a:close/>
                  <a:moveTo>
                    <a:pt x="437674" y="206153"/>
                  </a:moveTo>
                  <a:lnTo>
                    <a:pt x="365824" y="206153"/>
                  </a:lnTo>
                  <a:cubicBezTo>
                    <a:pt x="340604" y="130366"/>
                    <a:pt x="258724" y="89373"/>
                    <a:pt x="182938" y="114591"/>
                  </a:cubicBezTo>
                  <a:cubicBezTo>
                    <a:pt x="139696" y="128980"/>
                    <a:pt x="105766" y="162911"/>
                    <a:pt x="91377" y="206153"/>
                  </a:cubicBezTo>
                  <a:lnTo>
                    <a:pt x="19526" y="206153"/>
                  </a:lnTo>
                  <a:lnTo>
                    <a:pt x="19526" y="67564"/>
                  </a:lnTo>
                  <a:lnTo>
                    <a:pt x="437674" y="67564"/>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9" name="Google Shape;1545;p92">
              <a:extLst>
                <a:ext uri="{FF2B5EF4-FFF2-40B4-BE49-F238E27FC236}">
                  <a16:creationId xmlns:a16="http://schemas.microsoft.com/office/drawing/2014/main" id="{79CC5FE2-D0F9-19B2-E01D-F1228C678ED5}"/>
                </a:ext>
              </a:extLst>
            </p:cNvPr>
            <p:cNvSpPr/>
            <p:nvPr/>
          </p:nvSpPr>
          <p:spPr>
            <a:xfrm>
              <a:off x="11539503" y="4054760"/>
              <a:ext cx="185229" cy="185229"/>
            </a:xfrm>
            <a:custGeom>
              <a:avLst/>
              <a:gdLst/>
              <a:ahLst/>
              <a:cxnLst/>
              <a:rect l="l" t="t" r="r" b="b"/>
              <a:pathLst>
                <a:path w="185229" h="185229" extrusionOk="0">
                  <a:moveTo>
                    <a:pt x="54959" y="185230"/>
                  </a:moveTo>
                  <a:lnTo>
                    <a:pt x="130270" y="185230"/>
                  </a:lnTo>
                  <a:lnTo>
                    <a:pt x="130270" y="130270"/>
                  </a:lnTo>
                  <a:lnTo>
                    <a:pt x="185229" y="130270"/>
                  </a:lnTo>
                  <a:lnTo>
                    <a:pt x="185229" y="54959"/>
                  </a:lnTo>
                  <a:lnTo>
                    <a:pt x="130270" y="54959"/>
                  </a:lnTo>
                  <a:lnTo>
                    <a:pt x="130270" y="0"/>
                  </a:lnTo>
                  <a:lnTo>
                    <a:pt x="54959" y="0"/>
                  </a:lnTo>
                  <a:lnTo>
                    <a:pt x="54959" y="54959"/>
                  </a:lnTo>
                  <a:lnTo>
                    <a:pt x="0" y="54959"/>
                  </a:lnTo>
                  <a:lnTo>
                    <a:pt x="0" y="130270"/>
                  </a:lnTo>
                  <a:lnTo>
                    <a:pt x="54959" y="130270"/>
                  </a:lnTo>
                  <a:close/>
                  <a:moveTo>
                    <a:pt x="19590" y="110681"/>
                  </a:moveTo>
                  <a:lnTo>
                    <a:pt x="19590" y="74486"/>
                  </a:lnTo>
                  <a:lnTo>
                    <a:pt x="74486" y="74486"/>
                  </a:lnTo>
                  <a:lnTo>
                    <a:pt x="74486" y="19526"/>
                  </a:lnTo>
                  <a:lnTo>
                    <a:pt x="110744" y="19526"/>
                  </a:lnTo>
                  <a:lnTo>
                    <a:pt x="110744" y="74486"/>
                  </a:lnTo>
                  <a:lnTo>
                    <a:pt x="165640" y="74486"/>
                  </a:lnTo>
                  <a:lnTo>
                    <a:pt x="165640" y="110681"/>
                  </a:lnTo>
                  <a:lnTo>
                    <a:pt x="110744" y="110681"/>
                  </a:lnTo>
                  <a:lnTo>
                    <a:pt x="110744" y="165640"/>
                  </a:lnTo>
                  <a:lnTo>
                    <a:pt x="74486" y="165640"/>
                  </a:lnTo>
                  <a:lnTo>
                    <a:pt x="74486" y="110681"/>
                  </a:lnTo>
                  <a:lnTo>
                    <a:pt x="19590" y="110681"/>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grpSp>
      <p:grpSp>
        <p:nvGrpSpPr>
          <p:cNvPr id="10" name="Google Shape;1654;p92">
            <a:extLst>
              <a:ext uri="{FF2B5EF4-FFF2-40B4-BE49-F238E27FC236}">
                <a16:creationId xmlns:a16="http://schemas.microsoft.com/office/drawing/2014/main" id="{7D8EE757-3407-A033-DB35-38C4C5E0D3CF}"/>
              </a:ext>
            </a:extLst>
          </p:cNvPr>
          <p:cNvGrpSpPr/>
          <p:nvPr/>
        </p:nvGrpSpPr>
        <p:grpSpPr>
          <a:xfrm>
            <a:off x="11281088" y="1927275"/>
            <a:ext cx="360000" cy="360000"/>
            <a:chOff x="3523866" y="3895566"/>
            <a:chExt cx="457200" cy="457200"/>
          </a:xfrm>
          <a:solidFill>
            <a:schemeClr val="tx1"/>
          </a:solidFill>
        </p:grpSpPr>
        <p:sp>
          <p:nvSpPr>
            <p:cNvPr id="11" name="Google Shape;1655;p92">
              <a:extLst>
                <a:ext uri="{FF2B5EF4-FFF2-40B4-BE49-F238E27FC236}">
                  <a16:creationId xmlns:a16="http://schemas.microsoft.com/office/drawing/2014/main" id="{FAAF8042-FA87-2277-604A-2B80951C96CA}"/>
                </a:ext>
              </a:extLst>
            </p:cNvPr>
            <p:cNvSpPr/>
            <p:nvPr/>
          </p:nvSpPr>
          <p:spPr>
            <a:xfrm>
              <a:off x="3721986" y="4124166"/>
              <a:ext cx="60959" cy="22828"/>
            </a:xfrm>
            <a:custGeom>
              <a:avLst/>
              <a:gdLst/>
              <a:ahLst/>
              <a:cxnLst/>
              <a:rect l="l" t="t" r="r" b="b"/>
              <a:pathLst>
                <a:path w="60959" h="22828" extrusionOk="0">
                  <a:moveTo>
                    <a:pt x="0" y="0"/>
                  </a:moveTo>
                  <a:lnTo>
                    <a:pt x="60960" y="0"/>
                  </a:lnTo>
                  <a:lnTo>
                    <a:pt x="60960" y="22828"/>
                  </a:lnTo>
                  <a:lnTo>
                    <a:pt x="0" y="22828"/>
                  </a:lnTo>
                  <a:lnTo>
                    <a:pt x="0" y="0"/>
                  </a:lnTo>
                  <a:lnTo>
                    <a:pt x="0"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2" name="Google Shape;1656;p92">
              <a:extLst>
                <a:ext uri="{FF2B5EF4-FFF2-40B4-BE49-F238E27FC236}">
                  <a16:creationId xmlns:a16="http://schemas.microsoft.com/office/drawing/2014/main" id="{6DA0E041-E210-8556-8DD1-4B49FE009618}"/>
                </a:ext>
              </a:extLst>
            </p:cNvPr>
            <p:cNvSpPr/>
            <p:nvPr/>
          </p:nvSpPr>
          <p:spPr>
            <a:xfrm>
              <a:off x="3721986" y="4154614"/>
              <a:ext cx="60959" cy="22891"/>
            </a:xfrm>
            <a:custGeom>
              <a:avLst/>
              <a:gdLst/>
              <a:ahLst/>
              <a:cxnLst/>
              <a:rect l="l" t="t" r="r" b="b"/>
              <a:pathLst>
                <a:path w="60959" h="22891" extrusionOk="0">
                  <a:moveTo>
                    <a:pt x="0" y="0"/>
                  </a:moveTo>
                  <a:lnTo>
                    <a:pt x="60960" y="0"/>
                  </a:lnTo>
                  <a:lnTo>
                    <a:pt x="60960" y="22892"/>
                  </a:lnTo>
                  <a:lnTo>
                    <a:pt x="0" y="22892"/>
                  </a:lnTo>
                  <a:lnTo>
                    <a:pt x="0" y="0"/>
                  </a:lnTo>
                  <a:lnTo>
                    <a:pt x="0"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4" name="Google Shape;1657;p92">
              <a:extLst>
                <a:ext uri="{FF2B5EF4-FFF2-40B4-BE49-F238E27FC236}">
                  <a16:creationId xmlns:a16="http://schemas.microsoft.com/office/drawing/2014/main" id="{0AB8E9EA-C968-44EB-8B34-41ACF4CD9CF4}"/>
                </a:ext>
              </a:extLst>
            </p:cNvPr>
            <p:cNvSpPr/>
            <p:nvPr/>
          </p:nvSpPr>
          <p:spPr>
            <a:xfrm>
              <a:off x="3523866" y="3895566"/>
              <a:ext cx="457200" cy="457200"/>
            </a:xfrm>
            <a:custGeom>
              <a:avLst/>
              <a:gdLst/>
              <a:ahLst/>
              <a:cxnLst/>
              <a:rect l="l" t="t" r="r" b="b"/>
              <a:pathLst>
                <a:path w="457200" h="457200" extrusionOk="0">
                  <a:moveTo>
                    <a:pt x="0" y="0"/>
                  </a:moveTo>
                  <a:lnTo>
                    <a:pt x="0" y="457200"/>
                  </a:lnTo>
                  <a:lnTo>
                    <a:pt x="457200" y="457200"/>
                  </a:lnTo>
                  <a:lnTo>
                    <a:pt x="457200" y="0"/>
                  </a:lnTo>
                  <a:close/>
                  <a:moveTo>
                    <a:pt x="154813" y="436880"/>
                  </a:moveTo>
                  <a:lnTo>
                    <a:pt x="75438" y="436880"/>
                  </a:lnTo>
                  <a:lnTo>
                    <a:pt x="75438" y="167862"/>
                  </a:lnTo>
                  <a:lnTo>
                    <a:pt x="154813" y="167862"/>
                  </a:lnTo>
                  <a:lnTo>
                    <a:pt x="154813" y="436880"/>
                  </a:lnTo>
                  <a:close/>
                  <a:moveTo>
                    <a:pt x="240538" y="436880"/>
                  </a:moveTo>
                  <a:lnTo>
                    <a:pt x="215900" y="436880"/>
                  </a:lnTo>
                  <a:lnTo>
                    <a:pt x="215900" y="358966"/>
                  </a:lnTo>
                  <a:lnTo>
                    <a:pt x="240570" y="358966"/>
                  </a:lnTo>
                  <a:lnTo>
                    <a:pt x="240570" y="436880"/>
                  </a:lnTo>
                  <a:close/>
                  <a:moveTo>
                    <a:pt x="281813" y="147955"/>
                  </a:moveTo>
                  <a:lnTo>
                    <a:pt x="281813" y="436880"/>
                  </a:lnTo>
                  <a:lnTo>
                    <a:pt x="260350" y="436880"/>
                  </a:lnTo>
                  <a:lnTo>
                    <a:pt x="260350" y="339122"/>
                  </a:lnTo>
                  <a:lnTo>
                    <a:pt x="195929" y="339122"/>
                  </a:lnTo>
                  <a:lnTo>
                    <a:pt x="195929" y="436880"/>
                  </a:lnTo>
                  <a:lnTo>
                    <a:pt x="174625" y="436880"/>
                  </a:lnTo>
                  <a:lnTo>
                    <a:pt x="174625" y="81280"/>
                  </a:lnTo>
                  <a:lnTo>
                    <a:pt x="281591" y="81280"/>
                  </a:lnTo>
                  <a:lnTo>
                    <a:pt x="281591" y="147955"/>
                  </a:lnTo>
                  <a:close/>
                  <a:moveTo>
                    <a:pt x="381476" y="436880"/>
                  </a:moveTo>
                  <a:lnTo>
                    <a:pt x="302387" y="436880"/>
                  </a:lnTo>
                  <a:lnTo>
                    <a:pt x="302387" y="167862"/>
                  </a:lnTo>
                  <a:lnTo>
                    <a:pt x="381254" y="167862"/>
                  </a:lnTo>
                  <a:lnTo>
                    <a:pt x="381254" y="436880"/>
                  </a:lnTo>
                  <a:close/>
                  <a:moveTo>
                    <a:pt x="437579" y="436880"/>
                  </a:moveTo>
                  <a:lnTo>
                    <a:pt x="401066" y="436880"/>
                  </a:lnTo>
                  <a:lnTo>
                    <a:pt x="401066" y="147955"/>
                  </a:lnTo>
                  <a:lnTo>
                    <a:pt x="302387" y="147955"/>
                  </a:lnTo>
                  <a:lnTo>
                    <a:pt x="302387" y="61436"/>
                  </a:lnTo>
                  <a:lnTo>
                    <a:pt x="154813" y="61436"/>
                  </a:lnTo>
                  <a:lnTo>
                    <a:pt x="154813" y="148019"/>
                  </a:lnTo>
                  <a:lnTo>
                    <a:pt x="55626" y="148019"/>
                  </a:lnTo>
                  <a:lnTo>
                    <a:pt x="55626" y="436944"/>
                  </a:lnTo>
                  <a:lnTo>
                    <a:pt x="19844" y="436944"/>
                  </a:lnTo>
                  <a:lnTo>
                    <a:pt x="19844" y="19812"/>
                  </a:lnTo>
                  <a:lnTo>
                    <a:pt x="437356" y="19812"/>
                  </a:lnTo>
                  <a:lnTo>
                    <a:pt x="437356" y="43688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5" name="Google Shape;1658;p92">
              <a:extLst>
                <a:ext uri="{FF2B5EF4-FFF2-40B4-BE49-F238E27FC236}">
                  <a16:creationId xmlns:a16="http://schemas.microsoft.com/office/drawing/2014/main" id="{7DF40D55-C69A-1E34-C5EB-1A6FBDABFF9B}"/>
                </a:ext>
              </a:extLst>
            </p:cNvPr>
            <p:cNvSpPr/>
            <p:nvPr/>
          </p:nvSpPr>
          <p:spPr>
            <a:xfrm>
              <a:off x="3721986" y="4002214"/>
              <a:ext cx="60959" cy="53371"/>
            </a:xfrm>
            <a:custGeom>
              <a:avLst/>
              <a:gdLst/>
              <a:ahLst/>
              <a:cxnLst/>
              <a:rect l="l" t="t" r="r" b="b"/>
              <a:pathLst>
                <a:path w="60959" h="53371" extrusionOk="0">
                  <a:moveTo>
                    <a:pt x="19463" y="53372"/>
                  </a:moveTo>
                  <a:lnTo>
                    <a:pt x="40481" y="53372"/>
                  </a:lnTo>
                  <a:lnTo>
                    <a:pt x="40481" y="35719"/>
                  </a:lnTo>
                  <a:lnTo>
                    <a:pt x="60960" y="35719"/>
                  </a:lnTo>
                  <a:lnTo>
                    <a:pt x="60960" y="17208"/>
                  </a:lnTo>
                  <a:lnTo>
                    <a:pt x="40481" y="17208"/>
                  </a:lnTo>
                  <a:lnTo>
                    <a:pt x="40481" y="0"/>
                  </a:lnTo>
                  <a:lnTo>
                    <a:pt x="19463" y="0"/>
                  </a:lnTo>
                  <a:lnTo>
                    <a:pt x="19463" y="17208"/>
                  </a:lnTo>
                  <a:lnTo>
                    <a:pt x="0" y="17208"/>
                  </a:lnTo>
                  <a:lnTo>
                    <a:pt x="0" y="35719"/>
                  </a:lnTo>
                  <a:lnTo>
                    <a:pt x="19463" y="35719"/>
                  </a:lnTo>
                  <a:lnTo>
                    <a:pt x="19463" y="53372"/>
                  </a:lnTo>
                  <a:lnTo>
                    <a:pt x="19463" y="53372"/>
                  </a:lnTo>
                  <a:lnTo>
                    <a:pt x="19463" y="53372"/>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6" name="Google Shape;1659;p92">
              <a:extLst>
                <a:ext uri="{FF2B5EF4-FFF2-40B4-BE49-F238E27FC236}">
                  <a16:creationId xmlns:a16="http://schemas.microsoft.com/office/drawing/2014/main" id="{BC455CBB-497F-D8AF-C4B2-951640A8C8FE}"/>
                </a:ext>
              </a:extLst>
            </p:cNvPr>
            <p:cNvSpPr/>
            <p:nvPr/>
          </p:nvSpPr>
          <p:spPr>
            <a:xfrm>
              <a:off x="3622926" y="4116514"/>
              <a:ext cx="30479" cy="15240"/>
            </a:xfrm>
            <a:custGeom>
              <a:avLst/>
              <a:gdLst/>
              <a:ahLst/>
              <a:cxnLst/>
              <a:rect l="l" t="t" r="r" b="b"/>
              <a:pathLst>
                <a:path w="30479" h="15240" extrusionOk="0">
                  <a:moveTo>
                    <a:pt x="0" y="0"/>
                  </a:moveTo>
                  <a:lnTo>
                    <a:pt x="30480" y="0"/>
                  </a:lnTo>
                  <a:lnTo>
                    <a:pt x="30480" y="15240"/>
                  </a:lnTo>
                  <a:lnTo>
                    <a:pt x="0" y="15240"/>
                  </a:lnTo>
                  <a:lnTo>
                    <a:pt x="0" y="0"/>
                  </a:lnTo>
                  <a:lnTo>
                    <a:pt x="0"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7" name="Google Shape;1660;p92">
              <a:extLst>
                <a:ext uri="{FF2B5EF4-FFF2-40B4-BE49-F238E27FC236}">
                  <a16:creationId xmlns:a16="http://schemas.microsoft.com/office/drawing/2014/main" id="{1019684F-EB37-FD93-4317-58CA68C8508A}"/>
                </a:ext>
              </a:extLst>
            </p:cNvPr>
            <p:cNvSpPr/>
            <p:nvPr/>
          </p:nvSpPr>
          <p:spPr>
            <a:xfrm>
              <a:off x="3622926" y="4146994"/>
              <a:ext cx="30479" cy="22859"/>
            </a:xfrm>
            <a:custGeom>
              <a:avLst/>
              <a:gdLst/>
              <a:ahLst/>
              <a:cxnLst/>
              <a:rect l="l" t="t" r="r" b="b"/>
              <a:pathLst>
                <a:path w="30479" h="22859" extrusionOk="0">
                  <a:moveTo>
                    <a:pt x="0" y="0"/>
                  </a:moveTo>
                  <a:lnTo>
                    <a:pt x="30480" y="0"/>
                  </a:lnTo>
                  <a:lnTo>
                    <a:pt x="30480" y="22860"/>
                  </a:lnTo>
                  <a:lnTo>
                    <a:pt x="0" y="22860"/>
                  </a:lnTo>
                  <a:lnTo>
                    <a:pt x="0" y="0"/>
                  </a:lnTo>
                  <a:lnTo>
                    <a:pt x="0"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8" name="Google Shape;1661;p92">
              <a:extLst>
                <a:ext uri="{FF2B5EF4-FFF2-40B4-BE49-F238E27FC236}">
                  <a16:creationId xmlns:a16="http://schemas.microsoft.com/office/drawing/2014/main" id="{928C371F-1308-C0BB-1B53-0F9277CF9C82}"/>
                </a:ext>
              </a:extLst>
            </p:cNvPr>
            <p:cNvSpPr/>
            <p:nvPr/>
          </p:nvSpPr>
          <p:spPr>
            <a:xfrm>
              <a:off x="3622926" y="4185094"/>
              <a:ext cx="30479" cy="15271"/>
            </a:xfrm>
            <a:custGeom>
              <a:avLst/>
              <a:gdLst/>
              <a:ahLst/>
              <a:cxnLst/>
              <a:rect l="l" t="t" r="r" b="b"/>
              <a:pathLst>
                <a:path w="30479" h="15271" extrusionOk="0">
                  <a:moveTo>
                    <a:pt x="0" y="0"/>
                  </a:moveTo>
                  <a:lnTo>
                    <a:pt x="30480" y="0"/>
                  </a:lnTo>
                  <a:lnTo>
                    <a:pt x="30480" y="15272"/>
                  </a:lnTo>
                  <a:lnTo>
                    <a:pt x="0" y="15272"/>
                  </a:lnTo>
                  <a:lnTo>
                    <a:pt x="0" y="0"/>
                  </a:lnTo>
                  <a:lnTo>
                    <a:pt x="0"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9" name="Google Shape;1662;p92">
              <a:extLst>
                <a:ext uri="{FF2B5EF4-FFF2-40B4-BE49-F238E27FC236}">
                  <a16:creationId xmlns:a16="http://schemas.microsoft.com/office/drawing/2014/main" id="{935478A3-0258-D2D1-C55B-6818E570EEC2}"/>
                </a:ext>
              </a:extLst>
            </p:cNvPr>
            <p:cNvSpPr/>
            <p:nvPr/>
          </p:nvSpPr>
          <p:spPr>
            <a:xfrm>
              <a:off x="3622926" y="4215606"/>
              <a:ext cx="30479" cy="22859"/>
            </a:xfrm>
            <a:custGeom>
              <a:avLst/>
              <a:gdLst/>
              <a:ahLst/>
              <a:cxnLst/>
              <a:rect l="l" t="t" r="r" b="b"/>
              <a:pathLst>
                <a:path w="30479" h="22859" extrusionOk="0">
                  <a:moveTo>
                    <a:pt x="0" y="0"/>
                  </a:moveTo>
                  <a:lnTo>
                    <a:pt x="30480" y="0"/>
                  </a:lnTo>
                  <a:lnTo>
                    <a:pt x="30480" y="22860"/>
                  </a:lnTo>
                  <a:lnTo>
                    <a:pt x="0" y="22860"/>
                  </a:lnTo>
                  <a:lnTo>
                    <a:pt x="0" y="0"/>
                  </a:lnTo>
                  <a:lnTo>
                    <a:pt x="0"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20" name="Google Shape;1663;p92">
              <a:extLst>
                <a:ext uri="{FF2B5EF4-FFF2-40B4-BE49-F238E27FC236}">
                  <a16:creationId xmlns:a16="http://schemas.microsoft.com/office/drawing/2014/main" id="{65F13B8F-5C19-FC21-AF33-0F4E3175271E}"/>
                </a:ext>
              </a:extLst>
            </p:cNvPr>
            <p:cNvSpPr/>
            <p:nvPr/>
          </p:nvSpPr>
          <p:spPr>
            <a:xfrm>
              <a:off x="3622926" y="4253706"/>
              <a:ext cx="30479" cy="22859"/>
            </a:xfrm>
            <a:custGeom>
              <a:avLst/>
              <a:gdLst/>
              <a:ahLst/>
              <a:cxnLst/>
              <a:rect l="l" t="t" r="r" b="b"/>
              <a:pathLst>
                <a:path w="30479" h="22859" extrusionOk="0">
                  <a:moveTo>
                    <a:pt x="0" y="0"/>
                  </a:moveTo>
                  <a:lnTo>
                    <a:pt x="30480" y="0"/>
                  </a:lnTo>
                  <a:lnTo>
                    <a:pt x="30480" y="22860"/>
                  </a:lnTo>
                  <a:lnTo>
                    <a:pt x="0" y="22860"/>
                  </a:lnTo>
                  <a:lnTo>
                    <a:pt x="0" y="0"/>
                  </a:lnTo>
                  <a:lnTo>
                    <a:pt x="0"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21" name="Google Shape;1664;p92">
              <a:extLst>
                <a:ext uri="{FF2B5EF4-FFF2-40B4-BE49-F238E27FC236}">
                  <a16:creationId xmlns:a16="http://schemas.microsoft.com/office/drawing/2014/main" id="{D6863F23-A5B1-AF50-FF88-3A3AAA5D0D41}"/>
                </a:ext>
              </a:extLst>
            </p:cNvPr>
            <p:cNvSpPr/>
            <p:nvPr/>
          </p:nvSpPr>
          <p:spPr>
            <a:xfrm>
              <a:off x="3622926" y="4291806"/>
              <a:ext cx="30479" cy="15208"/>
            </a:xfrm>
            <a:custGeom>
              <a:avLst/>
              <a:gdLst/>
              <a:ahLst/>
              <a:cxnLst/>
              <a:rect l="l" t="t" r="r" b="b"/>
              <a:pathLst>
                <a:path w="30479" h="15208" extrusionOk="0">
                  <a:moveTo>
                    <a:pt x="0" y="0"/>
                  </a:moveTo>
                  <a:lnTo>
                    <a:pt x="30480" y="0"/>
                  </a:lnTo>
                  <a:lnTo>
                    <a:pt x="30480" y="15208"/>
                  </a:lnTo>
                  <a:lnTo>
                    <a:pt x="0" y="15208"/>
                  </a:lnTo>
                  <a:lnTo>
                    <a:pt x="0" y="0"/>
                  </a:lnTo>
                  <a:lnTo>
                    <a:pt x="0"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22" name="Google Shape;1665;p92">
              <a:extLst>
                <a:ext uri="{FF2B5EF4-FFF2-40B4-BE49-F238E27FC236}">
                  <a16:creationId xmlns:a16="http://schemas.microsoft.com/office/drawing/2014/main" id="{4B8688AB-0D7B-A5C1-5CDF-C4BE9B644ED8}"/>
                </a:ext>
              </a:extLst>
            </p:cNvPr>
            <p:cNvSpPr/>
            <p:nvPr/>
          </p:nvSpPr>
          <p:spPr>
            <a:xfrm>
              <a:off x="3851525" y="4116514"/>
              <a:ext cx="22860" cy="15240"/>
            </a:xfrm>
            <a:custGeom>
              <a:avLst/>
              <a:gdLst/>
              <a:ahLst/>
              <a:cxnLst/>
              <a:rect l="l" t="t" r="r" b="b"/>
              <a:pathLst>
                <a:path w="22860" h="15240" extrusionOk="0">
                  <a:moveTo>
                    <a:pt x="0" y="0"/>
                  </a:moveTo>
                  <a:lnTo>
                    <a:pt x="22860" y="0"/>
                  </a:lnTo>
                  <a:lnTo>
                    <a:pt x="22860" y="15240"/>
                  </a:lnTo>
                  <a:lnTo>
                    <a:pt x="0" y="15240"/>
                  </a:lnTo>
                  <a:lnTo>
                    <a:pt x="0" y="0"/>
                  </a:lnTo>
                  <a:lnTo>
                    <a:pt x="0"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23" name="Google Shape;1666;p92">
              <a:extLst>
                <a:ext uri="{FF2B5EF4-FFF2-40B4-BE49-F238E27FC236}">
                  <a16:creationId xmlns:a16="http://schemas.microsoft.com/office/drawing/2014/main" id="{AE8882F9-6CA9-4D3C-A314-801BC21ABFB7}"/>
                </a:ext>
              </a:extLst>
            </p:cNvPr>
            <p:cNvSpPr/>
            <p:nvPr/>
          </p:nvSpPr>
          <p:spPr>
            <a:xfrm>
              <a:off x="3851525" y="4146994"/>
              <a:ext cx="22860" cy="22859"/>
            </a:xfrm>
            <a:custGeom>
              <a:avLst/>
              <a:gdLst/>
              <a:ahLst/>
              <a:cxnLst/>
              <a:rect l="l" t="t" r="r" b="b"/>
              <a:pathLst>
                <a:path w="22860" h="22859" extrusionOk="0">
                  <a:moveTo>
                    <a:pt x="0" y="0"/>
                  </a:moveTo>
                  <a:lnTo>
                    <a:pt x="22860" y="0"/>
                  </a:lnTo>
                  <a:lnTo>
                    <a:pt x="22860" y="22860"/>
                  </a:lnTo>
                  <a:lnTo>
                    <a:pt x="0" y="22860"/>
                  </a:lnTo>
                  <a:lnTo>
                    <a:pt x="0" y="0"/>
                  </a:lnTo>
                  <a:lnTo>
                    <a:pt x="0"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24" name="Google Shape;1667;p92">
              <a:extLst>
                <a:ext uri="{FF2B5EF4-FFF2-40B4-BE49-F238E27FC236}">
                  <a16:creationId xmlns:a16="http://schemas.microsoft.com/office/drawing/2014/main" id="{B80DF1EC-2FDF-CB0D-C12F-569EC95EAED8}"/>
                </a:ext>
              </a:extLst>
            </p:cNvPr>
            <p:cNvSpPr/>
            <p:nvPr/>
          </p:nvSpPr>
          <p:spPr>
            <a:xfrm>
              <a:off x="3851525" y="4185094"/>
              <a:ext cx="22860" cy="15271"/>
            </a:xfrm>
            <a:custGeom>
              <a:avLst/>
              <a:gdLst/>
              <a:ahLst/>
              <a:cxnLst/>
              <a:rect l="l" t="t" r="r" b="b"/>
              <a:pathLst>
                <a:path w="22860" h="15271" extrusionOk="0">
                  <a:moveTo>
                    <a:pt x="0" y="0"/>
                  </a:moveTo>
                  <a:lnTo>
                    <a:pt x="22860" y="0"/>
                  </a:lnTo>
                  <a:lnTo>
                    <a:pt x="22860" y="15272"/>
                  </a:lnTo>
                  <a:lnTo>
                    <a:pt x="0" y="15272"/>
                  </a:lnTo>
                  <a:lnTo>
                    <a:pt x="0" y="0"/>
                  </a:lnTo>
                  <a:lnTo>
                    <a:pt x="0"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25" name="Google Shape;1668;p92">
              <a:extLst>
                <a:ext uri="{FF2B5EF4-FFF2-40B4-BE49-F238E27FC236}">
                  <a16:creationId xmlns:a16="http://schemas.microsoft.com/office/drawing/2014/main" id="{E0CFBFFC-89A5-85EB-8558-1D2BE3078546}"/>
                </a:ext>
              </a:extLst>
            </p:cNvPr>
            <p:cNvSpPr/>
            <p:nvPr/>
          </p:nvSpPr>
          <p:spPr>
            <a:xfrm>
              <a:off x="3851525" y="4215606"/>
              <a:ext cx="22860" cy="22859"/>
            </a:xfrm>
            <a:custGeom>
              <a:avLst/>
              <a:gdLst/>
              <a:ahLst/>
              <a:cxnLst/>
              <a:rect l="l" t="t" r="r" b="b"/>
              <a:pathLst>
                <a:path w="22860" h="22859" extrusionOk="0">
                  <a:moveTo>
                    <a:pt x="0" y="0"/>
                  </a:moveTo>
                  <a:lnTo>
                    <a:pt x="22860" y="0"/>
                  </a:lnTo>
                  <a:lnTo>
                    <a:pt x="22860" y="22860"/>
                  </a:lnTo>
                  <a:lnTo>
                    <a:pt x="0" y="22860"/>
                  </a:lnTo>
                  <a:lnTo>
                    <a:pt x="0" y="0"/>
                  </a:lnTo>
                  <a:lnTo>
                    <a:pt x="0"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26" name="Google Shape;1669;p92">
              <a:extLst>
                <a:ext uri="{FF2B5EF4-FFF2-40B4-BE49-F238E27FC236}">
                  <a16:creationId xmlns:a16="http://schemas.microsoft.com/office/drawing/2014/main" id="{76A0636A-46E9-9CA9-DDBE-B186617BD287}"/>
                </a:ext>
              </a:extLst>
            </p:cNvPr>
            <p:cNvSpPr/>
            <p:nvPr/>
          </p:nvSpPr>
          <p:spPr>
            <a:xfrm>
              <a:off x="3851525" y="4253706"/>
              <a:ext cx="22860" cy="22859"/>
            </a:xfrm>
            <a:custGeom>
              <a:avLst/>
              <a:gdLst/>
              <a:ahLst/>
              <a:cxnLst/>
              <a:rect l="l" t="t" r="r" b="b"/>
              <a:pathLst>
                <a:path w="22860" h="22859" extrusionOk="0">
                  <a:moveTo>
                    <a:pt x="0" y="0"/>
                  </a:moveTo>
                  <a:lnTo>
                    <a:pt x="22860" y="0"/>
                  </a:lnTo>
                  <a:lnTo>
                    <a:pt x="22860" y="22860"/>
                  </a:lnTo>
                  <a:lnTo>
                    <a:pt x="0" y="22860"/>
                  </a:lnTo>
                  <a:lnTo>
                    <a:pt x="0" y="0"/>
                  </a:lnTo>
                  <a:lnTo>
                    <a:pt x="0"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27" name="Google Shape;1670;p92">
              <a:extLst>
                <a:ext uri="{FF2B5EF4-FFF2-40B4-BE49-F238E27FC236}">
                  <a16:creationId xmlns:a16="http://schemas.microsoft.com/office/drawing/2014/main" id="{5EDDC7B7-B0EE-7882-5258-6D30866A66CF}"/>
                </a:ext>
              </a:extLst>
            </p:cNvPr>
            <p:cNvSpPr/>
            <p:nvPr/>
          </p:nvSpPr>
          <p:spPr>
            <a:xfrm>
              <a:off x="3851525" y="4291806"/>
              <a:ext cx="22860" cy="15208"/>
            </a:xfrm>
            <a:custGeom>
              <a:avLst/>
              <a:gdLst/>
              <a:ahLst/>
              <a:cxnLst/>
              <a:rect l="l" t="t" r="r" b="b"/>
              <a:pathLst>
                <a:path w="22860" h="15208" extrusionOk="0">
                  <a:moveTo>
                    <a:pt x="0" y="0"/>
                  </a:moveTo>
                  <a:lnTo>
                    <a:pt x="22860" y="0"/>
                  </a:lnTo>
                  <a:lnTo>
                    <a:pt x="22860" y="15208"/>
                  </a:lnTo>
                  <a:lnTo>
                    <a:pt x="0" y="15208"/>
                  </a:lnTo>
                  <a:lnTo>
                    <a:pt x="0" y="0"/>
                  </a:lnTo>
                  <a:lnTo>
                    <a:pt x="0"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grpSp>
      <p:sp>
        <p:nvSpPr>
          <p:cNvPr id="60" name="Rectangle 59">
            <a:extLst>
              <a:ext uri="{FF2B5EF4-FFF2-40B4-BE49-F238E27FC236}">
                <a16:creationId xmlns:a16="http://schemas.microsoft.com/office/drawing/2014/main" id="{984E97C1-82FC-5159-8A6A-7060A68823FC}"/>
              </a:ext>
            </a:extLst>
          </p:cNvPr>
          <p:cNvSpPr/>
          <p:nvPr/>
        </p:nvSpPr>
        <p:spPr>
          <a:xfrm>
            <a:off x="6275388" y="1819275"/>
            <a:ext cx="5473699" cy="576000"/>
          </a:xfrm>
          <a:prstGeom prst="rect">
            <a:avLst/>
          </a:prstGeom>
          <a:solidFill>
            <a:schemeClr val="bg1">
              <a:alpha val="6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8" name="Rectangle 27">
            <a:extLst>
              <a:ext uri="{FF2B5EF4-FFF2-40B4-BE49-F238E27FC236}">
                <a16:creationId xmlns:a16="http://schemas.microsoft.com/office/drawing/2014/main" id="{09F96A6C-BCF7-C92F-10B0-3D0AC98F2671}"/>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36" name="Group 35">
            <a:extLst>
              <a:ext uri="{FF2B5EF4-FFF2-40B4-BE49-F238E27FC236}">
                <a16:creationId xmlns:a16="http://schemas.microsoft.com/office/drawing/2014/main" id="{67590433-E37C-72D2-158B-0CF5E6DEB0BA}"/>
              </a:ext>
            </a:extLst>
          </p:cNvPr>
          <p:cNvGrpSpPr/>
          <p:nvPr/>
        </p:nvGrpSpPr>
        <p:grpSpPr>
          <a:xfrm>
            <a:off x="9361966" y="126781"/>
            <a:ext cx="2279122" cy="251219"/>
            <a:chOff x="10133935" y="126781"/>
            <a:chExt cx="1615153" cy="217488"/>
          </a:xfrm>
        </p:grpSpPr>
        <p:sp>
          <p:nvSpPr>
            <p:cNvPr id="37" name="Rectangle 36">
              <a:extLst>
                <a:ext uri="{FF2B5EF4-FFF2-40B4-BE49-F238E27FC236}">
                  <a16:creationId xmlns:a16="http://schemas.microsoft.com/office/drawing/2014/main" id="{C5CB0D68-A79F-F49B-E52B-082DD5E4990A}"/>
                </a:ext>
              </a:extLst>
            </p:cNvPr>
            <p:cNvSpPr/>
            <p:nvPr/>
          </p:nvSpPr>
          <p:spPr>
            <a:xfrm>
              <a:off x="10133935"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000000"/>
                  </a:solidFill>
                  <a:ea typeface="Georgia"/>
                  <a:cs typeface="Georgia"/>
                  <a:sym typeface="Georgia"/>
                </a:rPr>
                <a:t>7</a:t>
              </a:r>
              <a:r>
                <a:rPr lang="en-gb" sz="800" b="1" i="0" u="none" strike="noStrike" kern="0" cap="none" spc="0" normalizeH="0">
                  <a:ln>
                    <a:noFill/>
                  </a:ln>
                  <a:solidFill>
                    <a:srgbClr val="000000"/>
                  </a:solidFill>
                  <a:effectLst/>
                  <a:uLnTx/>
                  <a:uFillTx/>
                  <a:ea typeface="Georgia"/>
                  <a:cs typeface="Georgia"/>
                  <a:sym typeface="Georgia"/>
                </a:rPr>
                <a:t>.1</a:t>
              </a:r>
            </a:p>
          </p:txBody>
        </p:sp>
        <p:sp>
          <p:nvSpPr>
            <p:cNvPr id="38" name="Rectangle 37">
              <a:extLst>
                <a:ext uri="{FF2B5EF4-FFF2-40B4-BE49-F238E27FC236}">
                  <a16:creationId xmlns:a16="http://schemas.microsoft.com/office/drawing/2014/main" id="{BE48C01A-CA4E-673E-0F81-BF19ED595A29}"/>
                </a:ext>
              </a:extLst>
            </p:cNvPr>
            <p:cNvSpPr/>
            <p:nvPr/>
          </p:nvSpPr>
          <p:spPr>
            <a:xfrm>
              <a:off x="10374320" y="126781"/>
              <a:ext cx="413227"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000000"/>
                  </a:solidFill>
                  <a:effectLst/>
                  <a:uLnTx/>
                  <a:uFillTx/>
                  <a:ea typeface="Georgia"/>
                  <a:cs typeface="Georgia"/>
                  <a:sym typeface="Georgia"/>
                </a:rPr>
                <a:t>Introduction</a:t>
              </a:r>
            </a:p>
          </p:txBody>
        </p:sp>
        <p:sp>
          <p:nvSpPr>
            <p:cNvPr id="39" name="Rectangle 38">
              <a:extLst>
                <a:ext uri="{FF2B5EF4-FFF2-40B4-BE49-F238E27FC236}">
                  <a16:creationId xmlns:a16="http://schemas.microsoft.com/office/drawing/2014/main" id="{A273860E-EE56-356D-908E-FF7049F283E7}"/>
                </a:ext>
              </a:extLst>
            </p:cNvPr>
            <p:cNvSpPr/>
            <p:nvPr/>
          </p:nvSpPr>
          <p:spPr>
            <a:xfrm>
              <a:off x="10811932"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a:ln>
                    <a:noFill/>
                  </a:ln>
                  <a:solidFill>
                    <a:schemeClr val="accent1"/>
                  </a:solidFill>
                  <a:effectLst/>
                  <a:uLnTx/>
                  <a:uFillTx/>
                  <a:ea typeface="Georgia"/>
                  <a:cs typeface="Georgia"/>
                  <a:sym typeface="Georgia"/>
                </a:rPr>
                <a:t>.2</a:t>
              </a:r>
            </a:p>
          </p:txBody>
        </p:sp>
        <p:sp>
          <p:nvSpPr>
            <p:cNvPr id="40" name="Rectangle 39">
              <a:extLst>
                <a:ext uri="{FF2B5EF4-FFF2-40B4-BE49-F238E27FC236}">
                  <a16:creationId xmlns:a16="http://schemas.microsoft.com/office/drawing/2014/main" id="{6402396B-BBE2-8246-4DD3-555A7B270AC9}"/>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a:ln>
                    <a:noFill/>
                  </a:ln>
                  <a:solidFill>
                    <a:schemeClr val="accent1"/>
                  </a:solidFill>
                  <a:effectLst/>
                  <a:uLnTx/>
                  <a:uFillTx/>
                  <a:ea typeface="Georgia"/>
                  <a:cs typeface="Georgia"/>
                  <a:sym typeface="Georgia"/>
                </a:rPr>
                <a:t>.3</a:t>
              </a:r>
            </a:p>
          </p:txBody>
        </p:sp>
        <p:sp>
          <p:nvSpPr>
            <p:cNvPr id="41" name="Rectangle 40">
              <a:extLst>
                <a:ext uri="{FF2B5EF4-FFF2-40B4-BE49-F238E27FC236}">
                  <a16:creationId xmlns:a16="http://schemas.microsoft.com/office/drawing/2014/main" id="{D98D6C48-6083-CAD6-7821-6ABDC3A340CC}"/>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a:ln>
                    <a:noFill/>
                  </a:ln>
                  <a:solidFill>
                    <a:schemeClr val="accent1"/>
                  </a:solidFill>
                  <a:effectLst/>
                  <a:uLnTx/>
                  <a:uFillTx/>
                  <a:ea typeface="Georgia"/>
                  <a:cs typeface="Georgia"/>
                  <a:sym typeface="Georgia"/>
                </a:rPr>
                <a:t>.4</a:t>
              </a:r>
            </a:p>
          </p:txBody>
        </p:sp>
        <p:sp>
          <p:nvSpPr>
            <p:cNvPr id="42" name="Rectangle 41">
              <a:extLst>
                <a:ext uri="{FF2B5EF4-FFF2-40B4-BE49-F238E27FC236}">
                  <a16:creationId xmlns:a16="http://schemas.microsoft.com/office/drawing/2014/main" id="{22DD356A-3335-7C68-7C11-5576473DCA15}"/>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chemeClr val="accent1"/>
                  </a:solidFill>
                  <a:effectLst/>
                  <a:uLnTx/>
                  <a:uFillTx/>
                  <a:ea typeface="Georgia"/>
                  <a:cs typeface="Georgia"/>
                  <a:sym typeface="Georgia"/>
                </a:rPr>
                <a:t>7.5</a:t>
              </a:r>
            </a:p>
          </p:txBody>
        </p:sp>
      </p:grpSp>
    </p:spTree>
    <p:extLst>
      <p:ext uri="{BB962C8B-B14F-4D97-AF65-F5344CB8AC3E}">
        <p14:creationId xmlns:p14="http://schemas.microsoft.com/office/powerpoint/2010/main" val="23339469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92857C6-2061-3379-B3C3-55A440E4568C}"/>
              </a:ext>
            </a:extLst>
          </p:cNvPr>
          <p:cNvGraphicFramePr>
            <a:graphicFrameLocks noChangeAspect="1"/>
          </p:cNvGraphicFramePr>
          <p:nvPr>
            <p:custDataLst>
              <p:tags r:id="rId1"/>
            </p:custDataLst>
            <p:extLst>
              <p:ext uri="{D42A27DB-BD31-4B8C-83A1-F6EECF244321}">
                <p14:modId xmlns:p14="http://schemas.microsoft.com/office/powerpoint/2010/main" val="886053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think-cell data - do not delete" hidden="1">
                        <a:extLst>
                          <a:ext uri="{FF2B5EF4-FFF2-40B4-BE49-F238E27FC236}">
                            <a16:creationId xmlns:a16="http://schemas.microsoft.com/office/drawing/2014/main" id="{A92857C6-2061-3379-B3C3-55A440E456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F8F64E5E-A437-00D3-A26C-9572A5268065}"/>
              </a:ext>
            </a:extLst>
          </p:cNvPr>
          <p:cNvPicPr>
            <a:picLocks noChangeAspect="1"/>
          </p:cNvPicPr>
          <p:nvPr/>
        </p:nvPicPr>
        <p:blipFill rotWithShape="1">
          <a:blip r:embed="rId6"/>
          <a:srcRect l="17162" r="15066"/>
          <a:stretch/>
        </p:blipFill>
        <p:spPr>
          <a:xfrm>
            <a:off x="5916613" y="0"/>
            <a:ext cx="6275386" cy="6172200"/>
          </a:xfrm>
          <a:prstGeom prst="rect">
            <a:avLst/>
          </a:prstGeom>
        </p:spPr>
      </p:pic>
      <p:sp>
        <p:nvSpPr>
          <p:cNvPr id="26" name="Rectangle 25">
            <a:extLst>
              <a:ext uri="{FF2B5EF4-FFF2-40B4-BE49-F238E27FC236}">
                <a16:creationId xmlns:a16="http://schemas.microsoft.com/office/drawing/2014/main" id="{AB31CD91-794A-01A5-C25E-D48CF95CB5F1}"/>
              </a:ext>
            </a:extLst>
          </p:cNvPr>
          <p:cNvSpPr/>
          <p:nvPr/>
        </p:nvSpPr>
        <p:spPr>
          <a:xfrm>
            <a:off x="5916611" y="0"/>
            <a:ext cx="6275388" cy="61722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5" name="Rectangle 24">
            <a:extLst>
              <a:ext uri="{FF2B5EF4-FFF2-40B4-BE49-F238E27FC236}">
                <a16:creationId xmlns:a16="http://schemas.microsoft.com/office/drawing/2014/main" id="{D0C17218-A0C6-A96B-4B0D-6C054C03A15C}"/>
              </a:ext>
            </a:extLst>
          </p:cNvPr>
          <p:cNvSpPr/>
          <p:nvPr/>
        </p:nvSpPr>
        <p:spPr>
          <a:xfrm>
            <a:off x="442912" y="1819275"/>
            <a:ext cx="7418387" cy="5038725"/>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360000" rIns="360000" rtlCol="0" anchor="ctr"/>
          <a:lstStyle/>
          <a:p>
            <a:pPr marL="0" indent="0" rtl="0">
              <a:spcAft>
                <a:spcPts val="600"/>
              </a:spcAft>
              <a:buNone/>
            </a:pPr>
            <a:r>
              <a:rPr lang="en-gb" sz="2000" dirty="0"/>
              <a:t> </a:t>
            </a:r>
          </a:p>
          <a:p>
            <a:pPr rtl="0">
              <a:spcAft>
                <a:spcPts val="600"/>
              </a:spcAft>
            </a:pPr>
            <a:endParaRPr lang="en-US" sz="2000" dirty="0"/>
          </a:p>
          <a:p>
            <a:pPr rtl="0">
              <a:spcAft>
                <a:spcPts val="600"/>
              </a:spcAft>
            </a:pPr>
            <a:endParaRPr lang="en-US" sz="2000" dirty="0"/>
          </a:p>
          <a:p>
            <a:pPr rtl="0">
              <a:spcAft>
                <a:spcPts val="600"/>
              </a:spcAft>
            </a:pPr>
            <a:endParaRPr lang="en-US" sz="2000" dirty="0"/>
          </a:p>
          <a:p>
            <a:pPr marL="342900" indent="-342900" rtl="0">
              <a:spcAft>
                <a:spcPts val="600"/>
              </a:spcAft>
              <a:buFont typeface="Arial" panose="020B0604020202020204" pitchFamily="34" charset="0"/>
              <a:buChar char="•"/>
            </a:pPr>
            <a:r>
              <a:rPr lang="en-gb" sz="2000" dirty="0"/>
              <a:t>Recognise, assess and determine the need for first aid measures in the event of illness or injury</a:t>
            </a:r>
          </a:p>
          <a:p>
            <a:pPr marL="342900" indent="-342900" rtl="0">
              <a:spcAft>
                <a:spcPts val="600"/>
              </a:spcAft>
              <a:buFont typeface="Arial" panose="020B0604020202020204" pitchFamily="34" charset="0"/>
              <a:buChar char="•"/>
            </a:pPr>
            <a:r>
              <a:rPr lang="en-gb" sz="2000" dirty="0"/>
              <a:t>Provide care using knowledge and skills, within safety requirements and constraints </a:t>
            </a:r>
          </a:p>
          <a:p>
            <a:pPr marL="342900" indent="-342900" rtl="0">
              <a:spcAft>
                <a:spcPts val="600"/>
              </a:spcAft>
              <a:buFont typeface="Arial" panose="020B0604020202020204" pitchFamily="34" charset="0"/>
              <a:buChar char="•"/>
            </a:pPr>
            <a:r>
              <a:rPr lang="lv-LV" sz="2000" dirty="0" err="1"/>
              <a:t>Act</a:t>
            </a:r>
            <a:r>
              <a:rPr lang="en-gb" sz="2000" dirty="0"/>
              <a:t> within the </a:t>
            </a:r>
            <a:r>
              <a:rPr lang="lv-LV" sz="2000" dirty="0" err="1"/>
              <a:t>chain</a:t>
            </a:r>
            <a:r>
              <a:rPr lang="lv-LV" sz="2000" dirty="0"/>
              <a:t> </a:t>
            </a:r>
            <a:r>
              <a:rPr lang="lv-LV" sz="2000" dirty="0" err="1"/>
              <a:t>of</a:t>
            </a:r>
            <a:r>
              <a:rPr lang="lv-LV" sz="2000" dirty="0"/>
              <a:t> </a:t>
            </a:r>
            <a:r>
              <a:rPr lang="lv-LV" sz="2000" dirty="0" err="1"/>
              <a:t>survival</a:t>
            </a:r>
            <a:r>
              <a:rPr lang="en-gb" sz="2000" dirty="0"/>
              <a:t> until the arrival of the Emergency Medical Service</a:t>
            </a:r>
            <a:r>
              <a:rPr lang="lv-LV" sz="2000" dirty="0"/>
              <a:t>s</a:t>
            </a:r>
            <a:endParaRPr lang="en-GB" sz="2000" dirty="0"/>
          </a:p>
        </p:txBody>
      </p:sp>
      <p:sp>
        <p:nvSpPr>
          <p:cNvPr id="3" name="Title 2">
            <a:extLst>
              <a:ext uri="{FF2B5EF4-FFF2-40B4-BE49-F238E27FC236}">
                <a16:creationId xmlns:a16="http://schemas.microsoft.com/office/drawing/2014/main" id="{686732B2-5FB3-221B-0CA8-0EE49D36265B}"/>
              </a:ext>
            </a:extLst>
          </p:cNvPr>
          <p:cNvSpPr>
            <a:spLocks noGrp="1"/>
          </p:cNvSpPr>
          <p:nvPr>
            <p:ph type="title"/>
          </p:nvPr>
        </p:nvSpPr>
        <p:spPr>
          <a:xfrm>
            <a:off x="442913" y="432001"/>
            <a:ext cx="11306175" cy="1387274"/>
          </a:xfrm>
        </p:spPr>
        <p:txBody>
          <a:bodyPr vert="horz" rtlCol="0"/>
          <a:lstStyle/>
          <a:p>
            <a:pPr rtl="0"/>
            <a:r>
              <a:rPr lang="lv-LV" dirty="0" err="1"/>
              <a:t>Overall</a:t>
            </a:r>
            <a:r>
              <a:rPr lang="lv-LV" dirty="0"/>
              <a:t> </a:t>
            </a:r>
            <a:r>
              <a:rPr lang="lv-LV" dirty="0" err="1"/>
              <a:t>description</a:t>
            </a:r>
            <a:r>
              <a:rPr lang="lv-LV" dirty="0"/>
              <a:t> </a:t>
            </a:r>
            <a:br>
              <a:rPr lang="lv-LV" dirty="0"/>
            </a:br>
            <a:r>
              <a:rPr lang="lv-LV" dirty="0" err="1"/>
              <a:t>of</a:t>
            </a:r>
            <a:r>
              <a:rPr lang="lv-LV" dirty="0"/>
              <a:t> first aid</a:t>
            </a:r>
            <a:endParaRPr lang="en-GB" dirty="0"/>
          </a:p>
        </p:txBody>
      </p:sp>
      <p:sp>
        <p:nvSpPr>
          <p:cNvPr id="4" name="Slide Number Placeholder 3">
            <a:extLst>
              <a:ext uri="{FF2B5EF4-FFF2-40B4-BE49-F238E27FC236}">
                <a16:creationId xmlns:a16="http://schemas.microsoft.com/office/drawing/2014/main" id="{B15017A1-9F03-E2F0-38B2-768F2F133C21}"/>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rtl="0"/>
              <a:t>7</a:t>
            </a:fld>
            <a:endParaRPr lang="en-GB"/>
          </a:p>
        </p:txBody>
      </p:sp>
      <p:sp>
        <p:nvSpPr>
          <p:cNvPr id="27" name="Google Shape;1535;p92">
            <a:extLst>
              <a:ext uri="{FF2B5EF4-FFF2-40B4-BE49-F238E27FC236}">
                <a16:creationId xmlns:a16="http://schemas.microsoft.com/office/drawing/2014/main" id="{D0A851C8-020D-2D8A-DE4B-611B133B1FEC}"/>
              </a:ext>
            </a:extLst>
          </p:cNvPr>
          <p:cNvSpPr/>
          <p:nvPr/>
        </p:nvSpPr>
        <p:spPr>
          <a:xfrm>
            <a:off x="767929" y="2165985"/>
            <a:ext cx="938951" cy="941618"/>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276" y="551"/>
                </a:moveTo>
                <a:cubicBezTo>
                  <a:pt x="25" y="551"/>
                  <a:pt x="25" y="551"/>
                  <a:pt x="25" y="551"/>
                </a:cubicBezTo>
                <a:cubicBezTo>
                  <a:pt x="25" y="24"/>
                  <a:pt x="25" y="24"/>
                  <a:pt x="25" y="24"/>
                </a:cubicBezTo>
                <a:cubicBezTo>
                  <a:pt x="552" y="24"/>
                  <a:pt x="552" y="24"/>
                  <a:pt x="552" y="24"/>
                </a:cubicBezTo>
                <a:cubicBezTo>
                  <a:pt x="552" y="551"/>
                  <a:pt x="552" y="551"/>
                  <a:pt x="552" y="551"/>
                </a:cubicBezTo>
                <a:cubicBezTo>
                  <a:pt x="301" y="551"/>
                  <a:pt x="301" y="551"/>
                  <a:pt x="301" y="551"/>
                </a:cubicBezTo>
                <a:lnTo>
                  <a:pt x="276" y="551"/>
                </a:lnTo>
                <a:close/>
                <a:moveTo>
                  <a:pt x="300" y="326"/>
                </a:moveTo>
                <a:cubicBezTo>
                  <a:pt x="300" y="153"/>
                  <a:pt x="300" y="153"/>
                  <a:pt x="300" y="153"/>
                </a:cubicBezTo>
                <a:cubicBezTo>
                  <a:pt x="316" y="148"/>
                  <a:pt x="328" y="133"/>
                  <a:pt x="328" y="116"/>
                </a:cubicBezTo>
                <a:cubicBezTo>
                  <a:pt x="328" y="94"/>
                  <a:pt x="310" y="76"/>
                  <a:pt x="288" y="76"/>
                </a:cubicBezTo>
                <a:cubicBezTo>
                  <a:pt x="266" y="76"/>
                  <a:pt x="248" y="94"/>
                  <a:pt x="248" y="116"/>
                </a:cubicBezTo>
                <a:cubicBezTo>
                  <a:pt x="248" y="133"/>
                  <a:pt x="260" y="148"/>
                  <a:pt x="276" y="153"/>
                </a:cubicBezTo>
                <a:cubicBezTo>
                  <a:pt x="276" y="325"/>
                  <a:pt x="276" y="325"/>
                  <a:pt x="276" y="325"/>
                </a:cubicBezTo>
                <a:cubicBezTo>
                  <a:pt x="241" y="321"/>
                  <a:pt x="217" y="305"/>
                  <a:pt x="217" y="291"/>
                </a:cubicBezTo>
                <a:cubicBezTo>
                  <a:pt x="217" y="279"/>
                  <a:pt x="232" y="268"/>
                  <a:pt x="254" y="261"/>
                </a:cubicBezTo>
                <a:cubicBezTo>
                  <a:pt x="254" y="237"/>
                  <a:pt x="254" y="237"/>
                  <a:pt x="254" y="237"/>
                </a:cubicBezTo>
                <a:cubicBezTo>
                  <a:pt x="217" y="245"/>
                  <a:pt x="193" y="266"/>
                  <a:pt x="193" y="291"/>
                </a:cubicBezTo>
                <a:cubicBezTo>
                  <a:pt x="193" y="324"/>
                  <a:pt x="235" y="349"/>
                  <a:pt x="288" y="349"/>
                </a:cubicBezTo>
                <a:cubicBezTo>
                  <a:pt x="314" y="349"/>
                  <a:pt x="331" y="362"/>
                  <a:pt x="331" y="374"/>
                </a:cubicBezTo>
                <a:cubicBezTo>
                  <a:pt x="331" y="380"/>
                  <a:pt x="327" y="385"/>
                  <a:pt x="323" y="388"/>
                </a:cubicBezTo>
                <a:cubicBezTo>
                  <a:pt x="338" y="407"/>
                  <a:pt x="338" y="407"/>
                  <a:pt x="338" y="407"/>
                </a:cubicBezTo>
                <a:cubicBezTo>
                  <a:pt x="349" y="398"/>
                  <a:pt x="355" y="386"/>
                  <a:pt x="355" y="374"/>
                </a:cubicBezTo>
                <a:cubicBezTo>
                  <a:pt x="355" y="350"/>
                  <a:pt x="332" y="330"/>
                  <a:pt x="300" y="326"/>
                </a:cubicBezTo>
                <a:close/>
                <a:moveTo>
                  <a:pt x="288" y="100"/>
                </a:moveTo>
                <a:cubicBezTo>
                  <a:pt x="297" y="100"/>
                  <a:pt x="304" y="107"/>
                  <a:pt x="304" y="116"/>
                </a:cubicBezTo>
                <a:cubicBezTo>
                  <a:pt x="304" y="124"/>
                  <a:pt x="297" y="131"/>
                  <a:pt x="288" y="131"/>
                </a:cubicBezTo>
                <a:cubicBezTo>
                  <a:pt x="279" y="131"/>
                  <a:pt x="272" y="124"/>
                  <a:pt x="272" y="116"/>
                </a:cubicBezTo>
                <a:cubicBezTo>
                  <a:pt x="272" y="107"/>
                  <a:pt x="279" y="100"/>
                  <a:pt x="288" y="100"/>
                </a:cubicBezTo>
                <a:close/>
                <a:moveTo>
                  <a:pt x="337" y="439"/>
                </a:moveTo>
                <a:cubicBezTo>
                  <a:pt x="337" y="457"/>
                  <a:pt x="321" y="473"/>
                  <a:pt x="300" y="477"/>
                </a:cubicBezTo>
                <a:cubicBezTo>
                  <a:pt x="300" y="522"/>
                  <a:pt x="300" y="522"/>
                  <a:pt x="300" y="522"/>
                </a:cubicBezTo>
                <a:cubicBezTo>
                  <a:pt x="276" y="522"/>
                  <a:pt x="276" y="522"/>
                  <a:pt x="276" y="522"/>
                </a:cubicBezTo>
                <a:cubicBezTo>
                  <a:pt x="276" y="477"/>
                  <a:pt x="276" y="477"/>
                  <a:pt x="276" y="477"/>
                </a:cubicBezTo>
                <a:cubicBezTo>
                  <a:pt x="255" y="473"/>
                  <a:pt x="239" y="457"/>
                  <a:pt x="239" y="439"/>
                </a:cubicBezTo>
                <a:cubicBezTo>
                  <a:pt x="239" y="435"/>
                  <a:pt x="240" y="431"/>
                  <a:pt x="241" y="427"/>
                </a:cubicBezTo>
                <a:cubicBezTo>
                  <a:pt x="264" y="435"/>
                  <a:pt x="264" y="435"/>
                  <a:pt x="264" y="435"/>
                </a:cubicBezTo>
                <a:cubicBezTo>
                  <a:pt x="263" y="436"/>
                  <a:pt x="263" y="437"/>
                  <a:pt x="263" y="439"/>
                </a:cubicBezTo>
                <a:cubicBezTo>
                  <a:pt x="263" y="444"/>
                  <a:pt x="268" y="449"/>
                  <a:pt x="276" y="452"/>
                </a:cubicBezTo>
                <a:cubicBezTo>
                  <a:pt x="276" y="436"/>
                  <a:pt x="276" y="436"/>
                  <a:pt x="276" y="436"/>
                </a:cubicBezTo>
                <a:cubicBezTo>
                  <a:pt x="300" y="436"/>
                  <a:pt x="300" y="436"/>
                  <a:pt x="300" y="436"/>
                </a:cubicBezTo>
                <a:cubicBezTo>
                  <a:pt x="300" y="452"/>
                  <a:pt x="300" y="452"/>
                  <a:pt x="300" y="452"/>
                </a:cubicBezTo>
                <a:cubicBezTo>
                  <a:pt x="308" y="449"/>
                  <a:pt x="313" y="444"/>
                  <a:pt x="313" y="439"/>
                </a:cubicBezTo>
                <a:cubicBezTo>
                  <a:pt x="313" y="431"/>
                  <a:pt x="303" y="423"/>
                  <a:pt x="288" y="423"/>
                </a:cubicBezTo>
                <a:cubicBezTo>
                  <a:pt x="250" y="423"/>
                  <a:pt x="221" y="401"/>
                  <a:pt x="221" y="374"/>
                </a:cubicBezTo>
                <a:cubicBezTo>
                  <a:pt x="221" y="364"/>
                  <a:pt x="225" y="355"/>
                  <a:pt x="232" y="347"/>
                </a:cubicBezTo>
                <a:cubicBezTo>
                  <a:pt x="250" y="363"/>
                  <a:pt x="250" y="363"/>
                  <a:pt x="250" y="363"/>
                </a:cubicBezTo>
                <a:cubicBezTo>
                  <a:pt x="246" y="367"/>
                  <a:pt x="245" y="370"/>
                  <a:pt x="245" y="374"/>
                </a:cubicBezTo>
                <a:cubicBezTo>
                  <a:pt x="245" y="384"/>
                  <a:pt x="257" y="395"/>
                  <a:pt x="276" y="398"/>
                </a:cubicBezTo>
                <a:cubicBezTo>
                  <a:pt x="276" y="364"/>
                  <a:pt x="276" y="364"/>
                  <a:pt x="276" y="364"/>
                </a:cubicBezTo>
                <a:cubicBezTo>
                  <a:pt x="300" y="364"/>
                  <a:pt x="300" y="364"/>
                  <a:pt x="300" y="364"/>
                </a:cubicBezTo>
                <a:cubicBezTo>
                  <a:pt x="300" y="400"/>
                  <a:pt x="300" y="400"/>
                  <a:pt x="300" y="400"/>
                </a:cubicBezTo>
                <a:cubicBezTo>
                  <a:pt x="321" y="404"/>
                  <a:pt x="337" y="420"/>
                  <a:pt x="337" y="439"/>
                </a:cubicBezTo>
                <a:close/>
                <a:moveTo>
                  <a:pt x="383" y="291"/>
                </a:moveTo>
                <a:cubicBezTo>
                  <a:pt x="383" y="308"/>
                  <a:pt x="372" y="324"/>
                  <a:pt x="352" y="335"/>
                </a:cubicBezTo>
                <a:cubicBezTo>
                  <a:pt x="340" y="313"/>
                  <a:pt x="340" y="313"/>
                  <a:pt x="340" y="313"/>
                </a:cubicBezTo>
                <a:cubicBezTo>
                  <a:pt x="352" y="307"/>
                  <a:pt x="359" y="299"/>
                  <a:pt x="359" y="291"/>
                </a:cubicBezTo>
                <a:cubicBezTo>
                  <a:pt x="359" y="279"/>
                  <a:pt x="343" y="267"/>
                  <a:pt x="321" y="261"/>
                </a:cubicBezTo>
                <a:cubicBezTo>
                  <a:pt x="321" y="236"/>
                  <a:pt x="321" y="236"/>
                  <a:pt x="321" y="236"/>
                </a:cubicBezTo>
                <a:cubicBezTo>
                  <a:pt x="359" y="244"/>
                  <a:pt x="383" y="266"/>
                  <a:pt x="383" y="291"/>
                </a:cubicBezTo>
                <a:close/>
                <a:moveTo>
                  <a:pt x="254" y="170"/>
                </a:moveTo>
                <a:cubicBezTo>
                  <a:pt x="254" y="196"/>
                  <a:pt x="254" y="196"/>
                  <a:pt x="254" y="196"/>
                </a:cubicBezTo>
                <a:cubicBezTo>
                  <a:pt x="217" y="183"/>
                  <a:pt x="195" y="152"/>
                  <a:pt x="195" y="116"/>
                </a:cubicBezTo>
                <a:cubicBezTo>
                  <a:pt x="195" y="115"/>
                  <a:pt x="195" y="115"/>
                  <a:pt x="195" y="115"/>
                </a:cubicBezTo>
                <a:cubicBezTo>
                  <a:pt x="173" y="128"/>
                  <a:pt x="138" y="150"/>
                  <a:pt x="103" y="174"/>
                </a:cubicBezTo>
                <a:cubicBezTo>
                  <a:pt x="110" y="175"/>
                  <a:pt x="118" y="177"/>
                  <a:pt x="126" y="178"/>
                </a:cubicBezTo>
                <a:cubicBezTo>
                  <a:pt x="168" y="152"/>
                  <a:pt x="168" y="152"/>
                  <a:pt x="168" y="152"/>
                </a:cubicBezTo>
                <a:cubicBezTo>
                  <a:pt x="181" y="172"/>
                  <a:pt x="181" y="172"/>
                  <a:pt x="181" y="172"/>
                </a:cubicBezTo>
                <a:cubicBezTo>
                  <a:pt x="160" y="185"/>
                  <a:pt x="160" y="185"/>
                  <a:pt x="160" y="185"/>
                </a:cubicBezTo>
                <a:cubicBezTo>
                  <a:pt x="166" y="187"/>
                  <a:pt x="173" y="188"/>
                  <a:pt x="180" y="189"/>
                </a:cubicBezTo>
                <a:cubicBezTo>
                  <a:pt x="204" y="175"/>
                  <a:pt x="204" y="175"/>
                  <a:pt x="204" y="175"/>
                </a:cubicBezTo>
                <a:cubicBezTo>
                  <a:pt x="218" y="194"/>
                  <a:pt x="218" y="194"/>
                  <a:pt x="218" y="194"/>
                </a:cubicBezTo>
                <a:cubicBezTo>
                  <a:pt x="214" y="197"/>
                  <a:pt x="214" y="197"/>
                  <a:pt x="214" y="197"/>
                </a:cubicBezTo>
                <a:cubicBezTo>
                  <a:pt x="227" y="200"/>
                  <a:pt x="240" y="203"/>
                  <a:pt x="254" y="206"/>
                </a:cubicBezTo>
                <a:cubicBezTo>
                  <a:pt x="254" y="230"/>
                  <a:pt x="254" y="230"/>
                  <a:pt x="254" y="230"/>
                </a:cubicBezTo>
                <a:cubicBezTo>
                  <a:pt x="175" y="212"/>
                  <a:pt x="106" y="199"/>
                  <a:pt x="80" y="194"/>
                </a:cubicBezTo>
                <a:cubicBezTo>
                  <a:pt x="79" y="194"/>
                  <a:pt x="78" y="193"/>
                  <a:pt x="77" y="193"/>
                </a:cubicBezTo>
                <a:cubicBezTo>
                  <a:pt x="41" y="187"/>
                  <a:pt x="41" y="187"/>
                  <a:pt x="41" y="187"/>
                </a:cubicBezTo>
                <a:cubicBezTo>
                  <a:pt x="89" y="155"/>
                  <a:pt x="89" y="155"/>
                  <a:pt x="89" y="155"/>
                </a:cubicBezTo>
                <a:cubicBezTo>
                  <a:pt x="125" y="130"/>
                  <a:pt x="161" y="107"/>
                  <a:pt x="183" y="94"/>
                </a:cubicBezTo>
                <a:cubicBezTo>
                  <a:pt x="183" y="94"/>
                  <a:pt x="183" y="94"/>
                  <a:pt x="183" y="94"/>
                </a:cubicBezTo>
                <a:cubicBezTo>
                  <a:pt x="225" y="68"/>
                  <a:pt x="225" y="68"/>
                  <a:pt x="225" y="68"/>
                </a:cubicBezTo>
                <a:cubicBezTo>
                  <a:pt x="220" y="103"/>
                  <a:pt x="220" y="103"/>
                  <a:pt x="220" y="103"/>
                </a:cubicBezTo>
                <a:cubicBezTo>
                  <a:pt x="219" y="107"/>
                  <a:pt x="219" y="111"/>
                  <a:pt x="219" y="116"/>
                </a:cubicBezTo>
                <a:cubicBezTo>
                  <a:pt x="219" y="140"/>
                  <a:pt x="232" y="159"/>
                  <a:pt x="254" y="170"/>
                </a:cubicBezTo>
                <a:close/>
                <a:moveTo>
                  <a:pt x="535" y="187"/>
                </a:moveTo>
                <a:cubicBezTo>
                  <a:pt x="499" y="193"/>
                  <a:pt x="499" y="193"/>
                  <a:pt x="499" y="193"/>
                </a:cubicBezTo>
                <a:cubicBezTo>
                  <a:pt x="498" y="193"/>
                  <a:pt x="497" y="194"/>
                  <a:pt x="496" y="194"/>
                </a:cubicBezTo>
                <a:cubicBezTo>
                  <a:pt x="470" y="199"/>
                  <a:pt x="400" y="212"/>
                  <a:pt x="321" y="231"/>
                </a:cubicBezTo>
                <a:cubicBezTo>
                  <a:pt x="321" y="206"/>
                  <a:pt x="321" y="206"/>
                  <a:pt x="321" y="206"/>
                </a:cubicBezTo>
                <a:cubicBezTo>
                  <a:pt x="335" y="203"/>
                  <a:pt x="349" y="200"/>
                  <a:pt x="362" y="197"/>
                </a:cubicBezTo>
                <a:cubicBezTo>
                  <a:pt x="358" y="194"/>
                  <a:pt x="358" y="194"/>
                  <a:pt x="358" y="194"/>
                </a:cubicBezTo>
                <a:cubicBezTo>
                  <a:pt x="372" y="175"/>
                  <a:pt x="372" y="175"/>
                  <a:pt x="372" y="175"/>
                </a:cubicBezTo>
                <a:cubicBezTo>
                  <a:pt x="396" y="189"/>
                  <a:pt x="396" y="189"/>
                  <a:pt x="396" y="189"/>
                </a:cubicBezTo>
                <a:cubicBezTo>
                  <a:pt x="403" y="188"/>
                  <a:pt x="410" y="187"/>
                  <a:pt x="416" y="185"/>
                </a:cubicBezTo>
                <a:cubicBezTo>
                  <a:pt x="395" y="172"/>
                  <a:pt x="395" y="172"/>
                  <a:pt x="395" y="172"/>
                </a:cubicBezTo>
                <a:cubicBezTo>
                  <a:pt x="408" y="152"/>
                  <a:pt x="408" y="152"/>
                  <a:pt x="408" y="152"/>
                </a:cubicBezTo>
                <a:cubicBezTo>
                  <a:pt x="450" y="178"/>
                  <a:pt x="450" y="178"/>
                  <a:pt x="450" y="178"/>
                </a:cubicBezTo>
                <a:cubicBezTo>
                  <a:pt x="458" y="177"/>
                  <a:pt x="466" y="175"/>
                  <a:pt x="473" y="174"/>
                </a:cubicBezTo>
                <a:cubicBezTo>
                  <a:pt x="438" y="150"/>
                  <a:pt x="403" y="128"/>
                  <a:pt x="381" y="115"/>
                </a:cubicBezTo>
                <a:cubicBezTo>
                  <a:pt x="381" y="115"/>
                  <a:pt x="381" y="115"/>
                  <a:pt x="381" y="116"/>
                </a:cubicBezTo>
                <a:cubicBezTo>
                  <a:pt x="381" y="153"/>
                  <a:pt x="358" y="184"/>
                  <a:pt x="321" y="197"/>
                </a:cubicBezTo>
                <a:cubicBezTo>
                  <a:pt x="321" y="171"/>
                  <a:pt x="321" y="171"/>
                  <a:pt x="321" y="171"/>
                </a:cubicBezTo>
                <a:cubicBezTo>
                  <a:pt x="344" y="160"/>
                  <a:pt x="357" y="140"/>
                  <a:pt x="357" y="116"/>
                </a:cubicBezTo>
                <a:cubicBezTo>
                  <a:pt x="357" y="111"/>
                  <a:pt x="357" y="107"/>
                  <a:pt x="356" y="103"/>
                </a:cubicBezTo>
                <a:cubicBezTo>
                  <a:pt x="356" y="103"/>
                  <a:pt x="356" y="103"/>
                  <a:pt x="356" y="103"/>
                </a:cubicBezTo>
                <a:cubicBezTo>
                  <a:pt x="351" y="68"/>
                  <a:pt x="351" y="68"/>
                  <a:pt x="351" y="68"/>
                </a:cubicBezTo>
                <a:cubicBezTo>
                  <a:pt x="380" y="86"/>
                  <a:pt x="380" y="86"/>
                  <a:pt x="380" y="86"/>
                </a:cubicBezTo>
                <a:cubicBezTo>
                  <a:pt x="380" y="86"/>
                  <a:pt x="380" y="86"/>
                  <a:pt x="380" y="86"/>
                </a:cubicBezTo>
                <a:cubicBezTo>
                  <a:pt x="400" y="97"/>
                  <a:pt x="449" y="128"/>
                  <a:pt x="496" y="161"/>
                </a:cubicBezTo>
                <a:lnTo>
                  <a:pt x="535" y="187"/>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8" name="Rectangle 27">
            <a:extLst>
              <a:ext uri="{FF2B5EF4-FFF2-40B4-BE49-F238E27FC236}">
                <a16:creationId xmlns:a16="http://schemas.microsoft.com/office/drawing/2014/main" id="{33250D77-7690-93BB-B8A0-4CEE43B678D8}"/>
              </a:ext>
            </a:extLst>
          </p:cNvPr>
          <p:cNvSpPr/>
          <p:nvPr/>
        </p:nvSpPr>
        <p:spPr>
          <a:xfrm>
            <a:off x="768667" y="3546229"/>
            <a:ext cx="938213" cy="72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6" name="Rectangle 5">
            <a:extLst>
              <a:ext uri="{FF2B5EF4-FFF2-40B4-BE49-F238E27FC236}">
                <a16:creationId xmlns:a16="http://schemas.microsoft.com/office/drawing/2014/main" id="{05A1F6AF-20A3-6819-9353-99581EAEE5C4}"/>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2" name="Group 1">
            <a:extLst>
              <a:ext uri="{FF2B5EF4-FFF2-40B4-BE49-F238E27FC236}">
                <a16:creationId xmlns:a16="http://schemas.microsoft.com/office/drawing/2014/main" id="{766FA933-7604-1085-97EC-18A3DEB599C8}"/>
              </a:ext>
            </a:extLst>
          </p:cNvPr>
          <p:cNvGrpSpPr/>
          <p:nvPr/>
        </p:nvGrpSpPr>
        <p:grpSpPr>
          <a:xfrm>
            <a:off x="9361966" y="126781"/>
            <a:ext cx="2279122" cy="251219"/>
            <a:chOff x="10133935" y="126781"/>
            <a:chExt cx="1615153" cy="217488"/>
          </a:xfrm>
        </p:grpSpPr>
        <p:sp>
          <p:nvSpPr>
            <p:cNvPr id="5" name="Rectangle 4">
              <a:extLst>
                <a:ext uri="{FF2B5EF4-FFF2-40B4-BE49-F238E27FC236}">
                  <a16:creationId xmlns:a16="http://schemas.microsoft.com/office/drawing/2014/main" id="{8166BC79-A494-5CE0-26DA-BAA05B3B7321}"/>
                </a:ext>
              </a:extLst>
            </p:cNvPr>
            <p:cNvSpPr/>
            <p:nvPr/>
          </p:nvSpPr>
          <p:spPr>
            <a:xfrm>
              <a:off x="10133935" y="126781"/>
              <a:ext cx="216000" cy="217488"/>
            </a:xfrm>
            <a:prstGeom prst="rect">
              <a:avLst/>
            </a:prstGeom>
            <a:solidFill>
              <a:schemeClr val="accent6"/>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000000"/>
                  </a:solidFill>
                  <a:ea typeface="Georgia"/>
                  <a:cs typeface="Georgia"/>
                  <a:sym typeface="Georgia"/>
                </a:rPr>
                <a:t>7</a:t>
              </a:r>
              <a:r>
                <a:rPr lang="en-gb" sz="800" b="1" i="0" u="none" strike="noStrike" kern="0" cap="none" spc="0" normalizeH="0">
                  <a:ln>
                    <a:noFill/>
                  </a:ln>
                  <a:solidFill>
                    <a:srgbClr val="000000"/>
                  </a:solidFill>
                  <a:effectLst/>
                  <a:uLnTx/>
                  <a:uFillTx/>
                  <a:ea typeface="Georgia"/>
                  <a:cs typeface="Georgia"/>
                  <a:sym typeface="Georgia"/>
                </a:rPr>
                <a:t>.1</a:t>
              </a:r>
            </a:p>
          </p:txBody>
        </p:sp>
        <p:sp>
          <p:nvSpPr>
            <p:cNvPr id="7" name="Rectangle 6">
              <a:extLst>
                <a:ext uri="{FF2B5EF4-FFF2-40B4-BE49-F238E27FC236}">
                  <a16:creationId xmlns:a16="http://schemas.microsoft.com/office/drawing/2014/main" id="{1EBC6EDB-8699-7050-1557-966A905AB216}"/>
                </a:ext>
              </a:extLst>
            </p:cNvPr>
            <p:cNvSpPr/>
            <p:nvPr/>
          </p:nvSpPr>
          <p:spPr>
            <a:xfrm>
              <a:off x="10374320" y="126781"/>
              <a:ext cx="413227" cy="217488"/>
            </a:xfrm>
            <a:prstGeom prst="rect">
              <a:avLst/>
            </a:prstGeom>
            <a:solidFill>
              <a:schemeClr val="accent6"/>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000000"/>
                  </a:solidFill>
                  <a:effectLst/>
                  <a:uLnTx/>
                  <a:uFillTx/>
                  <a:ea typeface="Georgia"/>
                  <a:cs typeface="Georgia"/>
                  <a:sym typeface="Georgia"/>
                </a:rPr>
                <a:t>Introduction</a:t>
              </a:r>
            </a:p>
          </p:txBody>
        </p:sp>
        <p:sp>
          <p:nvSpPr>
            <p:cNvPr id="9" name="Rectangle 8">
              <a:extLst>
                <a:ext uri="{FF2B5EF4-FFF2-40B4-BE49-F238E27FC236}">
                  <a16:creationId xmlns:a16="http://schemas.microsoft.com/office/drawing/2014/main" id="{63A2E4AA-DA6C-91F7-E330-521029A484BF}"/>
                </a:ext>
              </a:extLst>
            </p:cNvPr>
            <p:cNvSpPr/>
            <p:nvPr/>
          </p:nvSpPr>
          <p:spPr>
            <a:xfrm>
              <a:off x="10811932"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a:ln>
                    <a:noFill/>
                  </a:ln>
                  <a:solidFill>
                    <a:schemeClr val="accent1"/>
                  </a:solidFill>
                  <a:effectLst/>
                  <a:uLnTx/>
                  <a:uFillTx/>
                  <a:ea typeface="Georgia"/>
                  <a:cs typeface="Georgia"/>
                  <a:sym typeface="Georgia"/>
                </a:rPr>
                <a:t>.2</a:t>
              </a:r>
            </a:p>
          </p:txBody>
        </p:sp>
        <p:sp>
          <p:nvSpPr>
            <p:cNvPr id="10" name="Rectangle 9">
              <a:extLst>
                <a:ext uri="{FF2B5EF4-FFF2-40B4-BE49-F238E27FC236}">
                  <a16:creationId xmlns:a16="http://schemas.microsoft.com/office/drawing/2014/main" id="{1BA6747E-E04A-84E4-9A45-3DDFB924AE43}"/>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a:ln>
                    <a:noFill/>
                  </a:ln>
                  <a:solidFill>
                    <a:schemeClr val="accent1"/>
                  </a:solidFill>
                  <a:effectLst/>
                  <a:uLnTx/>
                  <a:uFillTx/>
                  <a:ea typeface="Georgia"/>
                  <a:cs typeface="Georgia"/>
                  <a:sym typeface="Georgia"/>
                </a:rPr>
                <a:t>.3</a:t>
              </a:r>
            </a:p>
          </p:txBody>
        </p:sp>
        <p:sp>
          <p:nvSpPr>
            <p:cNvPr id="11" name="Rectangle 10">
              <a:extLst>
                <a:ext uri="{FF2B5EF4-FFF2-40B4-BE49-F238E27FC236}">
                  <a16:creationId xmlns:a16="http://schemas.microsoft.com/office/drawing/2014/main" id="{5ACE168D-D8E9-17F8-B0D6-064BDE76FA82}"/>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chemeClr val="accent1"/>
                  </a:solidFill>
                  <a:ea typeface="Georgia"/>
                  <a:cs typeface="Georgia"/>
                  <a:sym typeface="Georgia"/>
                </a:rPr>
                <a:t>7</a:t>
              </a:r>
              <a:r>
                <a:rPr lang="en-gb" sz="800" b="1" i="0" u="none" strike="noStrike" kern="0" cap="none" spc="0" normalizeH="0">
                  <a:ln>
                    <a:noFill/>
                  </a:ln>
                  <a:solidFill>
                    <a:schemeClr val="accent1"/>
                  </a:solidFill>
                  <a:effectLst/>
                  <a:uLnTx/>
                  <a:uFillTx/>
                  <a:ea typeface="Georgia"/>
                  <a:cs typeface="Georgia"/>
                  <a:sym typeface="Georgia"/>
                </a:rPr>
                <a:t>.4</a:t>
              </a:r>
            </a:p>
          </p:txBody>
        </p:sp>
        <p:sp>
          <p:nvSpPr>
            <p:cNvPr id="12" name="Rectangle 11">
              <a:extLst>
                <a:ext uri="{FF2B5EF4-FFF2-40B4-BE49-F238E27FC236}">
                  <a16:creationId xmlns:a16="http://schemas.microsoft.com/office/drawing/2014/main" id="{074B02F2-9347-DEF9-F089-D6699F9FE72D}"/>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chemeClr val="accent1"/>
                  </a:solidFill>
                  <a:effectLst/>
                  <a:uLnTx/>
                  <a:uFillTx/>
                  <a:ea typeface="Georgia"/>
                  <a:cs typeface="Georgia"/>
                  <a:sym typeface="Georgia"/>
                </a:rPr>
                <a:t>7.5</a:t>
              </a:r>
            </a:p>
          </p:txBody>
        </p:sp>
      </p:grpSp>
    </p:spTree>
    <p:extLst>
      <p:ext uri="{BB962C8B-B14F-4D97-AF65-F5344CB8AC3E}">
        <p14:creationId xmlns:p14="http://schemas.microsoft.com/office/powerpoint/2010/main" val="11643468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B5F8EBF-52CC-2EDB-41E8-3667D4E9C17E}"/>
              </a:ext>
            </a:extLst>
          </p:cNvPr>
          <p:cNvGraphicFramePr>
            <a:graphicFrameLocks noChangeAspect="1"/>
          </p:cNvGraphicFramePr>
          <p:nvPr>
            <p:custDataLst>
              <p:tags r:id="rId1"/>
            </p:custDataLst>
            <p:extLst>
              <p:ext uri="{D42A27DB-BD31-4B8C-83A1-F6EECF244321}">
                <p14:modId xmlns:p14="http://schemas.microsoft.com/office/powerpoint/2010/main" val="930099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6" name="think-cell data - do not delete" hidden="1">
                        <a:extLst>
                          <a:ext uri="{FF2B5EF4-FFF2-40B4-BE49-F238E27FC236}">
                            <a16:creationId xmlns:a16="http://schemas.microsoft.com/office/drawing/2014/main" id="{8B5F8EBF-52CC-2EDB-41E8-3667D4E9C1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Placeholder 8">
            <a:extLst>
              <a:ext uri="{FF2B5EF4-FFF2-40B4-BE49-F238E27FC236}">
                <a16:creationId xmlns:a16="http://schemas.microsoft.com/office/drawing/2014/main" id="{A46ED85B-107A-74E8-BADB-2F92835F9215}"/>
              </a:ext>
            </a:extLst>
          </p:cNvPr>
          <p:cNvPicPr>
            <a:picLocks noGrp="1" noChangeAspect="1"/>
          </p:cNvPicPr>
          <p:nvPr>
            <p:ph type="pic" sz="quarter" idx="10"/>
          </p:nvPr>
        </p:nvPicPr>
        <p:blipFill>
          <a:blip r:embed="rId6"/>
          <a:srcRect l="11775" r="11775"/>
          <a:stretch>
            <a:fillRect/>
          </a:stretch>
        </p:blipFill>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sp>
        <p:nvSpPr>
          <p:cNvPr id="2" name="Title 1"/>
          <p:cNvSpPr>
            <a:spLocks noGrp="1"/>
          </p:cNvSpPr>
          <p:nvPr>
            <p:ph type="ctrTitle"/>
          </p:nvPr>
        </p:nvSpPr>
        <p:spPr>
          <a:xfrm>
            <a:off x="442913" y="1064850"/>
            <a:ext cx="7418387" cy="2428875"/>
          </a:xfrm>
        </p:spPr>
        <p:txBody>
          <a:bodyPr vert="horz" rtlCol="0">
            <a:normAutofit/>
          </a:bodyPr>
          <a:lstStyle/>
          <a:p>
            <a:pPr rtl="0"/>
            <a:r>
              <a:rPr lang="en-gb" dirty="0"/>
              <a:t>7.2. </a:t>
            </a:r>
            <a:r>
              <a:rPr lang="lv-LV" dirty="0"/>
              <a:t>Steps</a:t>
            </a:r>
            <a:r>
              <a:rPr lang="en-gb" dirty="0"/>
              <a:t> </a:t>
            </a:r>
            <a:br>
              <a:rPr lang="en-US" dirty="0"/>
            </a:br>
            <a:r>
              <a:rPr lang="en-gb" dirty="0"/>
              <a:t>at the scene of the accident</a:t>
            </a:r>
            <a:endParaRPr lang="en-GB" dirty="0"/>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Tree>
    <p:extLst>
      <p:ext uri="{BB962C8B-B14F-4D97-AF65-F5344CB8AC3E}">
        <p14:creationId xmlns:p14="http://schemas.microsoft.com/office/powerpoint/2010/main" val="42665413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055D6C6-0BE1-4332-EFB4-363940C0A63C}"/>
              </a:ext>
            </a:extLst>
          </p:cNvPr>
          <p:cNvGraphicFramePr>
            <a:graphicFrameLocks noChangeAspect="1"/>
          </p:cNvGraphicFramePr>
          <p:nvPr>
            <p:custDataLst>
              <p:tags r:id="rId1"/>
            </p:custDataLst>
            <p:extLst>
              <p:ext uri="{D42A27DB-BD31-4B8C-83A1-F6EECF244321}">
                <p14:modId xmlns:p14="http://schemas.microsoft.com/office/powerpoint/2010/main" val="2481002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7" name="think-cell data - do not delete" hidden="1">
                        <a:extLst>
                          <a:ext uri="{FF2B5EF4-FFF2-40B4-BE49-F238E27FC236}">
                            <a16:creationId xmlns:a16="http://schemas.microsoft.com/office/drawing/2014/main" id="{4055D6C6-0BE1-4332-EFB4-363940C0A6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2A7C9EB-E60F-E4DD-7BE8-A36BF399BA1F}"/>
              </a:ext>
            </a:extLst>
          </p:cNvPr>
          <p:cNvSpPr>
            <a:spLocks noGrp="1"/>
          </p:cNvSpPr>
          <p:nvPr>
            <p:ph type="title"/>
          </p:nvPr>
        </p:nvSpPr>
        <p:spPr/>
        <p:txBody>
          <a:bodyPr vert="horz" rtlCol="0"/>
          <a:lstStyle/>
          <a:p>
            <a:pPr rtl="0"/>
            <a:r>
              <a:rPr lang="en-gb" dirty="0"/>
              <a:t>What is the sequence of the </a:t>
            </a:r>
            <a:r>
              <a:rPr lang="lv-LV" dirty="0" err="1"/>
              <a:t>chain</a:t>
            </a:r>
            <a:r>
              <a:rPr lang="lv-LV" dirty="0"/>
              <a:t> </a:t>
            </a:r>
            <a:r>
              <a:rPr lang="lv-LV" dirty="0" err="1"/>
              <a:t>of</a:t>
            </a:r>
            <a:r>
              <a:rPr lang="lv-LV" dirty="0"/>
              <a:t> </a:t>
            </a:r>
            <a:r>
              <a:rPr lang="lv-LV" dirty="0" err="1"/>
              <a:t>survival</a:t>
            </a:r>
            <a:r>
              <a:rPr lang="en-gb" dirty="0"/>
              <a:t>? </a:t>
            </a:r>
            <a:br>
              <a:rPr lang="lv-LV" dirty="0"/>
            </a:br>
            <a:r>
              <a:rPr lang="en-gb" dirty="0"/>
              <a:t>Which steps are you tasked with? </a:t>
            </a:r>
            <a:endParaRPr lang="en-GB" dirty="0"/>
          </a:p>
        </p:txBody>
      </p:sp>
      <p:sp>
        <p:nvSpPr>
          <p:cNvPr id="4" name="Slide Number Placeholder 3">
            <a:extLst>
              <a:ext uri="{FF2B5EF4-FFF2-40B4-BE49-F238E27FC236}">
                <a16:creationId xmlns:a16="http://schemas.microsoft.com/office/drawing/2014/main" id="{D7358D30-8A69-1769-6574-925287413D76}"/>
              </a:ext>
            </a:extLst>
          </p:cNvPr>
          <p:cNvSpPr>
            <a:spLocks noGrp="1"/>
          </p:cNvSpPr>
          <p:nvPr>
            <p:ph type="sldNum" sz="quarter" idx="11"/>
          </p:nvPr>
        </p:nvSpPr>
        <p:spPr/>
        <p:txBody>
          <a:bodyPr rtlCol="0"/>
          <a:lstStyle/>
          <a:p>
            <a:pPr rtl="0"/>
            <a:fld id="{7870704B-CE94-48CC-AF30-84932A1262A7}" type="slidenum">
              <a:rPr lang="en-GB" smtClean="0"/>
              <a:pPr rtl="0"/>
              <a:t>9</a:t>
            </a:fld>
            <a:endParaRPr lang="en-GB"/>
          </a:p>
        </p:txBody>
      </p:sp>
      <p:sp>
        <p:nvSpPr>
          <p:cNvPr id="9" name="TextBox 8">
            <a:extLst>
              <a:ext uri="{FF2B5EF4-FFF2-40B4-BE49-F238E27FC236}">
                <a16:creationId xmlns:a16="http://schemas.microsoft.com/office/drawing/2014/main" id="{4410BDA3-C70D-09A4-DA6C-34323C7C12E7}"/>
              </a:ext>
            </a:extLst>
          </p:cNvPr>
          <p:cNvSpPr txBox="1"/>
          <p:nvPr/>
        </p:nvSpPr>
        <p:spPr>
          <a:xfrm>
            <a:off x="5141037" y="2575710"/>
            <a:ext cx="1914525" cy="576263"/>
          </a:xfrm>
          <a:prstGeom prst="rect">
            <a:avLst/>
          </a:prstGeom>
          <a:solidFill>
            <a:schemeClr val="accent1"/>
          </a:solidFill>
        </p:spPr>
        <p:txBody>
          <a:bodyPr wrap="square" lIns="72000" tIns="0" rIns="72000" bIns="0" rtlCol="0" anchor="ctr">
            <a:noAutofit/>
          </a:bodyPr>
          <a:lstStyle/>
          <a:p>
            <a:pPr algn="ctr" rtl="0">
              <a:lnSpc>
                <a:spcPct val="100000"/>
              </a:lnSpc>
              <a:spcAft>
                <a:spcPts val="600"/>
              </a:spcAft>
              <a:buSzPct val="100000"/>
            </a:pPr>
            <a:r>
              <a:rPr lang="en-gb" sz="1400" b="1">
                <a:solidFill>
                  <a:schemeClr val="bg1"/>
                </a:solidFill>
                <a:effectLst/>
                <a:ea typeface="Calibri" panose="020F0502020204030204" pitchFamily="34" charset="0"/>
                <a:cs typeface="Times New Roman" panose="02020603050405020304" pitchFamily="18" charset="0"/>
              </a:rPr>
              <a:t>Immediate measures</a:t>
            </a:r>
            <a:endParaRPr lang="en-GB" sz="1400" b="1">
              <a:solidFill>
                <a:schemeClr val="bg1"/>
              </a:solidFill>
            </a:endParaRPr>
          </a:p>
        </p:txBody>
      </p:sp>
      <p:sp>
        <p:nvSpPr>
          <p:cNvPr id="10" name="TextBox 9">
            <a:extLst>
              <a:ext uri="{FF2B5EF4-FFF2-40B4-BE49-F238E27FC236}">
                <a16:creationId xmlns:a16="http://schemas.microsoft.com/office/drawing/2014/main" id="{62B42245-DA42-CBD7-0584-79D1BE955F34}"/>
              </a:ext>
            </a:extLst>
          </p:cNvPr>
          <p:cNvSpPr txBox="1"/>
          <p:nvPr/>
        </p:nvSpPr>
        <p:spPr>
          <a:xfrm>
            <a:off x="442913" y="2575710"/>
            <a:ext cx="1914525" cy="576263"/>
          </a:xfrm>
          <a:prstGeom prst="rect">
            <a:avLst/>
          </a:prstGeom>
          <a:solidFill>
            <a:schemeClr val="accent1"/>
          </a:solidFill>
        </p:spPr>
        <p:txBody>
          <a:bodyPr wrap="square" lIns="72000" tIns="0" rIns="72000" bIns="0" rtlCol="0" anchor="ctr">
            <a:noAutofit/>
          </a:bodyPr>
          <a:lstStyle/>
          <a:p>
            <a:pPr algn="ctr" rtl="0">
              <a:lnSpc>
                <a:spcPct val="100000"/>
              </a:lnSpc>
              <a:spcAft>
                <a:spcPts val="600"/>
              </a:spcAft>
              <a:buSzPct val="100000"/>
            </a:pPr>
            <a:r>
              <a:rPr lang="en-gb" sz="1400" b="1">
                <a:solidFill>
                  <a:schemeClr val="bg1"/>
                </a:solidFill>
                <a:effectLst/>
                <a:ea typeface="Calibri" panose="020F0502020204030204" pitchFamily="34" charset="0"/>
                <a:cs typeface="Times New Roman" panose="02020603050405020304" pitchFamily="18" charset="0"/>
              </a:rPr>
              <a:t>Calling for help</a:t>
            </a:r>
            <a:endParaRPr lang="en-GB" sz="1400" b="1">
              <a:solidFill>
                <a:schemeClr val="bg1"/>
              </a:solidFill>
            </a:endParaRPr>
          </a:p>
        </p:txBody>
      </p:sp>
      <p:sp>
        <p:nvSpPr>
          <p:cNvPr id="11" name="TextBox 10">
            <a:extLst>
              <a:ext uri="{FF2B5EF4-FFF2-40B4-BE49-F238E27FC236}">
                <a16:creationId xmlns:a16="http://schemas.microsoft.com/office/drawing/2014/main" id="{966F4E94-42AF-8C4C-9F85-A34218079A7B}"/>
              </a:ext>
            </a:extLst>
          </p:cNvPr>
          <p:cNvSpPr txBox="1"/>
          <p:nvPr/>
        </p:nvSpPr>
        <p:spPr>
          <a:xfrm>
            <a:off x="9839161" y="2575710"/>
            <a:ext cx="1914525" cy="576263"/>
          </a:xfrm>
          <a:prstGeom prst="rect">
            <a:avLst/>
          </a:prstGeom>
          <a:solidFill>
            <a:schemeClr val="accent1"/>
          </a:solidFill>
        </p:spPr>
        <p:txBody>
          <a:bodyPr wrap="square" lIns="72000" tIns="0" rIns="72000" bIns="0" rtlCol="0" anchor="ctr">
            <a:noAutofit/>
          </a:bodyPr>
          <a:lstStyle/>
          <a:p>
            <a:pPr algn="ctr" rtl="0">
              <a:lnSpc>
                <a:spcPct val="100000"/>
              </a:lnSpc>
              <a:spcAft>
                <a:spcPts val="600"/>
              </a:spcAft>
              <a:buSzPct val="100000"/>
            </a:pPr>
            <a:r>
              <a:rPr lang="en-gb" sz="1400" b="1">
                <a:solidFill>
                  <a:schemeClr val="bg1"/>
                </a:solidFill>
                <a:effectLst/>
                <a:ea typeface="Calibri" panose="020F0502020204030204" pitchFamily="34" charset="0"/>
                <a:cs typeface="Times New Roman" panose="02020603050405020304" pitchFamily="18" charset="0"/>
              </a:rPr>
              <a:t>Care for the victim</a:t>
            </a:r>
            <a:endParaRPr lang="en-GB" sz="1400" b="1">
              <a:solidFill>
                <a:schemeClr val="bg1"/>
              </a:solidFill>
            </a:endParaRPr>
          </a:p>
        </p:txBody>
      </p:sp>
      <p:sp>
        <p:nvSpPr>
          <p:cNvPr id="14" name="TextBox 13">
            <a:extLst>
              <a:ext uri="{FF2B5EF4-FFF2-40B4-BE49-F238E27FC236}">
                <a16:creationId xmlns:a16="http://schemas.microsoft.com/office/drawing/2014/main" id="{C12F4A68-0A98-B4BF-1D5E-5B0917DB284B}"/>
              </a:ext>
            </a:extLst>
          </p:cNvPr>
          <p:cNvSpPr txBox="1"/>
          <p:nvPr/>
        </p:nvSpPr>
        <p:spPr>
          <a:xfrm>
            <a:off x="2791975" y="2575710"/>
            <a:ext cx="1914525" cy="576263"/>
          </a:xfrm>
          <a:prstGeom prst="rect">
            <a:avLst/>
          </a:prstGeom>
          <a:solidFill>
            <a:schemeClr val="accent1"/>
          </a:solidFill>
        </p:spPr>
        <p:txBody>
          <a:bodyPr wrap="square" lIns="72000" tIns="0" rIns="72000" bIns="0" rtlCol="0" anchor="ctr">
            <a:noAutofit/>
          </a:bodyPr>
          <a:lstStyle/>
          <a:p>
            <a:pPr algn="ctr" rtl="0">
              <a:lnSpc>
                <a:spcPct val="100000"/>
              </a:lnSpc>
              <a:spcAft>
                <a:spcPts val="600"/>
              </a:spcAft>
              <a:buSzPct val="100000"/>
            </a:pPr>
            <a:r>
              <a:rPr lang="en-gb" sz="1400" b="1">
                <a:solidFill>
                  <a:schemeClr val="bg1"/>
                </a:solidFill>
                <a:effectLst/>
                <a:ea typeface="Calibri" panose="020F0502020204030204" pitchFamily="34" charset="0"/>
                <a:cs typeface="Times New Roman" panose="02020603050405020304" pitchFamily="18" charset="0"/>
              </a:rPr>
              <a:t>Emergency assistance</a:t>
            </a:r>
            <a:endParaRPr lang="en-GB" sz="1400" b="1">
              <a:solidFill>
                <a:schemeClr val="bg1"/>
              </a:solidFill>
            </a:endParaRPr>
          </a:p>
        </p:txBody>
      </p:sp>
      <p:sp>
        <p:nvSpPr>
          <p:cNvPr id="15" name="TextBox 14">
            <a:extLst>
              <a:ext uri="{FF2B5EF4-FFF2-40B4-BE49-F238E27FC236}">
                <a16:creationId xmlns:a16="http://schemas.microsoft.com/office/drawing/2014/main" id="{18CF1D23-C8C0-7311-A610-9559FB968B61}"/>
              </a:ext>
            </a:extLst>
          </p:cNvPr>
          <p:cNvSpPr txBox="1"/>
          <p:nvPr/>
        </p:nvSpPr>
        <p:spPr>
          <a:xfrm>
            <a:off x="7490099" y="2575710"/>
            <a:ext cx="1914525" cy="576263"/>
          </a:xfrm>
          <a:prstGeom prst="rect">
            <a:avLst/>
          </a:prstGeom>
          <a:solidFill>
            <a:schemeClr val="accent1"/>
          </a:solidFill>
        </p:spPr>
        <p:txBody>
          <a:bodyPr wrap="square" lIns="72000" tIns="0" rIns="72000" bIns="0" rtlCol="0" anchor="ctr">
            <a:noAutofit/>
          </a:bodyPr>
          <a:lstStyle/>
          <a:p>
            <a:pPr lvl="0" algn="ctr" rtl="0" hangingPunct="0">
              <a:lnSpc>
                <a:spcPct val="115000"/>
              </a:lnSpc>
              <a:spcAft>
                <a:spcPts val="1000"/>
              </a:spcAft>
            </a:pPr>
            <a:r>
              <a:rPr lang="en-gb" sz="1400" b="1">
                <a:solidFill>
                  <a:schemeClr val="bg1"/>
                </a:solidFill>
                <a:effectLst/>
                <a:ea typeface="Calibri" panose="020F0502020204030204" pitchFamily="34" charset="0"/>
                <a:cs typeface="Times New Roman" panose="02020603050405020304" pitchFamily="18" charset="0"/>
              </a:rPr>
              <a:t>Hospital</a:t>
            </a:r>
            <a:endParaRPr lang="en-GB" sz="1400" b="1">
              <a:solidFill>
                <a:schemeClr val="bg1"/>
              </a:solidFill>
              <a:effectLst/>
              <a:ea typeface="Calibri" panose="020F0502020204030204" pitchFamily="34" charset="0"/>
              <a:cs typeface="Times New Roman" panose="02020603050405020304" pitchFamily="18" charset="0"/>
            </a:endParaRPr>
          </a:p>
        </p:txBody>
      </p:sp>
      <p:sp>
        <p:nvSpPr>
          <p:cNvPr id="19" name="Arrow: Right 18">
            <a:extLst>
              <a:ext uri="{FF2B5EF4-FFF2-40B4-BE49-F238E27FC236}">
                <a16:creationId xmlns:a16="http://schemas.microsoft.com/office/drawing/2014/main" id="{71843FC2-0134-C5A1-3413-D29A3E972CB9}"/>
              </a:ext>
            </a:extLst>
          </p:cNvPr>
          <p:cNvSpPr/>
          <p:nvPr/>
        </p:nvSpPr>
        <p:spPr>
          <a:xfrm>
            <a:off x="9523133" y="4581689"/>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400"/>
          </a:p>
        </p:txBody>
      </p:sp>
      <p:sp>
        <p:nvSpPr>
          <p:cNvPr id="20" name="Content Placeholder 1">
            <a:extLst>
              <a:ext uri="{FF2B5EF4-FFF2-40B4-BE49-F238E27FC236}">
                <a16:creationId xmlns:a16="http://schemas.microsoft.com/office/drawing/2014/main" id="{5FE60873-156A-58E0-91C4-D2678DCF6C33}"/>
              </a:ext>
            </a:extLst>
          </p:cNvPr>
          <p:cNvSpPr txBox="1">
            <a:spLocks/>
          </p:cNvSpPr>
          <p:nvPr/>
        </p:nvSpPr>
        <p:spPr>
          <a:xfrm>
            <a:off x="442913" y="4401689"/>
            <a:ext cx="1914207" cy="576000"/>
          </a:xfrm>
          <a:prstGeom prst="rect">
            <a:avLst/>
          </a:prstGeom>
          <a:solidFill>
            <a:schemeClr val="accent2"/>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r>
              <a:rPr lang="en-gb" sz="1400">
                <a:solidFill>
                  <a:schemeClr val="bg1"/>
                </a:solidFill>
              </a:rPr>
              <a:t>...</a:t>
            </a:r>
            <a:endParaRPr lang="en-GB" sz="1400">
              <a:solidFill>
                <a:schemeClr val="bg1"/>
              </a:solidFill>
            </a:endParaRPr>
          </a:p>
        </p:txBody>
      </p:sp>
      <p:sp>
        <p:nvSpPr>
          <p:cNvPr id="26" name="Content Placeholder 1">
            <a:extLst>
              <a:ext uri="{FF2B5EF4-FFF2-40B4-BE49-F238E27FC236}">
                <a16:creationId xmlns:a16="http://schemas.microsoft.com/office/drawing/2014/main" id="{D02ECC2D-3609-D901-FD99-81FB0F16D429}"/>
              </a:ext>
            </a:extLst>
          </p:cNvPr>
          <p:cNvSpPr txBox="1">
            <a:spLocks/>
          </p:cNvSpPr>
          <p:nvPr/>
        </p:nvSpPr>
        <p:spPr>
          <a:xfrm>
            <a:off x="1112016" y="3479921"/>
            <a:ext cx="576000" cy="576000"/>
          </a:xfrm>
          <a:prstGeom prst="rect">
            <a:avLst/>
          </a:prstGeom>
          <a:solidFill>
            <a:schemeClr val="bg1"/>
          </a:solidFill>
          <a:ln>
            <a:noFill/>
          </a:ln>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r>
              <a:rPr lang="en-gb" sz="4000">
                <a:solidFill>
                  <a:schemeClr val="accent2"/>
                </a:solidFill>
              </a:rPr>
              <a:t>1</a:t>
            </a:r>
          </a:p>
        </p:txBody>
      </p:sp>
      <p:sp>
        <p:nvSpPr>
          <p:cNvPr id="36" name="Content Placeholder 1">
            <a:extLst>
              <a:ext uri="{FF2B5EF4-FFF2-40B4-BE49-F238E27FC236}">
                <a16:creationId xmlns:a16="http://schemas.microsoft.com/office/drawing/2014/main" id="{1888B678-3547-6CC3-ADA0-12DDC28292A0}"/>
              </a:ext>
            </a:extLst>
          </p:cNvPr>
          <p:cNvSpPr txBox="1">
            <a:spLocks/>
          </p:cNvSpPr>
          <p:nvPr/>
        </p:nvSpPr>
        <p:spPr>
          <a:xfrm rot="5400000">
            <a:off x="1363504" y="3864096"/>
            <a:ext cx="73025" cy="576263"/>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37" name="Content Placeholder 1">
            <a:extLst>
              <a:ext uri="{FF2B5EF4-FFF2-40B4-BE49-F238E27FC236}">
                <a16:creationId xmlns:a16="http://schemas.microsoft.com/office/drawing/2014/main" id="{B6DDB0A2-47C9-76F8-7A2C-69EB8DD17565}"/>
              </a:ext>
            </a:extLst>
          </p:cNvPr>
          <p:cNvSpPr txBox="1">
            <a:spLocks/>
          </p:cNvSpPr>
          <p:nvPr/>
        </p:nvSpPr>
        <p:spPr>
          <a:xfrm>
            <a:off x="2792055" y="4401689"/>
            <a:ext cx="1914207" cy="576000"/>
          </a:xfrm>
          <a:prstGeom prst="rect">
            <a:avLst/>
          </a:prstGeom>
          <a:solidFill>
            <a:schemeClr val="accent2"/>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r>
              <a:rPr lang="en-gb" sz="1400">
                <a:solidFill>
                  <a:schemeClr val="bg1"/>
                </a:solidFill>
              </a:rPr>
              <a:t>...</a:t>
            </a:r>
            <a:endParaRPr lang="en-GB" sz="1400">
              <a:solidFill>
                <a:schemeClr val="bg1"/>
              </a:solidFill>
            </a:endParaRPr>
          </a:p>
        </p:txBody>
      </p:sp>
      <p:sp>
        <p:nvSpPr>
          <p:cNvPr id="38" name="Content Placeholder 1">
            <a:extLst>
              <a:ext uri="{FF2B5EF4-FFF2-40B4-BE49-F238E27FC236}">
                <a16:creationId xmlns:a16="http://schemas.microsoft.com/office/drawing/2014/main" id="{97202C5A-6B65-75B4-361A-B6E81DBA1028}"/>
              </a:ext>
            </a:extLst>
          </p:cNvPr>
          <p:cNvSpPr txBox="1">
            <a:spLocks/>
          </p:cNvSpPr>
          <p:nvPr/>
        </p:nvSpPr>
        <p:spPr>
          <a:xfrm>
            <a:off x="3458264" y="3479921"/>
            <a:ext cx="576000" cy="576000"/>
          </a:xfrm>
          <a:prstGeom prst="rect">
            <a:avLst/>
          </a:prstGeom>
          <a:solidFill>
            <a:schemeClr val="bg1"/>
          </a:solidFill>
          <a:ln>
            <a:noFill/>
          </a:ln>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r>
              <a:rPr lang="en-gb" sz="4000">
                <a:solidFill>
                  <a:schemeClr val="accent2"/>
                </a:solidFill>
              </a:rPr>
              <a:t>2</a:t>
            </a:r>
          </a:p>
        </p:txBody>
      </p:sp>
      <p:sp>
        <p:nvSpPr>
          <p:cNvPr id="39" name="Content Placeholder 1">
            <a:extLst>
              <a:ext uri="{FF2B5EF4-FFF2-40B4-BE49-F238E27FC236}">
                <a16:creationId xmlns:a16="http://schemas.microsoft.com/office/drawing/2014/main" id="{F5BCF2F7-5654-7170-9862-D0527312BE10}"/>
              </a:ext>
            </a:extLst>
          </p:cNvPr>
          <p:cNvSpPr txBox="1">
            <a:spLocks/>
          </p:cNvSpPr>
          <p:nvPr/>
        </p:nvSpPr>
        <p:spPr>
          <a:xfrm rot="5400000">
            <a:off x="3709752" y="3864096"/>
            <a:ext cx="73025" cy="576263"/>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40" name="Content Placeholder 1">
            <a:extLst>
              <a:ext uri="{FF2B5EF4-FFF2-40B4-BE49-F238E27FC236}">
                <a16:creationId xmlns:a16="http://schemas.microsoft.com/office/drawing/2014/main" id="{29BA4A71-B7C9-A424-C282-D4ED9B1216C9}"/>
              </a:ext>
            </a:extLst>
          </p:cNvPr>
          <p:cNvSpPr txBox="1">
            <a:spLocks/>
          </p:cNvSpPr>
          <p:nvPr/>
        </p:nvSpPr>
        <p:spPr>
          <a:xfrm>
            <a:off x="5141197" y="4401689"/>
            <a:ext cx="1914207" cy="576000"/>
          </a:xfrm>
          <a:prstGeom prst="rect">
            <a:avLst/>
          </a:prstGeom>
          <a:solidFill>
            <a:schemeClr val="accent2"/>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r>
              <a:rPr lang="en-gb" sz="1400">
                <a:solidFill>
                  <a:schemeClr val="bg1"/>
                </a:solidFill>
              </a:rPr>
              <a:t>...</a:t>
            </a:r>
            <a:endParaRPr lang="en-GB" sz="1400">
              <a:solidFill>
                <a:schemeClr val="bg1"/>
              </a:solidFill>
            </a:endParaRPr>
          </a:p>
        </p:txBody>
      </p:sp>
      <p:sp>
        <p:nvSpPr>
          <p:cNvPr id="41" name="Content Placeholder 1">
            <a:extLst>
              <a:ext uri="{FF2B5EF4-FFF2-40B4-BE49-F238E27FC236}">
                <a16:creationId xmlns:a16="http://schemas.microsoft.com/office/drawing/2014/main" id="{0FF1845D-4220-25ED-DA95-9310DA52A0A7}"/>
              </a:ext>
            </a:extLst>
          </p:cNvPr>
          <p:cNvSpPr txBox="1">
            <a:spLocks/>
          </p:cNvSpPr>
          <p:nvPr/>
        </p:nvSpPr>
        <p:spPr>
          <a:xfrm>
            <a:off x="5804512" y="3479921"/>
            <a:ext cx="576000" cy="576000"/>
          </a:xfrm>
          <a:prstGeom prst="rect">
            <a:avLst/>
          </a:prstGeom>
          <a:solidFill>
            <a:schemeClr val="bg1"/>
          </a:solidFill>
          <a:ln>
            <a:noFill/>
          </a:ln>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r>
              <a:rPr lang="en-gb" sz="4000">
                <a:solidFill>
                  <a:schemeClr val="accent2"/>
                </a:solidFill>
              </a:rPr>
              <a:t>3</a:t>
            </a:r>
          </a:p>
        </p:txBody>
      </p:sp>
      <p:sp>
        <p:nvSpPr>
          <p:cNvPr id="42" name="Content Placeholder 1">
            <a:extLst>
              <a:ext uri="{FF2B5EF4-FFF2-40B4-BE49-F238E27FC236}">
                <a16:creationId xmlns:a16="http://schemas.microsoft.com/office/drawing/2014/main" id="{55FA582E-FF70-3B73-B78C-A3C26481B26E}"/>
              </a:ext>
            </a:extLst>
          </p:cNvPr>
          <p:cNvSpPr txBox="1">
            <a:spLocks/>
          </p:cNvSpPr>
          <p:nvPr/>
        </p:nvSpPr>
        <p:spPr>
          <a:xfrm rot="5400000">
            <a:off x="6056000" y="3864096"/>
            <a:ext cx="73025" cy="576263"/>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43" name="Content Placeholder 1">
            <a:extLst>
              <a:ext uri="{FF2B5EF4-FFF2-40B4-BE49-F238E27FC236}">
                <a16:creationId xmlns:a16="http://schemas.microsoft.com/office/drawing/2014/main" id="{A4C86A5D-5866-D51D-FE31-1FACF697AC6E}"/>
              </a:ext>
            </a:extLst>
          </p:cNvPr>
          <p:cNvSpPr txBox="1">
            <a:spLocks/>
          </p:cNvSpPr>
          <p:nvPr/>
        </p:nvSpPr>
        <p:spPr>
          <a:xfrm>
            <a:off x="7490339" y="4401689"/>
            <a:ext cx="1914207" cy="576000"/>
          </a:xfrm>
          <a:prstGeom prst="rect">
            <a:avLst/>
          </a:prstGeom>
          <a:solidFill>
            <a:schemeClr val="accent2"/>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r>
              <a:rPr lang="en-gb" sz="1400">
                <a:solidFill>
                  <a:schemeClr val="bg1"/>
                </a:solidFill>
              </a:rPr>
              <a:t>...</a:t>
            </a:r>
            <a:endParaRPr lang="en-GB" sz="1400">
              <a:solidFill>
                <a:schemeClr val="bg1"/>
              </a:solidFill>
            </a:endParaRPr>
          </a:p>
        </p:txBody>
      </p:sp>
      <p:sp>
        <p:nvSpPr>
          <p:cNvPr id="44" name="Content Placeholder 1">
            <a:extLst>
              <a:ext uri="{FF2B5EF4-FFF2-40B4-BE49-F238E27FC236}">
                <a16:creationId xmlns:a16="http://schemas.microsoft.com/office/drawing/2014/main" id="{71332463-0F59-696D-65D0-086539192E2F}"/>
              </a:ext>
            </a:extLst>
          </p:cNvPr>
          <p:cNvSpPr txBox="1">
            <a:spLocks/>
          </p:cNvSpPr>
          <p:nvPr/>
        </p:nvSpPr>
        <p:spPr>
          <a:xfrm>
            <a:off x="8150760" y="3479921"/>
            <a:ext cx="576000" cy="576000"/>
          </a:xfrm>
          <a:prstGeom prst="rect">
            <a:avLst/>
          </a:prstGeom>
          <a:solidFill>
            <a:schemeClr val="bg1"/>
          </a:solidFill>
          <a:ln>
            <a:noFill/>
          </a:ln>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r>
              <a:rPr lang="en-gb" sz="4000">
                <a:solidFill>
                  <a:schemeClr val="accent2"/>
                </a:solidFill>
              </a:rPr>
              <a:t>4</a:t>
            </a:r>
          </a:p>
        </p:txBody>
      </p:sp>
      <p:sp>
        <p:nvSpPr>
          <p:cNvPr id="45" name="Content Placeholder 1">
            <a:extLst>
              <a:ext uri="{FF2B5EF4-FFF2-40B4-BE49-F238E27FC236}">
                <a16:creationId xmlns:a16="http://schemas.microsoft.com/office/drawing/2014/main" id="{A09F2D4C-59C0-4533-2F78-95B3165B33BF}"/>
              </a:ext>
            </a:extLst>
          </p:cNvPr>
          <p:cNvSpPr txBox="1">
            <a:spLocks/>
          </p:cNvSpPr>
          <p:nvPr/>
        </p:nvSpPr>
        <p:spPr>
          <a:xfrm rot="5400000">
            <a:off x="8402248" y="3864096"/>
            <a:ext cx="73025" cy="576263"/>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46" name="Content Placeholder 1">
            <a:extLst>
              <a:ext uri="{FF2B5EF4-FFF2-40B4-BE49-F238E27FC236}">
                <a16:creationId xmlns:a16="http://schemas.microsoft.com/office/drawing/2014/main" id="{D68576F3-035C-863F-7882-50755D2DB247}"/>
              </a:ext>
            </a:extLst>
          </p:cNvPr>
          <p:cNvSpPr txBox="1">
            <a:spLocks/>
          </p:cNvSpPr>
          <p:nvPr/>
        </p:nvSpPr>
        <p:spPr>
          <a:xfrm>
            <a:off x="9839479" y="4401689"/>
            <a:ext cx="1914207" cy="576000"/>
          </a:xfrm>
          <a:prstGeom prst="rect">
            <a:avLst/>
          </a:prstGeom>
          <a:solidFill>
            <a:schemeClr val="accent2"/>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r>
              <a:rPr lang="en-gb" sz="1400">
                <a:solidFill>
                  <a:schemeClr val="bg1"/>
                </a:solidFill>
              </a:rPr>
              <a:t>...</a:t>
            </a:r>
            <a:endParaRPr lang="en-GB" sz="1400">
              <a:solidFill>
                <a:schemeClr val="bg1"/>
              </a:solidFill>
            </a:endParaRPr>
          </a:p>
        </p:txBody>
      </p:sp>
      <p:sp>
        <p:nvSpPr>
          <p:cNvPr id="47" name="Content Placeholder 1">
            <a:extLst>
              <a:ext uri="{FF2B5EF4-FFF2-40B4-BE49-F238E27FC236}">
                <a16:creationId xmlns:a16="http://schemas.microsoft.com/office/drawing/2014/main" id="{29B25CBF-74E0-FC8C-7D77-DF0199AB19BA}"/>
              </a:ext>
            </a:extLst>
          </p:cNvPr>
          <p:cNvSpPr txBox="1">
            <a:spLocks/>
          </p:cNvSpPr>
          <p:nvPr/>
        </p:nvSpPr>
        <p:spPr>
          <a:xfrm>
            <a:off x="10508582" y="3479921"/>
            <a:ext cx="576000" cy="576000"/>
          </a:xfrm>
          <a:prstGeom prst="rect">
            <a:avLst/>
          </a:prstGeom>
          <a:solidFill>
            <a:schemeClr val="bg1"/>
          </a:solidFill>
          <a:ln>
            <a:noFill/>
          </a:ln>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r>
              <a:rPr lang="en-gb" sz="4000">
                <a:solidFill>
                  <a:schemeClr val="accent2"/>
                </a:solidFill>
              </a:rPr>
              <a:t>5</a:t>
            </a:r>
          </a:p>
        </p:txBody>
      </p:sp>
      <p:sp>
        <p:nvSpPr>
          <p:cNvPr id="48" name="Content Placeholder 1">
            <a:extLst>
              <a:ext uri="{FF2B5EF4-FFF2-40B4-BE49-F238E27FC236}">
                <a16:creationId xmlns:a16="http://schemas.microsoft.com/office/drawing/2014/main" id="{888917C4-07F0-CFA2-C0F7-9FA29AF00CB6}"/>
              </a:ext>
            </a:extLst>
          </p:cNvPr>
          <p:cNvSpPr txBox="1">
            <a:spLocks/>
          </p:cNvSpPr>
          <p:nvPr/>
        </p:nvSpPr>
        <p:spPr>
          <a:xfrm rot="5400000">
            <a:off x="10760070" y="3864096"/>
            <a:ext cx="73025" cy="576263"/>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endParaRPr lang="en-GB" sz="1400">
              <a:solidFill>
                <a:schemeClr val="bg1"/>
              </a:solidFill>
            </a:endParaRPr>
          </a:p>
        </p:txBody>
      </p:sp>
      <p:sp>
        <p:nvSpPr>
          <p:cNvPr id="49" name="Arrow: Right 48">
            <a:extLst>
              <a:ext uri="{FF2B5EF4-FFF2-40B4-BE49-F238E27FC236}">
                <a16:creationId xmlns:a16="http://schemas.microsoft.com/office/drawing/2014/main" id="{D89C0A52-02D3-7AC3-F0C9-FF063EF637C1}"/>
              </a:ext>
            </a:extLst>
          </p:cNvPr>
          <p:cNvSpPr/>
          <p:nvPr/>
        </p:nvSpPr>
        <p:spPr>
          <a:xfrm>
            <a:off x="7173991" y="4581689"/>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400"/>
          </a:p>
        </p:txBody>
      </p:sp>
      <p:sp>
        <p:nvSpPr>
          <p:cNvPr id="50" name="Arrow: Right 49">
            <a:extLst>
              <a:ext uri="{FF2B5EF4-FFF2-40B4-BE49-F238E27FC236}">
                <a16:creationId xmlns:a16="http://schemas.microsoft.com/office/drawing/2014/main" id="{9AD9BCDB-1E9E-788D-9A3F-66335EA1644A}"/>
              </a:ext>
            </a:extLst>
          </p:cNvPr>
          <p:cNvSpPr/>
          <p:nvPr/>
        </p:nvSpPr>
        <p:spPr>
          <a:xfrm>
            <a:off x="4824849" y="4581689"/>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400"/>
          </a:p>
        </p:txBody>
      </p:sp>
      <p:sp>
        <p:nvSpPr>
          <p:cNvPr id="51" name="Arrow: Right 50">
            <a:extLst>
              <a:ext uri="{FF2B5EF4-FFF2-40B4-BE49-F238E27FC236}">
                <a16:creationId xmlns:a16="http://schemas.microsoft.com/office/drawing/2014/main" id="{ECC22457-F135-8C98-A349-CC508DDA20F2}"/>
              </a:ext>
            </a:extLst>
          </p:cNvPr>
          <p:cNvSpPr/>
          <p:nvPr/>
        </p:nvSpPr>
        <p:spPr>
          <a:xfrm>
            <a:off x="2475707" y="4581689"/>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400"/>
          </a:p>
        </p:txBody>
      </p:sp>
      <p:sp>
        <p:nvSpPr>
          <p:cNvPr id="52" name="Content Placeholder 1">
            <a:extLst>
              <a:ext uri="{FF2B5EF4-FFF2-40B4-BE49-F238E27FC236}">
                <a16:creationId xmlns:a16="http://schemas.microsoft.com/office/drawing/2014/main" id="{05743857-0CDF-A43A-5EA0-85F52B06DC59}"/>
              </a:ext>
            </a:extLst>
          </p:cNvPr>
          <p:cNvSpPr txBox="1">
            <a:spLocks/>
          </p:cNvSpPr>
          <p:nvPr/>
        </p:nvSpPr>
        <p:spPr>
          <a:xfrm>
            <a:off x="442913" y="4963138"/>
            <a:ext cx="1914207" cy="1209062"/>
          </a:xfrm>
          <a:prstGeom prst="rect">
            <a:avLst/>
          </a:prstGeom>
          <a:solidFill>
            <a:schemeClr val="accent4"/>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endParaRPr lang="en-GB" sz="1400">
              <a:solidFill>
                <a:schemeClr val="bg1"/>
              </a:solidFill>
            </a:endParaRPr>
          </a:p>
        </p:txBody>
      </p:sp>
      <p:sp>
        <p:nvSpPr>
          <p:cNvPr id="53" name="Content Placeholder 1">
            <a:extLst>
              <a:ext uri="{FF2B5EF4-FFF2-40B4-BE49-F238E27FC236}">
                <a16:creationId xmlns:a16="http://schemas.microsoft.com/office/drawing/2014/main" id="{5E0B80E0-15A4-44DA-D0CB-1EFD5B42B5C8}"/>
              </a:ext>
            </a:extLst>
          </p:cNvPr>
          <p:cNvSpPr txBox="1">
            <a:spLocks/>
          </p:cNvSpPr>
          <p:nvPr/>
        </p:nvSpPr>
        <p:spPr>
          <a:xfrm>
            <a:off x="2792055" y="4963138"/>
            <a:ext cx="1914207" cy="1209062"/>
          </a:xfrm>
          <a:prstGeom prst="rect">
            <a:avLst/>
          </a:prstGeom>
          <a:solidFill>
            <a:schemeClr val="accent4"/>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endParaRPr lang="en-GB" sz="1400">
              <a:solidFill>
                <a:schemeClr val="bg1"/>
              </a:solidFill>
            </a:endParaRPr>
          </a:p>
        </p:txBody>
      </p:sp>
      <p:sp>
        <p:nvSpPr>
          <p:cNvPr id="54" name="Content Placeholder 1">
            <a:extLst>
              <a:ext uri="{FF2B5EF4-FFF2-40B4-BE49-F238E27FC236}">
                <a16:creationId xmlns:a16="http://schemas.microsoft.com/office/drawing/2014/main" id="{C75DD2F1-5D17-470B-3ED8-5421FE96E2B3}"/>
              </a:ext>
            </a:extLst>
          </p:cNvPr>
          <p:cNvSpPr txBox="1">
            <a:spLocks/>
          </p:cNvSpPr>
          <p:nvPr/>
        </p:nvSpPr>
        <p:spPr>
          <a:xfrm>
            <a:off x="5141197" y="4963138"/>
            <a:ext cx="1914207" cy="1209062"/>
          </a:xfrm>
          <a:prstGeom prst="rect">
            <a:avLst/>
          </a:prstGeom>
          <a:solidFill>
            <a:schemeClr val="accent4"/>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endParaRPr lang="en-GB" sz="1400">
              <a:solidFill>
                <a:schemeClr val="bg1"/>
              </a:solidFill>
            </a:endParaRPr>
          </a:p>
        </p:txBody>
      </p:sp>
      <p:sp>
        <p:nvSpPr>
          <p:cNvPr id="55" name="Content Placeholder 1">
            <a:extLst>
              <a:ext uri="{FF2B5EF4-FFF2-40B4-BE49-F238E27FC236}">
                <a16:creationId xmlns:a16="http://schemas.microsoft.com/office/drawing/2014/main" id="{6C2B476F-6CF6-01F8-AA2A-7A6F775F0248}"/>
              </a:ext>
            </a:extLst>
          </p:cNvPr>
          <p:cNvSpPr txBox="1">
            <a:spLocks/>
          </p:cNvSpPr>
          <p:nvPr/>
        </p:nvSpPr>
        <p:spPr>
          <a:xfrm>
            <a:off x="7490339" y="4963138"/>
            <a:ext cx="1914207" cy="1209062"/>
          </a:xfrm>
          <a:prstGeom prst="rect">
            <a:avLst/>
          </a:prstGeom>
          <a:solidFill>
            <a:schemeClr val="accent4"/>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endParaRPr lang="en-GB" sz="1400">
              <a:solidFill>
                <a:schemeClr val="bg1"/>
              </a:solidFill>
            </a:endParaRPr>
          </a:p>
        </p:txBody>
      </p:sp>
      <p:sp>
        <p:nvSpPr>
          <p:cNvPr id="56" name="Content Placeholder 1">
            <a:extLst>
              <a:ext uri="{FF2B5EF4-FFF2-40B4-BE49-F238E27FC236}">
                <a16:creationId xmlns:a16="http://schemas.microsoft.com/office/drawing/2014/main" id="{968930DB-9B23-525A-E054-12977143D86D}"/>
              </a:ext>
            </a:extLst>
          </p:cNvPr>
          <p:cNvSpPr txBox="1">
            <a:spLocks/>
          </p:cNvSpPr>
          <p:nvPr/>
        </p:nvSpPr>
        <p:spPr>
          <a:xfrm>
            <a:off x="9839479" y="4963138"/>
            <a:ext cx="1914207" cy="1209062"/>
          </a:xfrm>
          <a:prstGeom prst="rect">
            <a:avLst/>
          </a:prstGeom>
          <a:solidFill>
            <a:schemeClr val="accent4"/>
          </a:solidFill>
        </p:spPr>
        <p:txBody>
          <a:bodyPr lIns="72000" rIns="72000" rtlCol="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endParaRPr lang="en-GB" sz="1400">
              <a:solidFill>
                <a:schemeClr val="bg1"/>
              </a:solidFill>
            </a:endParaRPr>
          </a:p>
        </p:txBody>
      </p:sp>
      <p:cxnSp>
        <p:nvCxnSpPr>
          <p:cNvPr id="58" name="Straight Connector 57">
            <a:extLst>
              <a:ext uri="{FF2B5EF4-FFF2-40B4-BE49-F238E27FC236}">
                <a16:creationId xmlns:a16="http://schemas.microsoft.com/office/drawing/2014/main" id="{40D223D7-59FB-34E8-848D-B3340127E7BE}"/>
              </a:ext>
            </a:extLst>
          </p:cNvPr>
          <p:cNvCxnSpPr>
            <a:cxnSpLocks/>
          </p:cNvCxnSpPr>
          <p:nvPr/>
        </p:nvCxnSpPr>
        <p:spPr>
          <a:xfrm>
            <a:off x="442913" y="3296631"/>
            <a:ext cx="11306175" cy="1588"/>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65" name="Google Shape;1337;p89">
            <a:extLst>
              <a:ext uri="{FF2B5EF4-FFF2-40B4-BE49-F238E27FC236}">
                <a16:creationId xmlns:a16="http://schemas.microsoft.com/office/drawing/2014/main" id="{DC677933-1B8A-C025-D261-38B3BC7D1CAB}"/>
              </a:ext>
            </a:extLst>
          </p:cNvPr>
          <p:cNvSpPr/>
          <p:nvPr/>
        </p:nvSpPr>
        <p:spPr>
          <a:xfrm>
            <a:off x="1148016" y="5315669"/>
            <a:ext cx="504000" cy="504000"/>
          </a:xfrm>
          <a:custGeom>
            <a:avLst/>
            <a:gdLst/>
            <a:ahLst/>
            <a:cxnLst/>
            <a:rect l="l" t="t" r="r" b="b"/>
            <a:pathLst>
              <a:path w="576" h="576" extrusionOk="0">
                <a:moveTo>
                  <a:pt x="576" y="0"/>
                </a:moveTo>
                <a:cubicBezTo>
                  <a:pt x="72" y="0"/>
                  <a:pt x="72" y="0"/>
                  <a:pt x="72" y="0"/>
                </a:cubicBezTo>
                <a:cubicBezTo>
                  <a:pt x="72" y="106"/>
                  <a:pt x="72" y="106"/>
                  <a:pt x="72" y="106"/>
                </a:cubicBezTo>
                <a:cubicBezTo>
                  <a:pt x="0" y="106"/>
                  <a:pt x="0" y="106"/>
                  <a:pt x="0" y="106"/>
                </a:cubicBezTo>
                <a:cubicBezTo>
                  <a:pt x="0" y="576"/>
                  <a:pt x="0" y="576"/>
                  <a:pt x="0" y="576"/>
                </a:cubicBezTo>
                <a:cubicBezTo>
                  <a:pt x="480" y="576"/>
                  <a:pt x="480" y="576"/>
                  <a:pt x="480" y="576"/>
                </a:cubicBezTo>
                <a:cubicBezTo>
                  <a:pt x="480" y="496"/>
                  <a:pt x="480" y="496"/>
                  <a:pt x="480" y="496"/>
                </a:cubicBezTo>
                <a:cubicBezTo>
                  <a:pt x="576" y="496"/>
                  <a:pt x="576" y="496"/>
                  <a:pt x="576" y="496"/>
                </a:cubicBezTo>
                <a:lnTo>
                  <a:pt x="576" y="0"/>
                </a:lnTo>
                <a:close/>
                <a:moveTo>
                  <a:pt x="552" y="25"/>
                </a:moveTo>
                <a:cubicBezTo>
                  <a:pt x="552" y="379"/>
                  <a:pt x="552" y="379"/>
                  <a:pt x="552" y="379"/>
                </a:cubicBezTo>
                <a:cubicBezTo>
                  <a:pt x="511" y="379"/>
                  <a:pt x="511" y="379"/>
                  <a:pt x="511" y="379"/>
                </a:cubicBezTo>
                <a:cubicBezTo>
                  <a:pt x="410" y="188"/>
                  <a:pt x="410" y="188"/>
                  <a:pt x="410" y="188"/>
                </a:cubicBezTo>
                <a:cubicBezTo>
                  <a:pt x="333" y="324"/>
                  <a:pt x="333" y="324"/>
                  <a:pt x="333" y="324"/>
                </a:cubicBezTo>
                <a:cubicBezTo>
                  <a:pt x="275" y="266"/>
                  <a:pt x="275" y="266"/>
                  <a:pt x="275" y="266"/>
                </a:cubicBezTo>
                <a:cubicBezTo>
                  <a:pt x="204" y="379"/>
                  <a:pt x="204" y="379"/>
                  <a:pt x="204" y="379"/>
                </a:cubicBezTo>
                <a:cubicBezTo>
                  <a:pt x="97" y="379"/>
                  <a:pt x="97" y="379"/>
                  <a:pt x="97" y="379"/>
                </a:cubicBezTo>
                <a:cubicBezTo>
                  <a:pt x="97" y="25"/>
                  <a:pt x="97" y="25"/>
                  <a:pt x="97" y="25"/>
                </a:cubicBezTo>
                <a:lnTo>
                  <a:pt x="552" y="25"/>
                </a:lnTo>
                <a:close/>
                <a:moveTo>
                  <a:pt x="483" y="379"/>
                </a:moveTo>
                <a:cubicBezTo>
                  <a:pt x="233" y="379"/>
                  <a:pt x="233" y="379"/>
                  <a:pt x="233" y="379"/>
                </a:cubicBezTo>
                <a:cubicBezTo>
                  <a:pt x="280" y="305"/>
                  <a:pt x="280" y="305"/>
                  <a:pt x="280" y="305"/>
                </a:cubicBezTo>
                <a:cubicBezTo>
                  <a:pt x="339" y="364"/>
                  <a:pt x="339" y="364"/>
                  <a:pt x="339" y="364"/>
                </a:cubicBezTo>
                <a:cubicBezTo>
                  <a:pt x="409" y="239"/>
                  <a:pt x="409" y="239"/>
                  <a:pt x="409" y="239"/>
                </a:cubicBezTo>
                <a:lnTo>
                  <a:pt x="483" y="379"/>
                </a:lnTo>
                <a:close/>
                <a:moveTo>
                  <a:pt x="456" y="551"/>
                </a:moveTo>
                <a:cubicBezTo>
                  <a:pt x="24" y="551"/>
                  <a:pt x="24" y="551"/>
                  <a:pt x="24" y="551"/>
                </a:cubicBezTo>
                <a:cubicBezTo>
                  <a:pt x="24" y="130"/>
                  <a:pt x="24" y="130"/>
                  <a:pt x="24" y="130"/>
                </a:cubicBezTo>
                <a:cubicBezTo>
                  <a:pt x="72" y="130"/>
                  <a:pt x="72" y="130"/>
                  <a:pt x="72" y="130"/>
                </a:cubicBezTo>
                <a:cubicBezTo>
                  <a:pt x="72" y="496"/>
                  <a:pt x="72" y="496"/>
                  <a:pt x="72" y="496"/>
                </a:cubicBezTo>
                <a:cubicBezTo>
                  <a:pt x="456" y="496"/>
                  <a:pt x="456" y="496"/>
                  <a:pt x="456" y="496"/>
                </a:cubicBezTo>
                <a:lnTo>
                  <a:pt x="456" y="551"/>
                </a:lnTo>
                <a:close/>
                <a:moveTo>
                  <a:pt x="97" y="471"/>
                </a:moveTo>
                <a:cubicBezTo>
                  <a:pt x="97" y="404"/>
                  <a:pt x="97" y="404"/>
                  <a:pt x="97" y="404"/>
                </a:cubicBezTo>
                <a:cubicBezTo>
                  <a:pt x="552" y="404"/>
                  <a:pt x="552" y="404"/>
                  <a:pt x="552" y="404"/>
                </a:cubicBezTo>
                <a:cubicBezTo>
                  <a:pt x="552" y="471"/>
                  <a:pt x="552" y="471"/>
                  <a:pt x="552" y="471"/>
                </a:cubicBezTo>
                <a:lnTo>
                  <a:pt x="97" y="471"/>
                </a:lnTo>
                <a:close/>
                <a:moveTo>
                  <a:pt x="240" y="188"/>
                </a:moveTo>
                <a:cubicBezTo>
                  <a:pt x="267" y="188"/>
                  <a:pt x="288" y="167"/>
                  <a:pt x="288" y="140"/>
                </a:cubicBezTo>
                <a:cubicBezTo>
                  <a:pt x="288" y="113"/>
                  <a:pt x="267" y="92"/>
                  <a:pt x="240" y="92"/>
                </a:cubicBezTo>
                <a:cubicBezTo>
                  <a:pt x="214" y="92"/>
                  <a:pt x="192" y="113"/>
                  <a:pt x="192" y="140"/>
                </a:cubicBezTo>
                <a:cubicBezTo>
                  <a:pt x="192" y="167"/>
                  <a:pt x="214" y="188"/>
                  <a:pt x="240" y="188"/>
                </a:cubicBezTo>
                <a:close/>
                <a:moveTo>
                  <a:pt x="240" y="116"/>
                </a:moveTo>
                <a:cubicBezTo>
                  <a:pt x="253" y="116"/>
                  <a:pt x="264" y="127"/>
                  <a:pt x="264" y="140"/>
                </a:cubicBezTo>
                <a:cubicBezTo>
                  <a:pt x="264" y="153"/>
                  <a:pt x="253" y="164"/>
                  <a:pt x="240" y="164"/>
                </a:cubicBezTo>
                <a:cubicBezTo>
                  <a:pt x="227" y="164"/>
                  <a:pt x="217" y="153"/>
                  <a:pt x="217" y="140"/>
                </a:cubicBezTo>
                <a:cubicBezTo>
                  <a:pt x="217" y="127"/>
                  <a:pt x="227" y="116"/>
                  <a:pt x="240" y="116"/>
                </a:cubicBez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66" name="Google Shape;1337;p89">
            <a:extLst>
              <a:ext uri="{FF2B5EF4-FFF2-40B4-BE49-F238E27FC236}">
                <a16:creationId xmlns:a16="http://schemas.microsoft.com/office/drawing/2014/main" id="{845CCFB5-5C4C-F589-F3D4-D0E788F2288D}"/>
              </a:ext>
            </a:extLst>
          </p:cNvPr>
          <p:cNvSpPr/>
          <p:nvPr/>
        </p:nvSpPr>
        <p:spPr>
          <a:xfrm>
            <a:off x="3497157" y="5315669"/>
            <a:ext cx="504000" cy="504000"/>
          </a:xfrm>
          <a:custGeom>
            <a:avLst/>
            <a:gdLst/>
            <a:ahLst/>
            <a:cxnLst/>
            <a:rect l="l" t="t" r="r" b="b"/>
            <a:pathLst>
              <a:path w="576" h="576" extrusionOk="0">
                <a:moveTo>
                  <a:pt x="576" y="0"/>
                </a:moveTo>
                <a:cubicBezTo>
                  <a:pt x="72" y="0"/>
                  <a:pt x="72" y="0"/>
                  <a:pt x="72" y="0"/>
                </a:cubicBezTo>
                <a:cubicBezTo>
                  <a:pt x="72" y="106"/>
                  <a:pt x="72" y="106"/>
                  <a:pt x="72" y="106"/>
                </a:cubicBezTo>
                <a:cubicBezTo>
                  <a:pt x="0" y="106"/>
                  <a:pt x="0" y="106"/>
                  <a:pt x="0" y="106"/>
                </a:cubicBezTo>
                <a:cubicBezTo>
                  <a:pt x="0" y="576"/>
                  <a:pt x="0" y="576"/>
                  <a:pt x="0" y="576"/>
                </a:cubicBezTo>
                <a:cubicBezTo>
                  <a:pt x="480" y="576"/>
                  <a:pt x="480" y="576"/>
                  <a:pt x="480" y="576"/>
                </a:cubicBezTo>
                <a:cubicBezTo>
                  <a:pt x="480" y="496"/>
                  <a:pt x="480" y="496"/>
                  <a:pt x="480" y="496"/>
                </a:cubicBezTo>
                <a:cubicBezTo>
                  <a:pt x="576" y="496"/>
                  <a:pt x="576" y="496"/>
                  <a:pt x="576" y="496"/>
                </a:cubicBezTo>
                <a:lnTo>
                  <a:pt x="576" y="0"/>
                </a:lnTo>
                <a:close/>
                <a:moveTo>
                  <a:pt x="552" y="25"/>
                </a:moveTo>
                <a:cubicBezTo>
                  <a:pt x="552" y="379"/>
                  <a:pt x="552" y="379"/>
                  <a:pt x="552" y="379"/>
                </a:cubicBezTo>
                <a:cubicBezTo>
                  <a:pt x="511" y="379"/>
                  <a:pt x="511" y="379"/>
                  <a:pt x="511" y="379"/>
                </a:cubicBezTo>
                <a:cubicBezTo>
                  <a:pt x="410" y="188"/>
                  <a:pt x="410" y="188"/>
                  <a:pt x="410" y="188"/>
                </a:cubicBezTo>
                <a:cubicBezTo>
                  <a:pt x="333" y="324"/>
                  <a:pt x="333" y="324"/>
                  <a:pt x="333" y="324"/>
                </a:cubicBezTo>
                <a:cubicBezTo>
                  <a:pt x="275" y="266"/>
                  <a:pt x="275" y="266"/>
                  <a:pt x="275" y="266"/>
                </a:cubicBezTo>
                <a:cubicBezTo>
                  <a:pt x="204" y="379"/>
                  <a:pt x="204" y="379"/>
                  <a:pt x="204" y="379"/>
                </a:cubicBezTo>
                <a:cubicBezTo>
                  <a:pt x="97" y="379"/>
                  <a:pt x="97" y="379"/>
                  <a:pt x="97" y="379"/>
                </a:cubicBezTo>
                <a:cubicBezTo>
                  <a:pt x="97" y="25"/>
                  <a:pt x="97" y="25"/>
                  <a:pt x="97" y="25"/>
                </a:cubicBezTo>
                <a:lnTo>
                  <a:pt x="552" y="25"/>
                </a:lnTo>
                <a:close/>
                <a:moveTo>
                  <a:pt x="483" y="379"/>
                </a:moveTo>
                <a:cubicBezTo>
                  <a:pt x="233" y="379"/>
                  <a:pt x="233" y="379"/>
                  <a:pt x="233" y="379"/>
                </a:cubicBezTo>
                <a:cubicBezTo>
                  <a:pt x="280" y="305"/>
                  <a:pt x="280" y="305"/>
                  <a:pt x="280" y="305"/>
                </a:cubicBezTo>
                <a:cubicBezTo>
                  <a:pt x="339" y="364"/>
                  <a:pt x="339" y="364"/>
                  <a:pt x="339" y="364"/>
                </a:cubicBezTo>
                <a:cubicBezTo>
                  <a:pt x="409" y="239"/>
                  <a:pt x="409" y="239"/>
                  <a:pt x="409" y="239"/>
                </a:cubicBezTo>
                <a:lnTo>
                  <a:pt x="483" y="379"/>
                </a:lnTo>
                <a:close/>
                <a:moveTo>
                  <a:pt x="456" y="551"/>
                </a:moveTo>
                <a:cubicBezTo>
                  <a:pt x="24" y="551"/>
                  <a:pt x="24" y="551"/>
                  <a:pt x="24" y="551"/>
                </a:cubicBezTo>
                <a:cubicBezTo>
                  <a:pt x="24" y="130"/>
                  <a:pt x="24" y="130"/>
                  <a:pt x="24" y="130"/>
                </a:cubicBezTo>
                <a:cubicBezTo>
                  <a:pt x="72" y="130"/>
                  <a:pt x="72" y="130"/>
                  <a:pt x="72" y="130"/>
                </a:cubicBezTo>
                <a:cubicBezTo>
                  <a:pt x="72" y="496"/>
                  <a:pt x="72" y="496"/>
                  <a:pt x="72" y="496"/>
                </a:cubicBezTo>
                <a:cubicBezTo>
                  <a:pt x="456" y="496"/>
                  <a:pt x="456" y="496"/>
                  <a:pt x="456" y="496"/>
                </a:cubicBezTo>
                <a:lnTo>
                  <a:pt x="456" y="551"/>
                </a:lnTo>
                <a:close/>
                <a:moveTo>
                  <a:pt x="97" y="471"/>
                </a:moveTo>
                <a:cubicBezTo>
                  <a:pt x="97" y="404"/>
                  <a:pt x="97" y="404"/>
                  <a:pt x="97" y="404"/>
                </a:cubicBezTo>
                <a:cubicBezTo>
                  <a:pt x="552" y="404"/>
                  <a:pt x="552" y="404"/>
                  <a:pt x="552" y="404"/>
                </a:cubicBezTo>
                <a:cubicBezTo>
                  <a:pt x="552" y="471"/>
                  <a:pt x="552" y="471"/>
                  <a:pt x="552" y="471"/>
                </a:cubicBezTo>
                <a:lnTo>
                  <a:pt x="97" y="471"/>
                </a:lnTo>
                <a:close/>
                <a:moveTo>
                  <a:pt x="240" y="188"/>
                </a:moveTo>
                <a:cubicBezTo>
                  <a:pt x="267" y="188"/>
                  <a:pt x="288" y="167"/>
                  <a:pt x="288" y="140"/>
                </a:cubicBezTo>
                <a:cubicBezTo>
                  <a:pt x="288" y="113"/>
                  <a:pt x="267" y="92"/>
                  <a:pt x="240" y="92"/>
                </a:cubicBezTo>
                <a:cubicBezTo>
                  <a:pt x="214" y="92"/>
                  <a:pt x="192" y="113"/>
                  <a:pt x="192" y="140"/>
                </a:cubicBezTo>
                <a:cubicBezTo>
                  <a:pt x="192" y="167"/>
                  <a:pt x="214" y="188"/>
                  <a:pt x="240" y="188"/>
                </a:cubicBezTo>
                <a:close/>
                <a:moveTo>
                  <a:pt x="240" y="116"/>
                </a:moveTo>
                <a:cubicBezTo>
                  <a:pt x="253" y="116"/>
                  <a:pt x="264" y="127"/>
                  <a:pt x="264" y="140"/>
                </a:cubicBezTo>
                <a:cubicBezTo>
                  <a:pt x="264" y="153"/>
                  <a:pt x="253" y="164"/>
                  <a:pt x="240" y="164"/>
                </a:cubicBezTo>
                <a:cubicBezTo>
                  <a:pt x="227" y="164"/>
                  <a:pt x="217" y="153"/>
                  <a:pt x="217" y="140"/>
                </a:cubicBezTo>
                <a:cubicBezTo>
                  <a:pt x="217" y="127"/>
                  <a:pt x="227" y="116"/>
                  <a:pt x="240" y="116"/>
                </a:cubicBez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67" name="Google Shape;1337;p89">
            <a:extLst>
              <a:ext uri="{FF2B5EF4-FFF2-40B4-BE49-F238E27FC236}">
                <a16:creationId xmlns:a16="http://schemas.microsoft.com/office/drawing/2014/main" id="{A50A144C-4C97-0872-3050-6D5F103E3262}"/>
              </a:ext>
            </a:extLst>
          </p:cNvPr>
          <p:cNvSpPr/>
          <p:nvPr/>
        </p:nvSpPr>
        <p:spPr>
          <a:xfrm>
            <a:off x="5846299" y="5315669"/>
            <a:ext cx="504000" cy="504000"/>
          </a:xfrm>
          <a:custGeom>
            <a:avLst/>
            <a:gdLst/>
            <a:ahLst/>
            <a:cxnLst/>
            <a:rect l="l" t="t" r="r" b="b"/>
            <a:pathLst>
              <a:path w="576" h="576" extrusionOk="0">
                <a:moveTo>
                  <a:pt x="576" y="0"/>
                </a:moveTo>
                <a:cubicBezTo>
                  <a:pt x="72" y="0"/>
                  <a:pt x="72" y="0"/>
                  <a:pt x="72" y="0"/>
                </a:cubicBezTo>
                <a:cubicBezTo>
                  <a:pt x="72" y="106"/>
                  <a:pt x="72" y="106"/>
                  <a:pt x="72" y="106"/>
                </a:cubicBezTo>
                <a:cubicBezTo>
                  <a:pt x="0" y="106"/>
                  <a:pt x="0" y="106"/>
                  <a:pt x="0" y="106"/>
                </a:cubicBezTo>
                <a:cubicBezTo>
                  <a:pt x="0" y="576"/>
                  <a:pt x="0" y="576"/>
                  <a:pt x="0" y="576"/>
                </a:cubicBezTo>
                <a:cubicBezTo>
                  <a:pt x="480" y="576"/>
                  <a:pt x="480" y="576"/>
                  <a:pt x="480" y="576"/>
                </a:cubicBezTo>
                <a:cubicBezTo>
                  <a:pt x="480" y="496"/>
                  <a:pt x="480" y="496"/>
                  <a:pt x="480" y="496"/>
                </a:cubicBezTo>
                <a:cubicBezTo>
                  <a:pt x="576" y="496"/>
                  <a:pt x="576" y="496"/>
                  <a:pt x="576" y="496"/>
                </a:cubicBezTo>
                <a:lnTo>
                  <a:pt x="576" y="0"/>
                </a:lnTo>
                <a:close/>
                <a:moveTo>
                  <a:pt x="552" y="25"/>
                </a:moveTo>
                <a:cubicBezTo>
                  <a:pt x="552" y="379"/>
                  <a:pt x="552" y="379"/>
                  <a:pt x="552" y="379"/>
                </a:cubicBezTo>
                <a:cubicBezTo>
                  <a:pt x="511" y="379"/>
                  <a:pt x="511" y="379"/>
                  <a:pt x="511" y="379"/>
                </a:cubicBezTo>
                <a:cubicBezTo>
                  <a:pt x="410" y="188"/>
                  <a:pt x="410" y="188"/>
                  <a:pt x="410" y="188"/>
                </a:cubicBezTo>
                <a:cubicBezTo>
                  <a:pt x="333" y="324"/>
                  <a:pt x="333" y="324"/>
                  <a:pt x="333" y="324"/>
                </a:cubicBezTo>
                <a:cubicBezTo>
                  <a:pt x="275" y="266"/>
                  <a:pt x="275" y="266"/>
                  <a:pt x="275" y="266"/>
                </a:cubicBezTo>
                <a:cubicBezTo>
                  <a:pt x="204" y="379"/>
                  <a:pt x="204" y="379"/>
                  <a:pt x="204" y="379"/>
                </a:cubicBezTo>
                <a:cubicBezTo>
                  <a:pt x="97" y="379"/>
                  <a:pt x="97" y="379"/>
                  <a:pt x="97" y="379"/>
                </a:cubicBezTo>
                <a:cubicBezTo>
                  <a:pt x="97" y="25"/>
                  <a:pt x="97" y="25"/>
                  <a:pt x="97" y="25"/>
                </a:cubicBezTo>
                <a:lnTo>
                  <a:pt x="552" y="25"/>
                </a:lnTo>
                <a:close/>
                <a:moveTo>
                  <a:pt x="483" y="379"/>
                </a:moveTo>
                <a:cubicBezTo>
                  <a:pt x="233" y="379"/>
                  <a:pt x="233" y="379"/>
                  <a:pt x="233" y="379"/>
                </a:cubicBezTo>
                <a:cubicBezTo>
                  <a:pt x="280" y="305"/>
                  <a:pt x="280" y="305"/>
                  <a:pt x="280" y="305"/>
                </a:cubicBezTo>
                <a:cubicBezTo>
                  <a:pt x="339" y="364"/>
                  <a:pt x="339" y="364"/>
                  <a:pt x="339" y="364"/>
                </a:cubicBezTo>
                <a:cubicBezTo>
                  <a:pt x="409" y="239"/>
                  <a:pt x="409" y="239"/>
                  <a:pt x="409" y="239"/>
                </a:cubicBezTo>
                <a:lnTo>
                  <a:pt x="483" y="379"/>
                </a:lnTo>
                <a:close/>
                <a:moveTo>
                  <a:pt x="456" y="551"/>
                </a:moveTo>
                <a:cubicBezTo>
                  <a:pt x="24" y="551"/>
                  <a:pt x="24" y="551"/>
                  <a:pt x="24" y="551"/>
                </a:cubicBezTo>
                <a:cubicBezTo>
                  <a:pt x="24" y="130"/>
                  <a:pt x="24" y="130"/>
                  <a:pt x="24" y="130"/>
                </a:cubicBezTo>
                <a:cubicBezTo>
                  <a:pt x="72" y="130"/>
                  <a:pt x="72" y="130"/>
                  <a:pt x="72" y="130"/>
                </a:cubicBezTo>
                <a:cubicBezTo>
                  <a:pt x="72" y="496"/>
                  <a:pt x="72" y="496"/>
                  <a:pt x="72" y="496"/>
                </a:cubicBezTo>
                <a:cubicBezTo>
                  <a:pt x="456" y="496"/>
                  <a:pt x="456" y="496"/>
                  <a:pt x="456" y="496"/>
                </a:cubicBezTo>
                <a:lnTo>
                  <a:pt x="456" y="551"/>
                </a:lnTo>
                <a:close/>
                <a:moveTo>
                  <a:pt x="97" y="471"/>
                </a:moveTo>
                <a:cubicBezTo>
                  <a:pt x="97" y="404"/>
                  <a:pt x="97" y="404"/>
                  <a:pt x="97" y="404"/>
                </a:cubicBezTo>
                <a:cubicBezTo>
                  <a:pt x="552" y="404"/>
                  <a:pt x="552" y="404"/>
                  <a:pt x="552" y="404"/>
                </a:cubicBezTo>
                <a:cubicBezTo>
                  <a:pt x="552" y="471"/>
                  <a:pt x="552" y="471"/>
                  <a:pt x="552" y="471"/>
                </a:cubicBezTo>
                <a:lnTo>
                  <a:pt x="97" y="471"/>
                </a:lnTo>
                <a:close/>
                <a:moveTo>
                  <a:pt x="240" y="188"/>
                </a:moveTo>
                <a:cubicBezTo>
                  <a:pt x="267" y="188"/>
                  <a:pt x="288" y="167"/>
                  <a:pt x="288" y="140"/>
                </a:cubicBezTo>
                <a:cubicBezTo>
                  <a:pt x="288" y="113"/>
                  <a:pt x="267" y="92"/>
                  <a:pt x="240" y="92"/>
                </a:cubicBezTo>
                <a:cubicBezTo>
                  <a:pt x="214" y="92"/>
                  <a:pt x="192" y="113"/>
                  <a:pt x="192" y="140"/>
                </a:cubicBezTo>
                <a:cubicBezTo>
                  <a:pt x="192" y="167"/>
                  <a:pt x="214" y="188"/>
                  <a:pt x="240" y="188"/>
                </a:cubicBezTo>
                <a:close/>
                <a:moveTo>
                  <a:pt x="240" y="116"/>
                </a:moveTo>
                <a:cubicBezTo>
                  <a:pt x="253" y="116"/>
                  <a:pt x="264" y="127"/>
                  <a:pt x="264" y="140"/>
                </a:cubicBezTo>
                <a:cubicBezTo>
                  <a:pt x="264" y="153"/>
                  <a:pt x="253" y="164"/>
                  <a:pt x="240" y="164"/>
                </a:cubicBezTo>
                <a:cubicBezTo>
                  <a:pt x="227" y="164"/>
                  <a:pt x="217" y="153"/>
                  <a:pt x="217" y="140"/>
                </a:cubicBezTo>
                <a:cubicBezTo>
                  <a:pt x="217" y="127"/>
                  <a:pt x="227" y="116"/>
                  <a:pt x="240" y="116"/>
                </a:cubicBez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68" name="Google Shape;1337;p89">
            <a:extLst>
              <a:ext uri="{FF2B5EF4-FFF2-40B4-BE49-F238E27FC236}">
                <a16:creationId xmlns:a16="http://schemas.microsoft.com/office/drawing/2014/main" id="{34222193-1394-3356-2D2C-EB535CD93471}"/>
              </a:ext>
            </a:extLst>
          </p:cNvPr>
          <p:cNvSpPr/>
          <p:nvPr/>
        </p:nvSpPr>
        <p:spPr>
          <a:xfrm>
            <a:off x="8195441" y="5315669"/>
            <a:ext cx="504000" cy="504000"/>
          </a:xfrm>
          <a:custGeom>
            <a:avLst/>
            <a:gdLst/>
            <a:ahLst/>
            <a:cxnLst/>
            <a:rect l="l" t="t" r="r" b="b"/>
            <a:pathLst>
              <a:path w="576" h="576" extrusionOk="0">
                <a:moveTo>
                  <a:pt x="576" y="0"/>
                </a:moveTo>
                <a:cubicBezTo>
                  <a:pt x="72" y="0"/>
                  <a:pt x="72" y="0"/>
                  <a:pt x="72" y="0"/>
                </a:cubicBezTo>
                <a:cubicBezTo>
                  <a:pt x="72" y="106"/>
                  <a:pt x="72" y="106"/>
                  <a:pt x="72" y="106"/>
                </a:cubicBezTo>
                <a:cubicBezTo>
                  <a:pt x="0" y="106"/>
                  <a:pt x="0" y="106"/>
                  <a:pt x="0" y="106"/>
                </a:cubicBezTo>
                <a:cubicBezTo>
                  <a:pt x="0" y="576"/>
                  <a:pt x="0" y="576"/>
                  <a:pt x="0" y="576"/>
                </a:cubicBezTo>
                <a:cubicBezTo>
                  <a:pt x="480" y="576"/>
                  <a:pt x="480" y="576"/>
                  <a:pt x="480" y="576"/>
                </a:cubicBezTo>
                <a:cubicBezTo>
                  <a:pt x="480" y="496"/>
                  <a:pt x="480" y="496"/>
                  <a:pt x="480" y="496"/>
                </a:cubicBezTo>
                <a:cubicBezTo>
                  <a:pt x="576" y="496"/>
                  <a:pt x="576" y="496"/>
                  <a:pt x="576" y="496"/>
                </a:cubicBezTo>
                <a:lnTo>
                  <a:pt x="576" y="0"/>
                </a:lnTo>
                <a:close/>
                <a:moveTo>
                  <a:pt x="552" y="25"/>
                </a:moveTo>
                <a:cubicBezTo>
                  <a:pt x="552" y="379"/>
                  <a:pt x="552" y="379"/>
                  <a:pt x="552" y="379"/>
                </a:cubicBezTo>
                <a:cubicBezTo>
                  <a:pt x="511" y="379"/>
                  <a:pt x="511" y="379"/>
                  <a:pt x="511" y="379"/>
                </a:cubicBezTo>
                <a:cubicBezTo>
                  <a:pt x="410" y="188"/>
                  <a:pt x="410" y="188"/>
                  <a:pt x="410" y="188"/>
                </a:cubicBezTo>
                <a:cubicBezTo>
                  <a:pt x="333" y="324"/>
                  <a:pt x="333" y="324"/>
                  <a:pt x="333" y="324"/>
                </a:cubicBezTo>
                <a:cubicBezTo>
                  <a:pt x="275" y="266"/>
                  <a:pt x="275" y="266"/>
                  <a:pt x="275" y="266"/>
                </a:cubicBezTo>
                <a:cubicBezTo>
                  <a:pt x="204" y="379"/>
                  <a:pt x="204" y="379"/>
                  <a:pt x="204" y="379"/>
                </a:cubicBezTo>
                <a:cubicBezTo>
                  <a:pt x="97" y="379"/>
                  <a:pt x="97" y="379"/>
                  <a:pt x="97" y="379"/>
                </a:cubicBezTo>
                <a:cubicBezTo>
                  <a:pt x="97" y="25"/>
                  <a:pt x="97" y="25"/>
                  <a:pt x="97" y="25"/>
                </a:cubicBezTo>
                <a:lnTo>
                  <a:pt x="552" y="25"/>
                </a:lnTo>
                <a:close/>
                <a:moveTo>
                  <a:pt x="483" y="379"/>
                </a:moveTo>
                <a:cubicBezTo>
                  <a:pt x="233" y="379"/>
                  <a:pt x="233" y="379"/>
                  <a:pt x="233" y="379"/>
                </a:cubicBezTo>
                <a:cubicBezTo>
                  <a:pt x="280" y="305"/>
                  <a:pt x="280" y="305"/>
                  <a:pt x="280" y="305"/>
                </a:cubicBezTo>
                <a:cubicBezTo>
                  <a:pt x="339" y="364"/>
                  <a:pt x="339" y="364"/>
                  <a:pt x="339" y="364"/>
                </a:cubicBezTo>
                <a:cubicBezTo>
                  <a:pt x="409" y="239"/>
                  <a:pt x="409" y="239"/>
                  <a:pt x="409" y="239"/>
                </a:cubicBezTo>
                <a:lnTo>
                  <a:pt x="483" y="379"/>
                </a:lnTo>
                <a:close/>
                <a:moveTo>
                  <a:pt x="456" y="551"/>
                </a:moveTo>
                <a:cubicBezTo>
                  <a:pt x="24" y="551"/>
                  <a:pt x="24" y="551"/>
                  <a:pt x="24" y="551"/>
                </a:cubicBezTo>
                <a:cubicBezTo>
                  <a:pt x="24" y="130"/>
                  <a:pt x="24" y="130"/>
                  <a:pt x="24" y="130"/>
                </a:cubicBezTo>
                <a:cubicBezTo>
                  <a:pt x="72" y="130"/>
                  <a:pt x="72" y="130"/>
                  <a:pt x="72" y="130"/>
                </a:cubicBezTo>
                <a:cubicBezTo>
                  <a:pt x="72" y="496"/>
                  <a:pt x="72" y="496"/>
                  <a:pt x="72" y="496"/>
                </a:cubicBezTo>
                <a:cubicBezTo>
                  <a:pt x="456" y="496"/>
                  <a:pt x="456" y="496"/>
                  <a:pt x="456" y="496"/>
                </a:cubicBezTo>
                <a:lnTo>
                  <a:pt x="456" y="551"/>
                </a:lnTo>
                <a:close/>
                <a:moveTo>
                  <a:pt x="97" y="471"/>
                </a:moveTo>
                <a:cubicBezTo>
                  <a:pt x="97" y="404"/>
                  <a:pt x="97" y="404"/>
                  <a:pt x="97" y="404"/>
                </a:cubicBezTo>
                <a:cubicBezTo>
                  <a:pt x="552" y="404"/>
                  <a:pt x="552" y="404"/>
                  <a:pt x="552" y="404"/>
                </a:cubicBezTo>
                <a:cubicBezTo>
                  <a:pt x="552" y="471"/>
                  <a:pt x="552" y="471"/>
                  <a:pt x="552" y="471"/>
                </a:cubicBezTo>
                <a:lnTo>
                  <a:pt x="97" y="471"/>
                </a:lnTo>
                <a:close/>
                <a:moveTo>
                  <a:pt x="240" y="188"/>
                </a:moveTo>
                <a:cubicBezTo>
                  <a:pt x="267" y="188"/>
                  <a:pt x="288" y="167"/>
                  <a:pt x="288" y="140"/>
                </a:cubicBezTo>
                <a:cubicBezTo>
                  <a:pt x="288" y="113"/>
                  <a:pt x="267" y="92"/>
                  <a:pt x="240" y="92"/>
                </a:cubicBezTo>
                <a:cubicBezTo>
                  <a:pt x="214" y="92"/>
                  <a:pt x="192" y="113"/>
                  <a:pt x="192" y="140"/>
                </a:cubicBezTo>
                <a:cubicBezTo>
                  <a:pt x="192" y="167"/>
                  <a:pt x="214" y="188"/>
                  <a:pt x="240" y="188"/>
                </a:cubicBezTo>
                <a:close/>
                <a:moveTo>
                  <a:pt x="240" y="116"/>
                </a:moveTo>
                <a:cubicBezTo>
                  <a:pt x="253" y="116"/>
                  <a:pt x="264" y="127"/>
                  <a:pt x="264" y="140"/>
                </a:cubicBezTo>
                <a:cubicBezTo>
                  <a:pt x="264" y="153"/>
                  <a:pt x="253" y="164"/>
                  <a:pt x="240" y="164"/>
                </a:cubicBezTo>
                <a:cubicBezTo>
                  <a:pt x="227" y="164"/>
                  <a:pt x="217" y="153"/>
                  <a:pt x="217" y="140"/>
                </a:cubicBezTo>
                <a:cubicBezTo>
                  <a:pt x="217" y="127"/>
                  <a:pt x="227" y="116"/>
                  <a:pt x="240" y="116"/>
                </a:cubicBez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69" name="Google Shape;1337;p89">
            <a:extLst>
              <a:ext uri="{FF2B5EF4-FFF2-40B4-BE49-F238E27FC236}">
                <a16:creationId xmlns:a16="http://schemas.microsoft.com/office/drawing/2014/main" id="{8411A793-66D5-DBCC-A794-EB381877B75D}"/>
              </a:ext>
            </a:extLst>
          </p:cNvPr>
          <p:cNvSpPr/>
          <p:nvPr/>
        </p:nvSpPr>
        <p:spPr>
          <a:xfrm>
            <a:off x="10544582" y="5315669"/>
            <a:ext cx="504000" cy="504000"/>
          </a:xfrm>
          <a:custGeom>
            <a:avLst/>
            <a:gdLst/>
            <a:ahLst/>
            <a:cxnLst/>
            <a:rect l="l" t="t" r="r" b="b"/>
            <a:pathLst>
              <a:path w="576" h="576" extrusionOk="0">
                <a:moveTo>
                  <a:pt x="576" y="0"/>
                </a:moveTo>
                <a:cubicBezTo>
                  <a:pt x="72" y="0"/>
                  <a:pt x="72" y="0"/>
                  <a:pt x="72" y="0"/>
                </a:cubicBezTo>
                <a:cubicBezTo>
                  <a:pt x="72" y="106"/>
                  <a:pt x="72" y="106"/>
                  <a:pt x="72" y="106"/>
                </a:cubicBezTo>
                <a:cubicBezTo>
                  <a:pt x="0" y="106"/>
                  <a:pt x="0" y="106"/>
                  <a:pt x="0" y="106"/>
                </a:cubicBezTo>
                <a:cubicBezTo>
                  <a:pt x="0" y="576"/>
                  <a:pt x="0" y="576"/>
                  <a:pt x="0" y="576"/>
                </a:cubicBezTo>
                <a:cubicBezTo>
                  <a:pt x="480" y="576"/>
                  <a:pt x="480" y="576"/>
                  <a:pt x="480" y="576"/>
                </a:cubicBezTo>
                <a:cubicBezTo>
                  <a:pt x="480" y="496"/>
                  <a:pt x="480" y="496"/>
                  <a:pt x="480" y="496"/>
                </a:cubicBezTo>
                <a:cubicBezTo>
                  <a:pt x="576" y="496"/>
                  <a:pt x="576" y="496"/>
                  <a:pt x="576" y="496"/>
                </a:cubicBezTo>
                <a:lnTo>
                  <a:pt x="576" y="0"/>
                </a:lnTo>
                <a:close/>
                <a:moveTo>
                  <a:pt x="552" y="25"/>
                </a:moveTo>
                <a:cubicBezTo>
                  <a:pt x="552" y="379"/>
                  <a:pt x="552" y="379"/>
                  <a:pt x="552" y="379"/>
                </a:cubicBezTo>
                <a:cubicBezTo>
                  <a:pt x="511" y="379"/>
                  <a:pt x="511" y="379"/>
                  <a:pt x="511" y="379"/>
                </a:cubicBezTo>
                <a:cubicBezTo>
                  <a:pt x="410" y="188"/>
                  <a:pt x="410" y="188"/>
                  <a:pt x="410" y="188"/>
                </a:cubicBezTo>
                <a:cubicBezTo>
                  <a:pt x="333" y="324"/>
                  <a:pt x="333" y="324"/>
                  <a:pt x="333" y="324"/>
                </a:cubicBezTo>
                <a:cubicBezTo>
                  <a:pt x="275" y="266"/>
                  <a:pt x="275" y="266"/>
                  <a:pt x="275" y="266"/>
                </a:cubicBezTo>
                <a:cubicBezTo>
                  <a:pt x="204" y="379"/>
                  <a:pt x="204" y="379"/>
                  <a:pt x="204" y="379"/>
                </a:cubicBezTo>
                <a:cubicBezTo>
                  <a:pt x="97" y="379"/>
                  <a:pt x="97" y="379"/>
                  <a:pt x="97" y="379"/>
                </a:cubicBezTo>
                <a:cubicBezTo>
                  <a:pt x="97" y="25"/>
                  <a:pt x="97" y="25"/>
                  <a:pt x="97" y="25"/>
                </a:cubicBezTo>
                <a:lnTo>
                  <a:pt x="552" y="25"/>
                </a:lnTo>
                <a:close/>
                <a:moveTo>
                  <a:pt x="483" y="379"/>
                </a:moveTo>
                <a:cubicBezTo>
                  <a:pt x="233" y="379"/>
                  <a:pt x="233" y="379"/>
                  <a:pt x="233" y="379"/>
                </a:cubicBezTo>
                <a:cubicBezTo>
                  <a:pt x="280" y="305"/>
                  <a:pt x="280" y="305"/>
                  <a:pt x="280" y="305"/>
                </a:cubicBezTo>
                <a:cubicBezTo>
                  <a:pt x="339" y="364"/>
                  <a:pt x="339" y="364"/>
                  <a:pt x="339" y="364"/>
                </a:cubicBezTo>
                <a:cubicBezTo>
                  <a:pt x="409" y="239"/>
                  <a:pt x="409" y="239"/>
                  <a:pt x="409" y="239"/>
                </a:cubicBezTo>
                <a:lnTo>
                  <a:pt x="483" y="379"/>
                </a:lnTo>
                <a:close/>
                <a:moveTo>
                  <a:pt x="456" y="551"/>
                </a:moveTo>
                <a:cubicBezTo>
                  <a:pt x="24" y="551"/>
                  <a:pt x="24" y="551"/>
                  <a:pt x="24" y="551"/>
                </a:cubicBezTo>
                <a:cubicBezTo>
                  <a:pt x="24" y="130"/>
                  <a:pt x="24" y="130"/>
                  <a:pt x="24" y="130"/>
                </a:cubicBezTo>
                <a:cubicBezTo>
                  <a:pt x="72" y="130"/>
                  <a:pt x="72" y="130"/>
                  <a:pt x="72" y="130"/>
                </a:cubicBezTo>
                <a:cubicBezTo>
                  <a:pt x="72" y="496"/>
                  <a:pt x="72" y="496"/>
                  <a:pt x="72" y="496"/>
                </a:cubicBezTo>
                <a:cubicBezTo>
                  <a:pt x="456" y="496"/>
                  <a:pt x="456" y="496"/>
                  <a:pt x="456" y="496"/>
                </a:cubicBezTo>
                <a:lnTo>
                  <a:pt x="456" y="551"/>
                </a:lnTo>
                <a:close/>
                <a:moveTo>
                  <a:pt x="97" y="471"/>
                </a:moveTo>
                <a:cubicBezTo>
                  <a:pt x="97" y="404"/>
                  <a:pt x="97" y="404"/>
                  <a:pt x="97" y="404"/>
                </a:cubicBezTo>
                <a:cubicBezTo>
                  <a:pt x="552" y="404"/>
                  <a:pt x="552" y="404"/>
                  <a:pt x="552" y="404"/>
                </a:cubicBezTo>
                <a:cubicBezTo>
                  <a:pt x="552" y="471"/>
                  <a:pt x="552" y="471"/>
                  <a:pt x="552" y="471"/>
                </a:cubicBezTo>
                <a:lnTo>
                  <a:pt x="97" y="471"/>
                </a:lnTo>
                <a:close/>
                <a:moveTo>
                  <a:pt x="240" y="188"/>
                </a:moveTo>
                <a:cubicBezTo>
                  <a:pt x="267" y="188"/>
                  <a:pt x="288" y="167"/>
                  <a:pt x="288" y="140"/>
                </a:cubicBezTo>
                <a:cubicBezTo>
                  <a:pt x="288" y="113"/>
                  <a:pt x="267" y="92"/>
                  <a:pt x="240" y="92"/>
                </a:cubicBezTo>
                <a:cubicBezTo>
                  <a:pt x="214" y="92"/>
                  <a:pt x="192" y="113"/>
                  <a:pt x="192" y="140"/>
                </a:cubicBezTo>
                <a:cubicBezTo>
                  <a:pt x="192" y="167"/>
                  <a:pt x="214" y="188"/>
                  <a:pt x="240" y="188"/>
                </a:cubicBezTo>
                <a:close/>
                <a:moveTo>
                  <a:pt x="240" y="116"/>
                </a:moveTo>
                <a:cubicBezTo>
                  <a:pt x="253" y="116"/>
                  <a:pt x="264" y="127"/>
                  <a:pt x="264" y="140"/>
                </a:cubicBezTo>
                <a:cubicBezTo>
                  <a:pt x="264" y="153"/>
                  <a:pt x="253" y="164"/>
                  <a:pt x="240" y="164"/>
                </a:cubicBezTo>
                <a:cubicBezTo>
                  <a:pt x="227" y="164"/>
                  <a:pt x="217" y="153"/>
                  <a:pt x="217" y="140"/>
                </a:cubicBezTo>
                <a:cubicBezTo>
                  <a:pt x="217" y="127"/>
                  <a:pt x="227" y="116"/>
                  <a:pt x="240" y="116"/>
                </a:cubicBez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2" name="Rectangle 1">
            <a:extLst>
              <a:ext uri="{FF2B5EF4-FFF2-40B4-BE49-F238E27FC236}">
                <a16:creationId xmlns:a16="http://schemas.microsoft.com/office/drawing/2014/main" id="{8F721146-0146-6364-6B84-91ADE6C70333}"/>
              </a:ext>
            </a:extLst>
          </p:cNvPr>
          <p:cNvSpPr/>
          <p:nvPr/>
        </p:nvSpPr>
        <p:spPr>
          <a:xfrm>
            <a:off x="1139874" y="1807088"/>
            <a:ext cx="10609213" cy="58559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gb" sz="1600" b="1">
                <a:solidFill>
                  <a:schemeClr val="tx1"/>
                </a:solidFill>
                <a:cs typeface="Arial"/>
              </a:rPr>
              <a:t>Please put the steps in the correct order! Which steps do you think you have a role to play?</a:t>
            </a:r>
            <a:endParaRPr lang="en-US" sz="1600" b="1">
              <a:solidFill>
                <a:schemeClr val="tx1"/>
              </a:solidFill>
            </a:endParaRPr>
          </a:p>
        </p:txBody>
      </p:sp>
      <p:sp>
        <p:nvSpPr>
          <p:cNvPr id="5" name="Rectangle 4">
            <a:extLst>
              <a:ext uri="{FF2B5EF4-FFF2-40B4-BE49-F238E27FC236}">
                <a16:creationId xmlns:a16="http://schemas.microsoft.com/office/drawing/2014/main" id="{89790A45-B1C9-916E-308B-ECFC34CCA5A7}"/>
              </a:ext>
            </a:extLst>
          </p:cNvPr>
          <p:cNvSpPr/>
          <p:nvPr/>
        </p:nvSpPr>
        <p:spPr>
          <a:xfrm>
            <a:off x="442912" y="1810067"/>
            <a:ext cx="586800" cy="585788"/>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6" name="Freeform 45">
            <a:extLst>
              <a:ext uri="{FF2B5EF4-FFF2-40B4-BE49-F238E27FC236}">
                <a16:creationId xmlns:a16="http://schemas.microsoft.com/office/drawing/2014/main" id="{F1495032-8CCE-D7E1-A57E-AAA5D0489493}"/>
              </a:ext>
            </a:extLst>
          </p:cNvPr>
          <p:cNvSpPr>
            <a:spLocks noChangeAspect="1" noEditPoints="1"/>
          </p:cNvSpPr>
          <p:nvPr/>
        </p:nvSpPr>
        <p:spPr bwMode="auto">
          <a:xfrm>
            <a:off x="508360" y="1874361"/>
            <a:ext cx="455905" cy="457200"/>
          </a:xfrm>
          <a:custGeom>
            <a:avLst/>
            <a:gdLst>
              <a:gd name="T0" fmla="*/ 530 w 704"/>
              <a:gd name="T1" fmla="*/ 0 h 706"/>
              <a:gd name="T2" fmla="*/ 530 w 704"/>
              <a:gd name="T3" fmla="*/ 613 h 706"/>
              <a:gd name="T4" fmla="*/ 589 w 704"/>
              <a:gd name="T5" fmla="*/ 706 h 706"/>
              <a:gd name="T6" fmla="*/ 649 w 704"/>
              <a:gd name="T7" fmla="*/ 613 h 706"/>
              <a:gd name="T8" fmla="*/ 649 w 704"/>
              <a:gd name="T9" fmla="*/ 31 h 706"/>
              <a:gd name="T10" fmla="*/ 673 w 704"/>
              <a:gd name="T11" fmla="*/ 31 h 706"/>
              <a:gd name="T12" fmla="*/ 673 w 704"/>
              <a:gd name="T13" fmla="*/ 253 h 706"/>
              <a:gd name="T14" fmla="*/ 704 w 704"/>
              <a:gd name="T15" fmla="*/ 253 h 706"/>
              <a:gd name="T16" fmla="*/ 704 w 704"/>
              <a:gd name="T17" fmla="*/ 0 h 706"/>
              <a:gd name="T18" fmla="*/ 530 w 704"/>
              <a:gd name="T19" fmla="*/ 0 h 706"/>
              <a:gd name="T20" fmla="*/ 618 w 704"/>
              <a:gd name="T21" fmla="*/ 31 h 706"/>
              <a:gd name="T22" fmla="*/ 618 w 704"/>
              <a:gd name="T23" fmla="*/ 238 h 706"/>
              <a:gd name="T24" fmla="*/ 561 w 704"/>
              <a:gd name="T25" fmla="*/ 238 h 706"/>
              <a:gd name="T26" fmla="*/ 561 w 704"/>
              <a:gd name="T27" fmla="*/ 31 h 706"/>
              <a:gd name="T28" fmla="*/ 618 w 704"/>
              <a:gd name="T29" fmla="*/ 31 h 706"/>
              <a:gd name="T30" fmla="*/ 589 w 704"/>
              <a:gd name="T31" fmla="*/ 651 h 706"/>
              <a:gd name="T32" fmla="*/ 561 w 704"/>
              <a:gd name="T33" fmla="*/ 605 h 706"/>
              <a:gd name="T34" fmla="*/ 561 w 704"/>
              <a:gd name="T35" fmla="*/ 269 h 706"/>
              <a:gd name="T36" fmla="*/ 618 w 704"/>
              <a:gd name="T37" fmla="*/ 269 h 706"/>
              <a:gd name="T38" fmla="*/ 618 w 704"/>
              <a:gd name="T39" fmla="*/ 605 h 706"/>
              <a:gd name="T40" fmla="*/ 589 w 704"/>
              <a:gd name="T41" fmla="*/ 651 h 706"/>
              <a:gd name="T42" fmla="*/ 352 w 704"/>
              <a:gd name="T43" fmla="*/ 178 h 706"/>
              <a:gd name="T44" fmla="*/ 117 w 704"/>
              <a:gd name="T45" fmla="*/ 178 h 706"/>
              <a:gd name="T46" fmla="*/ 117 w 704"/>
              <a:gd name="T47" fmla="*/ 149 h 706"/>
              <a:gd name="T48" fmla="*/ 352 w 704"/>
              <a:gd name="T49" fmla="*/ 149 h 706"/>
              <a:gd name="T50" fmla="*/ 352 w 704"/>
              <a:gd name="T51" fmla="*/ 178 h 706"/>
              <a:gd name="T52" fmla="*/ 352 w 704"/>
              <a:gd name="T53" fmla="*/ 305 h 706"/>
              <a:gd name="T54" fmla="*/ 117 w 704"/>
              <a:gd name="T55" fmla="*/ 305 h 706"/>
              <a:gd name="T56" fmla="*/ 117 w 704"/>
              <a:gd name="T57" fmla="*/ 275 h 706"/>
              <a:gd name="T58" fmla="*/ 352 w 704"/>
              <a:gd name="T59" fmla="*/ 275 h 706"/>
              <a:gd name="T60" fmla="*/ 352 w 704"/>
              <a:gd name="T61" fmla="*/ 305 h 706"/>
              <a:gd name="T62" fmla="*/ 352 w 704"/>
              <a:gd name="T63" fmla="*/ 433 h 706"/>
              <a:gd name="T64" fmla="*/ 117 w 704"/>
              <a:gd name="T65" fmla="*/ 433 h 706"/>
              <a:gd name="T66" fmla="*/ 117 w 704"/>
              <a:gd name="T67" fmla="*/ 402 h 706"/>
              <a:gd name="T68" fmla="*/ 352 w 704"/>
              <a:gd name="T69" fmla="*/ 402 h 706"/>
              <a:gd name="T70" fmla="*/ 352 w 704"/>
              <a:gd name="T71" fmla="*/ 433 h 706"/>
              <a:gd name="T72" fmla="*/ 352 w 704"/>
              <a:gd name="T73" fmla="*/ 559 h 706"/>
              <a:gd name="T74" fmla="*/ 117 w 704"/>
              <a:gd name="T75" fmla="*/ 559 h 706"/>
              <a:gd name="T76" fmla="*/ 117 w 704"/>
              <a:gd name="T77" fmla="*/ 530 h 706"/>
              <a:gd name="T78" fmla="*/ 352 w 704"/>
              <a:gd name="T79" fmla="*/ 530 h 706"/>
              <a:gd name="T80" fmla="*/ 352 w 704"/>
              <a:gd name="T81" fmla="*/ 559 h 706"/>
              <a:gd name="T82" fmla="*/ 469 w 704"/>
              <a:gd name="T83" fmla="*/ 706 h 706"/>
              <a:gd name="T84" fmla="*/ 0 w 704"/>
              <a:gd name="T85" fmla="*/ 706 h 706"/>
              <a:gd name="T86" fmla="*/ 0 w 704"/>
              <a:gd name="T87" fmla="*/ 0 h 706"/>
              <a:gd name="T88" fmla="*/ 469 w 704"/>
              <a:gd name="T89" fmla="*/ 0 h 706"/>
              <a:gd name="T90" fmla="*/ 469 w 704"/>
              <a:gd name="T91" fmla="*/ 706 h 706"/>
              <a:gd name="T92" fmla="*/ 29 w 704"/>
              <a:gd name="T93" fmla="*/ 677 h 706"/>
              <a:gd name="T94" fmla="*/ 439 w 704"/>
              <a:gd name="T95" fmla="*/ 677 h 706"/>
              <a:gd name="T96" fmla="*/ 439 w 704"/>
              <a:gd name="T97" fmla="*/ 31 h 706"/>
              <a:gd name="T98" fmla="*/ 29 w 704"/>
              <a:gd name="T99" fmla="*/ 31 h 706"/>
              <a:gd name="T100" fmla="*/ 29 w 704"/>
              <a:gd name="T101" fmla="*/ 677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4" h="706">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a:solidFill>
                <a:schemeClr val="bg1"/>
              </a:solidFill>
            </a:endParaRPr>
          </a:p>
        </p:txBody>
      </p:sp>
      <p:sp>
        <p:nvSpPr>
          <p:cNvPr id="8" name="Rectangle 7">
            <a:extLst>
              <a:ext uri="{FF2B5EF4-FFF2-40B4-BE49-F238E27FC236}">
                <a16:creationId xmlns:a16="http://schemas.microsoft.com/office/drawing/2014/main" id="{C45B4B4D-811D-75BC-1C53-0D260614DCE2}"/>
              </a:ext>
            </a:extLst>
          </p:cNvPr>
          <p:cNvSpPr/>
          <p:nvPr/>
        </p:nvSpPr>
        <p:spPr>
          <a:xfrm>
            <a:off x="442913" y="126781"/>
            <a:ext cx="2279122"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chemeClr val="accent1"/>
                </a:solidFill>
                <a:effectLst/>
                <a:uLnTx/>
                <a:uFillTx/>
                <a:ea typeface="Georgia"/>
                <a:cs typeface="Georgia"/>
                <a:sym typeface="Georgia"/>
              </a:rPr>
              <a:t>7. FIRST AID SKILLS</a:t>
            </a:r>
          </a:p>
        </p:txBody>
      </p:sp>
      <p:grpSp>
        <p:nvGrpSpPr>
          <p:cNvPr id="60" name="Group 59">
            <a:extLst>
              <a:ext uri="{FF2B5EF4-FFF2-40B4-BE49-F238E27FC236}">
                <a16:creationId xmlns:a16="http://schemas.microsoft.com/office/drawing/2014/main" id="{769A6F32-C8E8-2113-A878-8A86595DE80F}"/>
              </a:ext>
            </a:extLst>
          </p:cNvPr>
          <p:cNvGrpSpPr/>
          <p:nvPr/>
        </p:nvGrpSpPr>
        <p:grpSpPr>
          <a:xfrm>
            <a:off x="9307133" y="126781"/>
            <a:ext cx="2441955" cy="217488"/>
            <a:chOff x="9307133" y="126781"/>
            <a:chExt cx="2441955" cy="217488"/>
          </a:xfrm>
        </p:grpSpPr>
        <p:sp>
          <p:nvSpPr>
            <p:cNvPr id="61" name="Rectangle 60">
              <a:extLst>
                <a:ext uri="{FF2B5EF4-FFF2-40B4-BE49-F238E27FC236}">
                  <a16:creationId xmlns:a16="http://schemas.microsoft.com/office/drawing/2014/main" id="{ACF222CD-50C6-5EBE-0547-FFB11EC6E9DF}"/>
                </a:ext>
              </a:extLst>
            </p:cNvPr>
            <p:cNvSpPr/>
            <p:nvPr/>
          </p:nvSpPr>
          <p:spPr>
            <a:xfrm>
              <a:off x="9307133"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62" name="Rectangle 61">
              <a:extLst>
                <a:ext uri="{FF2B5EF4-FFF2-40B4-BE49-F238E27FC236}">
                  <a16:creationId xmlns:a16="http://schemas.microsoft.com/office/drawing/2014/main" id="{3D74A51E-7E13-4C0C-A678-0E2A73651736}"/>
                </a:ext>
              </a:extLst>
            </p:cNvPr>
            <p:cNvSpPr/>
            <p:nvPr/>
          </p:nvSpPr>
          <p:spPr>
            <a:xfrm>
              <a:off x="9790783" y="126781"/>
              <a:ext cx="1237148"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dirty="0">
                  <a:ln>
                    <a:noFill/>
                  </a:ln>
                  <a:solidFill>
                    <a:srgbClr val="000000"/>
                  </a:solidFill>
                  <a:effectLst/>
                  <a:uLnTx/>
                  <a:uFillTx/>
                  <a:ea typeface="Georgia"/>
                  <a:cs typeface="Georgia"/>
                  <a:sym typeface="Georgia"/>
                </a:rPr>
                <a:t>Steps </a:t>
              </a:r>
              <a:r>
                <a:rPr kumimoji="0" lang="lv-LV" sz="800" b="1" i="0" u="none" strike="noStrike" kern="0" cap="none" spc="0" normalizeH="0" baseline="0" noProof="0" dirty="0" err="1">
                  <a:ln>
                    <a:noFill/>
                  </a:ln>
                  <a:solidFill>
                    <a:srgbClr val="000000"/>
                  </a:solidFill>
                  <a:effectLst/>
                  <a:uLnTx/>
                  <a:uFillTx/>
                  <a:ea typeface="Georgia"/>
                  <a:cs typeface="Georgia"/>
                  <a:sym typeface="Georgia"/>
                </a:rPr>
                <a:t>at</a:t>
              </a:r>
              <a:r>
                <a:rPr kumimoji="0" lang="lv-LV" sz="800" b="1" i="0" u="none" strike="noStrike" kern="0" cap="none" spc="0" normalizeH="0" baseline="0" noProof="0" dirty="0">
                  <a:ln>
                    <a:noFill/>
                  </a:ln>
                  <a:solidFill>
                    <a:srgbClr val="000000"/>
                  </a:solidFill>
                  <a:effectLst/>
                  <a:uLnTx/>
                  <a:uFillTx/>
                  <a:ea typeface="Georgia"/>
                  <a:cs typeface="Georgia"/>
                  <a:sym typeface="Georgia"/>
                </a:rPr>
                <a:t> </a:t>
              </a:r>
              <a:r>
                <a:rPr kumimoji="0" lang="lv-LV" sz="800" b="1" i="0" u="none" strike="noStrike" kern="0" cap="none" spc="0" normalizeH="0" baseline="0" noProof="0" dirty="0" err="1">
                  <a:ln>
                    <a:noFill/>
                  </a:ln>
                  <a:solidFill>
                    <a:srgbClr val="000000"/>
                  </a:solidFill>
                  <a:effectLst/>
                  <a:uLnTx/>
                  <a:uFillTx/>
                  <a:ea typeface="Georgia"/>
                  <a:cs typeface="Georgia"/>
                  <a:sym typeface="Georgia"/>
                </a:rPr>
                <a:t>the</a:t>
              </a:r>
              <a:r>
                <a:rPr kumimoji="0" lang="lv-LV" sz="800" b="1" i="0" u="none" strike="noStrike" kern="0" cap="none" spc="0" normalizeH="0" baseline="0" noProof="0" dirty="0">
                  <a:ln>
                    <a:noFill/>
                  </a:ln>
                  <a:solidFill>
                    <a:srgbClr val="000000"/>
                  </a:solidFill>
                  <a:effectLst/>
                  <a:uLnTx/>
                  <a:uFillTx/>
                  <a:ea typeface="Georgia"/>
                  <a:cs typeface="Georgia"/>
                  <a:sym typeface="Georgia"/>
                </a:rPr>
                <a:t> </a:t>
              </a:r>
              <a:r>
                <a:rPr kumimoji="0" lang="lv-LV" sz="800" b="1" i="0" u="none" strike="noStrike" kern="0" cap="none" spc="0" normalizeH="0" baseline="0" noProof="0" dirty="0" err="1">
                  <a:ln>
                    <a:noFill/>
                  </a:ln>
                  <a:solidFill>
                    <a:srgbClr val="000000"/>
                  </a:solidFill>
                  <a:effectLst/>
                  <a:uLnTx/>
                  <a:uFillTx/>
                  <a:ea typeface="Georgia"/>
                  <a:cs typeface="Georgia"/>
                  <a:sym typeface="Georgia"/>
                </a:rPr>
                <a:t>scene</a:t>
              </a:r>
              <a:r>
                <a:rPr kumimoji="0" lang="lv-LV" sz="800" b="1" i="0" u="none" strike="noStrike" kern="0" cap="none" spc="0" normalizeH="0" baseline="0" noProof="0" dirty="0">
                  <a:ln>
                    <a:noFill/>
                  </a:ln>
                  <a:solidFill>
                    <a:srgbClr val="000000"/>
                  </a:solidFill>
                  <a:effectLst/>
                  <a:uLnTx/>
                  <a:uFillTx/>
                  <a:ea typeface="Georgia"/>
                  <a:cs typeface="Georgia"/>
                  <a:sym typeface="Georgia"/>
                </a:rPr>
                <a:t> </a:t>
              </a:r>
              <a:br>
                <a:rPr kumimoji="0" lang="lv-LV" sz="800" b="1" i="0" u="none" strike="noStrike" kern="0" cap="none" spc="0" normalizeH="0" baseline="0" noProof="0" dirty="0">
                  <a:ln>
                    <a:noFill/>
                  </a:ln>
                  <a:solidFill>
                    <a:srgbClr val="000000"/>
                  </a:solidFill>
                  <a:effectLst/>
                  <a:uLnTx/>
                  <a:uFillTx/>
                  <a:ea typeface="Georgia"/>
                  <a:cs typeface="Georgia"/>
                  <a:sym typeface="Georgia"/>
                </a:rPr>
              </a:br>
              <a:r>
                <a:rPr kumimoji="0" lang="lv-LV" sz="800" b="1" i="0" u="none" strike="noStrike" kern="0" cap="none" spc="0" normalizeH="0" baseline="0" noProof="0" dirty="0" err="1">
                  <a:ln>
                    <a:noFill/>
                  </a:ln>
                  <a:solidFill>
                    <a:srgbClr val="000000"/>
                  </a:solidFill>
                  <a:effectLst/>
                  <a:uLnTx/>
                  <a:uFillTx/>
                  <a:ea typeface="Georgia"/>
                  <a:cs typeface="Georgia"/>
                  <a:sym typeface="Georgia"/>
                </a:rPr>
                <a:t>of</a:t>
              </a:r>
              <a:r>
                <a:rPr kumimoji="0" lang="lv-LV" sz="800" b="1" i="0" u="none" strike="noStrike" kern="0" cap="none" spc="0" normalizeH="0" baseline="0" noProof="0" dirty="0">
                  <a:ln>
                    <a:noFill/>
                  </a:ln>
                  <a:solidFill>
                    <a:srgbClr val="000000"/>
                  </a:solidFill>
                  <a:effectLst/>
                  <a:uLnTx/>
                  <a:uFillTx/>
                  <a:ea typeface="Georgia"/>
                  <a:cs typeface="Georgia"/>
                  <a:sym typeface="Georgia"/>
                </a:rPr>
                <a:t> </a:t>
              </a:r>
              <a:r>
                <a:rPr kumimoji="0" lang="lv-LV" sz="800" b="1" i="0" u="none" strike="noStrike" kern="0" cap="none" spc="0" normalizeH="0" baseline="0" noProof="0" dirty="0" err="1">
                  <a:ln>
                    <a:noFill/>
                  </a:ln>
                  <a:solidFill>
                    <a:srgbClr val="000000"/>
                  </a:solidFill>
                  <a:effectLst/>
                  <a:uLnTx/>
                  <a:uFillTx/>
                  <a:ea typeface="Georgia"/>
                  <a:cs typeface="Georgia"/>
                  <a:sym typeface="Georgia"/>
                </a:rPr>
                <a:t>the</a:t>
              </a:r>
              <a:r>
                <a:rPr kumimoji="0" lang="lv-LV" sz="800" b="1" i="0" u="none" strike="noStrike" kern="0" cap="none" spc="0" normalizeH="0" baseline="0" noProof="0" dirty="0">
                  <a:ln>
                    <a:noFill/>
                  </a:ln>
                  <a:solidFill>
                    <a:srgbClr val="000000"/>
                  </a:solidFill>
                  <a:effectLst/>
                  <a:uLnTx/>
                  <a:uFillTx/>
                  <a:ea typeface="Georgia"/>
                  <a:cs typeface="Georgia"/>
                  <a:sym typeface="Georgia"/>
                </a:rPr>
                <a:t> </a:t>
              </a:r>
              <a:r>
                <a:rPr kumimoji="0" lang="lv-LV" sz="800" b="1" i="0" u="none" strike="noStrike" kern="0" cap="none" spc="0" normalizeH="0" baseline="0" noProof="0" dirty="0" err="1">
                  <a:ln>
                    <a:noFill/>
                  </a:ln>
                  <a:solidFill>
                    <a:srgbClr val="000000"/>
                  </a:solidFill>
                  <a:effectLst/>
                  <a:uLnTx/>
                  <a:uFillTx/>
                  <a:ea typeface="Georgia"/>
                  <a:cs typeface="Georgia"/>
                  <a:sym typeface="Georgia"/>
                </a:rPr>
                <a:t>accident</a:t>
              </a:r>
              <a:endParaRPr kumimoji="0" lang="lv-LV" sz="800" b="1" i="0" u="none" strike="noStrike" kern="0" cap="none" spc="0" normalizeH="0" baseline="0" noProof="0" dirty="0">
                <a:ln>
                  <a:noFill/>
                </a:ln>
                <a:solidFill>
                  <a:srgbClr val="000000"/>
                </a:solidFill>
                <a:effectLst/>
                <a:uLnTx/>
                <a:uFillTx/>
                <a:ea typeface="Georgia"/>
                <a:cs typeface="Georgia"/>
                <a:sym typeface="Georgia"/>
              </a:endParaRPr>
            </a:p>
          </p:txBody>
        </p:sp>
        <p:sp>
          <p:nvSpPr>
            <p:cNvPr id="63" name="Rectangle 62">
              <a:extLst>
                <a:ext uri="{FF2B5EF4-FFF2-40B4-BE49-F238E27FC236}">
                  <a16:creationId xmlns:a16="http://schemas.microsoft.com/office/drawing/2014/main" id="{D2D845CA-BC87-CE93-14B3-CEB8B3CB8407}"/>
                </a:ext>
              </a:extLst>
            </p:cNvPr>
            <p:cNvSpPr/>
            <p:nvPr/>
          </p:nvSpPr>
          <p:spPr>
            <a:xfrm>
              <a:off x="955040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2</a:t>
              </a:r>
              <a:endParaRPr kumimoji="0" lang="lv-LV" sz="800" b="1" i="0" u="none" strike="noStrike" kern="0" cap="none" spc="0" normalizeH="0" baseline="0" noProof="0">
                <a:ln>
                  <a:noFill/>
                </a:ln>
                <a:effectLst/>
                <a:uLnTx/>
                <a:uFillTx/>
                <a:ea typeface="Georgia"/>
                <a:cs typeface="Georgia"/>
                <a:sym typeface="Georgia"/>
              </a:endParaRPr>
            </a:p>
          </p:txBody>
        </p:sp>
        <p:sp>
          <p:nvSpPr>
            <p:cNvPr id="64" name="Rectangle 63">
              <a:extLst>
                <a:ext uri="{FF2B5EF4-FFF2-40B4-BE49-F238E27FC236}">
                  <a16:creationId xmlns:a16="http://schemas.microsoft.com/office/drawing/2014/main" id="{2CC9D26E-9E50-A7D6-0663-66DC7B6780C5}"/>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70" name="Rectangle 69">
              <a:extLst>
                <a:ext uri="{FF2B5EF4-FFF2-40B4-BE49-F238E27FC236}">
                  <a16:creationId xmlns:a16="http://schemas.microsoft.com/office/drawing/2014/main" id="{3C46D012-818D-4B0B-FBDC-2C996018BBB5}"/>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4</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71" name="Rectangle 70">
              <a:extLst>
                <a:ext uri="{FF2B5EF4-FFF2-40B4-BE49-F238E27FC236}">
                  <a16:creationId xmlns:a16="http://schemas.microsoft.com/office/drawing/2014/main" id="{BAF7EC52-30F7-241F-EC59-C86351F1E908}"/>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20678372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952,47,Minimum contents of a first aid ki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Custom 6">
      <a:dk1>
        <a:srgbClr val="000000"/>
      </a:dk1>
      <a:lt1>
        <a:srgbClr val="FFFFFF"/>
      </a:lt1>
      <a:dk2>
        <a:srgbClr val="7D7D7D"/>
      </a:dk2>
      <a:lt2>
        <a:srgbClr val="DEDEDE"/>
      </a:lt2>
      <a:accent1>
        <a:srgbClr val="A4A3B2"/>
      </a:accent1>
      <a:accent2>
        <a:srgbClr val="A8192D"/>
      </a:accent2>
      <a:accent3>
        <a:srgbClr val="525A72"/>
      </a:accent3>
      <a:accent4>
        <a:srgbClr val="D18D85"/>
      </a:accent4>
      <a:accent5>
        <a:srgbClr val="D0CFD7"/>
      </a:accent5>
      <a:accent6>
        <a:srgbClr val="CFD6E8"/>
      </a:accent6>
      <a:hlink>
        <a:srgbClr val="A8192D"/>
      </a:hlink>
      <a:folHlink>
        <a:srgbClr val="A8192D"/>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_16x9_PowerPoint_Template_2024" id="{BFCA0133-6982-9A41-83EB-B5BEADC3CF5E}" vid="{0EDD02ED-29A7-1B45-BF3B-A0CA00E48CB6}"/>
    </a:ext>
  </a:ext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EFF7F3D1589944B90553ACEA3976663" ma:contentTypeVersion="15" ma:contentTypeDescription="Create a new document." ma:contentTypeScope="" ma:versionID="6f5a9c38107a468910586e54a44bf668">
  <xsd:schema xmlns:xsd="http://www.w3.org/2001/XMLSchema" xmlns:xs="http://www.w3.org/2001/XMLSchema" xmlns:p="http://schemas.microsoft.com/office/2006/metadata/properties" xmlns:ns2="d4c41ca5-56e0-486b-8028-8e1cdea398f5" xmlns:ns3="51cb120f-d312-4c6b-a4cc-bcc7f473426d" targetNamespace="http://schemas.microsoft.com/office/2006/metadata/properties" ma:root="true" ma:fieldsID="319bd485ab46f162b11c7c7cd04d0b0e" ns2:_="" ns3:_="">
    <xsd:import namespace="d4c41ca5-56e0-486b-8028-8e1cdea398f5"/>
    <xsd:import namespace="51cb120f-d312-4c6b-a4cc-bcc7f473426d"/>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c41ca5-56e0-486b-8028-8e1cdea398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47bde53e-b0a2-4e98-8550-8a152603f3a2"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1cb120f-d312-4c6b-a4cc-bcc7f473426d"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f52b72c0-8bf2-4414-88c4-a88c88bd1edf}" ma:internalName="TaxCatchAll" ma:showField="CatchAllData" ma:web="51cb120f-d312-4c6b-a4cc-bcc7f473426d">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4c41ca5-56e0-486b-8028-8e1cdea398f5">
      <Terms xmlns="http://schemas.microsoft.com/office/infopath/2007/PartnerControls"/>
    </lcf76f155ced4ddcb4097134ff3c332f>
    <TaxCatchAll xmlns="51cb120f-d312-4c6b-a4cc-bcc7f473426d" xsi:nil="true"/>
  </documentManagement>
</p:properties>
</file>

<file path=customXml/itemProps1.xml><?xml version="1.0" encoding="utf-8"?>
<ds:datastoreItem xmlns:ds="http://schemas.openxmlformats.org/officeDocument/2006/customXml" ds:itemID="{EE6DA131-D844-4761-9BA3-55B130ADC945}"/>
</file>

<file path=customXml/itemProps2.xml><?xml version="1.0" encoding="utf-8"?>
<ds:datastoreItem xmlns:ds="http://schemas.openxmlformats.org/officeDocument/2006/customXml" ds:itemID="{35A8970B-3DDA-47CD-836C-FFC1E6DA2C24}">
  <ds:schemaRefs>
    <ds:schemaRef ds:uri="http://schemas.microsoft.com/sharepoint/v3/contenttype/forms"/>
  </ds:schemaRefs>
</ds:datastoreItem>
</file>

<file path=customXml/itemProps3.xml><?xml version="1.0" encoding="utf-8"?>
<ds:datastoreItem xmlns:ds="http://schemas.openxmlformats.org/officeDocument/2006/customXml" ds:itemID="{D1A34826-0084-4EBB-A5E2-D2A015FBDFFA}">
  <ds:schemaRefs>
    <ds:schemaRef ds:uri="http://schemas.microsoft.com/office/infopath/2007/PartnerControls"/>
    <ds:schemaRef ds:uri="http://purl.org/dc/dcmitype/"/>
    <ds:schemaRef ds:uri="http://www.w3.org/XML/1998/namespace"/>
    <ds:schemaRef ds:uri="http://purl.org/dc/elements/1.1/"/>
    <ds:schemaRef ds:uri="http://schemas.microsoft.com/office/2006/documentManagement/types"/>
    <ds:schemaRef ds:uri="http://schemas.openxmlformats.org/package/2006/metadata/core-properties"/>
    <ds:schemaRef ds:uri="http://schemas.microsoft.com/office/2006/metadata/properties"/>
    <ds:schemaRef ds:uri="51cb120f-d312-4c6b-a4cc-bcc7f473426d"/>
    <ds:schemaRef ds:uri="e2c4cda6-785d-47ce-9885-f4b56b8398c9"/>
    <ds:schemaRef ds:uri="http://purl.org/dc/terms/"/>
  </ds:schemaRefs>
</ds:datastoreItem>
</file>

<file path=docProps/app.xml><?xml version="1.0" encoding="utf-8"?>
<Properties xmlns="http://schemas.openxmlformats.org/officeDocument/2006/extended-properties" xmlns:vt="http://schemas.openxmlformats.org/officeDocument/2006/docPropsVTypes">
  <Template>PwC_16x9_PowerPoint_Template_2024</Template>
  <TotalTime>159</TotalTime>
  <Words>6103</Words>
  <Application>Microsoft Office PowerPoint</Application>
  <PresentationFormat>Widescreen</PresentationFormat>
  <Paragraphs>1107</Paragraphs>
  <Slides>47</Slides>
  <Notes>43</Notes>
  <HiddenSlides>0</HiddenSlides>
  <MMClips>0</MMClips>
  <ScaleCrop>false</ScaleCrop>
  <HeadingPairs>
    <vt:vector size="4" baseType="variant">
      <vt:variant>
        <vt:lpstr>Theme</vt:lpstr>
      </vt:variant>
      <vt:variant>
        <vt:i4>1</vt:i4>
      </vt:variant>
      <vt:variant>
        <vt:lpstr>Slide Titles</vt:lpstr>
      </vt:variant>
      <vt:variant>
        <vt:i4>47</vt:i4>
      </vt:variant>
    </vt:vector>
  </HeadingPairs>
  <TitlesOfParts>
    <vt:vector size="48" baseType="lpstr">
      <vt:lpstr>PwC</vt:lpstr>
      <vt:lpstr>PowerPoint Presentation</vt:lpstr>
      <vt:lpstr>Tasks</vt:lpstr>
      <vt:lpstr>Table of contents</vt:lpstr>
      <vt:lpstr>7.1. Introduction</vt:lpstr>
      <vt:lpstr>Do you know what first aid is? How is it different from emergency medical assistance? </vt:lpstr>
      <vt:lpstr>Do you know what first aid is? How is it different from emergency medical assistance? </vt:lpstr>
      <vt:lpstr>Overall description  of first aid</vt:lpstr>
      <vt:lpstr>7.2. Steps  at the scene of the accident</vt:lpstr>
      <vt:lpstr>What is the sequence of the chain of survival?  Which steps are you tasked with? </vt:lpstr>
      <vt:lpstr>What is the sequence of the chain of survival?  Which steps are you tasked with? </vt:lpstr>
      <vt:lpstr>What immediate action should be taken? </vt:lpstr>
      <vt:lpstr>How to call for help?</vt:lpstr>
      <vt:lpstr>What immediate action should be taken? </vt:lpstr>
      <vt:lpstr>7.3. Resuscitation  measures</vt:lpstr>
      <vt:lpstr>Adult resuscitation algorithm</vt:lpstr>
      <vt:lpstr>Adult resuscitation algorithm - important to remember</vt:lpstr>
      <vt:lpstr>7.4. First aid measures</vt:lpstr>
      <vt:lpstr>First aid measures</vt:lpstr>
      <vt:lpstr>What to do in case of severe bleeding?</vt:lpstr>
      <vt:lpstr>What to do if there is heavy bleeding in the arm or in the leg and bandages  are available?</vt:lpstr>
      <vt:lpstr>What to do in case of amputation?</vt:lpstr>
      <vt:lpstr>Other cases</vt:lpstr>
      <vt:lpstr>What to do in case of overheating?</vt:lpstr>
      <vt:lpstr>What to do in case of cooling?</vt:lpstr>
      <vt:lpstr>What to do in case of burns?</vt:lpstr>
      <vt:lpstr>What to do in case of accidents caused by chemicals?</vt:lpstr>
      <vt:lpstr>What to do in case of accidents caused by chemicals?</vt:lpstr>
      <vt:lpstr>What to do in case of electrocution?</vt:lpstr>
      <vt:lpstr>How to help a victim in case  of drowning?</vt:lpstr>
      <vt:lpstr>What to do in case of injury?</vt:lpstr>
      <vt:lpstr>What to do in case of injury?</vt:lpstr>
      <vt:lpstr>What to do in case of injury?</vt:lpstr>
      <vt:lpstr>How to help a victim in a traffic accident?</vt:lpstr>
      <vt:lpstr>How to help a victim in a car accident?</vt:lpstr>
      <vt:lpstr>How to help a victim  in a motorbike accident?</vt:lpstr>
      <vt:lpstr>How to deal with accidents caused by animals?</vt:lpstr>
      <vt:lpstr>How to deal with accidents caused by animals?</vt:lpstr>
      <vt:lpstr>What to do in case of foreign bodies obstructing airways?</vt:lpstr>
      <vt:lpstr>What to do in case of accidents involving foreign bodies?</vt:lpstr>
      <vt:lpstr>What if the victim has a seizure?</vt:lpstr>
      <vt:lpstr>What if the victim has a seizure?</vt:lpstr>
      <vt:lpstr>What to do if the victim has a pain in  their chest or shortness of breath?</vt:lpstr>
      <vt:lpstr>What to do if the victim has  severe abdominal pain?</vt:lpstr>
      <vt:lpstr>How to help someone with diabetes?</vt:lpstr>
      <vt:lpstr>How to help in case of a stroke?</vt:lpstr>
      <vt:lpstr>7.5. Contents of the first aid kit</vt:lpstr>
      <vt:lpstr>Minimum contents of a first aid kit</vt:lpstr>
    </vt:vector>
  </TitlesOfParts>
  <Manager/>
  <Company>PricewaterhouseCooper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irmā palīdzība un neatliekamā medicīniskā palīdzība</dc:title>
  <dc:subject/>
  <dc:creator>Sindija Kirsteine (LV)</dc:creator>
  <cp:keywords/>
  <dc:description/>
  <cp:lastModifiedBy>Annemarija Apine (LV)</cp:lastModifiedBy>
  <cp:revision>11</cp:revision>
  <dcterms:created xsi:type="dcterms:W3CDTF">2024-02-05T09:33:11Z</dcterms:created>
  <dcterms:modified xsi:type="dcterms:W3CDTF">2024-07-08T15:20:4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FF7F3D1589944B90553ACEA3976663</vt:lpwstr>
  </property>
  <property fmtid="{D5CDD505-2E9C-101B-9397-08002B2CF9AE}" pid="3" name="MediaServiceImageTags">
    <vt:lpwstr/>
  </property>
</Properties>
</file>